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4" r:id="rId3"/>
    <p:sldMasterId id="2147483682" r:id="rId4"/>
  </p:sldMasterIdLst>
  <p:notesMasterIdLst>
    <p:notesMasterId r:id="rId15"/>
  </p:notesMasterIdLst>
  <p:sldIdLst>
    <p:sldId id="331" r:id="rId5"/>
    <p:sldId id="312" r:id="rId6"/>
    <p:sldId id="314" r:id="rId7"/>
    <p:sldId id="334" r:id="rId8"/>
    <p:sldId id="320" r:id="rId9"/>
    <p:sldId id="332" r:id="rId10"/>
    <p:sldId id="323" r:id="rId11"/>
    <p:sldId id="333" r:id="rId12"/>
    <p:sldId id="322" r:id="rId13"/>
    <p:sldId id="330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37FF"/>
    <a:srgbClr val="E8F5FC"/>
    <a:srgbClr val="58B6E7"/>
    <a:srgbClr val="1859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81" autoAdjust="0"/>
    <p:restoredTop sz="94660"/>
  </p:normalViewPr>
  <p:slideViewPr>
    <p:cSldViewPr snapToGrid="0">
      <p:cViewPr varScale="1">
        <p:scale>
          <a:sx n="87" d="100"/>
          <a:sy n="87" d="100"/>
        </p:scale>
        <p:origin x="706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image" Target="../media/image34.jpe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image" Target="../media/image3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FC5DEC-E490-4AFC-8B9D-4BECCDCE80E9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9EE1EFD-DFBA-48A6-A8FE-24A4F700994C}">
      <dgm:prSet phldrT="[Текст]" phldr="1"/>
      <dgm:spPr/>
      <dgm:t>
        <a:bodyPr/>
        <a:lstStyle/>
        <a:p>
          <a:endParaRPr lang="ru-RU" dirty="0"/>
        </a:p>
      </dgm:t>
    </dgm:pt>
    <dgm:pt modelId="{DE49A352-327F-437B-9B4F-5C527C7373EB}" type="parTrans" cxnId="{EBF6A8F8-80C9-4227-90BF-45085C956328}">
      <dgm:prSet/>
      <dgm:spPr/>
      <dgm:t>
        <a:bodyPr/>
        <a:lstStyle/>
        <a:p>
          <a:endParaRPr lang="ru-RU"/>
        </a:p>
      </dgm:t>
    </dgm:pt>
    <dgm:pt modelId="{6AB8197B-4D0F-45F6-B05C-A5E1EB99B2CD}" type="sibTrans" cxnId="{EBF6A8F8-80C9-4227-90BF-45085C956328}">
      <dgm:prSet/>
      <dgm:spPr/>
      <dgm:t>
        <a:bodyPr/>
        <a:lstStyle/>
        <a:p>
          <a:endParaRPr lang="ru-RU"/>
        </a:p>
      </dgm:t>
    </dgm:pt>
    <dgm:pt modelId="{6006F216-66FF-4002-8B72-E8C3F820C0B2}">
      <dgm:prSet phldrT="[Текст]" phldr="1"/>
      <dgm:spPr/>
      <dgm:t>
        <a:bodyPr/>
        <a:lstStyle/>
        <a:p>
          <a:endParaRPr lang="ru-RU"/>
        </a:p>
      </dgm:t>
    </dgm:pt>
    <dgm:pt modelId="{29D81A20-B942-465E-AC3B-B7302F369B2B}" type="parTrans" cxnId="{633DF84D-C8E7-455B-9F5C-3E8A33CEB4A6}">
      <dgm:prSet/>
      <dgm:spPr/>
      <dgm:t>
        <a:bodyPr/>
        <a:lstStyle/>
        <a:p>
          <a:endParaRPr lang="ru-RU"/>
        </a:p>
      </dgm:t>
    </dgm:pt>
    <dgm:pt modelId="{A8836A1C-D22A-4B63-8B79-06B8027B4810}" type="sibTrans" cxnId="{633DF84D-C8E7-455B-9F5C-3E8A33CEB4A6}">
      <dgm:prSet/>
      <dgm:spPr/>
      <dgm:t>
        <a:bodyPr/>
        <a:lstStyle/>
        <a:p>
          <a:endParaRPr lang="ru-RU"/>
        </a:p>
      </dgm:t>
    </dgm:pt>
    <dgm:pt modelId="{1FB50EE4-F7CC-4E4D-B75C-067B4F6CB610}">
      <dgm:prSet phldrT="[Текст]" custT="1"/>
      <dgm:spPr/>
      <dgm:t>
        <a:bodyPr/>
        <a:lstStyle/>
        <a:p>
          <a:r>
            <a:rPr lang="ru-RU" sz="1600" b="1" dirty="0" smtClean="0"/>
            <a:t>Почтальон</a:t>
          </a:r>
          <a:endParaRPr lang="ru-RU" sz="1600" b="1" dirty="0"/>
        </a:p>
      </dgm:t>
    </dgm:pt>
    <dgm:pt modelId="{9DCC8103-A6AB-4EF1-BDE3-BB2A7C07A049}" type="parTrans" cxnId="{304624B6-23AD-427A-AD9A-F0032AC2C6E0}">
      <dgm:prSet/>
      <dgm:spPr/>
      <dgm:t>
        <a:bodyPr/>
        <a:lstStyle/>
        <a:p>
          <a:endParaRPr lang="ru-RU"/>
        </a:p>
      </dgm:t>
    </dgm:pt>
    <dgm:pt modelId="{454D0ED5-4A08-4CBE-A117-9E817775A15E}" type="sibTrans" cxnId="{304624B6-23AD-427A-AD9A-F0032AC2C6E0}">
      <dgm:prSet/>
      <dgm:spPr/>
      <dgm:t>
        <a:bodyPr/>
        <a:lstStyle/>
        <a:p>
          <a:endParaRPr lang="ru-RU"/>
        </a:p>
      </dgm:t>
    </dgm:pt>
    <dgm:pt modelId="{C734A2AF-BCE4-4DD3-A756-CE719FD93921}">
      <dgm:prSet phldrT="[Текст]" custT="1"/>
      <dgm:spPr/>
      <dgm:t>
        <a:bodyPr/>
        <a:lstStyle/>
        <a:p>
          <a:r>
            <a:rPr lang="ru-RU" sz="1600" b="1" dirty="0" smtClean="0"/>
            <a:t>Оператор</a:t>
          </a:r>
          <a:endParaRPr lang="ru-RU" sz="1600" b="1" dirty="0"/>
        </a:p>
      </dgm:t>
    </dgm:pt>
    <dgm:pt modelId="{D43E7FDC-101D-4888-B856-0B961512CBE2}" type="parTrans" cxnId="{14F1A6A2-0C9B-441A-87A6-9749BE40AAEB}">
      <dgm:prSet/>
      <dgm:spPr/>
      <dgm:t>
        <a:bodyPr/>
        <a:lstStyle/>
        <a:p>
          <a:endParaRPr lang="ru-RU"/>
        </a:p>
      </dgm:t>
    </dgm:pt>
    <dgm:pt modelId="{7261C34F-E229-4E16-A528-E317C7D9776C}" type="sibTrans" cxnId="{14F1A6A2-0C9B-441A-87A6-9749BE40AAEB}">
      <dgm:prSet/>
      <dgm:spPr/>
      <dgm:t>
        <a:bodyPr/>
        <a:lstStyle/>
        <a:p>
          <a:endParaRPr lang="ru-RU"/>
        </a:p>
      </dgm:t>
    </dgm:pt>
    <dgm:pt modelId="{983B0686-532E-4489-B2CB-E26959DEE9C1}">
      <dgm:prSet phldrT="[Текст]" custT="1"/>
      <dgm:spPr/>
      <dgm:t>
        <a:bodyPr/>
        <a:lstStyle/>
        <a:p>
          <a:r>
            <a:rPr lang="ru-RU" sz="1000" b="1" i="0" dirty="0" smtClean="0"/>
            <a:t>Мы предлагаем:</a:t>
          </a:r>
          <a:endParaRPr lang="ru-RU" sz="1000" b="1" dirty="0"/>
        </a:p>
      </dgm:t>
    </dgm:pt>
    <dgm:pt modelId="{4DE2F5B3-28E9-44F4-A2FE-F93F1025B5C1}" type="parTrans" cxnId="{47CC1415-0990-48C4-A70E-CD1A4F146417}">
      <dgm:prSet/>
      <dgm:spPr/>
      <dgm:t>
        <a:bodyPr/>
        <a:lstStyle/>
        <a:p>
          <a:endParaRPr lang="ru-RU"/>
        </a:p>
      </dgm:t>
    </dgm:pt>
    <dgm:pt modelId="{F90D737D-4E11-4E72-A9F0-C394F86E5AB6}" type="sibTrans" cxnId="{47CC1415-0990-48C4-A70E-CD1A4F146417}">
      <dgm:prSet/>
      <dgm:spPr/>
      <dgm:t>
        <a:bodyPr/>
        <a:lstStyle/>
        <a:p>
          <a:endParaRPr lang="ru-RU"/>
        </a:p>
      </dgm:t>
    </dgm:pt>
    <dgm:pt modelId="{E226FBBC-0F91-497F-9F6B-822A1E6853D7}">
      <dgm:prSet phldrT="[Текст]" custT="1"/>
      <dgm:spPr/>
      <dgm:t>
        <a:bodyPr/>
        <a:lstStyle/>
        <a:p>
          <a:endParaRPr lang="ru-RU" sz="1000" b="1" dirty="0"/>
        </a:p>
      </dgm:t>
    </dgm:pt>
    <dgm:pt modelId="{C47F4F12-278B-4528-9F0D-C26A5181D3ED}" type="parTrans" cxnId="{CBAF20E1-F3B9-464C-85EF-6F25D7490F3B}">
      <dgm:prSet/>
      <dgm:spPr/>
      <dgm:t>
        <a:bodyPr/>
        <a:lstStyle/>
        <a:p>
          <a:endParaRPr lang="ru-RU"/>
        </a:p>
      </dgm:t>
    </dgm:pt>
    <dgm:pt modelId="{8F26FCCF-83FA-4FA2-BFC1-6237529516C0}" type="sibTrans" cxnId="{CBAF20E1-F3B9-464C-85EF-6F25D7490F3B}">
      <dgm:prSet/>
      <dgm:spPr/>
      <dgm:t>
        <a:bodyPr/>
        <a:lstStyle/>
        <a:p>
          <a:endParaRPr lang="ru-RU"/>
        </a:p>
      </dgm:t>
    </dgm:pt>
    <dgm:pt modelId="{518EE046-8A8C-4405-B2A7-12992CB50ED6}">
      <dgm:prSet custT="1"/>
      <dgm:spPr/>
      <dgm:t>
        <a:bodyPr/>
        <a:lstStyle/>
        <a:p>
          <a:r>
            <a:rPr lang="ru-RU" sz="1000" b="0" i="0" dirty="0" smtClean="0"/>
            <a:t>Стабильную заработную плату от 25 000 до 28 000 руб. дважды в месяц до вычета налога (состоит из оклада, премии и дополнительных выплат).</a:t>
          </a:r>
          <a:endParaRPr lang="ru-RU" sz="1000" b="0" i="0" dirty="0"/>
        </a:p>
      </dgm:t>
    </dgm:pt>
    <dgm:pt modelId="{D65BB340-2CE5-43BB-B262-4D72131B4BBB}" type="parTrans" cxnId="{7C3947D9-D674-4A98-9878-CFADF10F8E2C}">
      <dgm:prSet/>
      <dgm:spPr/>
      <dgm:t>
        <a:bodyPr/>
        <a:lstStyle/>
        <a:p>
          <a:endParaRPr lang="ru-RU"/>
        </a:p>
      </dgm:t>
    </dgm:pt>
    <dgm:pt modelId="{F4E90AA7-F76A-4CC8-932D-4C9D26483D2A}" type="sibTrans" cxnId="{7C3947D9-D674-4A98-9878-CFADF10F8E2C}">
      <dgm:prSet/>
      <dgm:spPr/>
      <dgm:t>
        <a:bodyPr/>
        <a:lstStyle/>
        <a:p>
          <a:endParaRPr lang="ru-RU"/>
        </a:p>
      </dgm:t>
    </dgm:pt>
    <dgm:pt modelId="{AF8DABEC-5FDA-4087-8393-EA5F95EBC292}">
      <dgm:prSet custT="1"/>
      <dgm:spPr/>
      <dgm:t>
        <a:bodyPr/>
        <a:lstStyle/>
        <a:p>
          <a:r>
            <a:rPr lang="ru-RU" sz="1000" b="0" i="0" dirty="0" smtClean="0"/>
            <a:t>График работы 6/1, воскресенье стабильно выходной.</a:t>
          </a:r>
          <a:endParaRPr lang="ru-RU" sz="1000" b="0" i="0" dirty="0"/>
        </a:p>
      </dgm:t>
    </dgm:pt>
    <dgm:pt modelId="{0EC13E3E-D085-4D2F-AFD6-45A5FFDC4533}" type="parTrans" cxnId="{F301B36C-F614-48AD-81F4-535ECBB932AC}">
      <dgm:prSet/>
      <dgm:spPr/>
      <dgm:t>
        <a:bodyPr/>
        <a:lstStyle/>
        <a:p>
          <a:endParaRPr lang="ru-RU"/>
        </a:p>
      </dgm:t>
    </dgm:pt>
    <dgm:pt modelId="{7F9BC069-1DDE-400C-9278-9149EE6D1679}" type="sibTrans" cxnId="{F301B36C-F614-48AD-81F4-535ECBB932AC}">
      <dgm:prSet/>
      <dgm:spPr/>
      <dgm:t>
        <a:bodyPr/>
        <a:lstStyle/>
        <a:p>
          <a:endParaRPr lang="ru-RU"/>
        </a:p>
      </dgm:t>
    </dgm:pt>
    <dgm:pt modelId="{790AA351-28FF-45DC-8F79-14F89A3AD790}">
      <dgm:prSet custT="1"/>
      <dgm:spPr/>
      <dgm:t>
        <a:bodyPr/>
        <a:lstStyle/>
        <a:p>
          <a:r>
            <a:rPr lang="ru-RU" sz="1000" b="0" i="0" dirty="0" smtClean="0"/>
            <a:t>Возможность выбрать отделение почты рядом с домом</a:t>
          </a:r>
          <a:endParaRPr lang="ru-RU" sz="1000" b="0" i="0" dirty="0"/>
        </a:p>
      </dgm:t>
    </dgm:pt>
    <dgm:pt modelId="{E62354EA-3397-48AF-BDB0-139886ADDBB1}" type="parTrans" cxnId="{D3752DF2-1898-404A-B837-E878079D4596}">
      <dgm:prSet/>
      <dgm:spPr/>
      <dgm:t>
        <a:bodyPr/>
        <a:lstStyle/>
        <a:p>
          <a:endParaRPr lang="ru-RU"/>
        </a:p>
      </dgm:t>
    </dgm:pt>
    <dgm:pt modelId="{8D044687-8700-49CD-A097-61764A00E0B2}" type="sibTrans" cxnId="{D3752DF2-1898-404A-B837-E878079D4596}">
      <dgm:prSet/>
      <dgm:spPr/>
      <dgm:t>
        <a:bodyPr/>
        <a:lstStyle/>
        <a:p>
          <a:endParaRPr lang="ru-RU"/>
        </a:p>
      </dgm:t>
    </dgm:pt>
    <dgm:pt modelId="{70641B9B-4FE9-450D-86D0-71616D6F0C9C}">
      <dgm:prSet custT="1"/>
      <dgm:spPr/>
      <dgm:t>
        <a:bodyPr/>
        <a:lstStyle/>
        <a:p>
          <a:r>
            <a:rPr lang="ru-RU" sz="1000" b="1" i="0" dirty="0" smtClean="0"/>
            <a:t>Что нужно будет делать:</a:t>
          </a:r>
          <a:endParaRPr lang="ru-RU" sz="1000" b="0" i="0" dirty="0"/>
        </a:p>
      </dgm:t>
    </dgm:pt>
    <dgm:pt modelId="{24BDC96B-9492-47EE-94A7-C8A2D036CF82}" type="parTrans" cxnId="{AA166208-53C2-4805-8FE1-19241901AEA4}">
      <dgm:prSet/>
      <dgm:spPr/>
      <dgm:t>
        <a:bodyPr/>
        <a:lstStyle/>
        <a:p>
          <a:endParaRPr lang="ru-RU"/>
        </a:p>
      </dgm:t>
    </dgm:pt>
    <dgm:pt modelId="{F3192772-5B93-48D6-BB41-D5DA0CF61074}" type="sibTrans" cxnId="{AA166208-53C2-4805-8FE1-19241901AEA4}">
      <dgm:prSet/>
      <dgm:spPr/>
      <dgm:t>
        <a:bodyPr/>
        <a:lstStyle/>
        <a:p>
          <a:endParaRPr lang="ru-RU"/>
        </a:p>
      </dgm:t>
    </dgm:pt>
    <dgm:pt modelId="{4BAF66B4-E5E4-4A05-BC84-2705BF2525E2}">
      <dgm:prSet custT="1"/>
      <dgm:spPr/>
      <dgm:t>
        <a:bodyPr/>
        <a:lstStyle/>
        <a:p>
          <a:r>
            <a:rPr lang="ru-RU" sz="1000" b="0" i="0" dirty="0" smtClean="0"/>
            <a:t>Доставлять и вручать адресатам почтовые отправления, пенсии и пособия.</a:t>
          </a:r>
          <a:endParaRPr lang="ru-RU" sz="1000" b="0" i="0" dirty="0"/>
        </a:p>
      </dgm:t>
    </dgm:pt>
    <dgm:pt modelId="{374995F3-AD12-44DF-8857-871DFB9F5474}" type="parTrans" cxnId="{56FBF5D8-F887-4909-80B2-8126D6455E8F}">
      <dgm:prSet/>
      <dgm:spPr/>
      <dgm:t>
        <a:bodyPr/>
        <a:lstStyle/>
        <a:p>
          <a:endParaRPr lang="ru-RU"/>
        </a:p>
      </dgm:t>
    </dgm:pt>
    <dgm:pt modelId="{A5912168-1298-4F86-9F5A-F33FA5B2F7C8}" type="sibTrans" cxnId="{56FBF5D8-F887-4909-80B2-8126D6455E8F}">
      <dgm:prSet/>
      <dgm:spPr/>
      <dgm:t>
        <a:bodyPr/>
        <a:lstStyle/>
        <a:p>
          <a:endParaRPr lang="ru-RU"/>
        </a:p>
      </dgm:t>
    </dgm:pt>
    <dgm:pt modelId="{A20A0A0D-53E6-42DE-BAD5-3228298D1359}">
      <dgm:prSet custT="1"/>
      <dgm:spPr/>
      <dgm:t>
        <a:bodyPr/>
        <a:lstStyle/>
        <a:p>
          <a:r>
            <a:rPr lang="ru-RU" sz="1000" b="0" i="0" dirty="0" smtClean="0"/>
            <a:t>Вести учет и документальное оформление.</a:t>
          </a:r>
          <a:endParaRPr lang="ru-RU" sz="1000" b="0" i="0" dirty="0"/>
        </a:p>
      </dgm:t>
    </dgm:pt>
    <dgm:pt modelId="{D5AA39F5-FF2E-48E6-8099-B319411D34C4}" type="parTrans" cxnId="{CBD10915-2245-4B19-A78B-A188B6DCA377}">
      <dgm:prSet/>
      <dgm:spPr/>
      <dgm:t>
        <a:bodyPr/>
        <a:lstStyle/>
        <a:p>
          <a:endParaRPr lang="ru-RU"/>
        </a:p>
      </dgm:t>
    </dgm:pt>
    <dgm:pt modelId="{AF8EAA6E-8592-4DE9-A2C7-18BA33E762F4}" type="sibTrans" cxnId="{CBD10915-2245-4B19-A78B-A188B6DCA377}">
      <dgm:prSet/>
      <dgm:spPr/>
      <dgm:t>
        <a:bodyPr/>
        <a:lstStyle/>
        <a:p>
          <a:endParaRPr lang="ru-RU"/>
        </a:p>
      </dgm:t>
    </dgm:pt>
    <dgm:pt modelId="{D2A05603-7528-44FB-B772-7074D2E42114}">
      <dgm:prSet custT="1"/>
      <dgm:spPr/>
      <dgm:t>
        <a:bodyPr/>
        <a:lstStyle/>
        <a:p>
          <a:r>
            <a:rPr lang="ru-RU" sz="1000" b="0" i="0" dirty="0" smtClean="0"/>
            <a:t>Поддерживать высокий уровень сервиса для клиентов</a:t>
          </a:r>
          <a:endParaRPr lang="ru-RU" sz="1000" b="0" i="0" dirty="0"/>
        </a:p>
      </dgm:t>
    </dgm:pt>
    <dgm:pt modelId="{FC76A68D-64C3-4EF4-8E2A-560A13B0724A}" type="parTrans" cxnId="{E12D8E17-1D53-4565-A54B-6F6A8B74A87A}">
      <dgm:prSet/>
      <dgm:spPr/>
      <dgm:t>
        <a:bodyPr/>
        <a:lstStyle/>
        <a:p>
          <a:endParaRPr lang="ru-RU"/>
        </a:p>
      </dgm:t>
    </dgm:pt>
    <dgm:pt modelId="{0278EDE9-437E-4A30-9E12-BD9BD6E54DCE}" type="sibTrans" cxnId="{E12D8E17-1D53-4565-A54B-6F6A8B74A87A}">
      <dgm:prSet/>
      <dgm:spPr/>
      <dgm:t>
        <a:bodyPr/>
        <a:lstStyle/>
        <a:p>
          <a:endParaRPr lang="ru-RU"/>
        </a:p>
      </dgm:t>
    </dgm:pt>
    <dgm:pt modelId="{06EF1F23-E94C-4752-AD30-F4378B90FE11}">
      <dgm:prSet custT="1"/>
      <dgm:spPr/>
      <dgm:t>
        <a:bodyPr/>
        <a:lstStyle/>
        <a:p>
          <a:r>
            <a:rPr lang="ru-RU" sz="1000" b="0" i="0" dirty="0" smtClean="0"/>
            <a:t>Стабильную заработную плату от 35 000 руб. до 39 000 руб. дважды в месяц до вычета налога, (состоит из оклада, премии и дополнительных выплат).</a:t>
          </a:r>
          <a:endParaRPr lang="ru-RU" sz="1000" b="0" i="0" dirty="0"/>
        </a:p>
      </dgm:t>
    </dgm:pt>
    <dgm:pt modelId="{EF1ECB49-003D-451C-B17B-E8AA0DD2548A}" type="parTrans" cxnId="{99CD919B-2A6C-4313-B138-D0C7B7543A05}">
      <dgm:prSet/>
      <dgm:spPr/>
      <dgm:t>
        <a:bodyPr/>
        <a:lstStyle/>
        <a:p>
          <a:endParaRPr lang="ru-RU"/>
        </a:p>
      </dgm:t>
    </dgm:pt>
    <dgm:pt modelId="{16F2062D-A28B-426F-94E2-AAE92ECA6B25}" type="sibTrans" cxnId="{99CD919B-2A6C-4313-B138-D0C7B7543A05}">
      <dgm:prSet/>
      <dgm:spPr/>
      <dgm:t>
        <a:bodyPr/>
        <a:lstStyle/>
        <a:p>
          <a:endParaRPr lang="ru-RU"/>
        </a:p>
      </dgm:t>
    </dgm:pt>
    <dgm:pt modelId="{C3D3ABEE-127F-4A52-927C-38D0881068E7}">
      <dgm:prSet custT="1"/>
      <dgm:spPr/>
      <dgm:t>
        <a:bodyPr/>
        <a:lstStyle/>
        <a:p>
          <a:r>
            <a:rPr lang="ru-RU" sz="1000" b="0" i="0" dirty="0" smtClean="0"/>
            <a:t>График работы 2/2, 5/2 плавающие выходные.</a:t>
          </a:r>
          <a:endParaRPr lang="ru-RU" sz="1000" b="0" i="0" dirty="0"/>
        </a:p>
      </dgm:t>
    </dgm:pt>
    <dgm:pt modelId="{AB0F5C0E-2C60-496F-A3A9-D2069A002F7A}" type="parTrans" cxnId="{1358FA63-F097-4AD9-AD4F-F09E1F336FBE}">
      <dgm:prSet/>
      <dgm:spPr/>
      <dgm:t>
        <a:bodyPr/>
        <a:lstStyle/>
        <a:p>
          <a:endParaRPr lang="ru-RU"/>
        </a:p>
      </dgm:t>
    </dgm:pt>
    <dgm:pt modelId="{616E4231-EBA7-4860-ACA5-870125B9B9EE}" type="sibTrans" cxnId="{1358FA63-F097-4AD9-AD4F-F09E1F336FBE}">
      <dgm:prSet/>
      <dgm:spPr/>
      <dgm:t>
        <a:bodyPr/>
        <a:lstStyle/>
        <a:p>
          <a:endParaRPr lang="ru-RU"/>
        </a:p>
      </dgm:t>
    </dgm:pt>
    <dgm:pt modelId="{E946F736-CB3C-4BC2-A8BA-F26C239D5BAA}">
      <dgm:prSet custT="1"/>
      <dgm:spPr/>
      <dgm:t>
        <a:bodyPr/>
        <a:lstStyle/>
        <a:p>
          <a:r>
            <a:rPr lang="ru-RU" sz="1000" b="1" i="0" dirty="0" smtClean="0"/>
            <a:t>Что нужно будет делать:</a:t>
          </a:r>
          <a:endParaRPr lang="ru-RU" sz="1000" b="0" i="0" dirty="0"/>
        </a:p>
      </dgm:t>
    </dgm:pt>
    <dgm:pt modelId="{B3A8189C-C587-46E7-8CE4-B804B9FD3908}" type="parTrans" cxnId="{DB2FE022-08B3-4732-BA43-5070B20A5D81}">
      <dgm:prSet/>
      <dgm:spPr/>
      <dgm:t>
        <a:bodyPr/>
        <a:lstStyle/>
        <a:p>
          <a:endParaRPr lang="ru-RU"/>
        </a:p>
      </dgm:t>
    </dgm:pt>
    <dgm:pt modelId="{AF57C8CF-0A24-4F14-9C2B-2449F92623B4}" type="sibTrans" cxnId="{DB2FE022-08B3-4732-BA43-5070B20A5D81}">
      <dgm:prSet/>
      <dgm:spPr/>
      <dgm:t>
        <a:bodyPr/>
        <a:lstStyle/>
        <a:p>
          <a:endParaRPr lang="ru-RU"/>
        </a:p>
      </dgm:t>
    </dgm:pt>
    <dgm:pt modelId="{FDE9C556-3F03-4BAB-9DD3-9DE0926892C7}">
      <dgm:prSet custT="1"/>
      <dgm:spPr/>
      <dgm:t>
        <a:bodyPr/>
        <a:lstStyle/>
        <a:p>
          <a:r>
            <a:rPr lang="ru-RU" sz="1000" b="0" i="0" dirty="0" smtClean="0"/>
            <a:t>Консультировать клиентов по услугам Почты России.</a:t>
          </a:r>
          <a:endParaRPr lang="ru-RU" sz="1000" b="0" i="0" dirty="0"/>
        </a:p>
      </dgm:t>
    </dgm:pt>
    <dgm:pt modelId="{8483E231-AE90-4B6A-B379-14FE1534E798}" type="parTrans" cxnId="{713A2190-A701-4791-92E9-D2DDFABD8583}">
      <dgm:prSet/>
      <dgm:spPr/>
      <dgm:t>
        <a:bodyPr/>
        <a:lstStyle/>
        <a:p>
          <a:endParaRPr lang="ru-RU"/>
        </a:p>
      </dgm:t>
    </dgm:pt>
    <dgm:pt modelId="{8D5A3670-25D3-42E0-A1EB-CCBF4A6C12B4}" type="sibTrans" cxnId="{713A2190-A701-4791-92E9-D2DDFABD8583}">
      <dgm:prSet/>
      <dgm:spPr/>
      <dgm:t>
        <a:bodyPr/>
        <a:lstStyle/>
        <a:p>
          <a:endParaRPr lang="ru-RU"/>
        </a:p>
      </dgm:t>
    </dgm:pt>
    <dgm:pt modelId="{194FD253-4EB1-4326-A3E3-8BB0E950BEE9}">
      <dgm:prSet phldrT="[Текст]" custT="1"/>
      <dgm:spPr/>
      <dgm:t>
        <a:bodyPr/>
        <a:lstStyle/>
        <a:p>
          <a:r>
            <a:rPr lang="ru-RU" sz="1000" b="1" i="0" dirty="0" smtClean="0"/>
            <a:t>Мы предлагаем:</a:t>
          </a:r>
          <a:endParaRPr lang="ru-RU" sz="1200" b="1" dirty="0"/>
        </a:p>
      </dgm:t>
    </dgm:pt>
    <dgm:pt modelId="{028F97C5-051F-491C-BA22-D7B3BF6D282C}" type="parTrans" cxnId="{3B8A76BD-4B75-45F3-9188-7721667438C6}">
      <dgm:prSet/>
      <dgm:spPr/>
      <dgm:t>
        <a:bodyPr/>
        <a:lstStyle/>
        <a:p>
          <a:endParaRPr lang="ru-RU"/>
        </a:p>
      </dgm:t>
    </dgm:pt>
    <dgm:pt modelId="{67EE26A2-5A8B-4903-9543-BA0C4D01148E}" type="sibTrans" cxnId="{3B8A76BD-4B75-45F3-9188-7721667438C6}">
      <dgm:prSet/>
      <dgm:spPr/>
      <dgm:t>
        <a:bodyPr/>
        <a:lstStyle/>
        <a:p>
          <a:endParaRPr lang="ru-RU"/>
        </a:p>
      </dgm:t>
    </dgm:pt>
    <dgm:pt modelId="{1D72C7CF-FE5C-48A4-81EF-3D43F8CB9A9B}">
      <dgm:prSet phldrT="[Текст]" custT="1"/>
      <dgm:spPr/>
      <dgm:t>
        <a:bodyPr/>
        <a:lstStyle/>
        <a:p>
          <a:endParaRPr lang="ru-RU" sz="1200" b="1" dirty="0"/>
        </a:p>
      </dgm:t>
    </dgm:pt>
    <dgm:pt modelId="{D508A4C8-4DBD-4C2F-9B2B-23A0587BD235}" type="sibTrans" cxnId="{81F9A68E-07C7-4626-8C37-3443AC193D09}">
      <dgm:prSet/>
      <dgm:spPr/>
      <dgm:t>
        <a:bodyPr/>
        <a:lstStyle/>
        <a:p>
          <a:endParaRPr lang="ru-RU"/>
        </a:p>
      </dgm:t>
    </dgm:pt>
    <dgm:pt modelId="{09A185AA-F172-42D6-A10C-16C623B61BB8}" type="parTrans" cxnId="{81F9A68E-07C7-4626-8C37-3443AC193D09}">
      <dgm:prSet/>
      <dgm:spPr/>
      <dgm:t>
        <a:bodyPr/>
        <a:lstStyle/>
        <a:p>
          <a:endParaRPr lang="ru-RU"/>
        </a:p>
      </dgm:t>
    </dgm:pt>
    <dgm:pt modelId="{172C92E3-EE44-430A-B812-874DC3944BC6}">
      <dgm:prSet phldrT="[Текст]" custT="1"/>
      <dgm:spPr/>
      <dgm:t>
        <a:bodyPr/>
        <a:lstStyle/>
        <a:p>
          <a:endParaRPr lang="ru-RU" sz="1200" b="1" dirty="0"/>
        </a:p>
      </dgm:t>
    </dgm:pt>
    <dgm:pt modelId="{36A3E8B5-0FD4-4AD9-AC8A-6C0EE4D02FE1}" type="parTrans" cxnId="{EFA6389E-6AAA-40A2-BA89-78B66C30B37B}">
      <dgm:prSet/>
      <dgm:spPr/>
      <dgm:t>
        <a:bodyPr/>
        <a:lstStyle/>
        <a:p>
          <a:endParaRPr lang="ru-RU"/>
        </a:p>
      </dgm:t>
    </dgm:pt>
    <dgm:pt modelId="{04799367-3663-425A-8ACA-F21544C14935}" type="sibTrans" cxnId="{EFA6389E-6AAA-40A2-BA89-78B66C30B37B}">
      <dgm:prSet/>
      <dgm:spPr/>
      <dgm:t>
        <a:bodyPr/>
        <a:lstStyle/>
        <a:p>
          <a:endParaRPr lang="ru-RU"/>
        </a:p>
      </dgm:t>
    </dgm:pt>
    <dgm:pt modelId="{FB16D8D1-D7C0-4A39-BDC8-70011004E1BD}">
      <dgm:prSet custT="1"/>
      <dgm:spPr/>
      <dgm:t>
        <a:bodyPr/>
        <a:lstStyle/>
        <a:p>
          <a:endParaRPr lang="ru-RU" sz="1000" b="0" i="0" dirty="0"/>
        </a:p>
      </dgm:t>
    </dgm:pt>
    <dgm:pt modelId="{57126293-B357-4618-941C-D2F45560D25E}" type="parTrans" cxnId="{805B7C89-D3DD-4176-81C2-BFE9B85B20A8}">
      <dgm:prSet/>
      <dgm:spPr/>
      <dgm:t>
        <a:bodyPr/>
        <a:lstStyle/>
        <a:p>
          <a:endParaRPr lang="ru-RU"/>
        </a:p>
      </dgm:t>
    </dgm:pt>
    <dgm:pt modelId="{6977F06C-EEA5-4DE6-AB6E-3DDAC7498DD3}" type="sibTrans" cxnId="{805B7C89-D3DD-4176-81C2-BFE9B85B20A8}">
      <dgm:prSet/>
      <dgm:spPr/>
      <dgm:t>
        <a:bodyPr/>
        <a:lstStyle/>
        <a:p>
          <a:endParaRPr lang="ru-RU"/>
        </a:p>
      </dgm:t>
    </dgm:pt>
    <dgm:pt modelId="{13365FC6-CF1F-4632-B63D-C8D83A51A32B}">
      <dgm:prSet custT="1"/>
      <dgm:spPr/>
      <dgm:t>
        <a:bodyPr/>
        <a:lstStyle/>
        <a:p>
          <a:r>
            <a:rPr lang="ru-RU" sz="1000" b="0" i="0" dirty="0" smtClean="0"/>
            <a:t>Принимать, обрабатывать, вручать почтовые отправления.</a:t>
          </a:r>
        </a:p>
      </dgm:t>
    </dgm:pt>
    <dgm:pt modelId="{4C443B8D-0B19-48A5-A746-01C436647C14}" type="parTrans" cxnId="{1AF0B07D-AC47-4A3E-82C6-5198DF5E57DA}">
      <dgm:prSet/>
      <dgm:spPr/>
      <dgm:t>
        <a:bodyPr/>
        <a:lstStyle/>
        <a:p>
          <a:endParaRPr lang="ru-RU"/>
        </a:p>
      </dgm:t>
    </dgm:pt>
    <dgm:pt modelId="{C610ABA7-4075-42D3-9284-2686FBAB3292}" type="sibTrans" cxnId="{1AF0B07D-AC47-4A3E-82C6-5198DF5E57DA}">
      <dgm:prSet/>
      <dgm:spPr/>
      <dgm:t>
        <a:bodyPr/>
        <a:lstStyle/>
        <a:p>
          <a:endParaRPr lang="ru-RU"/>
        </a:p>
      </dgm:t>
    </dgm:pt>
    <dgm:pt modelId="{BF9CA765-AA1F-43F0-B1E0-62224BB2CAE2}">
      <dgm:prSet custT="1"/>
      <dgm:spPr/>
      <dgm:t>
        <a:bodyPr/>
        <a:lstStyle/>
        <a:p>
          <a:r>
            <a:rPr lang="ru-RU" sz="1000" b="0" i="0" dirty="0" smtClean="0"/>
            <a:t>Осуществлять денежные переводы, прием платежей, выплату пенсий и пособий.</a:t>
          </a:r>
        </a:p>
      </dgm:t>
    </dgm:pt>
    <dgm:pt modelId="{38C48681-E405-4B4D-BEFF-43A4590108CA}" type="parTrans" cxnId="{AC241BDA-4363-49EC-9A06-51FC94ACBC83}">
      <dgm:prSet/>
      <dgm:spPr/>
      <dgm:t>
        <a:bodyPr/>
        <a:lstStyle/>
        <a:p>
          <a:endParaRPr lang="ru-RU"/>
        </a:p>
      </dgm:t>
    </dgm:pt>
    <dgm:pt modelId="{1E504FA0-2C47-43A9-8122-BECC8D976D42}" type="sibTrans" cxnId="{AC241BDA-4363-49EC-9A06-51FC94ACBC83}">
      <dgm:prSet/>
      <dgm:spPr/>
      <dgm:t>
        <a:bodyPr/>
        <a:lstStyle/>
        <a:p>
          <a:endParaRPr lang="ru-RU"/>
        </a:p>
      </dgm:t>
    </dgm:pt>
    <dgm:pt modelId="{C5CA9453-86AB-4067-B22E-2E0709596005}">
      <dgm:prSet custT="1"/>
      <dgm:spPr/>
      <dgm:t>
        <a:bodyPr/>
        <a:lstStyle/>
        <a:p>
          <a:r>
            <a:rPr lang="ru-RU" sz="1000" b="0" i="0" dirty="0" smtClean="0"/>
            <a:t>Возможность выбрать работу рядом с домом.</a:t>
          </a:r>
        </a:p>
      </dgm:t>
    </dgm:pt>
    <dgm:pt modelId="{0E44B89E-2DF1-4032-AA0D-9C50EE7BBFA3}" type="parTrans" cxnId="{31625929-A680-4B82-B833-545A743966F1}">
      <dgm:prSet/>
      <dgm:spPr/>
      <dgm:t>
        <a:bodyPr/>
        <a:lstStyle/>
        <a:p>
          <a:endParaRPr lang="ru-RU"/>
        </a:p>
      </dgm:t>
    </dgm:pt>
    <dgm:pt modelId="{1E1BF015-0A80-49BD-912B-BA5C9F3DD2B5}" type="sibTrans" cxnId="{31625929-A680-4B82-B833-545A743966F1}">
      <dgm:prSet/>
      <dgm:spPr/>
      <dgm:t>
        <a:bodyPr/>
        <a:lstStyle/>
        <a:p>
          <a:endParaRPr lang="ru-RU"/>
        </a:p>
      </dgm:t>
    </dgm:pt>
    <dgm:pt modelId="{AE81BBAA-3AD3-4BDE-B9B3-1D4925592D42}">
      <dgm:prSet custT="1"/>
      <dgm:spPr/>
      <dgm:t>
        <a:bodyPr/>
        <a:lstStyle/>
        <a:p>
          <a:endParaRPr lang="ru-RU" sz="1000" b="0" i="0" dirty="0" smtClean="0"/>
        </a:p>
      </dgm:t>
    </dgm:pt>
    <dgm:pt modelId="{BFAE9C57-9DE5-4D56-8773-4C8496FEF3C8}" type="parTrans" cxnId="{EFC6240D-633F-4AC7-A7F1-E0622F8F5B23}">
      <dgm:prSet/>
      <dgm:spPr/>
      <dgm:t>
        <a:bodyPr/>
        <a:lstStyle/>
        <a:p>
          <a:endParaRPr lang="ru-RU"/>
        </a:p>
      </dgm:t>
    </dgm:pt>
    <dgm:pt modelId="{B74CCC8F-0F16-4C14-A411-086406245A22}" type="sibTrans" cxnId="{EFC6240D-633F-4AC7-A7F1-E0622F8F5B23}">
      <dgm:prSet/>
      <dgm:spPr/>
      <dgm:t>
        <a:bodyPr/>
        <a:lstStyle/>
        <a:p>
          <a:endParaRPr lang="ru-RU"/>
        </a:p>
      </dgm:t>
    </dgm:pt>
    <dgm:pt modelId="{0A3CCDB1-EDF1-481A-8B1C-DC90B2FC1D13}">
      <dgm:prSet custT="1"/>
      <dgm:spPr/>
      <dgm:t>
        <a:bodyPr/>
        <a:lstStyle/>
        <a:p>
          <a:endParaRPr lang="ru-RU" sz="1000" b="0" i="0" dirty="0"/>
        </a:p>
      </dgm:t>
    </dgm:pt>
    <dgm:pt modelId="{04A830C4-D0D3-4316-A9CF-9B9251795038}" type="parTrans" cxnId="{264E5358-581D-466B-9B36-035828EC1F20}">
      <dgm:prSet/>
      <dgm:spPr/>
      <dgm:t>
        <a:bodyPr/>
        <a:lstStyle/>
        <a:p>
          <a:endParaRPr lang="ru-RU"/>
        </a:p>
      </dgm:t>
    </dgm:pt>
    <dgm:pt modelId="{BED746B1-B7BC-4BF5-B942-3672D3A290D7}" type="sibTrans" cxnId="{264E5358-581D-466B-9B36-035828EC1F20}">
      <dgm:prSet/>
      <dgm:spPr/>
      <dgm:t>
        <a:bodyPr/>
        <a:lstStyle/>
        <a:p>
          <a:endParaRPr lang="ru-RU"/>
        </a:p>
      </dgm:t>
    </dgm:pt>
    <dgm:pt modelId="{E2B78CCE-83C4-4B39-B545-2B26B0C662D2}">
      <dgm:prSet custT="1"/>
      <dgm:spPr/>
      <dgm:t>
        <a:bodyPr/>
        <a:lstStyle/>
        <a:p>
          <a:endParaRPr lang="ru-RU" sz="1000" b="0" i="0" dirty="0"/>
        </a:p>
      </dgm:t>
    </dgm:pt>
    <dgm:pt modelId="{97B64D1F-F0B2-4738-86C4-7DB9EB3DED00}" type="parTrans" cxnId="{A4047217-74BB-4A7B-8519-6E83511A0CA3}">
      <dgm:prSet/>
      <dgm:spPr/>
      <dgm:t>
        <a:bodyPr/>
        <a:lstStyle/>
        <a:p>
          <a:endParaRPr lang="ru-RU"/>
        </a:p>
      </dgm:t>
    </dgm:pt>
    <dgm:pt modelId="{C7B7EADF-3D35-4B2D-9B48-017030D9BA5B}" type="sibTrans" cxnId="{A4047217-74BB-4A7B-8519-6E83511A0CA3}">
      <dgm:prSet/>
      <dgm:spPr/>
      <dgm:t>
        <a:bodyPr/>
        <a:lstStyle/>
        <a:p>
          <a:endParaRPr lang="ru-RU"/>
        </a:p>
      </dgm:t>
    </dgm:pt>
    <dgm:pt modelId="{8E554730-ACAE-4752-BC87-1447D51B5125}" type="pres">
      <dgm:prSet presAssocID="{98FC5DEC-E490-4AFC-8B9D-4BECCDCE80E9}" presName="linearFlow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B7DB6AF-397B-4376-9F4E-8D15CF5AF092}" type="pres">
      <dgm:prSet presAssocID="{49EE1EFD-DFBA-48A6-A8FE-24A4F700994C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46A0B2-9035-4360-8409-4E513060D278}" type="pres">
      <dgm:prSet presAssocID="{49EE1EFD-DFBA-48A6-A8FE-24A4F700994C}" presName="image" presStyleLbl="fgImgPlace1" presStyleIdx="0" presStyleCnt="2" custScaleX="58778" custScaleY="71400" custLinFactX="300000" custLinFactNeighborX="369574" custLinFactNeighborY="-26485"/>
      <dgm:spPr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</dgm:spPr>
      <dgm:t>
        <a:bodyPr/>
        <a:lstStyle/>
        <a:p>
          <a:endParaRPr lang="ru-RU"/>
        </a:p>
      </dgm:t>
    </dgm:pt>
    <dgm:pt modelId="{FD0EE97F-9EE0-45F6-8EB3-CC1B8610EEBF}" type="pres">
      <dgm:prSet presAssocID="{49EE1EFD-DFBA-48A6-A8FE-24A4F700994C}" presName="childNode" presStyleLbl="node1" presStyleIdx="0" presStyleCnt="2" custScaleX="142672" custScaleY="108213" custLinFactNeighborX="-15717" custLinFactNeighborY="47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739674-D489-4449-91DE-81DAC222E0EE}" type="pres">
      <dgm:prSet presAssocID="{49EE1EFD-DFBA-48A6-A8FE-24A4F700994C}" presName="parentNode" presStyleLbl="revTx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0FAF83-FFC9-4CD7-9733-CA14E63AB245}" type="pres">
      <dgm:prSet presAssocID="{6AB8197B-4D0F-45F6-B05C-A5E1EB99B2CD}" presName="sibTrans" presStyleCnt="0"/>
      <dgm:spPr/>
      <dgm:t>
        <a:bodyPr/>
        <a:lstStyle/>
        <a:p>
          <a:endParaRPr lang="ru-RU"/>
        </a:p>
      </dgm:t>
    </dgm:pt>
    <dgm:pt modelId="{2EFCD0D7-1DC6-4832-BD10-ED18753F6C61}" type="pres">
      <dgm:prSet presAssocID="{6006F216-66FF-4002-8B72-E8C3F820C0B2}" presName="compositeNode" presStyleCnt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6EE62E-FEE1-49BE-90A0-3831C990A763}" type="pres">
      <dgm:prSet presAssocID="{6006F216-66FF-4002-8B72-E8C3F820C0B2}" presName="image" presStyleLbl="fgImgPlace1" presStyleIdx="1" presStyleCnt="2" custScaleX="63376" custScaleY="73187" custLinFactX="-75190" custLinFactNeighborX="-100000" custLinFactNeighborY="-26485"/>
      <dgm:spPr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</dgm:spPr>
      <dgm:t>
        <a:bodyPr/>
        <a:lstStyle/>
        <a:p>
          <a:endParaRPr lang="ru-RU"/>
        </a:p>
      </dgm:t>
    </dgm:pt>
    <dgm:pt modelId="{E5B406DD-0323-4625-9F7F-5A54EA0B6FA2}" type="pres">
      <dgm:prSet presAssocID="{6006F216-66FF-4002-8B72-E8C3F820C0B2}" presName="childNode" presStyleLbl="node1" presStyleIdx="1" presStyleCnt="2" custAng="0" custScaleX="142403" custScaleY="108569" custLinFactNeighborX="-7752" custLinFactNeighborY="49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9063F3-B7B9-4A6F-A2A1-E038F29F6102}" type="pres">
      <dgm:prSet presAssocID="{6006F216-66FF-4002-8B72-E8C3F820C0B2}" presName="parentNode" presStyleLbl="revTx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64F181B-222A-4520-B461-112F86E1ADBD}" type="presOf" srcId="{6006F216-66FF-4002-8B72-E8C3F820C0B2}" destId="{289063F3-B7B9-4A6F-A2A1-E038F29F6102}" srcOrd="0" destOrd="0" presId="urn:microsoft.com/office/officeart/2005/8/layout/hList2"/>
    <dgm:cxn modelId="{14F1A6A2-0C9B-441A-87A6-9749BE40AAEB}" srcId="{6006F216-66FF-4002-8B72-E8C3F820C0B2}" destId="{C734A2AF-BCE4-4DD3-A756-CE719FD93921}" srcOrd="0" destOrd="0" parTransId="{D43E7FDC-101D-4888-B856-0B961512CBE2}" sibTransId="{7261C34F-E229-4E16-A528-E317C7D9776C}"/>
    <dgm:cxn modelId="{91304D5C-DEC3-4D35-B60A-10E601CAA6C8}" type="presOf" srcId="{13365FC6-CF1F-4632-B63D-C8D83A51A32B}" destId="{E5B406DD-0323-4625-9F7F-5A54EA0B6FA2}" srcOrd="0" destOrd="10" presId="urn:microsoft.com/office/officeart/2005/8/layout/hList2"/>
    <dgm:cxn modelId="{DFE0BDFB-D31D-4186-8BEC-B00A8A15254C}" type="presOf" srcId="{BF9CA765-AA1F-43F0-B1E0-62224BB2CAE2}" destId="{E5B406DD-0323-4625-9F7F-5A54EA0B6FA2}" srcOrd="0" destOrd="11" presId="urn:microsoft.com/office/officeart/2005/8/layout/hList2"/>
    <dgm:cxn modelId="{31625929-A680-4B82-B833-545A743966F1}" srcId="{6006F216-66FF-4002-8B72-E8C3F820C0B2}" destId="{C5CA9453-86AB-4067-B22E-2E0709596005}" srcOrd="6" destOrd="0" parTransId="{0E44B89E-2DF1-4032-AA0D-9C50EE7BBFA3}" sibTransId="{1E1BF015-0A80-49BD-912B-BA5C9F3DD2B5}"/>
    <dgm:cxn modelId="{DB2FE022-08B3-4732-BA43-5070B20A5D81}" srcId="{6006F216-66FF-4002-8B72-E8C3F820C0B2}" destId="{E946F736-CB3C-4BC2-A8BA-F26C239D5BAA}" srcOrd="8" destOrd="0" parTransId="{B3A8189C-C587-46E7-8CE4-B804B9FD3908}" sibTransId="{AF57C8CF-0A24-4F14-9C2B-2449F92623B4}"/>
    <dgm:cxn modelId="{AA166208-53C2-4805-8FE1-19241901AEA4}" srcId="{49EE1EFD-DFBA-48A6-A8FE-24A4F700994C}" destId="{70641B9B-4FE9-450D-86D0-71616D6F0C9C}" srcOrd="8" destOrd="0" parTransId="{24BDC96B-9492-47EE-94A7-C8A2D036CF82}" sibTransId="{F3192772-5B93-48D6-BB41-D5DA0CF61074}"/>
    <dgm:cxn modelId="{CE972F43-4D4F-4BCC-B660-28D48B2D01DC}" type="presOf" srcId="{E2B78CCE-83C4-4B39-B545-2B26B0C662D2}" destId="{E5B406DD-0323-4625-9F7F-5A54EA0B6FA2}" srcOrd="0" destOrd="4" presId="urn:microsoft.com/office/officeart/2005/8/layout/hList2"/>
    <dgm:cxn modelId="{C87ADA08-8749-4108-812A-FEC1A36ED625}" type="presOf" srcId="{4BAF66B4-E5E4-4A05-BC84-2705BF2525E2}" destId="{FD0EE97F-9EE0-45F6-8EB3-CC1B8610EEBF}" srcOrd="0" destOrd="9" presId="urn:microsoft.com/office/officeart/2005/8/layout/hList2"/>
    <dgm:cxn modelId="{9F36BC52-0708-40E8-B59C-CCF2417EA347}" type="presOf" srcId="{70641B9B-4FE9-450D-86D0-71616D6F0C9C}" destId="{FD0EE97F-9EE0-45F6-8EB3-CC1B8610EEBF}" srcOrd="0" destOrd="8" presId="urn:microsoft.com/office/officeart/2005/8/layout/hList2"/>
    <dgm:cxn modelId="{CBAF20E1-F3B9-464C-85EF-6F25D7490F3B}" srcId="{49EE1EFD-DFBA-48A6-A8FE-24A4F700994C}" destId="{E226FBBC-0F91-497F-9F6B-822A1E6853D7}" srcOrd="12" destOrd="0" parTransId="{C47F4F12-278B-4528-9F0D-C26A5181D3ED}" sibTransId="{8F26FCCF-83FA-4FA2-BFC1-6237529516C0}"/>
    <dgm:cxn modelId="{9A75B1AE-95E0-4C06-80E8-510C7709847D}" type="presOf" srcId="{C3D3ABEE-127F-4A52-927C-38D0881068E7}" destId="{E5B406DD-0323-4625-9F7F-5A54EA0B6FA2}" srcOrd="0" destOrd="5" presId="urn:microsoft.com/office/officeart/2005/8/layout/hList2"/>
    <dgm:cxn modelId="{6B1D9C00-3796-4C28-87DF-790D14729CA1}" type="presOf" srcId="{A20A0A0D-53E6-42DE-BAD5-3228298D1359}" destId="{FD0EE97F-9EE0-45F6-8EB3-CC1B8610EEBF}" srcOrd="0" destOrd="10" presId="urn:microsoft.com/office/officeart/2005/8/layout/hList2"/>
    <dgm:cxn modelId="{E12D8E17-1D53-4565-A54B-6F6A8B74A87A}" srcId="{49EE1EFD-DFBA-48A6-A8FE-24A4F700994C}" destId="{D2A05603-7528-44FB-B772-7074D2E42114}" srcOrd="11" destOrd="0" parTransId="{FC76A68D-64C3-4EF4-8E2A-560A13B0724A}" sibTransId="{0278EDE9-437E-4A30-9E12-BD9BD6E54DCE}"/>
    <dgm:cxn modelId="{A4047217-74BB-4A7B-8519-6E83511A0CA3}" srcId="{6006F216-66FF-4002-8B72-E8C3F820C0B2}" destId="{E2B78CCE-83C4-4B39-B545-2B26B0C662D2}" srcOrd="4" destOrd="0" parTransId="{97B64D1F-F0B2-4738-86C4-7DB9EB3DED00}" sibTransId="{C7B7EADF-3D35-4B2D-9B48-017030D9BA5B}"/>
    <dgm:cxn modelId="{5F145946-7471-478E-BCF6-C70BCBE88FD0}" type="presOf" srcId="{172C92E3-EE44-430A-B812-874DC3944BC6}" destId="{E5B406DD-0323-4625-9F7F-5A54EA0B6FA2}" srcOrd="0" destOrd="1" presId="urn:microsoft.com/office/officeart/2005/8/layout/hList2"/>
    <dgm:cxn modelId="{47CC1415-0990-48C4-A70E-CD1A4F146417}" srcId="{6006F216-66FF-4002-8B72-E8C3F820C0B2}" destId="{983B0686-532E-4489-B2CB-E26959DEE9C1}" srcOrd="2" destOrd="0" parTransId="{4DE2F5B3-28E9-44F4-A2FE-F93F1025B5C1}" sibTransId="{F90D737D-4E11-4E72-A9F0-C394F86E5AB6}"/>
    <dgm:cxn modelId="{7D3B1AE2-6245-4ECB-A649-A100CF110CE9}" type="presOf" srcId="{FB16D8D1-D7C0-4A39-BDC8-70011004E1BD}" destId="{FD0EE97F-9EE0-45F6-8EB3-CC1B8610EEBF}" srcOrd="0" destOrd="7" presId="urn:microsoft.com/office/officeart/2005/8/layout/hList2"/>
    <dgm:cxn modelId="{3B8A76BD-4B75-45F3-9188-7721667438C6}" srcId="{49EE1EFD-DFBA-48A6-A8FE-24A4F700994C}" destId="{194FD253-4EB1-4326-A3E3-8BB0E950BEE9}" srcOrd="2" destOrd="0" parTransId="{028F97C5-051F-491C-BA22-D7B3BF6D282C}" sibTransId="{67EE26A2-5A8B-4903-9543-BA0C4D01148E}"/>
    <dgm:cxn modelId="{EFA6389E-6AAA-40A2-BA89-78B66C30B37B}" srcId="{6006F216-66FF-4002-8B72-E8C3F820C0B2}" destId="{172C92E3-EE44-430A-B812-874DC3944BC6}" srcOrd="1" destOrd="0" parTransId="{36A3E8B5-0FD4-4AD9-AC8A-6C0EE4D02FE1}" sibTransId="{04799367-3663-425A-8ACA-F21544C14935}"/>
    <dgm:cxn modelId="{633DF84D-C8E7-455B-9F5C-3E8A33CEB4A6}" srcId="{98FC5DEC-E490-4AFC-8B9D-4BECCDCE80E9}" destId="{6006F216-66FF-4002-8B72-E8C3F820C0B2}" srcOrd="1" destOrd="0" parTransId="{29D81A20-B942-465E-AC3B-B7302F369B2B}" sibTransId="{A8836A1C-D22A-4B63-8B79-06B8027B4810}"/>
    <dgm:cxn modelId="{EBF6A8F8-80C9-4227-90BF-45085C956328}" srcId="{98FC5DEC-E490-4AFC-8B9D-4BECCDCE80E9}" destId="{49EE1EFD-DFBA-48A6-A8FE-24A4F700994C}" srcOrd="0" destOrd="0" parTransId="{DE49A352-327F-437B-9B4F-5C527C7373EB}" sibTransId="{6AB8197B-4D0F-45F6-B05C-A5E1EB99B2CD}"/>
    <dgm:cxn modelId="{C8DA9203-2F1B-4E13-8A2E-9CBE59A2CE21}" type="presOf" srcId="{FDE9C556-3F03-4BAB-9DD3-9DE0926892C7}" destId="{E5B406DD-0323-4625-9F7F-5A54EA0B6FA2}" srcOrd="0" destOrd="9" presId="urn:microsoft.com/office/officeart/2005/8/layout/hList2"/>
    <dgm:cxn modelId="{56FBF5D8-F887-4909-80B2-8126D6455E8F}" srcId="{49EE1EFD-DFBA-48A6-A8FE-24A4F700994C}" destId="{4BAF66B4-E5E4-4A05-BC84-2705BF2525E2}" srcOrd="9" destOrd="0" parTransId="{374995F3-AD12-44DF-8857-871DFB9F5474}" sibTransId="{A5912168-1298-4F86-9F5A-F33FA5B2F7C8}"/>
    <dgm:cxn modelId="{81F9A68E-07C7-4626-8C37-3443AC193D09}" srcId="{49EE1EFD-DFBA-48A6-A8FE-24A4F700994C}" destId="{1D72C7CF-FE5C-48A4-81EF-3D43F8CB9A9B}" srcOrd="1" destOrd="0" parTransId="{09A185AA-F172-42D6-A10C-16C623B61BB8}" sibTransId="{D508A4C8-4DBD-4C2F-9B2B-23A0587BD235}"/>
    <dgm:cxn modelId="{D3752DF2-1898-404A-B837-E878079D4596}" srcId="{49EE1EFD-DFBA-48A6-A8FE-24A4F700994C}" destId="{790AA351-28FF-45DC-8F79-14F89A3AD790}" srcOrd="6" destOrd="0" parTransId="{E62354EA-3397-48AF-BDB0-139886ADDBB1}" sibTransId="{8D044687-8700-49CD-A097-61764A00E0B2}"/>
    <dgm:cxn modelId="{763649E7-7CBF-40E7-A71E-F719DFBDD09B}" type="presOf" srcId="{E946F736-CB3C-4BC2-A8BA-F26C239D5BAA}" destId="{E5B406DD-0323-4625-9F7F-5A54EA0B6FA2}" srcOrd="0" destOrd="8" presId="urn:microsoft.com/office/officeart/2005/8/layout/hList2"/>
    <dgm:cxn modelId="{1AF0B07D-AC47-4A3E-82C6-5198DF5E57DA}" srcId="{6006F216-66FF-4002-8B72-E8C3F820C0B2}" destId="{13365FC6-CF1F-4632-B63D-C8D83A51A32B}" srcOrd="10" destOrd="0" parTransId="{4C443B8D-0B19-48A5-A746-01C436647C14}" sibTransId="{C610ABA7-4075-42D3-9284-2686FBAB3292}"/>
    <dgm:cxn modelId="{304624B6-23AD-427A-AD9A-F0032AC2C6E0}" srcId="{49EE1EFD-DFBA-48A6-A8FE-24A4F700994C}" destId="{1FB50EE4-F7CC-4E4D-B75C-067B4F6CB610}" srcOrd="0" destOrd="0" parTransId="{9DCC8103-A6AB-4EF1-BDE3-BB2A7C07A049}" sibTransId="{454D0ED5-4A08-4CBE-A117-9E817775A15E}"/>
    <dgm:cxn modelId="{7C3947D9-D674-4A98-9878-CFADF10F8E2C}" srcId="{49EE1EFD-DFBA-48A6-A8FE-24A4F700994C}" destId="{518EE046-8A8C-4405-B2A7-12992CB50ED6}" srcOrd="3" destOrd="0" parTransId="{D65BB340-2CE5-43BB-B262-4D72131B4BBB}" sibTransId="{F4E90AA7-F76A-4CC8-932D-4C9D26483D2A}"/>
    <dgm:cxn modelId="{1358FA63-F097-4AD9-AD4F-F09E1F336FBE}" srcId="{6006F216-66FF-4002-8B72-E8C3F820C0B2}" destId="{C3D3ABEE-127F-4A52-927C-38D0881068E7}" srcOrd="5" destOrd="0" parTransId="{AB0F5C0E-2C60-496F-A3A9-D2069A002F7A}" sibTransId="{616E4231-EBA7-4860-ACA5-870125B9B9EE}"/>
    <dgm:cxn modelId="{C703683B-5139-430A-8509-F5CD43B7AEE0}" type="presOf" srcId="{06EF1F23-E94C-4752-AD30-F4378B90FE11}" destId="{E5B406DD-0323-4625-9F7F-5A54EA0B6FA2}" srcOrd="0" destOrd="3" presId="urn:microsoft.com/office/officeart/2005/8/layout/hList2"/>
    <dgm:cxn modelId="{2018D5EF-E19A-4F9B-A28E-0BEB4F4F3A42}" type="presOf" srcId="{518EE046-8A8C-4405-B2A7-12992CB50ED6}" destId="{FD0EE97F-9EE0-45F6-8EB3-CC1B8610EEBF}" srcOrd="0" destOrd="3" presId="urn:microsoft.com/office/officeart/2005/8/layout/hList2"/>
    <dgm:cxn modelId="{0AA9B529-BF9C-4FC3-BB3B-2D099146C988}" type="presOf" srcId="{1D72C7CF-FE5C-48A4-81EF-3D43F8CB9A9B}" destId="{FD0EE97F-9EE0-45F6-8EB3-CC1B8610EEBF}" srcOrd="0" destOrd="1" presId="urn:microsoft.com/office/officeart/2005/8/layout/hList2"/>
    <dgm:cxn modelId="{F301B36C-F614-48AD-81F4-535ECBB932AC}" srcId="{49EE1EFD-DFBA-48A6-A8FE-24A4F700994C}" destId="{AF8DABEC-5FDA-4087-8393-EA5F95EBC292}" srcOrd="5" destOrd="0" parTransId="{0EC13E3E-D085-4D2F-AFD6-45A5FFDC4533}" sibTransId="{7F9BC069-1DDE-400C-9278-9149EE6D1679}"/>
    <dgm:cxn modelId="{81EB4451-86C4-49DB-BA51-F80B9C87A9EE}" type="presOf" srcId="{D2A05603-7528-44FB-B772-7074D2E42114}" destId="{FD0EE97F-9EE0-45F6-8EB3-CC1B8610EEBF}" srcOrd="0" destOrd="11" presId="urn:microsoft.com/office/officeart/2005/8/layout/hList2"/>
    <dgm:cxn modelId="{7122FCC1-7CC5-4936-A9B8-6A3DBED3A3BD}" type="presOf" srcId="{E226FBBC-0F91-497F-9F6B-822A1E6853D7}" destId="{FD0EE97F-9EE0-45F6-8EB3-CC1B8610EEBF}" srcOrd="0" destOrd="12" presId="urn:microsoft.com/office/officeart/2005/8/layout/hList2"/>
    <dgm:cxn modelId="{0F70F714-FFA1-4D08-9833-402DC624DEE3}" type="presOf" srcId="{194FD253-4EB1-4326-A3E3-8BB0E950BEE9}" destId="{FD0EE97F-9EE0-45F6-8EB3-CC1B8610EEBF}" srcOrd="0" destOrd="2" presId="urn:microsoft.com/office/officeart/2005/8/layout/hList2"/>
    <dgm:cxn modelId="{EFC6240D-633F-4AC7-A7F1-E0622F8F5B23}" srcId="{6006F216-66FF-4002-8B72-E8C3F820C0B2}" destId="{AE81BBAA-3AD3-4BDE-B9B3-1D4925592D42}" srcOrd="7" destOrd="0" parTransId="{BFAE9C57-9DE5-4D56-8773-4C8496FEF3C8}" sibTransId="{B74CCC8F-0F16-4C14-A411-086406245A22}"/>
    <dgm:cxn modelId="{CBD10915-2245-4B19-A78B-A188B6DCA377}" srcId="{49EE1EFD-DFBA-48A6-A8FE-24A4F700994C}" destId="{A20A0A0D-53E6-42DE-BAD5-3228298D1359}" srcOrd="10" destOrd="0" parTransId="{D5AA39F5-FF2E-48E6-8099-B319411D34C4}" sibTransId="{AF8EAA6E-8592-4DE9-A2C7-18BA33E762F4}"/>
    <dgm:cxn modelId="{2CB1E916-EA54-47EB-8C2C-395B9207382E}" type="presOf" srcId="{C734A2AF-BCE4-4DD3-A756-CE719FD93921}" destId="{E5B406DD-0323-4625-9F7F-5A54EA0B6FA2}" srcOrd="0" destOrd="0" presId="urn:microsoft.com/office/officeart/2005/8/layout/hList2"/>
    <dgm:cxn modelId="{D8925F4D-552B-462C-886F-9AF0B686B810}" type="presOf" srcId="{983B0686-532E-4489-B2CB-E26959DEE9C1}" destId="{E5B406DD-0323-4625-9F7F-5A54EA0B6FA2}" srcOrd="0" destOrd="2" presId="urn:microsoft.com/office/officeart/2005/8/layout/hList2"/>
    <dgm:cxn modelId="{805B7C89-D3DD-4176-81C2-BFE9B85B20A8}" srcId="{49EE1EFD-DFBA-48A6-A8FE-24A4F700994C}" destId="{FB16D8D1-D7C0-4A39-BDC8-70011004E1BD}" srcOrd="7" destOrd="0" parTransId="{57126293-B357-4618-941C-D2F45560D25E}" sibTransId="{6977F06C-EEA5-4DE6-AB6E-3DDAC7498DD3}"/>
    <dgm:cxn modelId="{AC241BDA-4363-49EC-9A06-51FC94ACBC83}" srcId="{6006F216-66FF-4002-8B72-E8C3F820C0B2}" destId="{BF9CA765-AA1F-43F0-B1E0-62224BB2CAE2}" srcOrd="11" destOrd="0" parTransId="{38C48681-E405-4B4D-BEFF-43A4590108CA}" sibTransId="{1E504FA0-2C47-43A9-8122-BECC8D976D42}"/>
    <dgm:cxn modelId="{179689BB-A7FD-4BED-9874-CF56DC756FFB}" type="presOf" srcId="{C5CA9453-86AB-4067-B22E-2E0709596005}" destId="{E5B406DD-0323-4625-9F7F-5A54EA0B6FA2}" srcOrd="0" destOrd="6" presId="urn:microsoft.com/office/officeart/2005/8/layout/hList2"/>
    <dgm:cxn modelId="{DAB9C0D5-2347-43F3-9AC0-093E55351FF4}" type="presOf" srcId="{0A3CCDB1-EDF1-481A-8B1C-DC90B2FC1D13}" destId="{FD0EE97F-9EE0-45F6-8EB3-CC1B8610EEBF}" srcOrd="0" destOrd="4" presId="urn:microsoft.com/office/officeart/2005/8/layout/hList2"/>
    <dgm:cxn modelId="{99CD919B-2A6C-4313-B138-D0C7B7543A05}" srcId="{6006F216-66FF-4002-8B72-E8C3F820C0B2}" destId="{06EF1F23-E94C-4752-AD30-F4378B90FE11}" srcOrd="3" destOrd="0" parTransId="{EF1ECB49-003D-451C-B17B-E8AA0DD2548A}" sibTransId="{16F2062D-A28B-426F-94E2-AAE92ECA6B25}"/>
    <dgm:cxn modelId="{D92C9A5C-8128-40F6-9295-030F5DF408F3}" type="presOf" srcId="{790AA351-28FF-45DC-8F79-14F89A3AD790}" destId="{FD0EE97F-9EE0-45F6-8EB3-CC1B8610EEBF}" srcOrd="0" destOrd="6" presId="urn:microsoft.com/office/officeart/2005/8/layout/hList2"/>
    <dgm:cxn modelId="{969BAA7F-8EC7-4B32-8DE3-62710515581E}" type="presOf" srcId="{98FC5DEC-E490-4AFC-8B9D-4BECCDCE80E9}" destId="{8E554730-ACAE-4752-BC87-1447D51B5125}" srcOrd="0" destOrd="0" presId="urn:microsoft.com/office/officeart/2005/8/layout/hList2"/>
    <dgm:cxn modelId="{C0F9A9AF-6EA2-4E35-9F9C-7A7B827C4B2D}" type="presOf" srcId="{AE81BBAA-3AD3-4BDE-B9B3-1D4925592D42}" destId="{E5B406DD-0323-4625-9F7F-5A54EA0B6FA2}" srcOrd="0" destOrd="7" presId="urn:microsoft.com/office/officeart/2005/8/layout/hList2"/>
    <dgm:cxn modelId="{264E5358-581D-466B-9B36-035828EC1F20}" srcId="{49EE1EFD-DFBA-48A6-A8FE-24A4F700994C}" destId="{0A3CCDB1-EDF1-481A-8B1C-DC90B2FC1D13}" srcOrd="4" destOrd="0" parTransId="{04A830C4-D0D3-4316-A9CF-9B9251795038}" sibTransId="{BED746B1-B7BC-4BF5-B942-3672D3A290D7}"/>
    <dgm:cxn modelId="{BE9818A2-FDD1-4BB9-806C-C1A857E564A1}" type="presOf" srcId="{1FB50EE4-F7CC-4E4D-B75C-067B4F6CB610}" destId="{FD0EE97F-9EE0-45F6-8EB3-CC1B8610EEBF}" srcOrd="0" destOrd="0" presId="urn:microsoft.com/office/officeart/2005/8/layout/hList2"/>
    <dgm:cxn modelId="{2D25F086-448F-45DA-B312-F1E9509DDDA7}" type="presOf" srcId="{AF8DABEC-5FDA-4087-8393-EA5F95EBC292}" destId="{FD0EE97F-9EE0-45F6-8EB3-CC1B8610EEBF}" srcOrd="0" destOrd="5" presId="urn:microsoft.com/office/officeart/2005/8/layout/hList2"/>
    <dgm:cxn modelId="{713A2190-A701-4791-92E9-D2DDFABD8583}" srcId="{6006F216-66FF-4002-8B72-E8C3F820C0B2}" destId="{FDE9C556-3F03-4BAB-9DD3-9DE0926892C7}" srcOrd="9" destOrd="0" parTransId="{8483E231-AE90-4B6A-B379-14FE1534E798}" sibTransId="{8D5A3670-25D3-42E0-A1EB-CCBF4A6C12B4}"/>
    <dgm:cxn modelId="{2D8C0247-998A-45CB-81C0-3CDC10A22982}" type="presOf" srcId="{49EE1EFD-DFBA-48A6-A8FE-24A4F700994C}" destId="{72739674-D489-4449-91DE-81DAC222E0EE}" srcOrd="0" destOrd="0" presId="urn:microsoft.com/office/officeart/2005/8/layout/hList2"/>
    <dgm:cxn modelId="{9611C03B-1352-485D-B0FC-69AD0868E61B}" type="presParOf" srcId="{8E554730-ACAE-4752-BC87-1447D51B5125}" destId="{4B7DB6AF-397B-4376-9F4E-8D15CF5AF092}" srcOrd="0" destOrd="0" presId="urn:microsoft.com/office/officeart/2005/8/layout/hList2"/>
    <dgm:cxn modelId="{B2439D4A-1D04-4D35-A0ED-51D9A0EA1E44}" type="presParOf" srcId="{4B7DB6AF-397B-4376-9F4E-8D15CF5AF092}" destId="{2546A0B2-9035-4360-8409-4E513060D278}" srcOrd="0" destOrd="0" presId="urn:microsoft.com/office/officeart/2005/8/layout/hList2"/>
    <dgm:cxn modelId="{0D6ECA79-164A-4A2C-8AB6-19192474BDA1}" type="presParOf" srcId="{4B7DB6AF-397B-4376-9F4E-8D15CF5AF092}" destId="{FD0EE97F-9EE0-45F6-8EB3-CC1B8610EEBF}" srcOrd="1" destOrd="0" presId="urn:microsoft.com/office/officeart/2005/8/layout/hList2"/>
    <dgm:cxn modelId="{32F35F02-ABAA-4F11-BA5E-20BB8A5EA8AD}" type="presParOf" srcId="{4B7DB6AF-397B-4376-9F4E-8D15CF5AF092}" destId="{72739674-D489-4449-91DE-81DAC222E0EE}" srcOrd="2" destOrd="0" presId="urn:microsoft.com/office/officeart/2005/8/layout/hList2"/>
    <dgm:cxn modelId="{7F4E1D03-8EAD-4215-AA30-1BEDD1E79AD6}" type="presParOf" srcId="{8E554730-ACAE-4752-BC87-1447D51B5125}" destId="{E30FAF83-FFC9-4CD7-9733-CA14E63AB245}" srcOrd="1" destOrd="0" presId="urn:microsoft.com/office/officeart/2005/8/layout/hList2"/>
    <dgm:cxn modelId="{040E9229-BAEE-4019-87D9-111F36A19D3C}" type="presParOf" srcId="{8E554730-ACAE-4752-BC87-1447D51B5125}" destId="{2EFCD0D7-1DC6-4832-BD10-ED18753F6C61}" srcOrd="2" destOrd="0" presId="urn:microsoft.com/office/officeart/2005/8/layout/hList2"/>
    <dgm:cxn modelId="{4510A072-E51A-4EB4-A21E-F80C1930D3EF}" type="presParOf" srcId="{2EFCD0D7-1DC6-4832-BD10-ED18753F6C61}" destId="{2E6EE62E-FEE1-49BE-90A0-3831C990A763}" srcOrd="0" destOrd="0" presId="urn:microsoft.com/office/officeart/2005/8/layout/hList2"/>
    <dgm:cxn modelId="{67F702D4-ED53-4861-B518-AA5D4E8EB0AB}" type="presParOf" srcId="{2EFCD0D7-1DC6-4832-BD10-ED18753F6C61}" destId="{E5B406DD-0323-4625-9F7F-5A54EA0B6FA2}" srcOrd="1" destOrd="0" presId="urn:microsoft.com/office/officeart/2005/8/layout/hList2"/>
    <dgm:cxn modelId="{E0ADAAE6-9B19-4D71-969A-09D983E14D0F}" type="presParOf" srcId="{2EFCD0D7-1DC6-4832-BD10-ED18753F6C61}" destId="{289063F3-B7B9-4A6F-A2A1-E038F29F6102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739674-D489-4449-91DE-81DAC222E0EE}">
      <dsp:nvSpPr>
        <dsp:cNvPr id="0" name=""/>
        <dsp:cNvSpPr/>
      </dsp:nvSpPr>
      <dsp:spPr>
        <a:xfrm rot="16200000">
          <a:off x="-1631691" y="2693903"/>
          <a:ext cx="4341386" cy="4918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33805" bIns="0" numCol="1" spcCol="1270" anchor="t" anchorCtr="0">
          <a:noAutofit/>
        </a:bodyPr>
        <a:lstStyle/>
        <a:p>
          <a:pPr lvl="0" algn="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/>
        </a:p>
      </dsp:txBody>
      <dsp:txXfrm>
        <a:off x="-1631691" y="2693903"/>
        <a:ext cx="4341386" cy="491873"/>
      </dsp:txXfrm>
    </dsp:sp>
    <dsp:sp modelId="{FD0EE97F-9EE0-45F6-8EB3-CC1B8610EEBF}">
      <dsp:nvSpPr>
        <dsp:cNvPr id="0" name=""/>
        <dsp:cNvSpPr/>
      </dsp:nvSpPr>
      <dsp:spPr>
        <a:xfrm>
          <a:off x="0" y="799211"/>
          <a:ext cx="3495537" cy="469794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433805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Почтальон</a:t>
          </a:r>
          <a:endParaRPr lang="ru-RU" sz="16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b="1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1" i="0" kern="1200" dirty="0" smtClean="0"/>
            <a:t>Мы предлагаем:</a:t>
          </a:r>
          <a:endParaRPr lang="ru-RU" sz="1200" b="1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Стабильную заработную плату от 25 000 до 28 000 руб. дважды в месяц до вычета налога (состоит из оклада, премии и дополнительных выплат)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График работы 6/1, воскресенье стабильно выходной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Возможность выбрать отделение почты рядом с домом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1" i="0" kern="1200" dirty="0" smtClean="0"/>
            <a:t>Что нужно будет делать: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Доставлять и вручать адресатам почтовые отправления, пенсии и пособия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Вести учет и документальное оформление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Поддерживать высокий уровень сервиса для клиентов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1" kern="1200" dirty="0"/>
        </a:p>
      </dsp:txBody>
      <dsp:txXfrm>
        <a:off x="0" y="799211"/>
        <a:ext cx="3495537" cy="4697944"/>
      </dsp:txXfrm>
    </dsp:sp>
    <dsp:sp modelId="{2546A0B2-9035-4360-8409-4E513060D278}">
      <dsp:nvSpPr>
        <dsp:cNvPr id="0" name=""/>
        <dsp:cNvSpPr/>
      </dsp:nvSpPr>
      <dsp:spPr>
        <a:xfrm>
          <a:off x="7082738" y="4"/>
          <a:ext cx="578226" cy="702395"/>
        </a:xfrm>
        <a:prstGeom prst="rect">
          <a:avLst/>
        </a:prstGeom>
        <a:blipFill>
          <a:blip xmlns:r="http://schemas.openxmlformats.org/officeDocument/2006/relationships" r:embed="rId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063F3-B7B9-4A6F-A2A1-E038F29F6102}">
      <dsp:nvSpPr>
        <dsp:cNvPr id="0" name=""/>
        <dsp:cNvSpPr/>
      </dsp:nvSpPr>
      <dsp:spPr>
        <a:xfrm rot="16200000">
          <a:off x="2479675" y="2702693"/>
          <a:ext cx="4341386" cy="4918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33805" bIns="0" numCol="1" spcCol="1270" anchor="t" anchorCtr="0">
          <a:noAutofit/>
        </a:bodyPr>
        <a:lstStyle/>
        <a:p>
          <a:pPr lvl="0" algn="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/>
        </a:p>
      </dsp:txBody>
      <dsp:txXfrm>
        <a:off x="2479675" y="2702693"/>
        <a:ext cx="4341386" cy="491873"/>
      </dsp:txXfrm>
    </dsp:sp>
    <dsp:sp modelId="{E5B406DD-0323-4625-9F7F-5A54EA0B6FA2}">
      <dsp:nvSpPr>
        <dsp:cNvPr id="0" name=""/>
        <dsp:cNvSpPr/>
      </dsp:nvSpPr>
      <dsp:spPr>
        <a:xfrm>
          <a:off x="4186929" y="808001"/>
          <a:ext cx="3488946" cy="471339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433805" rIns="1137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/>
            <a:t>Оператор</a:t>
          </a:r>
          <a:endParaRPr lang="ru-RU" sz="16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200" b="1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1" i="0" kern="1200" dirty="0" smtClean="0"/>
            <a:t>Мы предлагаем:</a:t>
          </a:r>
          <a:endParaRPr lang="ru-RU" sz="1000" b="1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Стабильную заработную плату от 35 000 руб. до 39 000 руб. дважды в месяц до вычета налога, (состоит из оклада, премии и дополнительных выплат)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График работы 2/2, 5/2 плавающие выходные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Возможность выбрать работу рядом с домом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b="0" i="0" kern="1200" dirty="0" smtClean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1" i="0" kern="1200" dirty="0" smtClean="0"/>
            <a:t>Что нужно будет делать: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Консультировать клиентов по услугам Почты России.</a:t>
          </a:r>
          <a:endParaRPr lang="ru-RU" sz="1000" b="0" i="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Принимать, обрабатывать, вручать почтовые отправления.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000" b="0" i="0" kern="1200" dirty="0" smtClean="0"/>
            <a:t>Осуществлять денежные переводы, прием платежей, выплату пенсий и пособий.</a:t>
          </a:r>
        </a:p>
      </dsp:txBody>
      <dsp:txXfrm>
        <a:off x="4186929" y="808001"/>
        <a:ext cx="3488946" cy="4713399"/>
      </dsp:txXfrm>
    </dsp:sp>
    <dsp:sp modelId="{2E6EE62E-FEE1-49BE-90A0-3831C990A763}">
      <dsp:nvSpPr>
        <dsp:cNvPr id="0" name=""/>
        <dsp:cNvSpPr/>
      </dsp:nvSpPr>
      <dsp:spPr>
        <a:xfrm>
          <a:off x="2861149" y="4"/>
          <a:ext cx="623459" cy="719974"/>
        </a:xfrm>
        <a:prstGeom prst="rect">
          <a:avLst/>
        </a:prstGeom>
        <a:blipFill>
          <a:blip xmlns:r="http://schemas.openxmlformats.org/officeDocument/2006/relationships"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3034E-1B14-48C1-B603-0D2CE6CB6985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634E1B-93EA-4A48-B1B6-1205932601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5649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19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E73E3D-4255-4BEF-81C8-40FFDC603DE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8196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990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4Разбираем </a:t>
            </a:r>
            <a:r>
              <a:rPr lang="ru-RU" dirty="0"/>
              <a:t>структуру макрорегиональных центров на примере своего МР – создать аналогичных этому слайду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E73E3D-4255-4BEF-81C8-40FFDC603DE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5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048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3452C-BB17-4557-923D-DDCDCF8DF1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E34B16-7AEF-4E8E-AE9A-EA615B6893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CBD5BC-C346-4E82-A10D-CDE04D2868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AFE64A-BE9E-471C-B091-953783567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DD2047-B72B-42F1-B16C-D049C186F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792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F31B2-1BD5-4348-883B-EE8FD6126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59E3B9-0CAF-4323-819B-C6961275E16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E8093-C6E2-4645-A307-E17A31CE1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A0C84-0960-4E81-BE12-E5E9CD2058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856E60-DB85-4425-9B98-36D22F0EC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58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696668-60B8-4315-A613-6BF5DA25B6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809B309-2265-41F5-8858-9B579BB535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8C87CA-9D30-4E60-92FF-600F43BF9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376F70-B2AA-465E-B7A9-8342E0F81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1DD16-DF80-484C-8A82-6E759D1C6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316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2" y="453311"/>
            <a:ext cx="8591385" cy="802309"/>
          </a:xfrm>
        </p:spPr>
        <p:txBody>
          <a:bodyPr lIns="0" tIns="0" rIns="0" bIns="0" anchor="t">
            <a:normAutofit/>
          </a:bodyPr>
          <a:lstStyle>
            <a:lvl1pPr algn="l">
              <a:defRPr sz="261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40044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главление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54000" y="1537573"/>
            <a:ext cx="6604000" cy="481289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09036" rtl="0" eaLnBrk="1" fontAlgn="auto" latinLnBrk="0" hangingPunct="1">
              <a:lnSpc>
                <a:spcPts val="346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398" baseline="0"/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Раздел 1 …………………….. 2</a:t>
            </a:r>
          </a:p>
          <a:p>
            <a:pPr lvl="0"/>
            <a:r>
              <a:rPr lang="ru-RU" dirty="0" smtClean="0"/>
              <a:t>Раздел 2 …………………….. 6</a:t>
            </a:r>
          </a:p>
          <a:p>
            <a:pPr lvl="0"/>
            <a:r>
              <a:rPr lang="ru-RU" dirty="0" smtClean="0"/>
              <a:t>Раздел 3 …………………….. 8</a:t>
            </a:r>
          </a:p>
          <a:p>
            <a:pPr lvl="0"/>
            <a:r>
              <a:rPr lang="ru-RU" dirty="0" smtClean="0"/>
              <a:t>Раздел 4 …………………… 12</a:t>
            </a:r>
          </a:p>
          <a:p>
            <a:pPr lvl="0"/>
            <a:r>
              <a:rPr lang="ru-RU" dirty="0" smtClean="0"/>
              <a:t>Раздел 5 …………………… 15</a:t>
            </a:r>
          </a:p>
          <a:p>
            <a:pPr lvl="0"/>
            <a:r>
              <a:rPr lang="ru-RU" dirty="0" smtClean="0"/>
              <a:t>Раздел 6 …………………… 18</a:t>
            </a:r>
          </a:p>
        </p:txBody>
      </p:sp>
    </p:spTree>
    <p:extLst>
      <p:ext uri="{BB962C8B-B14F-4D97-AF65-F5344CB8AC3E}">
        <p14:creationId xmlns:p14="http://schemas.microsoft.com/office/powerpoint/2010/main" val="27722214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коротк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54000" y="1537574"/>
            <a:ext cx="8890000" cy="481289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None/>
              <a:defRPr sz="3197"/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Короткий текст </a:t>
            </a:r>
            <a:r>
              <a:rPr lang="ru-RU" dirty="0" err="1" smtClean="0"/>
              <a:t>Arial</a:t>
            </a:r>
            <a:r>
              <a:rPr lang="ru-RU" dirty="0" smtClean="0"/>
              <a:t> 24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 открывает новые возможности присутствия вашего бизнеса в каждом населенном пункте России.</a:t>
            </a:r>
            <a:endParaRPr lang="en-US" dirty="0" smtClean="0"/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1794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вводный текс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54000" y="1537573"/>
            <a:ext cx="6604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931"/>
              </a:lnSpc>
              <a:spcBef>
                <a:spcPts val="0"/>
              </a:spcBef>
              <a:buNone/>
              <a:defRPr sz="2398"/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Вводный текст </a:t>
            </a:r>
            <a:r>
              <a:rPr lang="ru-RU" dirty="0" err="1" smtClean="0"/>
              <a:t>Arial</a:t>
            </a:r>
            <a:r>
              <a:rPr lang="ru-RU" dirty="0" smtClean="0"/>
              <a:t> 1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  <a:endParaRPr lang="en-US" dirty="0" smtClean="0"/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"/>
          </p:nvPr>
        </p:nvSpPr>
        <p:spPr>
          <a:xfrm>
            <a:off x="7095067" y="1537573"/>
            <a:ext cx="4859867" cy="4812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3"/>
            </a:lvl1pPr>
            <a:lvl2pPr marL="609036" indent="0">
              <a:buNone/>
              <a:defRPr sz="3730"/>
            </a:lvl2pPr>
            <a:lvl3pPr marL="1218072" indent="0">
              <a:buNone/>
              <a:defRPr sz="3197"/>
            </a:lvl3pPr>
            <a:lvl4pPr marL="1827108" indent="0">
              <a:buNone/>
              <a:defRPr sz="2664"/>
            </a:lvl4pPr>
            <a:lvl5pPr marL="2436144" indent="0">
              <a:buNone/>
              <a:defRPr sz="2664"/>
            </a:lvl5pPr>
            <a:lvl6pPr marL="3045181" indent="0">
              <a:buNone/>
              <a:defRPr sz="2664"/>
            </a:lvl6pPr>
            <a:lvl7pPr marL="3654217" indent="0">
              <a:buNone/>
              <a:defRPr sz="2664"/>
            </a:lvl7pPr>
            <a:lvl8pPr marL="4263253" indent="0">
              <a:buNone/>
              <a:defRPr sz="2664"/>
            </a:lvl8pPr>
            <a:lvl9pPr marL="4872289" indent="0">
              <a:buNone/>
              <a:defRPr sz="2664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43063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54000" y="1537573"/>
            <a:ext cx="4318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4826000" y="1537573"/>
            <a:ext cx="4318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1110287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, заголовки и спис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54000" y="2931065"/>
            <a:ext cx="4318000" cy="341940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99" baseline="0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 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4826000" y="1537574"/>
            <a:ext cx="4318000" cy="19764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и открывает новые возможности присутствия</a:t>
            </a:r>
            <a:r>
              <a:rPr lang="en-US" dirty="0" smtClean="0"/>
              <a:t> </a:t>
            </a:r>
            <a:r>
              <a:rPr lang="ru-RU" dirty="0" smtClean="0"/>
              <a:t>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half" idx="11" hasCustomPrompt="1"/>
          </p:nvPr>
        </p:nvSpPr>
        <p:spPr>
          <a:xfrm>
            <a:off x="254000" y="1537573"/>
            <a:ext cx="4318000" cy="9148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398" baseline="0">
                <a:solidFill>
                  <a:schemeClr val="tx1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Заголовок первого уровня, </a:t>
            </a:r>
            <a:r>
              <a:rPr lang="en-US" dirty="0" smtClean="0"/>
              <a:t>Arial 18 pt</a:t>
            </a:r>
            <a:endParaRPr lang="ru-RU" dirty="0" smtClean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254000" y="2454532"/>
            <a:ext cx="4318000" cy="47653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5" baseline="0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Заголовок второго уровня</a:t>
            </a:r>
            <a:r>
              <a:rPr lang="en-US" dirty="0" smtClean="0"/>
              <a:t> </a:t>
            </a:r>
            <a:r>
              <a:rPr lang="ru-RU" dirty="0" err="1" smtClean="0"/>
              <a:t>Arial</a:t>
            </a:r>
            <a:r>
              <a:rPr lang="ru-RU" dirty="0" smtClean="0"/>
              <a:t> 14 </a:t>
            </a:r>
            <a:r>
              <a:rPr lang="ru-RU" dirty="0" err="1" smtClean="0"/>
              <a:t>pt</a:t>
            </a:r>
            <a:endParaRPr lang="ru-RU" dirty="0" smtClean="0"/>
          </a:p>
        </p:txBody>
      </p:sp>
      <p:sp>
        <p:nvSpPr>
          <p:cNvPr id="9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4826000" y="4129800"/>
            <a:ext cx="4318000" cy="804310"/>
          </a:xfrm>
          <a:prstGeom prst="rect">
            <a:avLst/>
          </a:prstGeom>
        </p:spPr>
        <p:txBody>
          <a:bodyPr lIns="0" tIns="0" rIns="0" bIns="0"/>
          <a:lstStyle>
            <a:lvl1pPr marL="228389" indent="-228389" algn="l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ервый пункт списка с буллитами</a:t>
            </a:r>
          </a:p>
          <a:p>
            <a:pPr lvl="0"/>
            <a:r>
              <a:rPr lang="ru-RU" dirty="0" smtClean="0"/>
              <a:t>Второй пункт списка с буллитами</a:t>
            </a:r>
          </a:p>
          <a:p>
            <a:pPr lvl="0"/>
            <a:r>
              <a:rPr lang="ru-RU" dirty="0" smtClean="0"/>
              <a:t>Третий пункт списка с буллитами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half" idx="14" hasCustomPrompt="1"/>
          </p:nvPr>
        </p:nvSpPr>
        <p:spPr>
          <a:xfrm>
            <a:off x="4826000" y="3821924"/>
            <a:ext cx="4318000" cy="30787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Список с буллитами</a:t>
            </a:r>
            <a:endParaRPr lang="en-US" dirty="0" smtClean="0"/>
          </a:p>
        </p:txBody>
      </p:sp>
      <p:sp>
        <p:nvSpPr>
          <p:cNvPr id="11" name="Текст 3"/>
          <p:cNvSpPr>
            <a:spLocks noGrp="1"/>
          </p:cNvSpPr>
          <p:nvPr>
            <p:ph type="body" sz="half" idx="15" hasCustomPrompt="1"/>
          </p:nvPr>
        </p:nvSpPr>
        <p:spPr>
          <a:xfrm>
            <a:off x="4826000" y="5324277"/>
            <a:ext cx="4318000" cy="1026192"/>
          </a:xfrm>
          <a:prstGeom prst="rect">
            <a:avLst/>
          </a:prstGeom>
        </p:spPr>
        <p:txBody>
          <a:bodyPr lIns="0" tIns="0" rIns="0" bIns="0"/>
          <a:lstStyle>
            <a:lvl1pPr marL="304518" indent="-304518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ервый пункт нумерованного списка</a:t>
            </a:r>
          </a:p>
          <a:p>
            <a:pPr lvl="0"/>
            <a:r>
              <a:rPr lang="ru-RU" dirty="0" smtClean="0"/>
              <a:t>Второй пункт нумерованного списка</a:t>
            </a:r>
          </a:p>
          <a:p>
            <a:pPr lvl="0"/>
            <a:r>
              <a:rPr lang="ru-RU" dirty="0" smtClean="0"/>
              <a:t>Третий пункт нумерованного списка</a:t>
            </a:r>
          </a:p>
        </p:txBody>
      </p:sp>
      <p:sp>
        <p:nvSpPr>
          <p:cNvPr id="14" name="Текст 3"/>
          <p:cNvSpPr>
            <a:spLocks noGrp="1"/>
          </p:cNvSpPr>
          <p:nvPr>
            <p:ph type="body" sz="half" idx="16" hasCustomPrompt="1"/>
          </p:nvPr>
        </p:nvSpPr>
        <p:spPr>
          <a:xfrm>
            <a:off x="4826000" y="5016401"/>
            <a:ext cx="4318000" cy="30787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Нумерованный список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39374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 + график/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254000" y="1537574"/>
            <a:ext cx="4318000" cy="4812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0" baseline="0"/>
            </a:lvl1pPr>
            <a:lvl2pPr>
              <a:defRPr sz="3197"/>
            </a:lvl2pPr>
            <a:lvl3pPr>
              <a:defRPr sz="2664"/>
            </a:lvl3pPr>
            <a:lvl4pPr>
              <a:defRPr sz="2398"/>
            </a:lvl4pPr>
            <a:lvl5pPr>
              <a:defRPr sz="2398"/>
            </a:lvl5pPr>
            <a:lvl6pPr>
              <a:defRPr sz="2398"/>
            </a:lvl6pPr>
            <a:lvl7pPr>
              <a:defRPr sz="2398"/>
            </a:lvl7pPr>
            <a:lvl8pPr>
              <a:defRPr sz="2398"/>
            </a:lvl8pPr>
            <a:lvl9pPr>
              <a:defRPr sz="2398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4826000" y="1537573"/>
            <a:ext cx="4318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99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919545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два фото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7" name="Рисунок 2"/>
          <p:cNvSpPr>
            <a:spLocks noGrp="1"/>
          </p:cNvSpPr>
          <p:nvPr>
            <p:ph type="pic" idx="11"/>
          </p:nvPr>
        </p:nvSpPr>
        <p:spPr>
          <a:xfrm>
            <a:off x="254000" y="1537573"/>
            <a:ext cx="4826000" cy="4812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3"/>
            </a:lvl1pPr>
            <a:lvl2pPr marL="609036" indent="0">
              <a:buNone/>
              <a:defRPr sz="3730"/>
            </a:lvl2pPr>
            <a:lvl3pPr marL="1218072" indent="0">
              <a:buNone/>
              <a:defRPr sz="3197"/>
            </a:lvl3pPr>
            <a:lvl4pPr marL="1827108" indent="0">
              <a:buNone/>
              <a:defRPr sz="2664"/>
            </a:lvl4pPr>
            <a:lvl5pPr marL="2436144" indent="0">
              <a:buNone/>
              <a:defRPr sz="2664"/>
            </a:lvl5pPr>
            <a:lvl6pPr marL="3045181" indent="0">
              <a:buNone/>
              <a:defRPr sz="2664"/>
            </a:lvl6pPr>
            <a:lvl7pPr marL="3654217" indent="0">
              <a:buNone/>
              <a:defRPr sz="2664"/>
            </a:lvl7pPr>
            <a:lvl8pPr marL="4263253" indent="0">
              <a:buNone/>
              <a:defRPr sz="2664"/>
            </a:lvl8pPr>
            <a:lvl9pPr marL="4872289" indent="0">
              <a:buNone/>
              <a:defRPr sz="2664"/>
            </a:lvl9pPr>
          </a:lstStyle>
          <a:p>
            <a:endParaRPr lang="ru-RU" dirty="0"/>
          </a:p>
        </p:txBody>
      </p:sp>
      <p:sp>
        <p:nvSpPr>
          <p:cNvPr id="15" name="Рисунок 2"/>
          <p:cNvSpPr>
            <a:spLocks noGrp="1"/>
          </p:cNvSpPr>
          <p:nvPr>
            <p:ph type="pic" idx="12"/>
          </p:nvPr>
        </p:nvSpPr>
        <p:spPr>
          <a:xfrm>
            <a:off x="5334000" y="1537573"/>
            <a:ext cx="4826000" cy="4812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3"/>
            </a:lvl1pPr>
            <a:lvl2pPr marL="609036" indent="0">
              <a:buNone/>
              <a:defRPr sz="3730"/>
            </a:lvl2pPr>
            <a:lvl3pPr marL="1218072" indent="0">
              <a:buNone/>
              <a:defRPr sz="3197"/>
            </a:lvl3pPr>
            <a:lvl4pPr marL="1827108" indent="0">
              <a:buNone/>
              <a:defRPr sz="2664"/>
            </a:lvl4pPr>
            <a:lvl5pPr marL="2436144" indent="0">
              <a:buNone/>
              <a:defRPr sz="2664"/>
            </a:lvl5pPr>
            <a:lvl6pPr marL="3045181" indent="0">
              <a:buNone/>
              <a:defRPr sz="2664"/>
            </a:lvl6pPr>
            <a:lvl7pPr marL="3654217" indent="0">
              <a:buNone/>
              <a:defRPr sz="2664"/>
            </a:lvl7pPr>
            <a:lvl8pPr marL="4263253" indent="0">
              <a:buNone/>
              <a:defRPr sz="2664"/>
            </a:lvl8pPr>
            <a:lvl9pPr marL="4872289" indent="0">
              <a:buNone/>
              <a:defRPr sz="2664"/>
            </a:lvl9pPr>
          </a:lstStyle>
          <a:p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10414000" y="1537573"/>
            <a:ext cx="1524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66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</p:spTree>
    <p:extLst>
      <p:ext uri="{BB962C8B-B14F-4D97-AF65-F5344CB8AC3E}">
        <p14:creationId xmlns:p14="http://schemas.microsoft.com/office/powerpoint/2010/main" val="3320092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C752A-A267-4E24-91C5-C1277BB3B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90B0B1-4D99-48A6-AA54-EF2C569421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DF0B9C-C850-4906-B668-AA0CF51FF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814E95-7250-405A-9893-A6A61F3CF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3C3D5A-06C8-4938-B3A9-0AC9942F17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51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два графика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254000" y="1537574"/>
            <a:ext cx="4826000" cy="4812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0" baseline="0"/>
            </a:lvl1pPr>
            <a:lvl2pPr>
              <a:defRPr sz="3197"/>
            </a:lvl2pPr>
            <a:lvl3pPr>
              <a:defRPr sz="2664"/>
            </a:lvl3pPr>
            <a:lvl4pPr>
              <a:defRPr sz="2398"/>
            </a:lvl4pPr>
            <a:lvl5pPr>
              <a:defRPr sz="2398"/>
            </a:lvl5pPr>
            <a:lvl6pPr>
              <a:defRPr sz="2398"/>
            </a:lvl6pPr>
            <a:lvl7pPr>
              <a:defRPr sz="2398"/>
            </a:lvl7pPr>
            <a:lvl8pPr>
              <a:defRPr sz="2398"/>
            </a:lvl8pPr>
            <a:lvl9pPr>
              <a:defRPr sz="2398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10414000" y="1537573"/>
            <a:ext cx="1524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66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sz="half" idx="13" hasCustomPrompt="1"/>
          </p:nvPr>
        </p:nvSpPr>
        <p:spPr>
          <a:xfrm>
            <a:off x="5334000" y="1537574"/>
            <a:ext cx="4826000" cy="48128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0" baseline="0"/>
            </a:lvl1pPr>
            <a:lvl2pPr>
              <a:defRPr sz="3197"/>
            </a:lvl2pPr>
            <a:lvl3pPr>
              <a:defRPr sz="2664"/>
            </a:lvl3pPr>
            <a:lvl4pPr>
              <a:defRPr sz="2398"/>
            </a:lvl4pPr>
            <a:lvl5pPr>
              <a:defRPr sz="2398"/>
            </a:lvl5pPr>
            <a:lvl6pPr>
              <a:defRPr sz="2398"/>
            </a:lvl6pPr>
            <a:lvl7pPr>
              <a:defRPr sz="2398"/>
            </a:lvl7pPr>
            <a:lvl8pPr>
              <a:defRPr sz="2398"/>
            </a:lvl8pPr>
            <a:lvl9pPr>
              <a:defRPr sz="2398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51520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ое фото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7" name="Рисунок 2"/>
          <p:cNvSpPr>
            <a:spLocks noGrp="1"/>
          </p:cNvSpPr>
          <p:nvPr>
            <p:ph type="pic" idx="11"/>
          </p:nvPr>
        </p:nvSpPr>
        <p:spPr>
          <a:xfrm>
            <a:off x="254000" y="1537573"/>
            <a:ext cx="9906000" cy="48128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3"/>
            </a:lvl1pPr>
            <a:lvl2pPr marL="609036" indent="0">
              <a:buNone/>
              <a:defRPr sz="3730"/>
            </a:lvl2pPr>
            <a:lvl3pPr marL="1218072" indent="0">
              <a:buNone/>
              <a:defRPr sz="3197"/>
            </a:lvl3pPr>
            <a:lvl4pPr marL="1827108" indent="0">
              <a:buNone/>
              <a:defRPr sz="2664"/>
            </a:lvl4pPr>
            <a:lvl5pPr marL="2436144" indent="0">
              <a:buNone/>
              <a:defRPr sz="2664"/>
            </a:lvl5pPr>
            <a:lvl6pPr marL="3045181" indent="0">
              <a:buNone/>
              <a:defRPr sz="2664"/>
            </a:lvl6pPr>
            <a:lvl7pPr marL="3654217" indent="0">
              <a:buNone/>
              <a:defRPr sz="2664"/>
            </a:lvl7pPr>
            <a:lvl8pPr marL="4263253" indent="0">
              <a:buNone/>
              <a:defRPr sz="2664"/>
            </a:lvl8pPr>
            <a:lvl9pPr marL="4872289" indent="0">
              <a:buNone/>
              <a:defRPr sz="2664"/>
            </a:lvl9pPr>
          </a:lstStyle>
          <a:p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10414000" y="1537573"/>
            <a:ext cx="1524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66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</p:spTree>
    <p:extLst>
      <p:ext uri="{BB962C8B-B14F-4D97-AF65-F5344CB8AC3E}">
        <p14:creationId xmlns:p14="http://schemas.microsoft.com/office/powerpoint/2010/main" val="41746450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254000" y="1537574"/>
            <a:ext cx="11684000" cy="4812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0" baseline="0"/>
            </a:lvl1pPr>
            <a:lvl2pPr>
              <a:defRPr sz="3197"/>
            </a:lvl2pPr>
            <a:lvl3pPr>
              <a:defRPr sz="2664"/>
            </a:lvl3pPr>
            <a:lvl4pPr>
              <a:defRPr sz="2398"/>
            </a:lvl4pPr>
            <a:lvl5pPr>
              <a:defRPr sz="2398"/>
            </a:lvl5pPr>
            <a:lvl6pPr>
              <a:defRPr sz="2398"/>
            </a:lvl6pPr>
            <a:lvl7pPr>
              <a:defRPr sz="2398"/>
            </a:lvl7pPr>
            <a:lvl8pPr>
              <a:defRPr sz="2398"/>
            </a:lvl8pPr>
            <a:lvl9pPr>
              <a:defRPr sz="2398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4470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ая таблица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54000" y="162719"/>
            <a:ext cx="9433965" cy="105926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3197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10414000" y="1537573"/>
            <a:ext cx="1524000" cy="481289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66">
                <a:solidFill>
                  <a:schemeClr val="tx2"/>
                </a:solidFill>
              </a:defRPr>
            </a:lvl1pPr>
            <a:lvl2pPr marL="609036" indent="0">
              <a:buNone/>
              <a:defRPr sz="1599"/>
            </a:lvl2pPr>
            <a:lvl3pPr marL="1218072" indent="0">
              <a:buNone/>
              <a:defRPr sz="1332"/>
            </a:lvl3pPr>
            <a:lvl4pPr marL="1827108" indent="0">
              <a:buNone/>
              <a:defRPr sz="1199"/>
            </a:lvl4pPr>
            <a:lvl5pPr marL="2436144" indent="0">
              <a:buNone/>
              <a:defRPr sz="1199"/>
            </a:lvl5pPr>
            <a:lvl6pPr marL="3045181" indent="0">
              <a:buNone/>
              <a:defRPr sz="1199"/>
            </a:lvl6pPr>
            <a:lvl7pPr marL="3654217" indent="0">
              <a:buNone/>
              <a:defRPr sz="1199"/>
            </a:lvl7pPr>
            <a:lvl8pPr marL="4263253" indent="0">
              <a:buNone/>
              <a:defRPr sz="1199"/>
            </a:lvl8pPr>
            <a:lvl9pPr marL="4872289" indent="0">
              <a:buNone/>
              <a:defRPr sz="1199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5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254000" y="1537574"/>
            <a:ext cx="9906000" cy="4812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730" baseline="0"/>
            </a:lvl1pPr>
            <a:lvl2pPr>
              <a:defRPr sz="3197"/>
            </a:lvl2pPr>
            <a:lvl3pPr>
              <a:defRPr sz="2664"/>
            </a:lvl3pPr>
            <a:lvl4pPr>
              <a:defRPr sz="2398"/>
            </a:lvl4pPr>
            <a:lvl5pPr>
              <a:defRPr sz="2398"/>
            </a:lvl5pPr>
            <a:lvl6pPr>
              <a:defRPr sz="2398"/>
            </a:lvl6pPr>
            <a:lvl7pPr>
              <a:defRPr sz="2398"/>
            </a:lvl7pPr>
            <a:lvl8pPr>
              <a:defRPr sz="2398"/>
            </a:lvl8pPr>
            <a:lvl9pPr>
              <a:defRPr sz="2398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3165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8024483" y="760202"/>
            <a:ext cx="3468464" cy="613045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013" y="738965"/>
            <a:ext cx="1741219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2013" y="1738064"/>
            <a:ext cx="6265283" cy="1690936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3212" b="1" dirty="0"/>
              <a:t>ЗАГОЛОВОК ПРЕЗЕНТАЦИИ</a:t>
            </a:r>
            <a:br>
              <a:rPr lang="ru-RU" sz="3212" b="1" dirty="0"/>
            </a:br>
            <a:r>
              <a:rPr lang="ru-RU" sz="3212" b="1" dirty="0"/>
              <a:t>ВСЕГДА НАБИРАЕТСЯ ЗАГЛАВНЫМ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602013" y="5892165"/>
            <a:ext cx="4736139" cy="33752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5"/>
            </a:lvl1pPr>
          </a:lstStyle>
          <a:p>
            <a:r>
              <a:rPr lang="ru-RU" sz="1205" dirty="0"/>
              <a:t>Москва, 2021 год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EB2967-F9F3-7B4E-9838-782336167777}"/>
              </a:ext>
            </a:extLst>
          </p:cNvPr>
          <p:cNvSpPr/>
          <p:nvPr userDrawn="1"/>
        </p:nvSpPr>
        <p:spPr>
          <a:xfrm>
            <a:off x="8024483" y="729538"/>
            <a:ext cx="240947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5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985008-959B-3A42-BF9D-5171F83CB8C2}"/>
              </a:ext>
            </a:extLst>
          </p:cNvPr>
          <p:cNvSpPr/>
          <p:nvPr userDrawn="1"/>
        </p:nvSpPr>
        <p:spPr>
          <a:xfrm>
            <a:off x="8264583" y="729538"/>
            <a:ext cx="3228278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5"/>
          </a:p>
        </p:txBody>
      </p:sp>
    </p:spTree>
    <p:extLst>
      <p:ext uri="{BB962C8B-B14F-4D97-AF65-F5344CB8AC3E}">
        <p14:creationId xmlns:p14="http://schemas.microsoft.com/office/powerpoint/2010/main" val="449283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602257" y="1385169"/>
            <a:ext cx="3469888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257" y="738965"/>
            <a:ext cx="1741219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312943" y="1372788"/>
            <a:ext cx="5349504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3212" b="1" dirty="0"/>
              <a:t>ОБЛОЖКА РАЗДЕЛА ПРЕЗЕНТАЦИИ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D8EFB9-5B7E-0D43-B045-F748177F1B7E}"/>
              </a:ext>
            </a:extLst>
          </p:cNvPr>
          <p:cNvSpPr/>
          <p:nvPr userDrawn="1"/>
        </p:nvSpPr>
        <p:spPr>
          <a:xfrm>
            <a:off x="602257" y="1352215"/>
            <a:ext cx="233134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5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DAF954-4B41-9E4E-987D-65D02D961EC9}"/>
              </a:ext>
            </a:extLst>
          </p:cNvPr>
          <p:cNvSpPr/>
          <p:nvPr userDrawn="1"/>
        </p:nvSpPr>
        <p:spPr>
          <a:xfrm>
            <a:off x="834544" y="1352215"/>
            <a:ext cx="3237445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5"/>
          </a:p>
        </p:txBody>
      </p:sp>
    </p:spTree>
    <p:extLst>
      <p:ext uri="{BB962C8B-B14F-4D97-AF65-F5344CB8AC3E}">
        <p14:creationId xmlns:p14="http://schemas.microsoft.com/office/powerpoint/2010/main" val="7429561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2" y="453311"/>
            <a:ext cx="8591385" cy="802309"/>
          </a:xfrm>
        </p:spPr>
        <p:txBody>
          <a:bodyPr lIns="0" tIns="0" rIns="0" bIns="0" anchor="t">
            <a:normAutofit/>
          </a:bodyPr>
          <a:lstStyle>
            <a:lvl1pPr algn="l">
              <a:defRPr sz="261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76896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6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pic>
        <p:nvPicPr>
          <p:cNvPr id="11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5140" y="1400568"/>
            <a:ext cx="2016292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85136" y="1303976"/>
            <a:ext cx="3951530" cy="5554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6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5" dirty="0"/>
              <a:t>Работы, проведенные отделом управления клиентской аналитики, для проекта</a:t>
            </a:r>
          </a:p>
        </p:txBody>
      </p: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9806" y="1533440"/>
            <a:ext cx="1775241" cy="3718895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69377" y="1545404"/>
            <a:ext cx="3426453" cy="7135336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3" y="453311"/>
            <a:ext cx="8832338" cy="754011"/>
          </a:xfrm>
        </p:spPr>
        <p:txBody>
          <a:bodyPr lIns="0" tIns="0" rIns="0" bIns="0" anchor="t">
            <a:normAutofit/>
          </a:bodyPr>
          <a:lstStyle>
            <a:lvl1pPr marL="0" algn="l" defTabSz="1217702" rtl="0" eaLnBrk="1" latinLnBrk="0" hangingPunct="1">
              <a:spcBef>
                <a:spcPct val="0"/>
              </a:spcBef>
              <a:buNone/>
              <a:defRPr lang="ru-RU" sz="261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922392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6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6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5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8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5500" y="482944"/>
            <a:ext cx="7954033" cy="6133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3509757" y="1643543"/>
            <a:ext cx="6743154" cy="4103932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76098" h="6118849">
                <a:moveTo>
                  <a:pt x="0" y="11799"/>
                </a:moveTo>
                <a:lnTo>
                  <a:pt x="10076098" y="0"/>
                </a:lnTo>
                <a:lnTo>
                  <a:pt x="10064299" y="5957323"/>
                </a:lnTo>
                <a:cubicBezTo>
                  <a:pt x="10064299" y="6046531"/>
                  <a:pt x="9991981" y="6118849"/>
                  <a:pt x="9902773" y="6118849"/>
                </a:cubicBezTo>
                <a:lnTo>
                  <a:pt x="161526" y="6118849"/>
                </a:lnTo>
                <a:cubicBezTo>
                  <a:pt x="72318" y="6118849"/>
                  <a:pt x="0" y="6046531"/>
                  <a:pt x="0" y="5957323"/>
                </a:cubicBezTo>
                <a:cubicBezTo>
                  <a:pt x="0" y="3916488"/>
                  <a:pt x="1909" y="1966521"/>
                  <a:pt x="0" y="11799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597" y="452246"/>
            <a:ext cx="8675903" cy="810062"/>
          </a:xfrm>
        </p:spPr>
        <p:txBody>
          <a:bodyPr lIns="0" tIns="0" rIns="0" bIns="0" anchor="t">
            <a:normAutofit/>
          </a:bodyPr>
          <a:lstStyle>
            <a:lvl1pPr algn="l">
              <a:defRPr sz="261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271799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6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6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5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2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22744" y="1115236"/>
            <a:ext cx="8722279" cy="530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Рисунок 5"/>
          <p:cNvSpPr>
            <a:spLocks noGrp="1"/>
          </p:cNvSpPr>
          <p:nvPr>
            <p:ph type="pic" sz="quarter" idx="18"/>
          </p:nvPr>
        </p:nvSpPr>
        <p:spPr>
          <a:xfrm>
            <a:off x="4264438" y="1641998"/>
            <a:ext cx="5686820" cy="4298464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61" y="453311"/>
            <a:ext cx="9206825" cy="802309"/>
          </a:xfrm>
        </p:spPr>
        <p:txBody>
          <a:bodyPr lIns="0" tIns="0" rIns="0" bIns="0" anchor="t">
            <a:normAutofit/>
          </a:bodyPr>
          <a:lstStyle>
            <a:lvl1pPr algn="l">
              <a:defRPr sz="261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92279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AF607-129D-4AE5-8C5F-0B10E6C87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ABB20F-05FE-4FBB-B6C4-EC6A028548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7AA2F5-3CF1-47EA-A190-277D2B65F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0406FA-10E0-45EE-A977-AD94CF9A26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1C050B-0134-4389-B785-13A7BE83D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6465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59" y="592796"/>
            <a:ext cx="457841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5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6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6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70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5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3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9121" y="820944"/>
            <a:ext cx="7999439" cy="561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3975467" y="1690810"/>
            <a:ext cx="5686980" cy="3573272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3" y="592796"/>
            <a:ext cx="403891" cy="210318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61" y="453312"/>
            <a:ext cx="9008636" cy="754011"/>
          </a:xfrm>
        </p:spPr>
        <p:txBody>
          <a:bodyPr lIns="0" tIns="0" rIns="0" bIns="0" anchor="t">
            <a:normAutofit/>
          </a:bodyPr>
          <a:lstStyle>
            <a:lvl1pPr algn="l">
              <a:defRPr sz="2610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732945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066" y="1066"/>
          <a:ext cx="1065" cy="10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6" y="1066"/>
                        <a:ext cx="1065" cy="10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8024483" y="760204"/>
            <a:ext cx="3468464" cy="6130449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013" y="738966"/>
            <a:ext cx="1741219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2014" y="1738064"/>
            <a:ext cx="6265283" cy="1690936"/>
          </a:xfrm>
        </p:spPr>
        <p:txBody>
          <a:bodyPr vert="horz" lIns="0" tIns="0" rIns="0" bIns="0" anchor="t"/>
          <a:lstStyle>
            <a:lvl1pPr algn="l">
              <a:defRPr/>
            </a:lvl1pPr>
          </a:lstStyle>
          <a:p>
            <a:r>
              <a:rPr lang="ru-RU" sz="3212" b="1" dirty="0"/>
              <a:t>ЗАГОЛОВОК ПРЕЗЕНТАЦИИ</a:t>
            </a:r>
            <a:br>
              <a:rPr lang="ru-RU" sz="3212" b="1" dirty="0"/>
            </a:br>
            <a:r>
              <a:rPr lang="ru-RU" sz="3212" b="1" dirty="0"/>
              <a:t>ВСЕГДА НАБИРАЕТСЯ ЗАГЛАВНЫМ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602014" y="5892165"/>
            <a:ext cx="4736140" cy="33752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4"/>
            </a:lvl1pPr>
          </a:lstStyle>
          <a:p>
            <a:r>
              <a:rPr lang="ru-RU" sz="1204" dirty="0"/>
              <a:t>Москва, 2021 год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EB2967-F9F3-7B4E-9838-782336167777}"/>
              </a:ext>
            </a:extLst>
          </p:cNvPr>
          <p:cNvSpPr/>
          <p:nvPr userDrawn="1"/>
        </p:nvSpPr>
        <p:spPr>
          <a:xfrm>
            <a:off x="8024484" y="729539"/>
            <a:ext cx="240947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9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985008-959B-3A42-BF9D-5171F83CB8C2}"/>
              </a:ext>
            </a:extLst>
          </p:cNvPr>
          <p:cNvSpPr/>
          <p:nvPr userDrawn="1"/>
        </p:nvSpPr>
        <p:spPr>
          <a:xfrm>
            <a:off x="8264584" y="729539"/>
            <a:ext cx="3228277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9"/>
          </a:p>
        </p:txBody>
      </p:sp>
    </p:spTree>
    <p:extLst>
      <p:ext uri="{BB962C8B-B14F-4D97-AF65-F5344CB8AC3E}">
        <p14:creationId xmlns:p14="http://schemas.microsoft.com/office/powerpoint/2010/main" val="12925793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602257" y="1385169"/>
            <a:ext cx="3469888" cy="5471767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57" y="738966"/>
            <a:ext cx="1741219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4312943" y="1372790"/>
            <a:ext cx="5349504" cy="2056212"/>
          </a:xfrm>
        </p:spPr>
        <p:txBody>
          <a:bodyPr vert="horz" lIns="0" tIns="0" rIns="0" bIns="0" anchor="t"/>
          <a:lstStyle>
            <a:lvl1pPr algn="l">
              <a:defRPr/>
            </a:lvl1pPr>
          </a:lstStyle>
          <a:p>
            <a:r>
              <a:rPr lang="ru-RU" sz="3212" b="1" dirty="0"/>
              <a:t>ОБЛОЖКА РАЗДЕЛА ПРЕЗЕНТАЦИИ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D8EFB9-5B7E-0D43-B045-F748177F1B7E}"/>
              </a:ext>
            </a:extLst>
          </p:cNvPr>
          <p:cNvSpPr/>
          <p:nvPr userDrawn="1"/>
        </p:nvSpPr>
        <p:spPr>
          <a:xfrm>
            <a:off x="602258" y="1352215"/>
            <a:ext cx="233135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9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DAF954-4B41-9E4E-987D-65D02D961EC9}"/>
              </a:ext>
            </a:extLst>
          </p:cNvPr>
          <p:cNvSpPr/>
          <p:nvPr userDrawn="1"/>
        </p:nvSpPr>
        <p:spPr>
          <a:xfrm>
            <a:off x="834544" y="1352215"/>
            <a:ext cx="3237445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409"/>
          </a:p>
        </p:txBody>
      </p:sp>
    </p:spTree>
    <p:extLst>
      <p:ext uri="{BB962C8B-B14F-4D97-AF65-F5344CB8AC3E}">
        <p14:creationId xmlns:p14="http://schemas.microsoft.com/office/powerpoint/2010/main" val="38759435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60" y="592796"/>
            <a:ext cx="457841" cy="210317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11731764" y="592796"/>
            <a:ext cx="403891" cy="210317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2" y="453311"/>
            <a:ext cx="8591385" cy="802309"/>
          </a:xfrm>
        </p:spPr>
        <p:txBody>
          <a:bodyPr vert="horz" lIns="0" tIns="0" rIns="0" bIns="0" anchor="t">
            <a:normAutofit/>
          </a:bodyPr>
          <a:lstStyle>
            <a:lvl1pPr algn="l">
              <a:defRPr sz="2609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33588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60" y="592796"/>
            <a:ext cx="457841" cy="210317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7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pic>
        <p:nvPicPr>
          <p:cNvPr id="11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141" y="1400569"/>
            <a:ext cx="2016292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877"/>
          <a:stretch/>
        </p:blipFill>
        <p:spPr bwMode="auto">
          <a:xfrm>
            <a:off x="6385138" y="1303976"/>
            <a:ext cx="3951529" cy="5554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7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4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4" dirty="0"/>
              <a:t>Работы, проведенные отделом управления клиентской аналитики, для проекта</a:t>
            </a:r>
          </a:p>
        </p:txBody>
      </p: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79806" y="1533439"/>
            <a:ext cx="1775241" cy="3718896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669378" y="1545404"/>
            <a:ext cx="3426453" cy="7135336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4" y="592796"/>
            <a:ext cx="403891" cy="210317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4" y="453311"/>
            <a:ext cx="8832337" cy="754011"/>
          </a:xfrm>
        </p:spPr>
        <p:txBody>
          <a:bodyPr vert="horz" lIns="0" tIns="0" rIns="0" bIns="0" anchor="t">
            <a:normAutofit/>
          </a:bodyPr>
          <a:lstStyle>
            <a:lvl1pPr marL="0" algn="l" defTabSz="1217656" rtl="0" eaLnBrk="1" latinLnBrk="0" hangingPunct="1">
              <a:spcBef>
                <a:spcPct val="0"/>
              </a:spcBef>
              <a:buNone/>
              <a:defRPr lang="ru-RU" sz="2609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67249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60" y="592796"/>
            <a:ext cx="457841" cy="210317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7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7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4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4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8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501" y="482944"/>
            <a:ext cx="7954032" cy="6133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3509758" y="1643545"/>
            <a:ext cx="6743153" cy="4103932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76098" h="6118849">
                <a:moveTo>
                  <a:pt x="0" y="11799"/>
                </a:moveTo>
                <a:lnTo>
                  <a:pt x="10076098" y="0"/>
                </a:lnTo>
                <a:lnTo>
                  <a:pt x="10064299" y="5957323"/>
                </a:lnTo>
                <a:cubicBezTo>
                  <a:pt x="10064299" y="6046531"/>
                  <a:pt x="9991981" y="6118849"/>
                  <a:pt x="9902773" y="6118849"/>
                </a:cubicBezTo>
                <a:lnTo>
                  <a:pt x="161526" y="6118849"/>
                </a:lnTo>
                <a:cubicBezTo>
                  <a:pt x="72318" y="6118849"/>
                  <a:pt x="0" y="6046531"/>
                  <a:pt x="0" y="5957323"/>
                </a:cubicBezTo>
                <a:cubicBezTo>
                  <a:pt x="0" y="3916488"/>
                  <a:pt x="1909" y="1966521"/>
                  <a:pt x="0" y="11799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4" y="592796"/>
            <a:ext cx="403891" cy="210317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598" y="452246"/>
            <a:ext cx="8675903" cy="810063"/>
          </a:xfrm>
        </p:spPr>
        <p:txBody>
          <a:bodyPr vert="horz" lIns="0" tIns="0" rIns="0" bIns="0" anchor="t">
            <a:normAutofit/>
          </a:bodyPr>
          <a:lstStyle>
            <a:lvl1pPr algn="l">
              <a:defRPr sz="2609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860671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60" y="592796"/>
            <a:ext cx="457841" cy="210317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7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7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4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4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2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2745" y="1115237"/>
            <a:ext cx="8722279" cy="530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Рисунок 5"/>
          <p:cNvSpPr>
            <a:spLocks noGrp="1"/>
          </p:cNvSpPr>
          <p:nvPr>
            <p:ph type="pic" sz="quarter" idx="18"/>
          </p:nvPr>
        </p:nvSpPr>
        <p:spPr>
          <a:xfrm>
            <a:off x="4264439" y="1641999"/>
            <a:ext cx="5686820" cy="4298464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/>
          </a:p>
        </p:txBody>
      </p: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4" y="592796"/>
            <a:ext cx="403891" cy="210317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61" y="453311"/>
            <a:ext cx="9206825" cy="802309"/>
          </a:xfrm>
        </p:spPr>
        <p:txBody>
          <a:bodyPr vert="horz" lIns="0" tIns="0" rIns="0" bIns="0" anchor="t">
            <a:normAutofit/>
          </a:bodyPr>
          <a:lstStyle>
            <a:lvl1pPr algn="l">
              <a:defRPr sz="2609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831247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3887" y="627832"/>
            <a:ext cx="1259325" cy="1620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11734160" y="592796"/>
            <a:ext cx="457841" cy="210317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9"/>
            </a:p>
          </p:txBody>
        </p:sp>
      </p:grpSp>
      <p:sp>
        <p:nvSpPr>
          <p:cNvPr id="20" name="TextBox 19"/>
          <p:cNvSpPr txBox="1"/>
          <p:nvPr userDrawn="1"/>
        </p:nvSpPr>
        <p:spPr>
          <a:xfrm rot="16200000">
            <a:off x="9770915" y="3711327"/>
            <a:ext cx="4095733" cy="246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4" dirty="0" err="1">
                <a:solidFill>
                  <a:schemeClr val="bg1">
                    <a:lumMod val="65000"/>
                  </a:schemeClr>
                </a:solidFill>
              </a:rPr>
              <a:t>Коллонтитул</a:t>
            </a:r>
            <a:r>
              <a:rPr lang="ru-RU" sz="1004" dirty="0">
                <a:solidFill>
                  <a:schemeClr val="bg1">
                    <a:lumMod val="65000"/>
                  </a:schemeClr>
                </a:solidFill>
              </a:rPr>
              <a:t> — название презент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7" hasCustomPrompt="1"/>
          </p:nvPr>
        </p:nvSpPr>
        <p:spPr>
          <a:xfrm>
            <a:off x="602377" y="1448809"/>
            <a:ext cx="2795151" cy="2463296"/>
          </a:xfrm>
        </p:spPr>
        <p:txBody>
          <a:bodyPr lIns="0" tIns="0" rIns="0" bIns="0">
            <a:normAutofit/>
          </a:bodyPr>
          <a:lstStyle>
            <a:lvl1pPr marL="0" marR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1204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12176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4" dirty="0"/>
              <a:t>Работы, проведенные отделом управления клиентской аналитики, для проекта</a:t>
            </a:r>
          </a:p>
        </p:txBody>
      </p:sp>
      <p:pic>
        <p:nvPicPr>
          <p:cNvPr id="13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122" y="820944"/>
            <a:ext cx="7999439" cy="5612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3975467" y="1690809"/>
            <a:ext cx="5686980" cy="3573272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731764" y="592796"/>
            <a:ext cx="403891" cy="210317"/>
          </a:xfrm>
        </p:spPr>
        <p:txBody>
          <a:bodyPr lIns="0" tIns="0" rIns="0" bIns="0"/>
          <a:lstStyle>
            <a:lvl1pPr algn="ctr">
              <a:defRPr sz="1071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862" y="453312"/>
            <a:ext cx="9008636" cy="754011"/>
          </a:xfrm>
        </p:spPr>
        <p:txBody>
          <a:bodyPr vert="horz" lIns="0" tIns="0" rIns="0" bIns="0" anchor="t">
            <a:normAutofit/>
          </a:bodyPr>
          <a:lstStyle>
            <a:lvl1pPr algn="l">
              <a:defRPr sz="2609"/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311674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AFB42A-3209-4CE6-B148-93481CDCE1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E6832-6B84-4650-B661-BCC0D2F46259}" type="datetimeFigureOut">
              <a:rPr lang="ru-RU" smtClean="0"/>
              <a:t>08.11.2024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24C776-1A65-4558-81EF-5620DD66AC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C4594-4C94-4374-AAE4-151A9FC8E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2FBBF6-1DBB-409C-BF33-B714444ADC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5751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18FDBE-5D3C-45EA-A37D-6DF68736C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886955-4462-4F5F-9EC3-0B754C0E5F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9006EC-912E-471E-849F-0BB015C455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C49799-4C34-45AF-80B8-4AFF37F474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B2143C-DF00-407C-B124-8B7971665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19D4C6-634C-4024-B978-C7F64D159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66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B19D7-E9DF-4C51-BA06-CF91B5BCE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5AD72D-7156-4B10-BCED-EE2AB44055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6236F5-6A4A-443D-BE3E-D42F11B006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F0E257-6DAE-4D0E-AC9C-90918CEC24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B17FA5-8C37-46F7-8170-402B09B87E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9CACEF-031F-4888-9B22-2AF60A68E2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26C414-2A11-4657-80F1-F30BED224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5940EE-DDC9-476E-A5B6-80CB0BA04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018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8E1CF-F6D7-44F0-A4B5-62A7D3FD53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3EBD93-A458-4EB9-9D8B-B71B2FFA1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556687-D41C-4187-92F3-DE53D07FB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307E9E-A145-4002-9208-ECF09DD6A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416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4EC9E2-70B1-4954-9372-2075E7F830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31934" y="6356350"/>
            <a:ext cx="2743200" cy="365125"/>
          </a:xfrm>
        </p:spPr>
        <p:txBody>
          <a:bodyPr/>
          <a:lstStyle>
            <a:lvl1pPr>
              <a:defRPr>
                <a:solidFill>
                  <a:srgbClr val="1A37FF"/>
                </a:solidFill>
              </a:defRPr>
            </a:lvl1pPr>
          </a:lstStyle>
          <a:p>
            <a:fld id="{995C4CAC-1AC0-4555-935C-E22F5B3261A0}" type="datetimeFigureOut">
              <a:rPr lang="en-US" smtClean="0"/>
              <a:pPr/>
              <a:t>11/8/2024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D77E3A-6517-4B50-903B-C1403C65E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A37FF"/>
                </a:solidFill>
              </a:defRPr>
            </a:lvl1pPr>
          </a:lstStyle>
          <a:p>
            <a:fld id="{415AF933-6352-4049-9076-0AD54EA93A6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66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6D8C65-A74B-433F-A338-500EDFD772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5DBA9-A486-41DB-AB90-E9D86521FC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A43F25-08CD-4CF9-BD93-04CCEC4D25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CE50CE-EB4B-47E2-AFCA-FFB72E837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C51729-A646-4288-8294-FE8818C09D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3F13EE-0D07-4D71-82B1-05A46455E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879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EBDCA-5942-4376-AF46-E77324253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06C193-88D0-417D-BA1A-F4A4BBAE74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054AD3-41D9-4B34-95E4-6864D826AA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165F5F-A246-460F-9808-EDCC709AD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265792-5B45-4FE9-8CEC-9B7CDD20E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5819E3-4DC7-4210-9C32-7D9A47C63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377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78AF58-15BB-4582-A26B-70DCF9E1E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772CA-0E70-49AF-A253-26B5F0EA31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30F5E5-F0A5-47A9-84FE-AF5ED44F56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5C4CAC-1AC0-4555-935C-E22F5B3261A0}" type="datetimeFigureOut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EE6B2F-E203-4D03-A789-966B1E65A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4AFA4B-14B9-4C3A-81B6-776DAB3D1D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5AF933-6352-4049-9076-0AD54EA93A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313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268825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98">
              <a:ln>
                <a:noFill/>
              </a:ln>
              <a:solidFill>
                <a:schemeClr val="tx1"/>
              </a:solidFill>
            </a:endParaRPr>
          </a:p>
        </p:txBody>
      </p:sp>
      <p:pic>
        <p:nvPicPr>
          <p:cNvPr id="15" name="Изображение 14" descr="russian_post_logo_invert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789" y="203012"/>
            <a:ext cx="1690011" cy="81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64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609036" rtl="0" eaLnBrk="1" latinLnBrk="0" hangingPunct="1"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777" indent="-456777" algn="l" defTabSz="609036" rtl="0" eaLnBrk="1" latinLnBrk="0" hangingPunct="1">
        <a:spcBef>
          <a:spcPct val="20000"/>
        </a:spcBef>
        <a:buFont typeface="Arial"/>
        <a:buChar char="•"/>
        <a:defRPr sz="4263" kern="1200">
          <a:solidFill>
            <a:schemeClr val="tx1"/>
          </a:solidFill>
          <a:latin typeface="+mn-lt"/>
          <a:ea typeface="+mn-ea"/>
          <a:cs typeface="+mn-cs"/>
        </a:defRPr>
      </a:lvl1pPr>
      <a:lvl2pPr marL="989684" indent="-380648" algn="l" defTabSz="609036" rtl="0" eaLnBrk="1" latinLnBrk="0" hangingPunct="1">
        <a:spcBef>
          <a:spcPct val="20000"/>
        </a:spcBef>
        <a:buFont typeface="Arial"/>
        <a:buChar char="–"/>
        <a:defRPr sz="3730" kern="1200">
          <a:solidFill>
            <a:schemeClr val="tx1"/>
          </a:solidFill>
          <a:latin typeface="+mn-lt"/>
          <a:ea typeface="+mn-ea"/>
          <a:cs typeface="+mn-cs"/>
        </a:defRPr>
      </a:lvl2pPr>
      <a:lvl3pPr marL="1522590" indent="-304518" algn="l" defTabSz="609036" rtl="0" eaLnBrk="1" latinLnBrk="0" hangingPunct="1">
        <a:spcBef>
          <a:spcPct val="20000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3pPr>
      <a:lvl4pPr marL="2131626" indent="-304518" algn="l" defTabSz="609036" rtl="0" eaLnBrk="1" latinLnBrk="0" hangingPunct="1">
        <a:spcBef>
          <a:spcPct val="20000"/>
        </a:spcBef>
        <a:buFont typeface="Arial"/>
        <a:buChar char="–"/>
        <a:defRPr sz="2664" kern="1200">
          <a:solidFill>
            <a:schemeClr val="tx1"/>
          </a:solidFill>
          <a:latin typeface="+mn-lt"/>
          <a:ea typeface="+mn-ea"/>
          <a:cs typeface="+mn-cs"/>
        </a:defRPr>
      </a:lvl4pPr>
      <a:lvl5pPr marL="2740663" indent="-304518" algn="l" defTabSz="609036" rtl="0" eaLnBrk="1" latinLnBrk="0" hangingPunct="1">
        <a:spcBef>
          <a:spcPct val="20000"/>
        </a:spcBef>
        <a:buFont typeface="Arial"/>
        <a:buChar char="»"/>
        <a:defRPr sz="2664" kern="120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609036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5" indent="-304518" algn="l" defTabSz="609036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609036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609036" rtl="0" eaLnBrk="1" latinLnBrk="0" hangingPunct="1">
        <a:spcBef>
          <a:spcPct val="20000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609036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2"/>
            <a:ext cx="109728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0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8625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hf hdr="0" ftr="0" dt="0"/>
  <p:txStyles>
    <p:titleStyle>
      <a:lvl1pPr algn="ctr" defTabSz="1217702" rtl="0" eaLnBrk="1" latinLnBrk="0" hangingPunct="1">
        <a:spcBef>
          <a:spcPct val="0"/>
        </a:spcBef>
        <a:buNone/>
        <a:defRPr sz="3212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639" indent="-456639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0" kern="1200">
          <a:solidFill>
            <a:schemeClr val="tx1"/>
          </a:solidFill>
          <a:latin typeface="+mn-lt"/>
          <a:ea typeface="+mn-ea"/>
          <a:cs typeface="+mn-cs"/>
        </a:defRPr>
      </a:lvl1pPr>
      <a:lvl2pPr marL="989382" indent="-380531" algn="l" defTabSz="121770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9" kern="1200">
          <a:solidFill>
            <a:schemeClr val="tx1"/>
          </a:solidFill>
          <a:latin typeface="+mn-lt"/>
          <a:ea typeface="+mn-ea"/>
          <a:cs typeface="+mn-cs"/>
        </a:defRPr>
      </a:lvl2pPr>
      <a:lvl3pPr marL="1522126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3pPr>
      <a:lvl4pPr marL="2130979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4" kern="1200">
          <a:solidFill>
            <a:schemeClr val="tx1"/>
          </a:solidFill>
          <a:latin typeface="+mn-lt"/>
          <a:ea typeface="+mn-ea"/>
          <a:cs typeface="+mn-cs"/>
        </a:defRPr>
      </a:lvl4pPr>
      <a:lvl5pPr marL="2739829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4" kern="1200">
          <a:solidFill>
            <a:schemeClr val="tx1"/>
          </a:solidFill>
          <a:latin typeface="+mn-lt"/>
          <a:ea typeface="+mn-ea"/>
          <a:cs typeface="+mn-cs"/>
        </a:defRPr>
      </a:lvl5pPr>
      <a:lvl6pPr marL="3348681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6pPr>
      <a:lvl7pPr marL="3957531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7pPr>
      <a:lvl8pPr marL="4566384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8pPr>
      <a:lvl9pPr marL="5175233" indent="-304425" algn="l" defTabSz="121770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1pPr>
      <a:lvl2pPr marL="608852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2pPr>
      <a:lvl3pPr marL="1217702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3pPr>
      <a:lvl4pPr marL="1826553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4pPr>
      <a:lvl5pPr marL="2435403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5pPr>
      <a:lvl6pPr marL="3044256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6pPr>
      <a:lvl7pPr marL="3653105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7pPr>
      <a:lvl8pPr marL="4261956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8pPr>
      <a:lvl9pPr marL="4870808" algn="l" defTabSz="1217702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066" y="1066"/>
          <a:ext cx="1065" cy="10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12" imgW="473" imgH="476" progId="TCLayout.ActiveDocument.1">
                  <p:embed/>
                </p:oleObj>
              </mc:Choice>
              <mc:Fallback>
                <p:oleObj name="Слайд think-cell" r:id="rId12" imgW="473" imgH="47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066" y="1066"/>
                        <a:ext cx="1065" cy="10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3"/>
            <a:ext cx="109728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0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4949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hf hdr="0" ftr="0" dt="0"/>
  <p:txStyles>
    <p:titleStyle>
      <a:lvl1pPr algn="ctr" defTabSz="1217656" rtl="0" eaLnBrk="1" latinLnBrk="0" hangingPunct="1">
        <a:spcBef>
          <a:spcPct val="0"/>
        </a:spcBef>
        <a:buNone/>
        <a:defRPr sz="3212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6622" indent="-456622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9" kern="1200">
          <a:solidFill>
            <a:schemeClr val="tx1"/>
          </a:solidFill>
          <a:latin typeface="+mn-lt"/>
          <a:ea typeface="+mn-ea"/>
          <a:cs typeface="+mn-cs"/>
        </a:defRPr>
      </a:lvl1pPr>
      <a:lvl2pPr marL="989345" indent="-380516" algn="l" defTabSz="1217656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9" kern="1200">
          <a:solidFill>
            <a:schemeClr val="tx1"/>
          </a:solidFill>
          <a:latin typeface="+mn-lt"/>
          <a:ea typeface="+mn-ea"/>
          <a:cs typeface="+mn-cs"/>
        </a:defRPr>
      </a:lvl2pPr>
      <a:lvl3pPr marL="1522069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3pPr>
      <a:lvl4pPr marL="2130897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3" kern="1200">
          <a:solidFill>
            <a:schemeClr val="tx1"/>
          </a:solidFill>
          <a:latin typeface="+mn-lt"/>
          <a:ea typeface="+mn-ea"/>
          <a:cs typeface="+mn-cs"/>
        </a:defRPr>
      </a:lvl4pPr>
      <a:lvl5pPr marL="2739725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»"/>
        <a:defRPr sz="1873" kern="1200">
          <a:solidFill>
            <a:schemeClr val="tx1"/>
          </a:solidFill>
          <a:latin typeface="+mn-lt"/>
          <a:ea typeface="+mn-ea"/>
          <a:cs typeface="+mn-cs"/>
        </a:defRPr>
      </a:lvl5pPr>
      <a:lvl6pPr marL="3348554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6" kern="1200">
          <a:solidFill>
            <a:schemeClr val="tx1"/>
          </a:solidFill>
          <a:latin typeface="+mn-lt"/>
          <a:ea typeface="+mn-ea"/>
          <a:cs typeface="+mn-cs"/>
        </a:defRPr>
      </a:lvl6pPr>
      <a:lvl7pPr marL="3957380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6" kern="1200">
          <a:solidFill>
            <a:schemeClr val="tx1"/>
          </a:solidFill>
          <a:latin typeface="+mn-lt"/>
          <a:ea typeface="+mn-ea"/>
          <a:cs typeface="+mn-cs"/>
        </a:defRPr>
      </a:lvl7pPr>
      <a:lvl8pPr marL="4566210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6" kern="1200">
          <a:solidFill>
            <a:schemeClr val="tx1"/>
          </a:solidFill>
          <a:latin typeface="+mn-lt"/>
          <a:ea typeface="+mn-ea"/>
          <a:cs typeface="+mn-cs"/>
        </a:defRPr>
      </a:lvl8pPr>
      <a:lvl9pPr marL="5175036" indent="-304414" algn="l" defTabSz="12176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1pPr>
      <a:lvl2pPr marL="608827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2pPr>
      <a:lvl3pPr marL="1217656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3pPr>
      <a:lvl4pPr marL="1826482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4pPr>
      <a:lvl5pPr marL="2435311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5pPr>
      <a:lvl6pPr marL="3044140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6pPr>
      <a:lvl7pPr marL="3652965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7pPr>
      <a:lvl8pPr marL="4261793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8pPr>
      <a:lvl9pPr marL="4870622" algn="l" defTabSz="1217656" rtl="0" eaLnBrk="1" latinLnBrk="0" hangingPunct="1">
        <a:defRPr sz="240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9448" y="0"/>
            <a:ext cx="12325942" cy="7193919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137" y="2599048"/>
            <a:ext cx="4526139" cy="1718309"/>
          </a:xfr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ru-RU" i="1" dirty="0" smtClean="0">
                <a:solidFill>
                  <a:schemeClr val="bg1"/>
                </a:solidFill>
              </a:rPr>
              <a:t>РАБОТА </a:t>
            </a:r>
            <a:r>
              <a:rPr lang="ru-RU" i="1" dirty="0">
                <a:solidFill>
                  <a:schemeClr val="bg1"/>
                </a:solidFill>
              </a:rPr>
              <a:t/>
            </a:r>
            <a:br>
              <a:rPr lang="ru-RU" i="1" dirty="0">
                <a:solidFill>
                  <a:schemeClr val="bg1"/>
                </a:solidFill>
              </a:rPr>
            </a:br>
            <a:r>
              <a:rPr lang="ru-RU" i="1" dirty="0" smtClean="0">
                <a:solidFill>
                  <a:schemeClr val="bg1"/>
                </a:solidFill>
              </a:rPr>
              <a:t>       В </a:t>
            </a:r>
            <a:r>
              <a:rPr lang="ru-RU" i="1" dirty="0">
                <a:solidFill>
                  <a:schemeClr val="bg1"/>
                </a:solidFill>
              </a:rPr>
              <a:t>ПОЧТЕ РОСС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6981" y="3932584"/>
            <a:ext cx="363445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/>
            <a:r>
              <a:rPr lang="ru-RU" sz="1600" b="1" dirty="0">
                <a:solidFill>
                  <a:schemeClr val="bg1"/>
                </a:solidFill>
                <a:latin typeface="Arial"/>
              </a:rPr>
              <a:t>Станьте частью почтовой семь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702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/>
            <a:r>
              <a:rPr lang="ru-RU" sz="3212" b="1" dirty="0">
                <a:solidFill>
                  <a:srgbClr val="000000"/>
                </a:solidFill>
                <a:latin typeface="Arial"/>
              </a:rPr>
              <a:t>ЗАГОЛОВОК 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/>
            <a:r>
              <a:rPr lang="ru-RU" sz="1271" b="1" dirty="0">
                <a:solidFill>
                  <a:srgbClr val="000000"/>
                </a:solidFill>
                <a:latin typeface="Arial"/>
              </a:rPr>
              <a:t>Подзаголовок 1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/>
            <a:r>
              <a:rPr lang="ru-RU" sz="1205" dirty="0">
                <a:solidFill>
                  <a:srgbClr val="000000"/>
                </a:solidFill>
                <a:latin typeface="Arial"/>
              </a:rPr>
              <a:t>Основной текст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>
              <a:spcBef>
                <a:spcPct val="20000"/>
              </a:spcBef>
            </a:pPr>
            <a:r>
              <a:rPr lang="ru-RU" sz="2610" b="1" dirty="0">
                <a:solidFill>
                  <a:srgbClr val="000000"/>
                </a:solidFill>
                <a:latin typeface="Arial"/>
              </a:rPr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>
              <a:spcBef>
                <a:spcPct val="20000"/>
              </a:spcBef>
            </a:pPr>
            <a:r>
              <a:rPr lang="ru-RU" sz="1071" dirty="0">
                <a:solidFill>
                  <a:srgbClr val="FFFFFF">
                    <a:lumMod val="65000"/>
                  </a:srgbClr>
                </a:solidFill>
                <a:latin typeface="Arial"/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17702"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  <a:latin typeface="Arial"/>
              </a:rPr>
              <a:t>Подзаголовок 2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EF52B19-5C2E-4C48-A8ED-B2E37FF9ECE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4487" y="1775043"/>
            <a:ext cx="3201233" cy="2403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2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8E38D7-E3B3-3D46-BDEB-7EDB89F6F9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1" name="Номер слайда 1">
            <a:extLst>
              <a:ext uri="{FF2B5EF4-FFF2-40B4-BE49-F238E27FC236}">
                <a16:creationId xmlns:a16="http://schemas.microsoft.com/office/drawing/2014/main" id="{7FA361EB-F09D-294B-9936-8B63010E9435}"/>
              </a:ext>
            </a:extLst>
          </p:cNvPr>
          <p:cNvSpPr txBox="1">
            <a:spLocks/>
          </p:cNvSpPr>
          <p:nvPr/>
        </p:nvSpPr>
        <p:spPr>
          <a:xfrm>
            <a:off x="11731763" y="599057"/>
            <a:ext cx="403891" cy="20985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1819639" rtl="0" eaLnBrk="1" latinLnBrk="0" hangingPunct="1"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909820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19639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29457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39276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49098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58913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68733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78553" algn="l" defTabSz="181963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CCD23E-997B-4E57-B2D9-5E2603462AC4}" type="slidenum">
              <a:rPr lang="ru-RU" sz="1071"/>
              <a:pPr/>
              <a:t>10</a:t>
            </a:fld>
            <a:endParaRPr lang="ru-RU" sz="1071" dirty="0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36761698-395E-EE42-993B-E073FBAC0B03}"/>
              </a:ext>
            </a:extLst>
          </p:cNvPr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62B02192-087A-204E-841A-FC81705C67EF}"/>
              </a:ext>
            </a:extLst>
          </p:cNvPr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AC604120-E129-5D4B-8028-A35214B78EC6}"/>
              </a:ext>
            </a:extLst>
          </p:cNvPr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3AF155E8-E3B0-CE43-A359-C7D6EBED1785}"/>
              </a:ext>
            </a:extLst>
          </p:cNvPr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3541D6BE-9605-CC4F-B592-FD7EF1AE45A6}"/>
              </a:ext>
            </a:extLst>
          </p:cNvPr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06CD2C10-2A66-A846-83F4-B074F89DEC2D}"/>
              </a:ext>
            </a:extLst>
          </p:cNvPr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A44E3A2-72EA-ED4E-9536-49E3C684C08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3218" y="-689353"/>
            <a:ext cx="12358436" cy="8236706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51045D8-F0D6-B941-B9DB-5CE5B2636E26}"/>
              </a:ext>
            </a:extLst>
          </p:cNvPr>
          <p:cNvSpPr/>
          <p:nvPr/>
        </p:nvSpPr>
        <p:spPr>
          <a:xfrm>
            <a:off x="6433335" y="4767568"/>
            <a:ext cx="5898154" cy="2082863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14C8A7A-9488-CC45-BCCD-846E2919D0B2}"/>
              </a:ext>
            </a:extLst>
          </p:cNvPr>
          <p:cNvSpPr txBox="1"/>
          <p:nvPr/>
        </p:nvSpPr>
        <p:spPr>
          <a:xfrm>
            <a:off x="6988187" y="5080812"/>
            <a:ext cx="96973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Присоединяйтесь </a:t>
            </a:r>
            <a:r>
              <a:rPr lang="ru-RU" sz="2800" b="1" dirty="0" smtClean="0">
                <a:solidFill>
                  <a:schemeClr val="bg1"/>
                </a:solidFill>
              </a:rPr>
              <a:t>к нашей</a:t>
            </a:r>
            <a:endParaRPr lang="ru-RU" sz="2800" b="1" dirty="0">
              <a:solidFill>
                <a:schemeClr val="bg1"/>
              </a:solidFill>
            </a:endParaRPr>
          </a:p>
          <a:p>
            <a:r>
              <a:rPr lang="ru-RU" sz="2800" b="1" dirty="0" smtClean="0">
                <a:solidFill>
                  <a:schemeClr val="bg1"/>
                </a:solidFill>
              </a:rPr>
              <a:t> почтовой семье!</a:t>
            </a:r>
            <a:endParaRPr lang="ru-RU" sz="1205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406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F99C2588-323A-2846-92BB-7D7112E8458E}"/>
              </a:ext>
            </a:extLst>
          </p:cNvPr>
          <p:cNvGrpSpPr/>
          <p:nvPr/>
        </p:nvGrpSpPr>
        <p:grpSpPr>
          <a:xfrm>
            <a:off x="702752" y="860149"/>
            <a:ext cx="9976173" cy="5416304"/>
            <a:chOff x="3924300" y="1787525"/>
            <a:chExt cx="12888913" cy="6997700"/>
          </a:xfrm>
          <a:solidFill>
            <a:srgbClr val="A7A7A7">
              <a:alpha val="14902"/>
            </a:srgbClr>
          </a:solidFill>
        </p:grpSpPr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00A13A79-C36B-0744-A143-F407C392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4357688"/>
              <a:ext cx="411163" cy="336550"/>
            </a:xfrm>
            <a:custGeom>
              <a:avLst/>
              <a:gdLst>
                <a:gd name="T0" fmla="*/ 66 w 259"/>
                <a:gd name="T1" fmla="*/ 194 h 212"/>
                <a:gd name="T2" fmla="*/ 84 w 259"/>
                <a:gd name="T3" fmla="*/ 193 h 212"/>
                <a:gd name="T4" fmla="*/ 108 w 259"/>
                <a:gd name="T5" fmla="*/ 209 h 212"/>
                <a:gd name="T6" fmla="*/ 121 w 259"/>
                <a:gd name="T7" fmla="*/ 212 h 212"/>
                <a:gd name="T8" fmla="*/ 137 w 259"/>
                <a:gd name="T9" fmla="*/ 206 h 212"/>
                <a:gd name="T10" fmla="*/ 152 w 259"/>
                <a:gd name="T11" fmla="*/ 196 h 212"/>
                <a:gd name="T12" fmla="*/ 155 w 259"/>
                <a:gd name="T13" fmla="*/ 185 h 212"/>
                <a:gd name="T14" fmla="*/ 177 w 259"/>
                <a:gd name="T15" fmla="*/ 185 h 212"/>
                <a:gd name="T16" fmla="*/ 213 w 259"/>
                <a:gd name="T17" fmla="*/ 187 h 212"/>
                <a:gd name="T18" fmla="*/ 239 w 259"/>
                <a:gd name="T19" fmla="*/ 175 h 212"/>
                <a:gd name="T20" fmla="*/ 250 w 259"/>
                <a:gd name="T21" fmla="*/ 163 h 212"/>
                <a:gd name="T22" fmla="*/ 254 w 259"/>
                <a:gd name="T23" fmla="*/ 150 h 212"/>
                <a:gd name="T24" fmla="*/ 245 w 259"/>
                <a:gd name="T25" fmla="*/ 135 h 212"/>
                <a:gd name="T26" fmla="*/ 235 w 259"/>
                <a:gd name="T27" fmla="*/ 113 h 212"/>
                <a:gd name="T28" fmla="*/ 233 w 259"/>
                <a:gd name="T29" fmla="*/ 77 h 212"/>
                <a:gd name="T30" fmla="*/ 225 w 259"/>
                <a:gd name="T31" fmla="*/ 52 h 212"/>
                <a:gd name="T32" fmla="*/ 214 w 259"/>
                <a:gd name="T33" fmla="*/ 40 h 212"/>
                <a:gd name="T34" fmla="*/ 208 w 259"/>
                <a:gd name="T35" fmla="*/ 45 h 212"/>
                <a:gd name="T36" fmla="*/ 201 w 259"/>
                <a:gd name="T37" fmla="*/ 54 h 212"/>
                <a:gd name="T38" fmla="*/ 193 w 259"/>
                <a:gd name="T39" fmla="*/ 45 h 212"/>
                <a:gd name="T40" fmla="*/ 186 w 259"/>
                <a:gd name="T41" fmla="*/ 31 h 212"/>
                <a:gd name="T42" fmla="*/ 173 w 259"/>
                <a:gd name="T43" fmla="*/ 12 h 212"/>
                <a:gd name="T44" fmla="*/ 154 w 259"/>
                <a:gd name="T45" fmla="*/ 5 h 212"/>
                <a:gd name="T46" fmla="*/ 136 w 259"/>
                <a:gd name="T47" fmla="*/ 3 h 212"/>
                <a:gd name="T48" fmla="*/ 109 w 259"/>
                <a:gd name="T49" fmla="*/ 3 h 212"/>
                <a:gd name="T50" fmla="*/ 105 w 259"/>
                <a:gd name="T51" fmla="*/ 6 h 212"/>
                <a:gd name="T52" fmla="*/ 99 w 259"/>
                <a:gd name="T53" fmla="*/ 14 h 212"/>
                <a:gd name="T54" fmla="*/ 94 w 259"/>
                <a:gd name="T55" fmla="*/ 31 h 212"/>
                <a:gd name="T56" fmla="*/ 88 w 259"/>
                <a:gd name="T57" fmla="*/ 31 h 212"/>
                <a:gd name="T58" fmla="*/ 72 w 259"/>
                <a:gd name="T59" fmla="*/ 21 h 212"/>
                <a:gd name="T60" fmla="*/ 65 w 259"/>
                <a:gd name="T61" fmla="*/ 25 h 212"/>
                <a:gd name="T62" fmla="*/ 54 w 259"/>
                <a:gd name="T63" fmla="*/ 43 h 212"/>
                <a:gd name="T64" fmla="*/ 54 w 259"/>
                <a:gd name="T65" fmla="*/ 57 h 212"/>
                <a:gd name="T66" fmla="*/ 50 w 259"/>
                <a:gd name="T67" fmla="*/ 83 h 212"/>
                <a:gd name="T68" fmla="*/ 47 w 259"/>
                <a:gd name="T69" fmla="*/ 95 h 212"/>
                <a:gd name="T70" fmla="*/ 44 w 259"/>
                <a:gd name="T71" fmla="*/ 111 h 212"/>
                <a:gd name="T72" fmla="*/ 32 w 259"/>
                <a:gd name="T73" fmla="*/ 122 h 212"/>
                <a:gd name="T74" fmla="*/ 29 w 259"/>
                <a:gd name="T75" fmla="*/ 128 h 212"/>
                <a:gd name="T76" fmla="*/ 20 w 259"/>
                <a:gd name="T77" fmla="*/ 141 h 212"/>
                <a:gd name="T78" fmla="*/ 8 w 259"/>
                <a:gd name="T79" fmla="*/ 147 h 212"/>
                <a:gd name="T80" fmla="*/ 1 w 259"/>
                <a:gd name="T81" fmla="*/ 153 h 212"/>
                <a:gd name="T82" fmla="*/ 0 w 259"/>
                <a:gd name="T83" fmla="*/ 159 h 212"/>
                <a:gd name="T84" fmla="*/ 5 w 259"/>
                <a:gd name="T85" fmla="*/ 171 h 212"/>
                <a:gd name="T86" fmla="*/ 11 w 259"/>
                <a:gd name="T87" fmla="*/ 181 h 212"/>
                <a:gd name="T88" fmla="*/ 4 w 259"/>
                <a:gd name="T89" fmla="*/ 196 h 212"/>
                <a:gd name="T90" fmla="*/ 5 w 259"/>
                <a:gd name="T91" fmla="*/ 199 h 212"/>
                <a:gd name="T92" fmla="*/ 23 w 259"/>
                <a:gd name="T93" fmla="*/ 206 h 212"/>
                <a:gd name="T94" fmla="*/ 35 w 259"/>
                <a:gd name="T95" fmla="*/ 206 h 212"/>
                <a:gd name="T96" fmla="*/ 47 w 259"/>
                <a:gd name="T97" fmla="*/ 200 h 212"/>
                <a:gd name="T98" fmla="*/ 62 w 259"/>
                <a:gd name="T99" fmla="*/ 20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9" h="212">
                  <a:moveTo>
                    <a:pt x="63" y="199"/>
                  </a:moveTo>
                  <a:lnTo>
                    <a:pt x="63" y="199"/>
                  </a:lnTo>
                  <a:lnTo>
                    <a:pt x="66" y="194"/>
                  </a:lnTo>
                  <a:lnTo>
                    <a:pt x="71" y="191"/>
                  </a:lnTo>
                  <a:lnTo>
                    <a:pt x="78" y="191"/>
                  </a:lnTo>
                  <a:lnTo>
                    <a:pt x="84" y="193"/>
                  </a:lnTo>
                  <a:lnTo>
                    <a:pt x="84" y="193"/>
                  </a:lnTo>
                  <a:lnTo>
                    <a:pt x="96" y="200"/>
                  </a:lnTo>
                  <a:lnTo>
                    <a:pt x="108" y="209"/>
                  </a:lnTo>
                  <a:lnTo>
                    <a:pt x="108" y="209"/>
                  </a:lnTo>
                  <a:lnTo>
                    <a:pt x="114" y="211"/>
                  </a:lnTo>
                  <a:lnTo>
                    <a:pt x="121" y="212"/>
                  </a:lnTo>
                  <a:lnTo>
                    <a:pt x="130" y="212"/>
                  </a:lnTo>
                  <a:lnTo>
                    <a:pt x="130" y="212"/>
                  </a:lnTo>
                  <a:lnTo>
                    <a:pt x="137" y="206"/>
                  </a:lnTo>
                  <a:lnTo>
                    <a:pt x="149" y="199"/>
                  </a:lnTo>
                  <a:lnTo>
                    <a:pt x="149" y="199"/>
                  </a:lnTo>
                  <a:lnTo>
                    <a:pt x="152" y="196"/>
                  </a:lnTo>
                  <a:lnTo>
                    <a:pt x="154" y="191"/>
                  </a:lnTo>
                  <a:lnTo>
                    <a:pt x="154" y="188"/>
                  </a:lnTo>
                  <a:lnTo>
                    <a:pt x="155" y="185"/>
                  </a:lnTo>
                  <a:lnTo>
                    <a:pt x="155" y="185"/>
                  </a:lnTo>
                  <a:lnTo>
                    <a:pt x="162" y="185"/>
                  </a:lnTo>
                  <a:lnTo>
                    <a:pt x="177" y="185"/>
                  </a:lnTo>
                  <a:lnTo>
                    <a:pt x="204" y="187"/>
                  </a:lnTo>
                  <a:lnTo>
                    <a:pt x="204" y="187"/>
                  </a:lnTo>
                  <a:lnTo>
                    <a:pt x="213" y="187"/>
                  </a:lnTo>
                  <a:lnTo>
                    <a:pt x="223" y="184"/>
                  </a:lnTo>
                  <a:lnTo>
                    <a:pt x="232" y="179"/>
                  </a:lnTo>
                  <a:lnTo>
                    <a:pt x="239" y="175"/>
                  </a:lnTo>
                  <a:lnTo>
                    <a:pt x="239" y="175"/>
                  </a:lnTo>
                  <a:lnTo>
                    <a:pt x="244" y="169"/>
                  </a:lnTo>
                  <a:lnTo>
                    <a:pt x="250" y="163"/>
                  </a:lnTo>
                  <a:lnTo>
                    <a:pt x="259" y="153"/>
                  </a:lnTo>
                  <a:lnTo>
                    <a:pt x="259" y="153"/>
                  </a:lnTo>
                  <a:lnTo>
                    <a:pt x="254" y="150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45" y="135"/>
                  </a:lnTo>
                  <a:lnTo>
                    <a:pt x="238" y="122"/>
                  </a:lnTo>
                  <a:lnTo>
                    <a:pt x="238" y="122"/>
                  </a:lnTo>
                  <a:lnTo>
                    <a:pt x="235" y="113"/>
                  </a:lnTo>
                  <a:lnTo>
                    <a:pt x="233" y="102"/>
                  </a:lnTo>
                  <a:lnTo>
                    <a:pt x="233" y="77"/>
                  </a:lnTo>
                  <a:lnTo>
                    <a:pt x="233" y="77"/>
                  </a:lnTo>
                  <a:lnTo>
                    <a:pt x="232" y="70"/>
                  </a:lnTo>
                  <a:lnTo>
                    <a:pt x="231" y="64"/>
                  </a:lnTo>
                  <a:lnTo>
                    <a:pt x="225" y="52"/>
                  </a:lnTo>
                  <a:lnTo>
                    <a:pt x="219" y="43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1" y="42"/>
                  </a:lnTo>
                  <a:lnTo>
                    <a:pt x="208" y="45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1" y="54"/>
                  </a:lnTo>
                  <a:lnTo>
                    <a:pt x="198" y="54"/>
                  </a:lnTo>
                  <a:lnTo>
                    <a:pt x="196" y="51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1" y="39"/>
                  </a:lnTo>
                  <a:lnTo>
                    <a:pt x="186" y="31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3" y="12"/>
                  </a:lnTo>
                  <a:lnTo>
                    <a:pt x="170" y="9"/>
                  </a:lnTo>
                  <a:lnTo>
                    <a:pt x="164" y="6"/>
                  </a:lnTo>
                  <a:lnTo>
                    <a:pt x="154" y="5"/>
                  </a:lnTo>
                  <a:lnTo>
                    <a:pt x="154" y="5"/>
                  </a:lnTo>
                  <a:lnTo>
                    <a:pt x="142" y="3"/>
                  </a:lnTo>
                  <a:lnTo>
                    <a:pt x="136" y="3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5"/>
                  </a:lnTo>
                  <a:lnTo>
                    <a:pt x="105" y="6"/>
                  </a:lnTo>
                  <a:lnTo>
                    <a:pt x="100" y="9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21"/>
                  </a:lnTo>
                  <a:lnTo>
                    <a:pt x="96" y="27"/>
                  </a:lnTo>
                  <a:lnTo>
                    <a:pt x="94" y="31"/>
                  </a:lnTo>
                  <a:lnTo>
                    <a:pt x="91" y="33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78" y="24"/>
                  </a:lnTo>
                  <a:lnTo>
                    <a:pt x="74" y="21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5" y="25"/>
                  </a:lnTo>
                  <a:lnTo>
                    <a:pt x="60" y="33"/>
                  </a:lnTo>
                  <a:lnTo>
                    <a:pt x="56" y="40"/>
                  </a:lnTo>
                  <a:lnTo>
                    <a:pt x="54" y="43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57"/>
                  </a:lnTo>
                  <a:lnTo>
                    <a:pt x="54" y="67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8" y="88"/>
                  </a:lnTo>
                  <a:lnTo>
                    <a:pt x="47" y="95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4" y="111"/>
                  </a:lnTo>
                  <a:lnTo>
                    <a:pt x="42" y="113"/>
                  </a:lnTo>
                  <a:lnTo>
                    <a:pt x="38" y="117"/>
                  </a:lnTo>
                  <a:lnTo>
                    <a:pt x="32" y="122"/>
                  </a:lnTo>
                  <a:lnTo>
                    <a:pt x="31" y="125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6" y="134"/>
                  </a:lnTo>
                  <a:lnTo>
                    <a:pt x="23" y="138"/>
                  </a:lnTo>
                  <a:lnTo>
                    <a:pt x="20" y="141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8" y="147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0" y="156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2" y="163"/>
                  </a:lnTo>
                  <a:lnTo>
                    <a:pt x="5" y="171"/>
                  </a:lnTo>
                  <a:lnTo>
                    <a:pt x="10" y="176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0" y="185"/>
                  </a:lnTo>
                  <a:lnTo>
                    <a:pt x="7" y="190"/>
                  </a:lnTo>
                  <a:lnTo>
                    <a:pt x="4" y="196"/>
                  </a:lnTo>
                  <a:lnTo>
                    <a:pt x="4" y="197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11" y="203"/>
                  </a:lnTo>
                  <a:lnTo>
                    <a:pt x="16" y="205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31" y="206"/>
                  </a:lnTo>
                  <a:lnTo>
                    <a:pt x="35" y="206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7" y="200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3" y="199"/>
                  </a:lnTo>
                  <a:lnTo>
                    <a:pt x="63" y="1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7" name="Freeform 6">
              <a:extLst>
                <a:ext uri="{FF2B5EF4-FFF2-40B4-BE49-F238E27FC236}">
                  <a16:creationId xmlns:a16="http://schemas.microsoft.com/office/drawing/2014/main" id="{386673FE-750F-6B46-BA59-D041435520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2800" y="3941763"/>
              <a:ext cx="1609725" cy="2189162"/>
            </a:xfrm>
            <a:custGeom>
              <a:avLst/>
              <a:gdLst>
                <a:gd name="T0" fmla="*/ 856 w 1014"/>
                <a:gd name="T1" fmla="*/ 1334 h 1379"/>
                <a:gd name="T2" fmla="*/ 905 w 1014"/>
                <a:gd name="T3" fmla="*/ 1358 h 1379"/>
                <a:gd name="T4" fmla="*/ 964 w 1014"/>
                <a:gd name="T5" fmla="*/ 1281 h 1379"/>
                <a:gd name="T6" fmla="*/ 1004 w 1014"/>
                <a:gd name="T7" fmla="*/ 1160 h 1379"/>
                <a:gd name="T8" fmla="*/ 969 w 1014"/>
                <a:gd name="T9" fmla="*/ 1093 h 1379"/>
                <a:gd name="T10" fmla="*/ 964 w 1014"/>
                <a:gd name="T11" fmla="*/ 1019 h 1379"/>
                <a:gd name="T12" fmla="*/ 936 w 1014"/>
                <a:gd name="T13" fmla="*/ 949 h 1379"/>
                <a:gd name="T14" fmla="*/ 952 w 1014"/>
                <a:gd name="T15" fmla="*/ 866 h 1379"/>
                <a:gd name="T16" fmla="*/ 933 w 1014"/>
                <a:gd name="T17" fmla="*/ 755 h 1379"/>
                <a:gd name="T18" fmla="*/ 977 w 1014"/>
                <a:gd name="T19" fmla="*/ 705 h 1379"/>
                <a:gd name="T20" fmla="*/ 997 w 1014"/>
                <a:gd name="T21" fmla="*/ 612 h 1379"/>
                <a:gd name="T22" fmla="*/ 926 w 1014"/>
                <a:gd name="T23" fmla="*/ 560 h 1379"/>
                <a:gd name="T24" fmla="*/ 914 w 1014"/>
                <a:gd name="T25" fmla="*/ 467 h 1379"/>
                <a:gd name="T26" fmla="*/ 951 w 1014"/>
                <a:gd name="T27" fmla="*/ 341 h 1379"/>
                <a:gd name="T28" fmla="*/ 997 w 1014"/>
                <a:gd name="T29" fmla="*/ 274 h 1379"/>
                <a:gd name="T30" fmla="*/ 937 w 1014"/>
                <a:gd name="T31" fmla="*/ 253 h 1379"/>
                <a:gd name="T32" fmla="*/ 875 w 1014"/>
                <a:gd name="T33" fmla="*/ 253 h 1379"/>
                <a:gd name="T34" fmla="*/ 912 w 1014"/>
                <a:gd name="T35" fmla="*/ 378 h 1379"/>
                <a:gd name="T36" fmla="*/ 834 w 1014"/>
                <a:gd name="T37" fmla="*/ 281 h 1379"/>
                <a:gd name="T38" fmla="*/ 892 w 1014"/>
                <a:gd name="T39" fmla="*/ 164 h 1379"/>
                <a:gd name="T40" fmla="*/ 815 w 1014"/>
                <a:gd name="T41" fmla="*/ 224 h 1379"/>
                <a:gd name="T42" fmla="*/ 724 w 1014"/>
                <a:gd name="T43" fmla="*/ 394 h 1379"/>
                <a:gd name="T44" fmla="*/ 678 w 1014"/>
                <a:gd name="T45" fmla="*/ 507 h 1379"/>
                <a:gd name="T46" fmla="*/ 810 w 1014"/>
                <a:gd name="T47" fmla="*/ 591 h 1379"/>
                <a:gd name="T48" fmla="*/ 757 w 1014"/>
                <a:gd name="T49" fmla="*/ 695 h 1379"/>
                <a:gd name="T50" fmla="*/ 749 w 1014"/>
                <a:gd name="T51" fmla="*/ 704 h 1379"/>
                <a:gd name="T52" fmla="*/ 758 w 1014"/>
                <a:gd name="T53" fmla="*/ 561 h 1379"/>
                <a:gd name="T54" fmla="*/ 635 w 1014"/>
                <a:gd name="T55" fmla="*/ 672 h 1379"/>
                <a:gd name="T56" fmla="*/ 508 w 1014"/>
                <a:gd name="T57" fmla="*/ 741 h 1379"/>
                <a:gd name="T58" fmla="*/ 379 w 1014"/>
                <a:gd name="T59" fmla="*/ 684 h 1379"/>
                <a:gd name="T60" fmla="*/ 419 w 1014"/>
                <a:gd name="T61" fmla="*/ 699 h 1379"/>
                <a:gd name="T62" fmla="*/ 475 w 1014"/>
                <a:gd name="T63" fmla="*/ 711 h 1379"/>
                <a:gd name="T64" fmla="*/ 554 w 1014"/>
                <a:gd name="T65" fmla="*/ 641 h 1379"/>
                <a:gd name="T66" fmla="*/ 638 w 1014"/>
                <a:gd name="T67" fmla="*/ 554 h 1379"/>
                <a:gd name="T68" fmla="*/ 724 w 1014"/>
                <a:gd name="T69" fmla="*/ 247 h 1379"/>
                <a:gd name="T70" fmla="*/ 739 w 1014"/>
                <a:gd name="T71" fmla="*/ 58 h 1379"/>
                <a:gd name="T72" fmla="*/ 545 w 1014"/>
                <a:gd name="T73" fmla="*/ 190 h 1379"/>
                <a:gd name="T74" fmla="*/ 527 w 1014"/>
                <a:gd name="T75" fmla="*/ 246 h 1379"/>
                <a:gd name="T76" fmla="*/ 495 w 1014"/>
                <a:gd name="T77" fmla="*/ 357 h 1379"/>
                <a:gd name="T78" fmla="*/ 455 w 1014"/>
                <a:gd name="T79" fmla="*/ 495 h 1379"/>
                <a:gd name="T80" fmla="*/ 415 w 1014"/>
                <a:gd name="T81" fmla="*/ 396 h 1379"/>
                <a:gd name="T82" fmla="*/ 342 w 1014"/>
                <a:gd name="T83" fmla="*/ 364 h 1379"/>
                <a:gd name="T84" fmla="*/ 315 w 1014"/>
                <a:gd name="T85" fmla="*/ 436 h 1379"/>
                <a:gd name="T86" fmla="*/ 320 w 1014"/>
                <a:gd name="T87" fmla="*/ 499 h 1379"/>
                <a:gd name="T88" fmla="*/ 286 w 1014"/>
                <a:gd name="T89" fmla="*/ 529 h 1379"/>
                <a:gd name="T90" fmla="*/ 138 w 1014"/>
                <a:gd name="T91" fmla="*/ 564 h 1379"/>
                <a:gd name="T92" fmla="*/ 45 w 1014"/>
                <a:gd name="T93" fmla="*/ 628 h 1379"/>
                <a:gd name="T94" fmla="*/ 0 w 1014"/>
                <a:gd name="T95" fmla="*/ 707 h 1379"/>
                <a:gd name="T96" fmla="*/ 76 w 1014"/>
                <a:gd name="T97" fmla="*/ 776 h 1379"/>
                <a:gd name="T98" fmla="*/ 156 w 1014"/>
                <a:gd name="T99" fmla="*/ 801 h 1379"/>
                <a:gd name="T100" fmla="*/ 159 w 1014"/>
                <a:gd name="T101" fmla="*/ 853 h 1379"/>
                <a:gd name="T102" fmla="*/ 244 w 1014"/>
                <a:gd name="T103" fmla="*/ 883 h 1379"/>
                <a:gd name="T104" fmla="*/ 304 w 1014"/>
                <a:gd name="T105" fmla="*/ 906 h 1379"/>
                <a:gd name="T106" fmla="*/ 311 w 1014"/>
                <a:gd name="T107" fmla="*/ 1000 h 1379"/>
                <a:gd name="T108" fmla="*/ 382 w 1014"/>
                <a:gd name="T109" fmla="*/ 1065 h 1379"/>
                <a:gd name="T110" fmla="*/ 498 w 1014"/>
                <a:gd name="T111" fmla="*/ 1146 h 1379"/>
                <a:gd name="T112" fmla="*/ 572 w 1014"/>
                <a:gd name="T113" fmla="*/ 1246 h 1379"/>
                <a:gd name="T114" fmla="*/ 699 w 1014"/>
                <a:gd name="T115" fmla="*/ 1247 h 1379"/>
                <a:gd name="T116" fmla="*/ 772 w 1014"/>
                <a:gd name="T117" fmla="*/ 1286 h 1379"/>
                <a:gd name="T118" fmla="*/ 967 w 1014"/>
                <a:gd name="T119" fmla="*/ 194 h 1379"/>
                <a:gd name="T120" fmla="*/ 746 w 1014"/>
                <a:gd name="T121" fmla="*/ 42 h 1379"/>
                <a:gd name="T122" fmla="*/ 795 w 1014"/>
                <a:gd name="T123" fmla="*/ 9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14" h="1379">
                  <a:moveTo>
                    <a:pt x="800" y="1284"/>
                  </a:moveTo>
                  <a:lnTo>
                    <a:pt x="800" y="1284"/>
                  </a:lnTo>
                  <a:lnTo>
                    <a:pt x="810" y="1299"/>
                  </a:lnTo>
                  <a:lnTo>
                    <a:pt x="817" y="1306"/>
                  </a:lnTo>
                  <a:lnTo>
                    <a:pt x="817" y="1306"/>
                  </a:lnTo>
                  <a:lnTo>
                    <a:pt x="819" y="1308"/>
                  </a:lnTo>
                  <a:lnTo>
                    <a:pt x="819" y="1312"/>
                  </a:lnTo>
                  <a:lnTo>
                    <a:pt x="819" y="1318"/>
                  </a:lnTo>
                  <a:lnTo>
                    <a:pt x="819" y="1318"/>
                  </a:lnTo>
                  <a:lnTo>
                    <a:pt x="819" y="1320"/>
                  </a:lnTo>
                  <a:lnTo>
                    <a:pt x="820" y="1321"/>
                  </a:lnTo>
                  <a:lnTo>
                    <a:pt x="823" y="1323"/>
                  </a:lnTo>
                  <a:lnTo>
                    <a:pt x="826" y="1327"/>
                  </a:lnTo>
                  <a:lnTo>
                    <a:pt x="826" y="1327"/>
                  </a:lnTo>
                  <a:lnTo>
                    <a:pt x="829" y="1334"/>
                  </a:lnTo>
                  <a:lnTo>
                    <a:pt x="832" y="1336"/>
                  </a:lnTo>
                  <a:lnTo>
                    <a:pt x="835" y="1336"/>
                  </a:lnTo>
                  <a:lnTo>
                    <a:pt x="835" y="1336"/>
                  </a:lnTo>
                  <a:lnTo>
                    <a:pt x="847" y="1333"/>
                  </a:lnTo>
                  <a:lnTo>
                    <a:pt x="853" y="1333"/>
                  </a:lnTo>
                  <a:lnTo>
                    <a:pt x="854" y="1333"/>
                  </a:lnTo>
                  <a:lnTo>
                    <a:pt x="856" y="1334"/>
                  </a:lnTo>
                  <a:lnTo>
                    <a:pt x="856" y="1334"/>
                  </a:lnTo>
                  <a:lnTo>
                    <a:pt x="862" y="1343"/>
                  </a:lnTo>
                  <a:lnTo>
                    <a:pt x="865" y="1348"/>
                  </a:lnTo>
                  <a:lnTo>
                    <a:pt x="869" y="1349"/>
                  </a:lnTo>
                  <a:lnTo>
                    <a:pt x="869" y="1349"/>
                  </a:lnTo>
                  <a:lnTo>
                    <a:pt x="872" y="1351"/>
                  </a:lnTo>
                  <a:lnTo>
                    <a:pt x="874" y="1354"/>
                  </a:lnTo>
                  <a:lnTo>
                    <a:pt x="874" y="1364"/>
                  </a:lnTo>
                  <a:lnTo>
                    <a:pt x="874" y="1364"/>
                  </a:lnTo>
                  <a:lnTo>
                    <a:pt x="877" y="1374"/>
                  </a:lnTo>
                  <a:lnTo>
                    <a:pt x="878" y="1379"/>
                  </a:lnTo>
                  <a:lnTo>
                    <a:pt x="878" y="1379"/>
                  </a:lnTo>
                  <a:lnTo>
                    <a:pt x="880" y="1379"/>
                  </a:lnTo>
                  <a:lnTo>
                    <a:pt x="881" y="1379"/>
                  </a:lnTo>
                  <a:lnTo>
                    <a:pt x="884" y="1376"/>
                  </a:lnTo>
                  <a:lnTo>
                    <a:pt x="889" y="1369"/>
                  </a:lnTo>
                  <a:lnTo>
                    <a:pt x="889" y="1369"/>
                  </a:lnTo>
                  <a:lnTo>
                    <a:pt x="893" y="1366"/>
                  </a:lnTo>
                  <a:lnTo>
                    <a:pt x="897" y="1364"/>
                  </a:lnTo>
                  <a:lnTo>
                    <a:pt x="902" y="1361"/>
                  </a:lnTo>
                  <a:lnTo>
                    <a:pt x="903" y="1360"/>
                  </a:lnTo>
                  <a:lnTo>
                    <a:pt x="905" y="1358"/>
                  </a:lnTo>
                  <a:lnTo>
                    <a:pt x="905" y="1358"/>
                  </a:lnTo>
                  <a:lnTo>
                    <a:pt x="903" y="1352"/>
                  </a:lnTo>
                  <a:lnTo>
                    <a:pt x="902" y="1348"/>
                  </a:lnTo>
                  <a:lnTo>
                    <a:pt x="902" y="1346"/>
                  </a:lnTo>
                  <a:lnTo>
                    <a:pt x="903" y="1343"/>
                  </a:lnTo>
                  <a:lnTo>
                    <a:pt x="905" y="1342"/>
                  </a:lnTo>
                  <a:lnTo>
                    <a:pt x="909" y="1340"/>
                  </a:lnTo>
                  <a:lnTo>
                    <a:pt x="909" y="1340"/>
                  </a:lnTo>
                  <a:lnTo>
                    <a:pt x="924" y="1336"/>
                  </a:lnTo>
                  <a:lnTo>
                    <a:pt x="929" y="1333"/>
                  </a:lnTo>
                  <a:lnTo>
                    <a:pt x="931" y="1329"/>
                  </a:lnTo>
                  <a:lnTo>
                    <a:pt x="931" y="1329"/>
                  </a:lnTo>
                  <a:lnTo>
                    <a:pt x="937" y="1323"/>
                  </a:lnTo>
                  <a:lnTo>
                    <a:pt x="943" y="1318"/>
                  </a:lnTo>
                  <a:lnTo>
                    <a:pt x="951" y="1314"/>
                  </a:lnTo>
                  <a:lnTo>
                    <a:pt x="955" y="1308"/>
                  </a:lnTo>
                  <a:lnTo>
                    <a:pt x="955" y="1308"/>
                  </a:lnTo>
                  <a:lnTo>
                    <a:pt x="958" y="1300"/>
                  </a:lnTo>
                  <a:lnTo>
                    <a:pt x="958" y="1296"/>
                  </a:lnTo>
                  <a:lnTo>
                    <a:pt x="961" y="1286"/>
                  </a:lnTo>
                  <a:lnTo>
                    <a:pt x="961" y="1286"/>
                  </a:lnTo>
                  <a:lnTo>
                    <a:pt x="964" y="1281"/>
                  </a:lnTo>
                  <a:lnTo>
                    <a:pt x="967" y="1277"/>
                  </a:lnTo>
                  <a:lnTo>
                    <a:pt x="970" y="1272"/>
                  </a:lnTo>
                  <a:lnTo>
                    <a:pt x="969" y="1269"/>
                  </a:lnTo>
                  <a:lnTo>
                    <a:pt x="967" y="1268"/>
                  </a:lnTo>
                  <a:lnTo>
                    <a:pt x="967" y="1268"/>
                  </a:lnTo>
                  <a:lnTo>
                    <a:pt x="954" y="1252"/>
                  </a:lnTo>
                  <a:lnTo>
                    <a:pt x="945" y="1241"/>
                  </a:lnTo>
                  <a:lnTo>
                    <a:pt x="945" y="1241"/>
                  </a:lnTo>
                  <a:lnTo>
                    <a:pt x="957" y="1229"/>
                  </a:lnTo>
                  <a:lnTo>
                    <a:pt x="966" y="1220"/>
                  </a:lnTo>
                  <a:lnTo>
                    <a:pt x="971" y="1212"/>
                  </a:lnTo>
                  <a:lnTo>
                    <a:pt x="971" y="1212"/>
                  </a:lnTo>
                  <a:lnTo>
                    <a:pt x="974" y="1207"/>
                  </a:lnTo>
                  <a:lnTo>
                    <a:pt x="980" y="1204"/>
                  </a:lnTo>
                  <a:lnTo>
                    <a:pt x="985" y="1200"/>
                  </a:lnTo>
                  <a:lnTo>
                    <a:pt x="992" y="1194"/>
                  </a:lnTo>
                  <a:lnTo>
                    <a:pt x="992" y="1194"/>
                  </a:lnTo>
                  <a:lnTo>
                    <a:pt x="998" y="1185"/>
                  </a:lnTo>
                  <a:lnTo>
                    <a:pt x="1001" y="1176"/>
                  </a:lnTo>
                  <a:lnTo>
                    <a:pt x="1004" y="1167"/>
                  </a:lnTo>
                  <a:lnTo>
                    <a:pt x="1004" y="1160"/>
                  </a:lnTo>
                  <a:lnTo>
                    <a:pt x="1004" y="1160"/>
                  </a:lnTo>
                  <a:lnTo>
                    <a:pt x="1006" y="1154"/>
                  </a:lnTo>
                  <a:lnTo>
                    <a:pt x="1007" y="1149"/>
                  </a:lnTo>
                  <a:lnTo>
                    <a:pt x="1013" y="1142"/>
                  </a:lnTo>
                  <a:lnTo>
                    <a:pt x="1013" y="1142"/>
                  </a:lnTo>
                  <a:lnTo>
                    <a:pt x="1014" y="1139"/>
                  </a:lnTo>
                  <a:lnTo>
                    <a:pt x="1014" y="1135"/>
                  </a:lnTo>
                  <a:lnTo>
                    <a:pt x="1014" y="1127"/>
                  </a:lnTo>
                  <a:lnTo>
                    <a:pt x="1010" y="1120"/>
                  </a:lnTo>
                  <a:lnTo>
                    <a:pt x="1008" y="1117"/>
                  </a:lnTo>
                  <a:lnTo>
                    <a:pt x="1006" y="1115"/>
                  </a:lnTo>
                  <a:lnTo>
                    <a:pt x="1006" y="1115"/>
                  </a:lnTo>
                  <a:lnTo>
                    <a:pt x="998" y="1114"/>
                  </a:lnTo>
                  <a:lnTo>
                    <a:pt x="988" y="1112"/>
                  </a:lnTo>
                  <a:lnTo>
                    <a:pt x="980" y="1111"/>
                  </a:lnTo>
                  <a:lnTo>
                    <a:pt x="977" y="1109"/>
                  </a:lnTo>
                  <a:lnTo>
                    <a:pt x="976" y="1106"/>
                  </a:lnTo>
                  <a:lnTo>
                    <a:pt x="976" y="1106"/>
                  </a:lnTo>
                  <a:lnTo>
                    <a:pt x="974" y="1102"/>
                  </a:lnTo>
                  <a:lnTo>
                    <a:pt x="973" y="1096"/>
                  </a:lnTo>
                  <a:lnTo>
                    <a:pt x="973" y="1095"/>
                  </a:lnTo>
                  <a:lnTo>
                    <a:pt x="971" y="1093"/>
                  </a:lnTo>
                  <a:lnTo>
                    <a:pt x="969" y="1093"/>
                  </a:lnTo>
                  <a:lnTo>
                    <a:pt x="964" y="1095"/>
                  </a:lnTo>
                  <a:lnTo>
                    <a:pt x="964" y="1095"/>
                  </a:lnTo>
                  <a:lnTo>
                    <a:pt x="957" y="1096"/>
                  </a:lnTo>
                  <a:lnTo>
                    <a:pt x="951" y="1096"/>
                  </a:lnTo>
                  <a:lnTo>
                    <a:pt x="949" y="1096"/>
                  </a:lnTo>
                  <a:lnTo>
                    <a:pt x="948" y="1095"/>
                  </a:lnTo>
                  <a:lnTo>
                    <a:pt x="948" y="1093"/>
                  </a:lnTo>
                  <a:lnTo>
                    <a:pt x="948" y="1090"/>
                  </a:lnTo>
                  <a:lnTo>
                    <a:pt x="948" y="1090"/>
                  </a:lnTo>
                  <a:lnTo>
                    <a:pt x="954" y="1075"/>
                  </a:lnTo>
                  <a:lnTo>
                    <a:pt x="960" y="1068"/>
                  </a:lnTo>
                  <a:lnTo>
                    <a:pt x="966" y="1062"/>
                  </a:lnTo>
                  <a:lnTo>
                    <a:pt x="966" y="1062"/>
                  </a:lnTo>
                  <a:lnTo>
                    <a:pt x="969" y="1061"/>
                  </a:lnTo>
                  <a:lnTo>
                    <a:pt x="971" y="1056"/>
                  </a:lnTo>
                  <a:lnTo>
                    <a:pt x="974" y="1047"/>
                  </a:lnTo>
                  <a:lnTo>
                    <a:pt x="976" y="1037"/>
                  </a:lnTo>
                  <a:lnTo>
                    <a:pt x="974" y="1028"/>
                  </a:lnTo>
                  <a:lnTo>
                    <a:pt x="974" y="1028"/>
                  </a:lnTo>
                  <a:lnTo>
                    <a:pt x="971" y="1023"/>
                  </a:lnTo>
                  <a:lnTo>
                    <a:pt x="969" y="1022"/>
                  </a:lnTo>
                  <a:lnTo>
                    <a:pt x="964" y="1019"/>
                  </a:lnTo>
                  <a:lnTo>
                    <a:pt x="964" y="1018"/>
                  </a:lnTo>
                  <a:lnTo>
                    <a:pt x="964" y="1015"/>
                  </a:lnTo>
                  <a:lnTo>
                    <a:pt x="964" y="1015"/>
                  </a:lnTo>
                  <a:lnTo>
                    <a:pt x="964" y="1004"/>
                  </a:lnTo>
                  <a:lnTo>
                    <a:pt x="963" y="1001"/>
                  </a:lnTo>
                  <a:lnTo>
                    <a:pt x="963" y="998"/>
                  </a:lnTo>
                  <a:lnTo>
                    <a:pt x="963" y="998"/>
                  </a:lnTo>
                  <a:lnTo>
                    <a:pt x="958" y="995"/>
                  </a:lnTo>
                  <a:lnTo>
                    <a:pt x="952" y="992"/>
                  </a:lnTo>
                  <a:lnTo>
                    <a:pt x="946" y="991"/>
                  </a:lnTo>
                  <a:lnTo>
                    <a:pt x="940" y="988"/>
                  </a:lnTo>
                  <a:lnTo>
                    <a:pt x="940" y="988"/>
                  </a:lnTo>
                  <a:lnTo>
                    <a:pt x="939" y="985"/>
                  </a:lnTo>
                  <a:lnTo>
                    <a:pt x="937" y="981"/>
                  </a:lnTo>
                  <a:lnTo>
                    <a:pt x="937" y="972"/>
                  </a:lnTo>
                  <a:lnTo>
                    <a:pt x="936" y="963"/>
                  </a:lnTo>
                  <a:lnTo>
                    <a:pt x="936" y="958"/>
                  </a:lnTo>
                  <a:lnTo>
                    <a:pt x="936" y="958"/>
                  </a:lnTo>
                  <a:lnTo>
                    <a:pt x="934" y="952"/>
                  </a:lnTo>
                  <a:lnTo>
                    <a:pt x="934" y="951"/>
                  </a:lnTo>
                  <a:lnTo>
                    <a:pt x="936" y="949"/>
                  </a:lnTo>
                  <a:lnTo>
                    <a:pt x="936" y="949"/>
                  </a:lnTo>
                  <a:lnTo>
                    <a:pt x="940" y="949"/>
                  </a:lnTo>
                  <a:lnTo>
                    <a:pt x="943" y="946"/>
                  </a:lnTo>
                  <a:lnTo>
                    <a:pt x="946" y="944"/>
                  </a:lnTo>
                  <a:lnTo>
                    <a:pt x="948" y="938"/>
                  </a:lnTo>
                  <a:lnTo>
                    <a:pt x="948" y="938"/>
                  </a:lnTo>
                  <a:lnTo>
                    <a:pt x="945" y="932"/>
                  </a:lnTo>
                  <a:lnTo>
                    <a:pt x="940" y="926"/>
                  </a:lnTo>
                  <a:lnTo>
                    <a:pt x="936" y="921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33" y="915"/>
                  </a:lnTo>
                  <a:lnTo>
                    <a:pt x="933" y="911"/>
                  </a:lnTo>
                  <a:lnTo>
                    <a:pt x="936" y="901"/>
                  </a:lnTo>
                  <a:lnTo>
                    <a:pt x="936" y="901"/>
                  </a:lnTo>
                  <a:lnTo>
                    <a:pt x="939" y="895"/>
                  </a:lnTo>
                  <a:lnTo>
                    <a:pt x="942" y="892"/>
                  </a:lnTo>
                  <a:lnTo>
                    <a:pt x="945" y="890"/>
                  </a:lnTo>
                  <a:lnTo>
                    <a:pt x="945" y="890"/>
                  </a:lnTo>
                  <a:lnTo>
                    <a:pt x="949" y="886"/>
                  </a:lnTo>
                  <a:lnTo>
                    <a:pt x="952" y="878"/>
                  </a:lnTo>
                  <a:lnTo>
                    <a:pt x="952" y="871"/>
                  </a:lnTo>
                  <a:lnTo>
                    <a:pt x="952" y="866"/>
                  </a:lnTo>
                  <a:lnTo>
                    <a:pt x="949" y="864"/>
                  </a:lnTo>
                  <a:lnTo>
                    <a:pt x="949" y="864"/>
                  </a:lnTo>
                  <a:lnTo>
                    <a:pt x="943" y="850"/>
                  </a:lnTo>
                  <a:lnTo>
                    <a:pt x="934" y="837"/>
                  </a:lnTo>
                  <a:lnTo>
                    <a:pt x="934" y="837"/>
                  </a:lnTo>
                  <a:lnTo>
                    <a:pt x="929" y="829"/>
                  </a:lnTo>
                  <a:lnTo>
                    <a:pt x="926" y="825"/>
                  </a:lnTo>
                  <a:lnTo>
                    <a:pt x="923" y="822"/>
                  </a:lnTo>
                  <a:lnTo>
                    <a:pt x="923" y="819"/>
                  </a:lnTo>
                  <a:lnTo>
                    <a:pt x="923" y="819"/>
                  </a:lnTo>
                  <a:lnTo>
                    <a:pt x="926" y="813"/>
                  </a:lnTo>
                  <a:lnTo>
                    <a:pt x="933" y="803"/>
                  </a:lnTo>
                  <a:lnTo>
                    <a:pt x="933" y="803"/>
                  </a:lnTo>
                  <a:lnTo>
                    <a:pt x="937" y="795"/>
                  </a:lnTo>
                  <a:lnTo>
                    <a:pt x="939" y="787"/>
                  </a:lnTo>
                  <a:lnTo>
                    <a:pt x="939" y="779"/>
                  </a:lnTo>
                  <a:lnTo>
                    <a:pt x="937" y="773"/>
                  </a:lnTo>
                  <a:lnTo>
                    <a:pt x="937" y="773"/>
                  </a:lnTo>
                  <a:lnTo>
                    <a:pt x="936" y="766"/>
                  </a:lnTo>
                  <a:lnTo>
                    <a:pt x="936" y="760"/>
                  </a:lnTo>
                  <a:lnTo>
                    <a:pt x="933" y="755"/>
                  </a:lnTo>
                  <a:lnTo>
                    <a:pt x="933" y="755"/>
                  </a:lnTo>
                  <a:lnTo>
                    <a:pt x="927" y="748"/>
                  </a:lnTo>
                  <a:lnTo>
                    <a:pt x="926" y="745"/>
                  </a:lnTo>
                  <a:lnTo>
                    <a:pt x="924" y="741"/>
                  </a:lnTo>
                  <a:lnTo>
                    <a:pt x="924" y="741"/>
                  </a:lnTo>
                  <a:lnTo>
                    <a:pt x="926" y="736"/>
                  </a:lnTo>
                  <a:lnTo>
                    <a:pt x="927" y="733"/>
                  </a:lnTo>
                  <a:lnTo>
                    <a:pt x="930" y="730"/>
                  </a:lnTo>
                  <a:lnTo>
                    <a:pt x="934" y="732"/>
                  </a:lnTo>
                  <a:lnTo>
                    <a:pt x="934" y="732"/>
                  </a:lnTo>
                  <a:lnTo>
                    <a:pt x="946" y="736"/>
                  </a:lnTo>
                  <a:lnTo>
                    <a:pt x="951" y="736"/>
                  </a:lnTo>
                  <a:lnTo>
                    <a:pt x="954" y="735"/>
                  </a:lnTo>
                  <a:lnTo>
                    <a:pt x="955" y="733"/>
                  </a:lnTo>
                  <a:lnTo>
                    <a:pt x="955" y="733"/>
                  </a:lnTo>
                  <a:lnTo>
                    <a:pt x="960" y="727"/>
                  </a:lnTo>
                  <a:lnTo>
                    <a:pt x="961" y="723"/>
                  </a:lnTo>
                  <a:lnTo>
                    <a:pt x="967" y="714"/>
                  </a:lnTo>
                  <a:lnTo>
                    <a:pt x="967" y="714"/>
                  </a:lnTo>
                  <a:lnTo>
                    <a:pt x="970" y="712"/>
                  </a:lnTo>
                  <a:lnTo>
                    <a:pt x="973" y="710"/>
                  </a:lnTo>
                  <a:lnTo>
                    <a:pt x="976" y="708"/>
                  </a:lnTo>
                  <a:lnTo>
                    <a:pt x="977" y="705"/>
                  </a:lnTo>
                  <a:lnTo>
                    <a:pt x="977" y="705"/>
                  </a:lnTo>
                  <a:lnTo>
                    <a:pt x="980" y="702"/>
                  </a:lnTo>
                  <a:lnTo>
                    <a:pt x="980" y="699"/>
                  </a:lnTo>
                  <a:lnTo>
                    <a:pt x="983" y="687"/>
                  </a:lnTo>
                  <a:lnTo>
                    <a:pt x="983" y="687"/>
                  </a:lnTo>
                  <a:lnTo>
                    <a:pt x="991" y="671"/>
                  </a:lnTo>
                  <a:lnTo>
                    <a:pt x="997" y="659"/>
                  </a:lnTo>
                  <a:lnTo>
                    <a:pt x="997" y="659"/>
                  </a:lnTo>
                  <a:lnTo>
                    <a:pt x="1000" y="656"/>
                  </a:lnTo>
                  <a:lnTo>
                    <a:pt x="1000" y="655"/>
                  </a:lnTo>
                  <a:lnTo>
                    <a:pt x="997" y="649"/>
                  </a:lnTo>
                  <a:lnTo>
                    <a:pt x="997" y="649"/>
                  </a:lnTo>
                  <a:lnTo>
                    <a:pt x="994" y="644"/>
                  </a:lnTo>
                  <a:lnTo>
                    <a:pt x="991" y="638"/>
                  </a:lnTo>
                  <a:lnTo>
                    <a:pt x="991" y="632"/>
                  </a:lnTo>
                  <a:lnTo>
                    <a:pt x="991" y="627"/>
                  </a:lnTo>
                  <a:lnTo>
                    <a:pt x="991" y="627"/>
                  </a:lnTo>
                  <a:lnTo>
                    <a:pt x="994" y="621"/>
                  </a:lnTo>
                  <a:lnTo>
                    <a:pt x="995" y="618"/>
                  </a:lnTo>
                  <a:lnTo>
                    <a:pt x="997" y="616"/>
                  </a:lnTo>
                  <a:lnTo>
                    <a:pt x="997" y="612"/>
                  </a:lnTo>
                  <a:lnTo>
                    <a:pt x="997" y="612"/>
                  </a:lnTo>
                  <a:lnTo>
                    <a:pt x="997" y="610"/>
                  </a:lnTo>
                  <a:lnTo>
                    <a:pt x="994" y="609"/>
                  </a:lnTo>
                  <a:lnTo>
                    <a:pt x="986" y="609"/>
                  </a:lnTo>
                  <a:lnTo>
                    <a:pt x="983" y="607"/>
                  </a:lnTo>
                  <a:lnTo>
                    <a:pt x="980" y="604"/>
                  </a:lnTo>
                  <a:lnTo>
                    <a:pt x="977" y="601"/>
                  </a:lnTo>
                  <a:lnTo>
                    <a:pt x="977" y="595"/>
                  </a:lnTo>
                  <a:lnTo>
                    <a:pt x="977" y="595"/>
                  </a:lnTo>
                  <a:lnTo>
                    <a:pt x="979" y="584"/>
                  </a:lnTo>
                  <a:lnTo>
                    <a:pt x="979" y="575"/>
                  </a:lnTo>
                  <a:lnTo>
                    <a:pt x="976" y="569"/>
                  </a:lnTo>
                  <a:lnTo>
                    <a:pt x="974" y="567"/>
                  </a:lnTo>
                  <a:lnTo>
                    <a:pt x="973" y="569"/>
                  </a:lnTo>
                  <a:lnTo>
                    <a:pt x="973" y="569"/>
                  </a:lnTo>
                  <a:lnTo>
                    <a:pt x="969" y="573"/>
                  </a:lnTo>
                  <a:lnTo>
                    <a:pt x="961" y="578"/>
                  </a:lnTo>
                  <a:lnTo>
                    <a:pt x="955" y="581"/>
                  </a:lnTo>
                  <a:lnTo>
                    <a:pt x="951" y="581"/>
                  </a:lnTo>
                  <a:lnTo>
                    <a:pt x="948" y="579"/>
                  </a:lnTo>
                  <a:lnTo>
                    <a:pt x="948" y="579"/>
                  </a:lnTo>
                  <a:lnTo>
                    <a:pt x="934" y="567"/>
                  </a:lnTo>
                  <a:lnTo>
                    <a:pt x="926" y="560"/>
                  </a:lnTo>
                  <a:lnTo>
                    <a:pt x="915" y="555"/>
                  </a:lnTo>
                  <a:lnTo>
                    <a:pt x="915" y="555"/>
                  </a:lnTo>
                  <a:lnTo>
                    <a:pt x="911" y="553"/>
                  </a:lnTo>
                  <a:lnTo>
                    <a:pt x="908" y="548"/>
                  </a:lnTo>
                  <a:lnTo>
                    <a:pt x="902" y="539"/>
                  </a:lnTo>
                  <a:lnTo>
                    <a:pt x="899" y="529"/>
                  </a:lnTo>
                  <a:lnTo>
                    <a:pt x="894" y="517"/>
                  </a:lnTo>
                  <a:lnTo>
                    <a:pt x="894" y="517"/>
                  </a:lnTo>
                  <a:lnTo>
                    <a:pt x="890" y="508"/>
                  </a:lnTo>
                  <a:lnTo>
                    <a:pt x="889" y="499"/>
                  </a:lnTo>
                  <a:lnTo>
                    <a:pt x="890" y="492"/>
                  </a:lnTo>
                  <a:lnTo>
                    <a:pt x="894" y="486"/>
                  </a:lnTo>
                  <a:lnTo>
                    <a:pt x="894" y="486"/>
                  </a:lnTo>
                  <a:lnTo>
                    <a:pt x="896" y="481"/>
                  </a:lnTo>
                  <a:lnTo>
                    <a:pt x="897" y="478"/>
                  </a:lnTo>
                  <a:lnTo>
                    <a:pt x="899" y="473"/>
                  </a:lnTo>
                  <a:lnTo>
                    <a:pt x="900" y="471"/>
                  </a:lnTo>
                  <a:lnTo>
                    <a:pt x="902" y="470"/>
                  </a:lnTo>
                  <a:lnTo>
                    <a:pt x="905" y="468"/>
                  </a:lnTo>
                  <a:lnTo>
                    <a:pt x="909" y="468"/>
                  </a:lnTo>
                  <a:lnTo>
                    <a:pt x="909" y="468"/>
                  </a:lnTo>
                  <a:lnTo>
                    <a:pt x="914" y="467"/>
                  </a:lnTo>
                  <a:lnTo>
                    <a:pt x="920" y="465"/>
                  </a:lnTo>
                  <a:lnTo>
                    <a:pt x="933" y="461"/>
                  </a:lnTo>
                  <a:lnTo>
                    <a:pt x="946" y="455"/>
                  </a:lnTo>
                  <a:lnTo>
                    <a:pt x="952" y="453"/>
                  </a:lnTo>
                  <a:lnTo>
                    <a:pt x="957" y="453"/>
                  </a:lnTo>
                  <a:lnTo>
                    <a:pt x="957" y="453"/>
                  </a:lnTo>
                  <a:lnTo>
                    <a:pt x="961" y="453"/>
                  </a:lnTo>
                  <a:lnTo>
                    <a:pt x="964" y="452"/>
                  </a:lnTo>
                  <a:lnTo>
                    <a:pt x="966" y="450"/>
                  </a:lnTo>
                  <a:lnTo>
                    <a:pt x="969" y="447"/>
                  </a:lnTo>
                  <a:lnTo>
                    <a:pt x="974" y="430"/>
                  </a:lnTo>
                  <a:lnTo>
                    <a:pt x="974" y="430"/>
                  </a:lnTo>
                  <a:lnTo>
                    <a:pt x="979" y="418"/>
                  </a:lnTo>
                  <a:lnTo>
                    <a:pt x="982" y="404"/>
                  </a:lnTo>
                  <a:lnTo>
                    <a:pt x="985" y="393"/>
                  </a:lnTo>
                  <a:lnTo>
                    <a:pt x="985" y="387"/>
                  </a:lnTo>
                  <a:lnTo>
                    <a:pt x="985" y="387"/>
                  </a:lnTo>
                  <a:lnTo>
                    <a:pt x="983" y="382"/>
                  </a:lnTo>
                  <a:lnTo>
                    <a:pt x="980" y="379"/>
                  </a:lnTo>
                  <a:lnTo>
                    <a:pt x="971" y="370"/>
                  </a:lnTo>
                  <a:lnTo>
                    <a:pt x="971" y="370"/>
                  </a:lnTo>
                  <a:lnTo>
                    <a:pt x="951" y="341"/>
                  </a:lnTo>
                  <a:lnTo>
                    <a:pt x="951" y="341"/>
                  </a:lnTo>
                  <a:lnTo>
                    <a:pt x="951" y="338"/>
                  </a:lnTo>
                  <a:lnTo>
                    <a:pt x="952" y="335"/>
                  </a:lnTo>
                  <a:lnTo>
                    <a:pt x="955" y="330"/>
                  </a:lnTo>
                  <a:lnTo>
                    <a:pt x="961" y="329"/>
                  </a:lnTo>
                  <a:lnTo>
                    <a:pt x="961" y="329"/>
                  </a:lnTo>
                  <a:lnTo>
                    <a:pt x="967" y="326"/>
                  </a:lnTo>
                  <a:lnTo>
                    <a:pt x="971" y="323"/>
                  </a:lnTo>
                  <a:lnTo>
                    <a:pt x="976" y="321"/>
                  </a:lnTo>
                  <a:lnTo>
                    <a:pt x="980" y="323"/>
                  </a:lnTo>
                  <a:lnTo>
                    <a:pt x="980" y="323"/>
                  </a:lnTo>
                  <a:lnTo>
                    <a:pt x="983" y="323"/>
                  </a:lnTo>
                  <a:lnTo>
                    <a:pt x="986" y="323"/>
                  </a:lnTo>
                  <a:lnTo>
                    <a:pt x="992" y="319"/>
                  </a:lnTo>
                  <a:lnTo>
                    <a:pt x="997" y="311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3" y="293"/>
                  </a:lnTo>
                  <a:lnTo>
                    <a:pt x="1003" y="284"/>
                  </a:lnTo>
                  <a:lnTo>
                    <a:pt x="1000" y="279"/>
                  </a:lnTo>
                  <a:lnTo>
                    <a:pt x="997" y="274"/>
                  </a:lnTo>
                  <a:lnTo>
                    <a:pt x="997" y="274"/>
                  </a:lnTo>
                  <a:lnTo>
                    <a:pt x="991" y="273"/>
                  </a:lnTo>
                  <a:lnTo>
                    <a:pt x="986" y="271"/>
                  </a:lnTo>
                  <a:lnTo>
                    <a:pt x="982" y="270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6" y="264"/>
                  </a:lnTo>
                  <a:lnTo>
                    <a:pt x="974" y="258"/>
                  </a:lnTo>
                  <a:lnTo>
                    <a:pt x="974" y="247"/>
                  </a:lnTo>
                  <a:lnTo>
                    <a:pt x="974" y="247"/>
                  </a:lnTo>
                  <a:lnTo>
                    <a:pt x="973" y="242"/>
                  </a:lnTo>
                  <a:lnTo>
                    <a:pt x="970" y="234"/>
                  </a:lnTo>
                  <a:lnTo>
                    <a:pt x="966" y="227"/>
                  </a:lnTo>
                  <a:lnTo>
                    <a:pt x="966" y="227"/>
                  </a:lnTo>
                  <a:lnTo>
                    <a:pt x="948" y="227"/>
                  </a:lnTo>
                  <a:lnTo>
                    <a:pt x="948" y="227"/>
                  </a:lnTo>
                  <a:lnTo>
                    <a:pt x="945" y="228"/>
                  </a:lnTo>
                  <a:lnTo>
                    <a:pt x="942" y="231"/>
                  </a:lnTo>
                  <a:lnTo>
                    <a:pt x="937" y="237"/>
                  </a:lnTo>
                  <a:lnTo>
                    <a:pt x="936" y="244"/>
                  </a:lnTo>
                  <a:lnTo>
                    <a:pt x="936" y="249"/>
                  </a:lnTo>
                  <a:lnTo>
                    <a:pt x="936" y="249"/>
                  </a:lnTo>
                  <a:lnTo>
                    <a:pt x="937" y="253"/>
                  </a:lnTo>
                  <a:lnTo>
                    <a:pt x="942" y="261"/>
                  </a:lnTo>
                  <a:lnTo>
                    <a:pt x="946" y="267"/>
                  </a:lnTo>
                  <a:lnTo>
                    <a:pt x="948" y="273"/>
                  </a:lnTo>
                  <a:lnTo>
                    <a:pt x="948" y="273"/>
                  </a:lnTo>
                  <a:lnTo>
                    <a:pt x="948" y="276"/>
                  </a:lnTo>
                  <a:lnTo>
                    <a:pt x="943" y="277"/>
                  </a:lnTo>
                  <a:lnTo>
                    <a:pt x="939" y="277"/>
                  </a:lnTo>
                  <a:lnTo>
                    <a:pt x="933" y="277"/>
                  </a:lnTo>
                  <a:lnTo>
                    <a:pt x="933" y="277"/>
                  </a:lnTo>
                  <a:lnTo>
                    <a:pt x="927" y="274"/>
                  </a:lnTo>
                  <a:lnTo>
                    <a:pt x="923" y="270"/>
                  </a:lnTo>
                  <a:lnTo>
                    <a:pt x="914" y="258"/>
                  </a:lnTo>
                  <a:lnTo>
                    <a:pt x="914" y="258"/>
                  </a:lnTo>
                  <a:lnTo>
                    <a:pt x="905" y="247"/>
                  </a:lnTo>
                  <a:lnTo>
                    <a:pt x="902" y="244"/>
                  </a:lnTo>
                  <a:lnTo>
                    <a:pt x="897" y="242"/>
                  </a:lnTo>
                  <a:lnTo>
                    <a:pt x="897" y="242"/>
                  </a:lnTo>
                  <a:lnTo>
                    <a:pt x="893" y="242"/>
                  </a:lnTo>
                  <a:lnTo>
                    <a:pt x="889" y="243"/>
                  </a:lnTo>
                  <a:lnTo>
                    <a:pt x="878" y="249"/>
                  </a:lnTo>
                  <a:lnTo>
                    <a:pt x="878" y="249"/>
                  </a:lnTo>
                  <a:lnTo>
                    <a:pt x="875" y="253"/>
                  </a:lnTo>
                  <a:lnTo>
                    <a:pt x="872" y="261"/>
                  </a:lnTo>
                  <a:lnTo>
                    <a:pt x="871" y="268"/>
                  </a:lnTo>
                  <a:lnTo>
                    <a:pt x="869" y="277"/>
                  </a:lnTo>
                  <a:lnTo>
                    <a:pt x="869" y="277"/>
                  </a:lnTo>
                  <a:lnTo>
                    <a:pt x="871" y="281"/>
                  </a:lnTo>
                  <a:lnTo>
                    <a:pt x="872" y="286"/>
                  </a:lnTo>
                  <a:lnTo>
                    <a:pt x="877" y="295"/>
                  </a:lnTo>
                  <a:lnTo>
                    <a:pt x="884" y="304"/>
                  </a:lnTo>
                  <a:lnTo>
                    <a:pt x="884" y="304"/>
                  </a:lnTo>
                  <a:lnTo>
                    <a:pt x="896" y="321"/>
                  </a:lnTo>
                  <a:lnTo>
                    <a:pt x="906" y="335"/>
                  </a:lnTo>
                  <a:lnTo>
                    <a:pt x="914" y="344"/>
                  </a:lnTo>
                  <a:lnTo>
                    <a:pt x="914" y="344"/>
                  </a:lnTo>
                  <a:lnTo>
                    <a:pt x="917" y="347"/>
                  </a:lnTo>
                  <a:lnTo>
                    <a:pt x="920" y="350"/>
                  </a:lnTo>
                  <a:lnTo>
                    <a:pt x="921" y="357"/>
                  </a:lnTo>
                  <a:lnTo>
                    <a:pt x="923" y="370"/>
                  </a:lnTo>
                  <a:lnTo>
                    <a:pt x="923" y="370"/>
                  </a:lnTo>
                  <a:lnTo>
                    <a:pt x="923" y="373"/>
                  </a:lnTo>
                  <a:lnTo>
                    <a:pt x="923" y="375"/>
                  </a:lnTo>
                  <a:lnTo>
                    <a:pt x="918" y="378"/>
                  </a:lnTo>
                  <a:lnTo>
                    <a:pt x="912" y="378"/>
                  </a:lnTo>
                  <a:lnTo>
                    <a:pt x="908" y="376"/>
                  </a:lnTo>
                  <a:lnTo>
                    <a:pt x="908" y="376"/>
                  </a:lnTo>
                  <a:lnTo>
                    <a:pt x="905" y="373"/>
                  </a:lnTo>
                  <a:lnTo>
                    <a:pt x="902" y="367"/>
                  </a:lnTo>
                  <a:lnTo>
                    <a:pt x="896" y="356"/>
                  </a:lnTo>
                  <a:lnTo>
                    <a:pt x="896" y="356"/>
                  </a:lnTo>
                  <a:lnTo>
                    <a:pt x="893" y="350"/>
                  </a:lnTo>
                  <a:lnTo>
                    <a:pt x="889" y="345"/>
                  </a:lnTo>
                  <a:lnTo>
                    <a:pt x="884" y="342"/>
                  </a:lnTo>
                  <a:lnTo>
                    <a:pt x="878" y="339"/>
                  </a:lnTo>
                  <a:lnTo>
                    <a:pt x="878" y="339"/>
                  </a:lnTo>
                  <a:lnTo>
                    <a:pt x="863" y="330"/>
                  </a:lnTo>
                  <a:lnTo>
                    <a:pt x="847" y="320"/>
                  </a:lnTo>
                  <a:lnTo>
                    <a:pt x="847" y="320"/>
                  </a:lnTo>
                  <a:lnTo>
                    <a:pt x="841" y="314"/>
                  </a:lnTo>
                  <a:lnTo>
                    <a:pt x="837" y="307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8" y="289"/>
                  </a:lnTo>
                  <a:lnTo>
                    <a:pt x="829" y="286"/>
                  </a:lnTo>
                  <a:lnTo>
                    <a:pt x="834" y="281"/>
                  </a:lnTo>
                  <a:lnTo>
                    <a:pt x="834" y="281"/>
                  </a:lnTo>
                  <a:lnTo>
                    <a:pt x="838" y="279"/>
                  </a:lnTo>
                  <a:lnTo>
                    <a:pt x="841" y="276"/>
                  </a:lnTo>
                  <a:lnTo>
                    <a:pt x="844" y="273"/>
                  </a:lnTo>
                  <a:lnTo>
                    <a:pt x="844" y="273"/>
                  </a:lnTo>
                  <a:lnTo>
                    <a:pt x="846" y="268"/>
                  </a:lnTo>
                  <a:lnTo>
                    <a:pt x="847" y="262"/>
                  </a:lnTo>
                  <a:lnTo>
                    <a:pt x="847" y="249"/>
                  </a:lnTo>
                  <a:lnTo>
                    <a:pt x="847" y="249"/>
                  </a:lnTo>
                  <a:lnTo>
                    <a:pt x="849" y="239"/>
                  </a:lnTo>
                  <a:lnTo>
                    <a:pt x="852" y="231"/>
                  </a:lnTo>
                  <a:lnTo>
                    <a:pt x="852" y="231"/>
                  </a:lnTo>
                  <a:lnTo>
                    <a:pt x="853" y="228"/>
                  </a:lnTo>
                  <a:lnTo>
                    <a:pt x="857" y="225"/>
                  </a:lnTo>
                  <a:lnTo>
                    <a:pt x="863" y="222"/>
                  </a:lnTo>
                  <a:lnTo>
                    <a:pt x="863" y="222"/>
                  </a:lnTo>
                  <a:lnTo>
                    <a:pt x="871" y="215"/>
                  </a:lnTo>
                  <a:lnTo>
                    <a:pt x="877" y="206"/>
                  </a:lnTo>
                  <a:lnTo>
                    <a:pt x="877" y="206"/>
                  </a:lnTo>
                  <a:lnTo>
                    <a:pt x="890" y="179"/>
                  </a:lnTo>
                  <a:lnTo>
                    <a:pt x="890" y="179"/>
                  </a:lnTo>
                  <a:lnTo>
                    <a:pt x="892" y="173"/>
                  </a:lnTo>
                  <a:lnTo>
                    <a:pt x="892" y="164"/>
                  </a:lnTo>
                  <a:lnTo>
                    <a:pt x="890" y="150"/>
                  </a:lnTo>
                  <a:lnTo>
                    <a:pt x="890" y="150"/>
                  </a:lnTo>
                  <a:lnTo>
                    <a:pt x="889" y="145"/>
                  </a:lnTo>
                  <a:lnTo>
                    <a:pt x="887" y="141"/>
                  </a:lnTo>
                  <a:lnTo>
                    <a:pt x="884" y="138"/>
                  </a:lnTo>
                  <a:lnTo>
                    <a:pt x="881" y="136"/>
                  </a:lnTo>
                  <a:lnTo>
                    <a:pt x="881" y="136"/>
                  </a:lnTo>
                  <a:lnTo>
                    <a:pt x="880" y="136"/>
                  </a:lnTo>
                  <a:lnTo>
                    <a:pt x="878" y="139"/>
                  </a:lnTo>
                  <a:lnTo>
                    <a:pt x="875" y="147"/>
                  </a:lnTo>
                  <a:lnTo>
                    <a:pt x="871" y="160"/>
                  </a:lnTo>
                  <a:lnTo>
                    <a:pt x="871" y="160"/>
                  </a:lnTo>
                  <a:lnTo>
                    <a:pt x="863" y="190"/>
                  </a:lnTo>
                  <a:lnTo>
                    <a:pt x="863" y="190"/>
                  </a:lnTo>
                  <a:lnTo>
                    <a:pt x="862" y="196"/>
                  </a:lnTo>
                  <a:lnTo>
                    <a:pt x="859" y="202"/>
                  </a:lnTo>
                  <a:lnTo>
                    <a:pt x="853" y="210"/>
                  </a:lnTo>
                  <a:lnTo>
                    <a:pt x="853" y="210"/>
                  </a:lnTo>
                  <a:lnTo>
                    <a:pt x="850" y="213"/>
                  </a:lnTo>
                  <a:lnTo>
                    <a:pt x="847" y="215"/>
                  </a:lnTo>
                  <a:lnTo>
                    <a:pt x="837" y="218"/>
                  </a:lnTo>
                  <a:lnTo>
                    <a:pt x="815" y="224"/>
                  </a:lnTo>
                  <a:lnTo>
                    <a:pt x="815" y="224"/>
                  </a:lnTo>
                  <a:lnTo>
                    <a:pt x="803" y="228"/>
                  </a:lnTo>
                  <a:lnTo>
                    <a:pt x="786" y="237"/>
                  </a:lnTo>
                  <a:lnTo>
                    <a:pt x="786" y="237"/>
                  </a:lnTo>
                  <a:lnTo>
                    <a:pt x="777" y="243"/>
                  </a:lnTo>
                  <a:lnTo>
                    <a:pt x="770" y="253"/>
                  </a:lnTo>
                  <a:lnTo>
                    <a:pt x="761" y="268"/>
                  </a:lnTo>
                  <a:lnTo>
                    <a:pt x="761" y="268"/>
                  </a:lnTo>
                  <a:lnTo>
                    <a:pt x="760" y="276"/>
                  </a:lnTo>
                  <a:lnTo>
                    <a:pt x="760" y="287"/>
                  </a:lnTo>
                  <a:lnTo>
                    <a:pt x="761" y="311"/>
                  </a:lnTo>
                  <a:lnTo>
                    <a:pt x="761" y="311"/>
                  </a:lnTo>
                  <a:lnTo>
                    <a:pt x="760" y="335"/>
                  </a:lnTo>
                  <a:lnTo>
                    <a:pt x="757" y="350"/>
                  </a:lnTo>
                  <a:lnTo>
                    <a:pt x="755" y="359"/>
                  </a:lnTo>
                  <a:lnTo>
                    <a:pt x="755" y="359"/>
                  </a:lnTo>
                  <a:lnTo>
                    <a:pt x="749" y="370"/>
                  </a:lnTo>
                  <a:lnTo>
                    <a:pt x="740" y="381"/>
                  </a:lnTo>
                  <a:lnTo>
                    <a:pt x="740" y="381"/>
                  </a:lnTo>
                  <a:lnTo>
                    <a:pt x="732" y="388"/>
                  </a:lnTo>
                  <a:lnTo>
                    <a:pt x="724" y="394"/>
                  </a:lnTo>
                  <a:lnTo>
                    <a:pt x="724" y="394"/>
                  </a:lnTo>
                  <a:lnTo>
                    <a:pt x="723" y="400"/>
                  </a:lnTo>
                  <a:lnTo>
                    <a:pt x="723" y="406"/>
                  </a:lnTo>
                  <a:lnTo>
                    <a:pt x="723" y="412"/>
                  </a:lnTo>
                  <a:lnTo>
                    <a:pt x="721" y="418"/>
                  </a:lnTo>
                  <a:lnTo>
                    <a:pt x="721" y="418"/>
                  </a:lnTo>
                  <a:lnTo>
                    <a:pt x="717" y="422"/>
                  </a:lnTo>
                  <a:lnTo>
                    <a:pt x="711" y="427"/>
                  </a:lnTo>
                  <a:lnTo>
                    <a:pt x="696" y="437"/>
                  </a:lnTo>
                  <a:lnTo>
                    <a:pt x="696" y="437"/>
                  </a:lnTo>
                  <a:lnTo>
                    <a:pt x="692" y="441"/>
                  </a:lnTo>
                  <a:lnTo>
                    <a:pt x="690" y="444"/>
                  </a:lnTo>
                  <a:lnTo>
                    <a:pt x="690" y="450"/>
                  </a:lnTo>
                  <a:lnTo>
                    <a:pt x="692" y="455"/>
                  </a:lnTo>
                  <a:lnTo>
                    <a:pt x="692" y="455"/>
                  </a:lnTo>
                  <a:lnTo>
                    <a:pt x="692" y="467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83" y="489"/>
                  </a:lnTo>
                  <a:lnTo>
                    <a:pt x="677" y="501"/>
                  </a:lnTo>
                  <a:lnTo>
                    <a:pt x="677" y="501"/>
                  </a:lnTo>
                  <a:lnTo>
                    <a:pt x="675" y="504"/>
                  </a:lnTo>
                  <a:lnTo>
                    <a:pt x="678" y="507"/>
                  </a:lnTo>
                  <a:lnTo>
                    <a:pt x="681" y="507"/>
                  </a:lnTo>
                  <a:lnTo>
                    <a:pt x="683" y="507"/>
                  </a:lnTo>
                  <a:lnTo>
                    <a:pt x="683" y="507"/>
                  </a:lnTo>
                  <a:lnTo>
                    <a:pt x="695" y="507"/>
                  </a:lnTo>
                  <a:lnTo>
                    <a:pt x="703" y="508"/>
                  </a:lnTo>
                  <a:lnTo>
                    <a:pt x="708" y="510"/>
                  </a:lnTo>
                  <a:lnTo>
                    <a:pt x="708" y="510"/>
                  </a:lnTo>
                  <a:lnTo>
                    <a:pt x="714" y="514"/>
                  </a:lnTo>
                  <a:lnTo>
                    <a:pt x="717" y="517"/>
                  </a:lnTo>
                  <a:lnTo>
                    <a:pt x="721" y="517"/>
                  </a:lnTo>
                  <a:lnTo>
                    <a:pt x="721" y="517"/>
                  </a:lnTo>
                  <a:lnTo>
                    <a:pt x="736" y="518"/>
                  </a:lnTo>
                  <a:lnTo>
                    <a:pt x="752" y="521"/>
                  </a:lnTo>
                  <a:lnTo>
                    <a:pt x="752" y="521"/>
                  </a:lnTo>
                  <a:lnTo>
                    <a:pt x="760" y="527"/>
                  </a:lnTo>
                  <a:lnTo>
                    <a:pt x="775" y="539"/>
                  </a:lnTo>
                  <a:lnTo>
                    <a:pt x="798" y="563"/>
                  </a:lnTo>
                  <a:lnTo>
                    <a:pt x="798" y="563"/>
                  </a:lnTo>
                  <a:lnTo>
                    <a:pt x="803" y="569"/>
                  </a:lnTo>
                  <a:lnTo>
                    <a:pt x="807" y="576"/>
                  </a:lnTo>
                  <a:lnTo>
                    <a:pt x="809" y="584"/>
                  </a:lnTo>
                  <a:lnTo>
                    <a:pt x="810" y="591"/>
                  </a:lnTo>
                  <a:lnTo>
                    <a:pt x="810" y="591"/>
                  </a:lnTo>
                  <a:lnTo>
                    <a:pt x="809" y="598"/>
                  </a:lnTo>
                  <a:lnTo>
                    <a:pt x="807" y="606"/>
                  </a:lnTo>
                  <a:lnTo>
                    <a:pt x="803" y="619"/>
                  </a:lnTo>
                  <a:lnTo>
                    <a:pt x="803" y="619"/>
                  </a:lnTo>
                  <a:lnTo>
                    <a:pt x="803" y="624"/>
                  </a:lnTo>
                  <a:lnTo>
                    <a:pt x="801" y="631"/>
                  </a:lnTo>
                  <a:lnTo>
                    <a:pt x="800" y="646"/>
                  </a:lnTo>
                  <a:lnTo>
                    <a:pt x="800" y="646"/>
                  </a:lnTo>
                  <a:lnTo>
                    <a:pt x="798" y="649"/>
                  </a:lnTo>
                  <a:lnTo>
                    <a:pt x="794" y="652"/>
                  </a:lnTo>
                  <a:lnTo>
                    <a:pt x="783" y="653"/>
                  </a:lnTo>
                  <a:lnTo>
                    <a:pt x="783" y="653"/>
                  </a:lnTo>
                  <a:lnTo>
                    <a:pt x="779" y="655"/>
                  </a:lnTo>
                  <a:lnTo>
                    <a:pt x="776" y="656"/>
                  </a:lnTo>
                  <a:lnTo>
                    <a:pt x="769" y="664"/>
                  </a:lnTo>
                  <a:lnTo>
                    <a:pt x="769" y="664"/>
                  </a:lnTo>
                  <a:lnTo>
                    <a:pt x="764" y="667"/>
                  </a:lnTo>
                  <a:lnTo>
                    <a:pt x="763" y="671"/>
                  </a:lnTo>
                  <a:lnTo>
                    <a:pt x="760" y="680"/>
                  </a:lnTo>
                  <a:lnTo>
                    <a:pt x="757" y="695"/>
                  </a:lnTo>
                  <a:lnTo>
                    <a:pt x="757" y="695"/>
                  </a:lnTo>
                  <a:lnTo>
                    <a:pt x="757" y="698"/>
                  </a:lnTo>
                  <a:lnTo>
                    <a:pt x="758" y="699"/>
                  </a:lnTo>
                  <a:lnTo>
                    <a:pt x="763" y="705"/>
                  </a:lnTo>
                  <a:lnTo>
                    <a:pt x="773" y="712"/>
                  </a:lnTo>
                  <a:lnTo>
                    <a:pt x="773" y="712"/>
                  </a:lnTo>
                  <a:lnTo>
                    <a:pt x="789" y="721"/>
                  </a:lnTo>
                  <a:lnTo>
                    <a:pt x="803" y="730"/>
                  </a:lnTo>
                  <a:lnTo>
                    <a:pt x="803" y="730"/>
                  </a:lnTo>
                  <a:lnTo>
                    <a:pt x="804" y="733"/>
                  </a:lnTo>
                  <a:lnTo>
                    <a:pt x="806" y="736"/>
                  </a:lnTo>
                  <a:lnTo>
                    <a:pt x="806" y="739"/>
                  </a:lnTo>
                  <a:lnTo>
                    <a:pt x="804" y="742"/>
                  </a:lnTo>
                  <a:lnTo>
                    <a:pt x="804" y="742"/>
                  </a:lnTo>
                  <a:lnTo>
                    <a:pt x="803" y="742"/>
                  </a:lnTo>
                  <a:lnTo>
                    <a:pt x="800" y="742"/>
                  </a:lnTo>
                  <a:lnTo>
                    <a:pt x="795" y="739"/>
                  </a:lnTo>
                  <a:lnTo>
                    <a:pt x="785" y="732"/>
                  </a:lnTo>
                  <a:lnTo>
                    <a:pt x="785" y="732"/>
                  </a:lnTo>
                  <a:lnTo>
                    <a:pt x="770" y="721"/>
                  </a:lnTo>
                  <a:lnTo>
                    <a:pt x="754" y="708"/>
                  </a:lnTo>
                  <a:lnTo>
                    <a:pt x="754" y="708"/>
                  </a:lnTo>
                  <a:lnTo>
                    <a:pt x="749" y="704"/>
                  </a:lnTo>
                  <a:lnTo>
                    <a:pt x="748" y="698"/>
                  </a:lnTo>
                  <a:lnTo>
                    <a:pt x="748" y="693"/>
                  </a:lnTo>
                  <a:lnTo>
                    <a:pt x="748" y="689"/>
                  </a:lnTo>
                  <a:lnTo>
                    <a:pt x="748" y="689"/>
                  </a:lnTo>
                  <a:lnTo>
                    <a:pt x="752" y="672"/>
                  </a:lnTo>
                  <a:lnTo>
                    <a:pt x="758" y="658"/>
                  </a:lnTo>
                  <a:lnTo>
                    <a:pt x="758" y="658"/>
                  </a:lnTo>
                  <a:lnTo>
                    <a:pt x="766" y="644"/>
                  </a:lnTo>
                  <a:lnTo>
                    <a:pt x="773" y="631"/>
                  </a:lnTo>
                  <a:lnTo>
                    <a:pt x="773" y="631"/>
                  </a:lnTo>
                  <a:lnTo>
                    <a:pt x="776" y="628"/>
                  </a:lnTo>
                  <a:lnTo>
                    <a:pt x="776" y="624"/>
                  </a:lnTo>
                  <a:lnTo>
                    <a:pt x="776" y="618"/>
                  </a:lnTo>
                  <a:lnTo>
                    <a:pt x="776" y="618"/>
                  </a:lnTo>
                  <a:lnTo>
                    <a:pt x="769" y="597"/>
                  </a:lnTo>
                  <a:lnTo>
                    <a:pt x="769" y="597"/>
                  </a:lnTo>
                  <a:lnTo>
                    <a:pt x="769" y="585"/>
                  </a:lnTo>
                  <a:lnTo>
                    <a:pt x="769" y="579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4" y="567"/>
                  </a:lnTo>
                  <a:lnTo>
                    <a:pt x="758" y="561"/>
                  </a:lnTo>
                  <a:lnTo>
                    <a:pt x="751" y="557"/>
                  </a:lnTo>
                  <a:lnTo>
                    <a:pt x="745" y="555"/>
                  </a:lnTo>
                  <a:lnTo>
                    <a:pt x="745" y="555"/>
                  </a:lnTo>
                  <a:lnTo>
                    <a:pt x="720" y="555"/>
                  </a:lnTo>
                  <a:lnTo>
                    <a:pt x="690" y="555"/>
                  </a:lnTo>
                  <a:lnTo>
                    <a:pt x="690" y="555"/>
                  </a:lnTo>
                  <a:lnTo>
                    <a:pt x="681" y="557"/>
                  </a:lnTo>
                  <a:lnTo>
                    <a:pt x="675" y="560"/>
                  </a:lnTo>
                  <a:lnTo>
                    <a:pt x="666" y="569"/>
                  </a:lnTo>
                  <a:lnTo>
                    <a:pt x="666" y="569"/>
                  </a:lnTo>
                  <a:lnTo>
                    <a:pt x="665" y="572"/>
                  </a:lnTo>
                  <a:lnTo>
                    <a:pt x="663" y="578"/>
                  </a:lnTo>
                  <a:lnTo>
                    <a:pt x="662" y="590"/>
                  </a:lnTo>
                  <a:lnTo>
                    <a:pt x="662" y="612"/>
                  </a:lnTo>
                  <a:lnTo>
                    <a:pt x="662" y="612"/>
                  </a:lnTo>
                  <a:lnTo>
                    <a:pt x="662" y="631"/>
                  </a:lnTo>
                  <a:lnTo>
                    <a:pt x="659" y="652"/>
                  </a:lnTo>
                  <a:lnTo>
                    <a:pt x="659" y="652"/>
                  </a:lnTo>
                  <a:lnTo>
                    <a:pt x="658" y="656"/>
                  </a:lnTo>
                  <a:lnTo>
                    <a:pt x="655" y="659"/>
                  </a:lnTo>
                  <a:lnTo>
                    <a:pt x="644" y="667"/>
                  </a:lnTo>
                  <a:lnTo>
                    <a:pt x="635" y="672"/>
                  </a:lnTo>
                  <a:lnTo>
                    <a:pt x="626" y="677"/>
                  </a:lnTo>
                  <a:lnTo>
                    <a:pt x="626" y="677"/>
                  </a:lnTo>
                  <a:lnTo>
                    <a:pt x="615" y="681"/>
                  </a:lnTo>
                  <a:lnTo>
                    <a:pt x="609" y="683"/>
                  </a:lnTo>
                  <a:lnTo>
                    <a:pt x="604" y="687"/>
                  </a:lnTo>
                  <a:lnTo>
                    <a:pt x="604" y="687"/>
                  </a:lnTo>
                  <a:lnTo>
                    <a:pt x="600" y="693"/>
                  </a:lnTo>
                  <a:lnTo>
                    <a:pt x="595" y="701"/>
                  </a:lnTo>
                  <a:lnTo>
                    <a:pt x="592" y="714"/>
                  </a:lnTo>
                  <a:lnTo>
                    <a:pt x="592" y="714"/>
                  </a:lnTo>
                  <a:lnTo>
                    <a:pt x="589" y="718"/>
                  </a:lnTo>
                  <a:lnTo>
                    <a:pt x="582" y="724"/>
                  </a:lnTo>
                  <a:lnTo>
                    <a:pt x="575" y="729"/>
                  </a:lnTo>
                  <a:lnTo>
                    <a:pt x="566" y="730"/>
                  </a:lnTo>
                  <a:lnTo>
                    <a:pt x="566" y="730"/>
                  </a:lnTo>
                  <a:lnTo>
                    <a:pt x="544" y="736"/>
                  </a:lnTo>
                  <a:lnTo>
                    <a:pt x="544" y="736"/>
                  </a:lnTo>
                  <a:lnTo>
                    <a:pt x="527" y="738"/>
                  </a:lnTo>
                  <a:lnTo>
                    <a:pt x="512" y="738"/>
                  </a:lnTo>
                  <a:lnTo>
                    <a:pt x="512" y="738"/>
                  </a:lnTo>
                  <a:lnTo>
                    <a:pt x="511" y="739"/>
                  </a:lnTo>
                  <a:lnTo>
                    <a:pt x="508" y="741"/>
                  </a:lnTo>
                  <a:lnTo>
                    <a:pt x="502" y="747"/>
                  </a:lnTo>
                  <a:lnTo>
                    <a:pt x="492" y="760"/>
                  </a:lnTo>
                  <a:lnTo>
                    <a:pt x="492" y="760"/>
                  </a:lnTo>
                  <a:lnTo>
                    <a:pt x="489" y="760"/>
                  </a:lnTo>
                  <a:lnTo>
                    <a:pt x="486" y="761"/>
                  </a:lnTo>
                  <a:lnTo>
                    <a:pt x="480" y="760"/>
                  </a:lnTo>
                  <a:lnTo>
                    <a:pt x="472" y="757"/>
                  </a:lnTo>
                  <a:lnTo>
                    <a:pt x="467" y="752"/>
                  </a:lnTo>
                  <a:lnTo>
                    <a:pt x="467" y="752"/>
                  </a:lnTo>
                  <a:lnTo>
                    <a:pt x="455" y="741"/>
                  </a:lnTo>
                  <a:lnTo>
                    <a:pt x="443" y="730"/>
                  </a:lnTo>
                  <a:lnTo>
                    <a:pt x="443" y="730"/>
                  </a:lnTo>
                  <a:lnTo>
                    <a:pt x="438" y="726"/>
                  </a:lnTo>
                  <a:lnTo>
                    <a:pt x="430" y="721"/>
                  </a:lnTo>
                  <a:lnTo>
                    <a:pt x="419" y="718"/>
                  </a:lnTo>
                  <a:lnTo>
                    <a:pt x="413" y="714"/>
                  </a:lnTo>
                  <a:lnTo>
                    <a:pt x="413" y="714"/>
                  </a:lnTo>
                  <a:lnTo>
                    <a:pt x="397" y="702"/>
                  </a:lnTo>
                  <a:lnTo>
                    <a:pt x="387" y="695"/>
                  </a:lnTo>
                  <a:lnTo>
                    <a:pt x="381" y="689"/>
                  </a:lnTo>
                  <a:lnTo>
                    <a:pt x="381" y="689"/>
                  </a:lnTo>
                  <a:lnTo>
                    <a:pt x="379" y="684"/>
                  </a:lnTo>
                  <a:lnTo>
                    <a:pt x="381" y="680"/>
                  </a:lnTo>
                  <a:lnTo>
                    <a:pt x="384" y="671"/>
                  </a:lnTo>
                  <a:lnTo>
                    <a:pt x="384" y="671"/>
                  </a:lnTo>
                  <a:lnTo>
                    <a:pt x="387" y="668"/>
                  </a:lnTo>
                  <a:lnTo>
                    <a:pt x="390" y="665"/>
                  </a:lnTo>
                  <a:lnTo>
                    <a:pt x="394" y="664"/>
                  </a:lnTo>
                  <a:lnTo>
                    <a:pt x="398" y="664"/>
                  </a:lnTo>
                  <a:lnTo>
                    <a:pt x="398" y="664"/>
                  </a:lnTo>
                  <a:lnTo>
                    <a:pt x="400" y="664"/>
                  </a:lnTo>
                  <a:lnTo>
                    <a:pt x="401" y="665"/>
                  </a:lnTo>
                  <a:lnTo>
                    <a:pt x="404" y="670"/>
                  </a:lnTo>
                  <a:lnTo>
                    <a:pt x="407" y="674"/>
                  </a:lnTo>
                  <a:lnTo>
                    <a:pt x="407" y="678"/>
                  </a:lnTo>
                  <a:lnTo>
                    <a:pt x="407" y="678"/>
                  </a:lnTo>
                  <a:lnTo>
                    <a:pt x="407" y="687"/>
                  </a:lnTo>
                  <a:lnTo>
                    <a:pt x="410" y="698"/>
                  </a:lnTo>
                  <a:lnTo>
                    <a:pt x="410" y="698"/>
                  </a:lnTo>
                  <a:lnTo>
                    <a:pt x="410" y="701"/>
                  </a:lnTo>
                  <a:lnTo>
                    <a:pt x="413" y="701"/>
                  </a:lnTo>
                  <a:lnTo>
                    <a:pt x="416" y="701"/>
                  </a:lnTo>
                  <a:lnTo>
                    <a:pt x="419" y="699"/>
                  </a:lnTo>
                  <a:lnTo>
                    <a:pt x="419" y="699"/>
                  </a:lnTo>
                  <a:lnTo>
                    <a:pt x="421" y="696"/>
                  </a:lnTo>
                  <a:lnTo>
                    <a:pt x="422" y="693"/>
                  </a:lnTo>
                  <a:lnTo>
                    <a:pt x="422" y="684"/>
                  </a:lnTo>
                  <a:lnTo>
                    <a:pt x="422" y="684"/>
                  </a:lnTo>
                  <a:lnTo>
                    <a:pt x="424" y="677"/>
                  </a:lnTo>
                  <a:lnTo>
                    <a:pt x="425" y="671"/>
                  </a:lnTo>
                  <a:lnTo>
                    <a:pt x="425" y="671"/>
                  </a:lnTo>
                  <a:lnTo>
                    <a:pt x="432" y="678"/>
                  </a:lnTo>
                  <a:lnTo>
                    <a:pt x="437" y="683"/>
                  </a:lnTo>
                  <a:lnTo>
                    <a:pt x="440" y="687"/>
                  </a:lnTo>
                  <a:lnTo>
                    <a:pt x="440" y="687"/>
                  </a:lnTo>
                  <a:lnTo>
                    <a:pt x="443" y="701"/>
                  </a:lnTo>
                  <a:lnTo>
                    <a:pt x="446" y="708"/>
                  </a:lnTo>
                  <a:lnTo>
                    <a:pt x="449" y="714"/>
                  </a:lnTo>
                  <a:lnTo>
                    <a:pt x="449" y="714"/>
                  </a:lnTo>
                  <a:lnTo>
                    <a:pt x="452" y="717"/>
                  </a:lnTo>
                  <a:lnTo>
                    <a:pt x="455" y="717"/>
                  </a:lnTo>
                  <a:lnTo>
                    <a:pt x="462" y="718"/>
                  </a:lnTo>
                  <a:lnTo>
                    <a:pt x="468" y="717"/>
                  </a:lnTo>
                  <a:lnTo>
                    <a:pt x="472" y="714"/>
                  </a:lnTo>
                  <a:lnTo>
                    <a:pt x="472" y="714"/>
                  </a:lnTo>
                  <a:lnTo>
                    <a:pt x="475" y="711"/>
                  </a:lnTo>
                  <a:lnTo>
                    <a:pt x="475" y="707"/>
                  </a:lnTo>
                  <a:lnTo>
                    <a:pt x="475" y="696"/>
                  </a:lnTo>
                  <a:lnTo>
                    <a:pt x="475" y="696"/>
                  </a:lnTo>
                  <a:lnTo>
                    <a:pt x="475" y="692"/>
                  </a:lnTo>
                  <a:lnTo>
                    <a:pt x="478" y="686"/>
                  </a:lnTo>
                  <a:lnTo>
                    <a:pt x="483" y="681"/>
                  </a:lnTo>
                  <a:lnTo>
                    <a:pt x="484" y="681"/>
                  </a:lnTo>
                  <a:lnTo>
                    <a:pt x="486" y="681"/>
                  </a:lnTo>
                  <a:lnTo>
                    <a:pt x="486" y="681"/>
                  </a:lnTo>
                  <a:lnTo>
                    <a:pt x="499" y="680"/>
                  </a:lnTo>
                  <a:lnTo>
                    <a:pt x="507" y="678"/>
                  </a:lnTo>
                  <a:lnTo>
                    <a:pt x="514" y="677"/>
                  </a:lnTo>
                  <a:lnTo>
                    <a:pt x="514" y="677"/>
                  </a:lnTo>
                  <a:lnTo>
                    <a:pt x="518" y="671"/>
                  </a:lnTo>
                  <a:lnTo>
                    <a:pt x="524" y="665"/>
                  </a:lnTo>
                  <a:lnTo>
                    <a:pt x="529" y="656"/>
                  </a:lnTo>
                  <a:lnTo>
                    <a:pt x="533" y="652"/>
                  </a:lnTo>
                  <a:lnTo>
                    <a:pt x="533" y="652"/>
                  </a:lnTo>
                  <a:lnTo>
                    <a:pt x="542" y="644"/>
                  </a:lnTo>
                  <a:lnTo>
                    <a:pt x="548" y="643"/>
                  </a:lnTo>
                  <a:lnTo>
                    <a:pt x="554" y="641"/>
                  </a:lnTo>
                  <a:lnTo>
                    <a:pt x="554" y="641"/>
                  </a:lnTo>
                  <a:lnTo>
                    <a:pt x="563" y="641"/>
                  </a:lnTo>
                  <a:lnTo>
                    <a:pt x="569" y="638"/>
                  </a:lnTo>
                  <a:lnTo>
                    <a:pt x="576" y="635"/>
                  </a:lnTo>
                  <a:lnTo>
                    <a:pt x="581" y="632"/>
                  </a:lnTo>
                  <a:lnTo>
                    <a:pt x="581" y="632"/>
                  </a:lnTo>
                  <a:lnTo>
                    <a:pt x="584" y="628"/>
                  </a:lnTo>
                  <a:lnTo>
                    <a:pt x="588" y="619"/>
                  </a:lnTo>
                  <a:lnTo>
                    <a:pt x="592" y="606"/>
                  </a:lnTo>
                  <a:lnTo>
                    <a:pt x="592" y="606"/>
                  </a:lnTo>
                  <a:lnTo>
                    <a:pt x="594" y="600"/>
                  </a:lnTo>
                  <a:lnTo>
                    <a:pt x="595" y="595"/>
                  </a:lnTo>
                  <a:lnTo>
                    <a:pt x="600" y="591"/>
                  </a:lnTo>
                  <a:lnTo>
                    <a:pt x="604" y="587"/>
                  </a:lnTo>
                  <a:lnTo>
                    <a:pt x="604" y="587"/>
                  </a:lnTo>
                  <a:lnTo>
                    <a:pt x="610" y="582"/>
                  </a:lnTo>
                  <a:lnTo>
                    <a:pt x="618" y="576"/>
                  </a:lnTo>
                  <a:lnTo>
                    <a:pt x="625" y="570"/>
                  </a:lnTo>
                  <a:lnTo>
                    <a:pt x="632" y="566"/>
                  </a:lnTo>
                  <a:lnTo>
                    <a:pt x="632" y="566"/>
                  </a:lnTo>
                  <a:lnTo>
                    <a:pt x="635" y="564"/>
                  </a:lnTo>
                  <a:lnTo>
                    <a:pt x="637" y="561"/>
                  </a:lnTo>
                  <a:lnTo>
                    <a:pt x="638" y="554"/>
                  </a:lnTo>
                  <a:lnTo>
                    <a:pt x="638" y="547"/>
                  </a:lnTo>
                  <a:lnTo>
                    <a:pt x="637" y="539"/>
                  </a:lnTo>
                  <a:lnTo>
                    <a:pt x="637" y="539"/>
                  </a:lnTo>
                  <a:lnTo>
                    <a:pt x="634" y="514"/>
                  </a:lnTo>
                  <a:lnTo>
                    <a:pt x="631" y="484"/>
                  </a:lnTo>
                  <a:lnTo>
                    <a:pt x="631" y="484"/>
                  </a:lnTo>
                  <a:lnTo>
                    <a:pt x="631" y="478"/>
                  </a:lnTo>
                  <a:lnTo>
                    <a:pt x="632" y="471"/>
                  </a:lnTo>
                  <a:lnTo>
                    <a:pt x="640" y="455"/>
                  </a:lnTo>
                  <a:lnTo>
                    <a:pt x="655" y="431"/>
                  </a:lnTo>
                  <a:lnTo>
                    <a:pt x="655" y="431"/>
                  </a:lnTo>
                  <a:lnTo>
                    <a:pt x="689" y="367"/>
                  </a:lnTo>
                  <a:lnTo>
                    <a:pt x="689" y="367"/>
                  </a:lnTo>
                  <a:lnTo>
                    <a:pt x="720" y="304"/>
                  </a:lnTo>
                  <a:lnTo>
                    <a:pt x="720" y="304"/>
                  </a:lnTo>
                  <a:lnTo>
                    <a:pt x="723" y="293"/>
                  </a:lnTo>
                  <a:lnTo>
                    <a:pt x="723" y="280"/>
                  </a:lnTo>
                  <a:lnTo>
                    <a:pt x="724" y="265"/>
                  </a:lnTo>
                  <a:lnTo>
                    <a:pt x="723" y="256"/>
                  </a:lnTo>
                  <a:lnTo>
                    <a:pt x="723" y="256"/>
                  </a:lnTo>
                  <a:lnTo>
                    <a:pt x="723" y="252"/>
                  </a:lnTo>
                  <a:lnTo>
                    <a:pt x="724" y="247"/>
                  </a:lnTo>
                  <a:lnTo>
                    <a:pt x="730" y="236"/>
                  </a:lnTo>
                  <a:lnTo>
                    <a:pt x="738" y="224"/>
                  </a:lnTo>
                  <a:lnTo>
                    <a:pt x="745" y="215"/>
                  </a:lnTo>
                  <a:lnTo>
                    <a:pt x="745" y="215"/>
                  </a:lnTo>
                  <a:lnTo>
                    <a:pt x="763" y="193"/>
                  </a:lnTo>
                  <a:lnTo>
                    <a:pt x="779" y="175"/>
                  </a:lnTo>
                  <a:lnTo>
                    <a:pt x="779" y="175"/>
                  </a:lnTo>
                  <a:lnTo>
                    <a:pt x="789" y="162"/>
                  </a:lnTo>
                  <a:lnTo>
                    <a:pt x="803" y="141"/>
                  </a:lnTo>
                  <a:lnTo>
                    <a:pt x="803" y="141"/>
                  </a:lnTo>
                  <a:lnTo>
                    <a:pt x="804" y="135"/>
                  </a:lnTo>
                  <a:lnTo>
                    <a:pt x="806" y="130"/>
                  </a:lnTo>
                  <a:lnTo>
                    <a:pt x="804" y="122"/>
                  </a:lnTo>
                  <a:lnTo>
                    <a:pt x="800" y="113"/>
                  </a:lnTo>
                  <a:lnTo>
                    <a:pt x="797" y="107"/>
                  </a:lnTo>
                  <a:lnTo>
                    <a:pt x="797" y="107"/>
                  </a:lnTo>
                  <a:lnTo>
                    <a:pt x="789" y="98"/>
                  </a:lnTo>
                  <a:lnTo>
                    <a:pt x="776" y="86"/>
                  </a:lnTo>
                  <a:lnTo>
                    <a:pt x="754" y="65"/>
                  </a:lnTo>
                  <a:lnTo>
                    <a:pt x="754" y="65"/>
                  </a:lnTo>
                  <a:lnTo>
                    <a:pt x="748" y="61"/>
                  </a:lnTo>
                  <a:lnTo>
                    <a:pt x="739" y="58"/>
                  </a:lnTo>
                  <a:lnTo>
                    <a:pt x="730" y="56"/>
                  </a:lnTo>
                  <a:lnTo>
                    <a:pt x="721" y="55"/>
                  </a:lnTo>
                  <a:lnTo>
                    <a:pt x="721" y="55"/>
                  </a:lnTo>
                  <a:lnTo>
                    <a:pt x="718" y="56"/>
                  </a:lnTo>
                  <a:lnTo>
                    <a:pt x="712" y="58"/>
                  </a:lnTo>
                  <a:lnTo>
                    <a:pt x="702" y="65"/>
                  </a:lnTo>
                  <a:lnTo>
                    <a:pt x="693" y="73"/>
                  </a:lnTo>
                  <a:lnTo>
                    <a:pt x="687" y="79"/>
                  </a:lnTo>
                  <a:lnTo>
                    <a:pt x="687" y="79"/>
                  </a:lnTo>
                  <a:lnTo>
                    <a:pt x="643" y="130"/>
                  </a:lnTo>
                  <a:lnTo>
                    <a:pt x="643" y="130"/>
                  </a:lnTo>
                  <a:lnTo>
                    <a:pt x="635" y="136"/>
                  </a:lnTo>
                  <a:lnTo>
                    <a:pt x="623" y="145"/>
                  </a:lnTo>
                  <a:lnTo>
                    <a:pt x="604" y="157"/>
                  </a:lnTo>
                  <a:lnTo>
                    <a:pt x="604" y="157"/>
                  </a:lnTo>
                  <a:lnTo>
                    <a:pt x="584" y="164"/>
                  </a:lnTo>
                  <a:lnTo>
                    <a:pt x="569" y="170"/>
                  </a:lnTo>
                  <a:lnTo>
                    <a:pt x="560" y="173"/>
                  </a:lnTo>
                  <a:lnTo>
                    <a:pt x="560" y="173"/>
                  </a:lnTo>
                  <a:lnTo>
                    <a:pt x="555" y="178"/>
                  </a:lnTo>
                  <a:lnTo>
                    <a:pt x="549" y="182"/>
                  </a:lnTo>
                  <a:lnTo>
                    <a:pt x="545" y="190"/>
                  </a:lnTo>
                  <a:lnTo>
                    <a:pt x="544" y="196"/>
                  </a:lnTo>
                  <a:lnTo>
                    <a:pt x="544" y="196"/>
                  </a:lnTo>
                  <a:lnTo>
                    <a:pt x="542" y="197"/>
                  </a:lnTo>
                  <a:lnTo>
                    <a:pt x="541" y="200"/>
                  </a:lnTo>
                  <a:lnTo>
                    <a:pt x="535" y="203"/>
                  </a:lnTo>
                  <a:lnTo>
                    <a:pt x="529" y="204"/>
                  </a:lnTo>
                  <a:lnTo>
                    <a:pt x="523" y="206"/>
                  </a:lnTo>
                  <a:lnTo>
                    <a:pt x="523" y="206"/>
                  </a:lnTo>
                  <a:lnTo>
                    <a:pt x="521" y="209"/>
                  </a:lnTo>
                  <a:lnTo>
                    <a:pt x="523" y="213"/>
                  </a:lnTo>
                  <a:lnTo>
                    <a:pt x="527" y="221"/>
                  </a:lnTo>
                  <a:lnTo>
                    <a:pt x="527" y="221"/>
                  </a:lnTo>
                  <a:lnTo>
                    <a:pt x="530" y="222"/>
                  </a:lnTo>
                  <a:lnTo>
                    <a:pt x="535" y="225"/>
                  </a:lnTo>
                  <a:lnTo>
                    <a:pt x="539" y="227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1"/>
                  </a:lnTo>
                  <a:lnTo>
                    <a:pt x="542" y="233"/>
                  </a:lnTo>
                  <a:lnTo>
                    <a:pt x="539" y="237"/>
                  </a:lnTo>
                  <a:lnTo>
                    <a:pt x="527" y="246"/>
                  </a:lnTo>
                  <a:lnTo>
                    <a:pt x="527" y="246"/>
                  </a:lnTo>
                  <a:lnTo>
                    <a:pt x="523" y="252"/>
                  </a:lnTo>
                  <a:lnTo>
                    <a:pt x="518" y="258"/>
                  </a:lnTo>
                  <a:lnTo>
                    <a:pt x="514" y="271"/>
                  </a:lnTo>
                  <a:lnTo>
                    <a:pt x="514" y="271"/>
                  </a:lnTo>
                  <a:lnTo>
                    <a:pt x="504" y="283"/>
                  </a:lnTo>
                  <a:lnTo>
                    <a:pt x="496" y="290"/>
                  </a:lnTo>
                  <a:lnTo>
                    <a:pt x="489" y="295"/>
                  </a:lnTo>
                  <a:lnTo>
                    <a:pt x="489" y="295"/>
                  </a:lnTo>
                  <a:lnTo>
                    <a:pt x="481" y="301"/>
                  </a:lnTo>
                  <a:lnTo>
                    <a:pt x="474" y="310"/>
                  </a:lnTo>
                  <a:lnTo>
                    <a:pt x="469" y="317"/>
                  </a:lnTo>
                  <a:lnTo>
                    <a:pt x="465" y="324"/>
                  </a:lnTo>
                  <a:lnTo>
                    <a:pt x="465" y="324"/>
                  </a:lnTo>
                  <a:lnTo>
                    <a:pt x="465" y="327"/>
                  </a:lnTo>
                  <a:lnTo>
                    <a:pt x="468" y="330"/>
                  </a:lnTo>
                  <a:lnTo>
                    <a:pt x="478" y="335"/>
                  </a:lnTo>
                  <a:lnTo>
                    <a:pt x="478" y="335"/>
                  </a:lnTo>
                  <a:lnTo>
                    <a:pt x="484" y="339"/>
                  </a:lnTo>
                  <a:lnTo>
                    <a:pt x="489" y="345"/>
                  </a:lnTo>
                  <a:lnTo>
                    <a:pt x="493" y="351"/>
                  </a:lnTo>
                  <a:lnTo>
                    <a:pt x="495" y="357"/>
                  </a:lnTo>
                  <a:lnTo>
                    <a:pt x="495" y="357"/>
                  </a:lnTo>
                  <a:lnTo>
                    <a:pt x="493" y="364"/>
                  </a:lnTo>
                  <a:lnTo>
                    <a:pt x="490" y="375"/>
                  </a:lnTo>
                  <a:lnTo>
                    <a:pt x="486" y="390"/>
                  </a:lnTo>
                  <a:lnTo>
                    <a:pt x="486" y="390"/>
                  </a:lnTo>
                  <a:lnTo>
                    <a:pt x="481" y="403"/>
                  </a:lnTo>
                  <a:lnTo>
                    <a:pt x="480" y="412"/>
                  </a:lnTo>
                  <a:lnTo>
                    <a:pt x="481" y="418"/>
                  </a:lnTo>
                  <a:lnTo>
                    <a:pt x="481" y="418"/>
                  </a:lnTo>
                  <a:lnTo>
                    <a:pt x="489" y="431"/>
                  </a:lnTo>
                  <a:lnTo>
                    <a:pt x="493" y="440"/>
                  </a:lnTo>
                  <a:lnTo>
                    <a:pt x="496" y="446"/>
                  </a:lnTo>
                  <a:lnTo>
                    <a:pt x="496" y="446"/>
                  </a:lnTo>
                  <a:lnTo>
                    <a:pt x="495" y="452"/>
                  </a:lnTo>
                  <a:lnTo>
                    <a:pt x="493" y="458"/>
                  </a:lnTo>
                  <a:lnTo>
                    <a:pt x="489" y="464"/>
                  </a:lnTo>
                  <a:lnTo>
                    <a:pt x="484" y="468"/>
                  </a:lnTo>
                  <a:lnTo>
                    <a:pt x="484" y="468"/>
                  </a:lnTo>
                  <a:lnTo>
                    <a:pt x="480" y="471"/>
                  </a:lnTo>
                  <a:lnTo>
                    <a:pt x="475" y="477"/>
                  </a:lnTo>
                  <a:lnTo>
                    <a:pt x="467" y="486"/>
                  </a:lnTo>
                  <a:lnTo>
                    <a:pt x="467" y="486"/>
                  </a:lnTo>
                  <a:lnTo>
                    <a:pt x="455" y="495"/>
                  </a:lnTo>
                  <a:lnTo>
                    <a:pt x="447" y="499"/>
                  </a:lnTo>
                  <a:lnTo>
                    <a:pt x="438" y="502"/>
                  </a:lnTo>
                  <a:lnTo>
                    <a:pt x="438" y="502"/>
                  </a:lnTo>
                  <a:lnTo>
                    <a:pt x="435" y="502"/>
                  </a:lnTo>
                  <a:lnTo>
                    <a:pt x="432" y="502"/>
                  </a:lnTo>
                  <a:lnTo>
                    <a:pt x="430" y="499"/>
                  </a:lnTo>
                  <a:lnTo>
                    <a:pt x="428" y="495"/>
                  </a:lnTo>
                  <a:lnTo>
                    <a:pt x="430" y="490"/>
                  </a:lnTo>
                  <a:lnTo>
                    <a:pt x="430" y="490"/>
                  </a:lnTo>
                  <a:lnTo>
                    <a:pt x="432" y="481"/>
                  </a:lnTo>
                  <a:lnTo>
                    <a:pt x="432" y="477"/>
                  </a:lnTo>
                  <a:lnTo>
                    <a:pt x="431" y="471"/>
                  </a:lnTo>
                  <a:lnTo>
                    <a:pt x="431" y="471"/>
                  </a:lnTo>
                  <a:lnTo>
                    <a:pt x="425" y="452"/>
                  </a:lnTo>
                  <a:lnTo>
                    <a:pt x="422" y="441"/>
                  </a:lnTo>
                  <a:lnTo>
                    <a:pt x="421" y="434"/>
                  </a:lnTo>
                  <a:lnTo>
                    <a:pt x="421" y="434"/>
                  </a:lnTo>
                  <a:lnTo>
                    <a:pt x="421" y="428"/>
                  </a:lnTo>
                  <a:lnTo>
                    <a:pt x="419" y="419"/>
                  </a:lnTo>
                  <a:lnTo>
                    <a:pt x="418" y="403"/>
                  </a:lnTo>
                  <a:lnTo>
                    <a:pt x="418" y="403"/>
                  </a:lnTo>
                  <a:lnTo>
                    <a:pt x="415" y="396"/>
                  </a:lnTo>
                  <a:lnTo>
                    <a:pt x="409" y="387"/>
                  </a:lnTo>
                  <a:lnTo>
                    <a:pt x="395" y="367"/>
                  </a:lnTo>
                  <a:lnTo>
                    <a:pt x="395" y="367"/>
                  </a:lnTo>
                  <a:lnTo>
                    <a:pt x="391" y="360"/>
                  </a:lnTo>
                  <a:lnTo>
                    <a:pt x="388" y="353"/>
                  </a:lnTo>
                  <a:lnTo>
                    <a:pt x="384" y="342"/>
                  </a:lnTo>
                  <a:lnTo>
                    <a:pt x="384" y="342"/>
                  </a:lnTo>
                  <a:lnTo>
                    <a:pt x="379" y="335"/>
                  </a:lnTo>
                  <a:lnTo>
                    <a:pt x="379" y="335"/>
                  </a:lnTo>
                  <a:lnTo>
                    <a:pt x="370" y="332"/>
                  </a:lnTo>
                  <a:lnTo>
                    <a:pt x="370" y="332"/>
                  </a:lnTo>
                  <a:lnTo>
                    <a:pt x="364" y="332"/>
                  </a:lnTo>
                  <a:lnTo>
                    <a:pt x="355" y="335"/>
                  </a:lnTo>
                  <a:lnTo>
                    <a:pt x="345" y="338"/>
                  </a:lnTo>
                  <a:lnTo>
                    <a:pt x="336" y="344"/>
                  </a:lnTo>
                  <a:lnTo>
                    <a:pt x="336" y="344"/>
                  </a:lnTo>
                  <a:lnTo>
                    <a:pt x="333" y="345"/>
                  </a:lnTo>
                  <a:lnTo>
                    <a:pt x="332" y="348"/>
                  </a:lnTo>
                  <a:lnTo>
                    <a:pt x="332" y="351"/>
                  </a:lnTo>
                  <a:lnTo>
                    <a:pt x="333" y="354"/>
                  </a:lnTo>
                  <a:lnTo>
                    <a:pt x="338" y="359"/>
                  </a:lnTo>
                  <a:lnTo>
                    <a:pt x="342" y="364"/>
                  </a:lnTo>
                  <a:lnTo>
                    <a:pt x="342" y="364"/>
                  </a:lnTo>
                  <a:lnTo>
                    <a:pt x="347" y="369"/>
                  </a:lnTo>
                  <a:lnTo>
                    <a:pt x="348" y="373"/>
                  </a:lnTo>
                  <a:lnTo>
                    <a:pt x="350" y="378"/>
                  </a:lnTo>
                  <a:lnTo>
                    <a:pt x="350" y="381"/>
                  </a:lnTo>
                  <a:lnTo>
                    <a:pt x="350" y="381"/>
                  </a:lnTo>
                  <a:lnTo>
                    <a:pt x="350" y="391"/>
                  </a:lnTo>
                  <a:lnTo>
                    <a:pt x="350" y="396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5" y="403"/>
                  </a:lnTo>
                  <a:lnTo>
                    <a:pt x="354" y="406"/>
                  </a:lnTo>
                  <a:lnTo>
                    <a:pt x="351" y="410"/>
                  </a:lnTo>
                  <a:lnTo>
                    <a:pt x="351" y="410"/>
                  </a:lnTo>
                  <a:lnTo>
                    <a:pt x="348" y="413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29" y="422"/>
                  </a:lnTo>
                  <a:lnTo>
                    <a:pt x="320" y="430"/>
                  </a:lnTo>
                  <a:lnTo>
                    <a:pt x="317" y="433"/>
                  </a:lnTo>
                  <a:lnTo>
                    <a:pt x="315" y="436"/>
                  </a:lnTo>
                  <a:lnTo>
                    <a:pt x="315" y="436"/>
                  </a:lnTo>
                  <a:lnTo>
                    <a:pt x="314" y="440"/>
                  </a:lnTo>
                  <a:lnTo>
                    <a:pt x="310" y="446"/>
                  </a:lnTo>
                  <a:lnTo>
                    <a:pt x="307" y="452"/>
                  </a:lnTo>
                  <a:lnTo>
                    <a:pt x="307" y="455"/>
                  </a:lnTo>
                  <a:lnTo>
                    <a:pt x="308" y="456"/>
                  </a:lnTo>
                  <a:lnTo>
                    <a:pt x="308" y="456"/>
                  </a:lnTo>
                  <a:lnTo>
                    <a:pt x="313" y="458"/>
                  </a:lnTo>
                  <a:lnTo>
                    <a:pt x="317" y="456"/>
                  </a:lnTo>
                  <a:lnTo>
                    <a:pt x="324" y="455"/>
                  </a:lnTo>
                  <a:lnTo>
                    <a:pt x="324" y="455"/>
                  </a:lnTo>
                  <a:lnTo>
                    <a:pt x="327" y="455"/>
                  </a:lnTo>
                  <a:lnTo>
                    <a:pt x="329" y="456"/>
                  </a:lnTo>
                  <a:lnTo>
                    <a:pt x="329" y="459"/>
                  </a:lnTo>
                  <a:lnTo>
                    <a:pt x="327" y="468"/>
                  </a:lnTo>
                  <a:lnTo>
                    <a:pt x="327" y="468"/>
                  </a:lnTo>
                  <a:lnTo>
                    <a:pt x="326" y="477"/>
                  </a:lnTo>
                  <a:lnTo>
                    <a:pt x="326" y="483"/>
                  </a:lnTo>
                  <a:lnTo>
                    <a:pt x="326" y="489"/>
                  </a:lnTo>
                  <a:lnTo>
                    <a:pt x="324" y="493"/>
                  </a:lnTo>
                  <a:lnTo>
                    <a:pt x="324" y="493"/>
                  </a:lnTo>
                  <a:lnTo>
                    <a:pt x="323" y="498"/>
                  </a:lnTo>
                  <a:lnTo>
                    <a:pt x="320" y="499"/>
                  </a:lnTo>
                  <a:lnTo>
                    <a:pt x="317" y="499"/>
                  </a:lnTo>
                  <a:lnTo>
                    <a:pt x="314" y="496"/>
                  </a:lnTo>
                  <a:lnTo>
                    <a:pt x="314" y="496"/>
                  </a:lnTo>
                  <a:lnTo>
                    <a:pt x="313" y="492"/>
                  </a:lnTo>
                  <a:lnTo>
                    <a:pt x="313" y="487"/>
                  </a:lnTo>
                  <a:lnTo>
                    <a:pt x="311" y="484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1" y="492"/>
                  </a:lnTo>
                  <a:lnTo>
                    <a:pt x="296" y="496"/>
                  </a:lnTo>
                  <a:lnTo>
                    <a:pt x="295" y="501"/>
                  </a:lnTo>
                  <a:lnTo>
                    <a:pt x="295" y="502"/>
                  </a:lnTo>
                  <a:lnTo>
                    <a:pt x="295" y="504"/>
                  </a:lnTo>
                  <a:lnTo>
                    <a:pt x="295" y="504"/>
                  </a:lnTo>
                  <a:lnTo>
                    <a:pt x="301" y="508"/>
                  </a:lnTo>
                  <a:lnTo>
                    <a:pt x="302" y="510"/>
                  </a:lnTo>
                  <a:lnTo>
                    <a:pt x="304" y="511"/>
                  </a:lnTo>
                  <a:lnTo>
                    <a:pt x="304" y="511"/>
                  </a:lnTo>
                  <a:lnTo>
                    <a:pt x="302" y="514"/>
                  </a:lnTo>
                  <a:lnTo>
                    <a:pt x="299" y="518"/>
                  </a:lnTo>
                  <a:lnTo>
                    <a:pt x="286" y="529"/>
                  </a:lnTo>
                  <a:lnTo>
                    <a:pt x="286" y="529"/>
                  </a:lnTo>
                  <a:lnTo>
                    <a:pt x="280" y="532"/>
                  </a:lnTo>
                  <a:lnTo>
                    <a:pt x="274" y="533"/>
                  </a:lnTo>
                  <a:lnTo>
                    <a:pt x="268" y="535"/>
                  </a:lnTo>
                  <a:lnTo>
                    <a:pt x="261" y="536"/>
                  </a:lnTo>
                  <a:lnTo>
                    <a:pt x="261" y="536"/>
                  </a:lnTo>
                  <a:lnTo>
                    <a:pt x="253" y="541"/>
                  </a:lnTo>
                  <a:lnTo>
                    <a:pt x="244" y="547"/>
                  </a:lnTo>
                  <a:lnTo>
                    <a:pt x="236" y="551"/>
                  </a:lnTo>
                  <a:lnTo>
                    <a:pt x="231" y="553"/>
                  </a:lnTo>
                  <a:lnTo>
                    <a:pt x="227" y="554"/>
                  </a:lnTo>
                  <a:lnTo>
                    <a:pt x="227" y="554"/>
                  </a:lnTo>
                  <a:lnTo>
                    <a:pt x="197" y="554"/>
                  </a:lnTo>
                  <a:lnTo>
                    <a:pt x="173" y="554"/>
                  </a:lnTo>
                  <a:lnTo>
                    <a:pt x="173" y="554"/>
                  </a:lnTo>
                  <a:lnTo>
                    <a:pt x="169" y="557"/>
                  </a:lnTo>
                  <a:lnTo>
                    <a:pt x="164" y="561"/>
                  </a:lnTo>
                  <a:lnTo>
                    <a:pt x="160" y="564"/>
                  </a:lnTo>
                  <a:lnTo>
                    <a:pt x="156" y="566"/>
                  </a:lnTo>
                  <a:lnTo>
                    <a:pt x="156" y="566"/>
                  </a:lnTo>
                  <a:lnTo>
                    <a:pt x="145" y="564"/>
                  </a:lnTo>
                  <a:lnTo>
                    <a:pt x="141" y="563"/>
                  </a:lnTo>
                  <a:lnTo>
                    <a:pt x="138" y="564"/>
                  </a:lnTo>
                  <a:lnTo>
                    <a:pt x="138" y="564"/>
                  </a:lnTo>
                  <a:lnTo>
                    <a:pt x="133" y="572"/>
                  </a:lnTo>
                  <a:lnTo>
                    <a:pt x="129" y="573"/>
                  </a:lnTo>
                  <a:lnTo>
                    <a:pt x="124" y="575"/>
                  </a:lnTo>
                  <a:lnTo>
                    <a:pt x="124" y="575"/>
                  </a:lnTo>
                  <a:lnTo>
                    <a:pt x="119" y="575"/>
                  </a:lnTo>
                  <a:lnTo>
                    <a:pt x="113" y="576"/>
                  </a:lnTo>
                  <a:lnTo>
                    <a:pt x="108" y="579"/>
                  </a:lnTo>
                  <a:lnTo>
                    <a:pt x="102" y="582"/>
                  </a:lnTo>
                  <a:lnTo>
                    <a:pt x="102" y="582"/>
                  </a:lnTo>
                  <a:lnTo>
                    <a:pt x="101" y="584"/>
                  </a:lnTo>
                  <a:lnTo>
                    <a:pt x="96" y="585"/>
                  </a:lnTo>
                  <a:lnTo>
                    <a:pt x="86" y="585"/>
                  </a:lnTo>
                  <a:lnTo>
                    <a:pt x="74" y="584"/>
                  </a:lnTo>
                  <a:lnTo>
                    <a:pt x="62" y="585"/>
                  </a:lnTo>
                  <a:lnTo>
                    <a:pt x="62" y="585"/>
                  </a:lnTo>
                  <a:lnTo>
                    <a:pt x="46" y="588"/>
                  </a:lnTo>
                  <a:lnTo>
                    <a:pt x="46" y="588"/>
                  </a:lnTo>
                  <a:lnTo>
                    <a:pt x="43" y="603"/>
                  </a:lnTo>
                  <a:lnTo>
                    <a:pt x="43" y="616"/>
                  </a:lnTo>
                  <a:lnTo>
                    <a:pt x="43" y="622"/>
                  </a:lnTo>
                  <a:lnTo>
                    <a:pt x="45" y="628"/>
                  </a:lnTo>
                  <a:lnTo>
                    <a:pt x="45" y="628"/>
                  </a:lnTo>
                  <a:lnTo>
                    <a:pt x="49" y="641"/>
                  </a:lnTo>
                  <a:lnTo>
                    <a:pt x="49" y="644"/>
                  </a:lnTo>
                  <a:lnTo>
                    <a:pt x="50" y="649"/>
                  </a:lnTo>
                  <a:lnTo>
                    <a:pt x="50" y="649"/>
                  </a:lnTo>
                  <a:lnTo>
                    <a:pt x="49" y="652"/>
                  </a:lnTo>
                  <a:lnTo>
                    <a:pt x="46" y="655"/>
                  </a:lnTo>
                  <a:lnTo>
                    <a:pt x="39" y="664"/>
                  </a:lnTo>
                  <a:lnTo>
                    <a:pt x="30" y="671"/>
                  </a:lnTo>
                  <a:lnTo>
                    <a:pt x="27" y="675"/>
                  </a:lnTo>
                  <a:lnTo>
                    <a:pt x="25" y="678"/>
                  </a:lnTo>
                  <a:lnTo>
                    <a:pt x="25" y="678"/>
                  </a:lnTo>
                  <a:lnTo>
                    <a:pt x="27" y="689"/>
                  </a:lnTo>
                  <a:lnTo>
                    <a:pt x="27" y="692"/>
                  </a:lnTo>
                  <a:lnTo>
                    <a:pt x="25" y="695"/>
                  </a:lnTo>
                  <a:lnTo>
                    <a:pt x="24" y="696"/>
                  </a:lnTo>
                  <a:lnTo>
                    <a:pt x="19" y="698"/>
                  </a:lnTo>
                  <a:lnTo>
                    <a:pt x="19" y="698"/>
                  </a:lnTo>
                  <a:lnTo>
                    <a:pt x="5" y="701"/>
                  </a:lnTo>
                  <a:lnTo>
                    <a:pt x="2" y="702"/>
                  </a:lnTo>
                  <a:lnTo>
                    <a:pt x="0" y="704"/>
                  </a:lnTo>
                  <a:lnTo>
                    <a:pt x="0" y="707"/>
                  </a:lnTo>
                  <a:lnTo>
                    <a:pt x="2" y="710"/>
                  </a:lnTo>
                  <a:lnTo>
                    <a:pt x="2" y="710"/>
                  </a:lnTo>
                  <a:lnTo>
                    <a:pt x="6" y="717"/>
                  </a:lnTo>
                  <a:lnTo>
                    <a:pt x="12" y="720"/>
                  </a:lnTo>
                  <a:lnTo>
                    <a:pt x="16" y="723"/>
                  </a:lnTo>
                  <a:lnTo>
                    <a:pt x="19" y="727"/>
                  </a:lnTo>
                  <a:lnTo>
                    <a:pt x="19" y="727"/>
                  </a:lnTo>
                  <a:lnTo>
                    <a:pt x="24" y="733"/>
                  </a:lnTo>
                  <a:lnTo>
                    <a:pt x="24" y="741"/>
                  </a:lnTo>
                  <a:lnTo>
                    <a:pt x="24" y="749"/>
                  </a:lnTo>
                  <a:lnTo>
                    <a:pt x="22" y="755"/>
                  </a:lnTo>
                  <a:lnTo>
                    <a:pt x="22" y="755"/>
                  </a:lnTo>
                  <a:lnTo>
                    <a:pt x="22" y="761"/>
                  </a:lnTo>
                  <a:lnTo>
                    <a:pt x="24" y="764"/>
                  </a:lnTo>
                  <a:lnTo>
                    <a:pt x="28" y="766"/>
                  </a:lnTo>
                  <a:lnTo>
                    <a:pt x="36" y="766"/>
                  </a:lnTo>
                  <a:lnTo>
                    <a:pt x="36" y="766"/>
                  </a:lnTo>
                  <a:lnTo>
                    <a:pt x="52" y="766"/>
                  </a:lnTo>
                  <a:lnTo>
                    <a:pt x="59" y="767"/>
                  </a:lnTo>
                  <a:lnTo>
                    <a:pt x="65" y="770"/>
                  </a:lnTo>
                  <a:lnTo>
                    <a:pt x="65" y="770"/>
                  </a:lnTo>
                  <a:lnTo>
                    <a:pt x="76" y="776"/>
                  </a:lnTo>
                  <a:lnTo>
                    <a:pt x="82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92" y="776"/>
                  </a:lnTo>
                  <a:lnTo>
                    <a:pt x="96" y="773"/>
                  </a:lnTo>
                  <a:lnTo>
                    <a:pt x="101" y="772"/>
                  </a:lnTo>
                  <a:lnTo>
                    <a:pt x="105" y="770"/>
                  </a:lnTo>
                  <a:lnTo>
                    <a:pt x="105" y="770"/>
                  </a:lnTo>
                  <a:lnTo>
                    <a:pt x="113" y="772"/>
                  </a:lnTo>
                  <a:lnTo>
                    <a:pt x="120" y="776"/>
                  </a:lnTo>
                  <a:lnTo>
                    <a:pt x="127" y="782"/>
                  </a:lnTo>
                  <a:lnTo>
                    <a:pt x="133" y="787"/>
                  </a:lnTo>
                  <a:lnTo>
                    <a:pt x="133" y="787"/>
                  </a:lnTo>
                  <a:lnTo>
                    <a:pt x="138" y="789"/>
                  </a:lnTo>
                  <a:lnTo>
                    <a:pt x="142" y="791"/>
                  </a:lnTo>
                  <a:lnTo>
                    <a:pt x="145" y="792"/>
                  </a:lnTo>
                  <a:lnTo>
                    <a:pt x="148" y="795"/>
                  </a:lnTo>
                  <a:lnTo>
                    <a:pt x="148" y="795"/>
                  </a:lnTo>
                  <a:lnTo>
                    <a:pt x="151" y="801"/>
                  </a:lnTo>
                  <a:lnTo>
                    <a:pt x="153" y="801"/>
                  </a:lnTo>
                  <a:lnTo>
                    <a:pt x="156" y="801"/>
                  </a:lnTo>
                  <a:lnTo>
                    <a:pt x="156" y="801"/>
                  </a:lnTo>
                  <a:lnTo>
                    <a:pt x="160" y="803"/>
                  </a:lnTo>
                  <a:lnTo>
                    <a:pt x="164" y="806"/>
                  </a:lnTo>
                  <a:lnTo>
                    <a:pt x="166" y="809"/>
                  </a:lnTo>
                  <a:lnTo>
                    <a:pt x="167" y="810"/>
                  </a:lnTo>
                  <a:lnTo>
                    <a:pt x="167" y="813"/>
                  </a:lnTo>
                  <a:lnTo>
                    <a:pt x="166" y="818"/>
                  </a:lnTo>
                  <a:lnTo>
                    <a:pt x="166" y="818"/>
                  </a:lnTo>
                  <a:lnTo>
                    <a:pt x="163" y="821"/>
                  </a:lnTo>
                  <a:lnTo>
                    <a:pt x="160" y="822"/>
                  </a:lnTo>
                  <a:lnTo>
                    <a:pt x="154" y="825"/>
                  </a:lnTo>
                  <a:lnTo>
                    <a:pt x="150" y="829"/>
                  </a:lnTo>
                  <a:lnTo>
                    <a:pt x="148" y="831"/>
                  </a:lnTo>
                  <a:lnTo>
                    <a:pt x="147" y="834"/>
                  </a:lnTo>
                  <a:lnTo>
                    <a:pt x="147" y="834"/>
                  </a:lnTo>
                  <a:lnTo>
                    <a:pt x="147" y="841"/>
                  </a:lnTo>
                  <a:lnTo>
                    <a:pt x="145" y="849"/>
                  </a:lnTo>
                  <a:lnTo>
                    <a:pt x="145" y="853"/>
                  </a:lnTo>
                  <a:lnTo>
                    <a:pt x="145" y="853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56" y="852"/>
                  </a:lnTo>
                  <a:lnTo>
                    <a:pt x="159" y="853"/>
                  </a:lnTo>
                  <a:lnTo>
                    <a:pt x="160" y="855"/>
                  </a:lnTo>
                  <a:lnTo>
                    <a:pt x="160" y="858"/>
                  </a:lnTo>
                  <a:lnTo>
                    <a:pt x="160" y="858"/>
                  </a:lnTo>
                  <a:lnTo>
                    <a:pt x="161" y="865"/>
                  </a:lnTo>
                  <a:lnTo>
                    <a:pt x="161" y="871"/>
                  </a:lnTo>
                  <a:lnTo>
                    <a:pt x="163" y="875"/>
                  </a:lnTo>
                  <a:lnTo>
                    <a:pt x="164" y="875"/>
                  </a:lnTo>
                  <a:lnTo>
                    <a:pt x="167" y="877"/>
                  </a:lnTo>
                  <a:lnTo>
                    <a:pt x="167" y="877"/>
                  </a:lnTo>
                  <a:lnTo>
                    <a:pt x="185" y="878"/>
                  </a:lnTo>
                  <a:lnTo>
                    <a:pt x="194" y="878"/>
                  </a:lnTo>
                  <a:lnTo>
                    <a:pt x="200" y="878"/>
                  </a:lnTo>
                  <a:lnTo>
                    <a:pt x="200" y="878"/>
                  </a:lnTo>
                  <a:lnTo>
                    <a:pt x="206" y="875"/>
                  </a:lnTo>
                  <a:lnTo>
                    <a:pt x="212" y="872"/>
                  </a:lnTo>
                  <a:lnTo>
                    <a:pt x="219" y="871"/>
                  </a:lnTo>
                  <a:lnTo>
                    <a:pt x="222" y="871"/>
                  </a:lnTo>
                  <a:lnTo>
                    <a:pt x="225" y="872"/>
                  </a:lnTo>
                  <a:lnTo>
                    <a:pt x="225" y="872"/>
                  </a:lnTo>
                  <a:lnTo>
                    <a:pt x="237" y="880"/>
                  </a:lnTo>
                  <a:lnTo>
                    <a:pt x="244" y="883"/>
                  </a:lnTo>
                  <a:lnTo>
                    <a:pt x="244" y="883"/>
                  </a:lnTo>
                  <a:lnTo>
                    <a:pt x="246" y="883"/>
                  </a:lnTo>
                  <a:lnTo>
                    <a:pt x="247" y="881"/>
                  </a:lnTo>
                  <a:lnTo>
                    <a:pt x="249" y="878"/>
                  </a:lnTo>
                  <a:lnTo>
                    <a:pt x="249" y="875"/>
                  </a:lnTo>
                  <a:lnTo>
                    <a:pt x="249" y="875"/>
                  </a:lnTo>
                  <a:lnTo>
                    <a:pt x="249" y="872"/>
                  </a:lnTo>
                  <a:lnTo>
                    <a:pt x="253" y="869"/>
                  </a:lnTo>
                  <a:lnTo>
                    <a:pt x="258" y="868"/>
                  </a:lnTo>
                  <a:lnTo>
                    <a:pt x="261" y="868"/>
                  </a:lnTo>
                  <a:lnTo>
                    <a:pt x="261" y="868"/>
                  </a:lnTo>
                  <a:lnTo>
                    <a:pt x="264" y="869"/>
                  </a:lnTo>
                  <a:lnTo>
                    <a:pt x="265" y="872"/>
                  </a:lnTo>
                  <a:lnTo>
                    <a:pt x="270" y="883"/>
                  </a:lnTo>
                  <a:lnTo>
                    <a:pt x="270" y="883"/>
                  </a:lnTo>
                  <a:lnTo>
                    <a:pt x="271" y="889"/>
                  </a:lnTo>
                  <a:lnTo>
                    <a:pt x="274" y="892"/>
                  </a:lnTo>
                  <a:lnTo>
                    <a:pt x="278" y="893"/>
                  </a:lnTo>
                  <a:lnTo>
                    <a:pt x="283" y="898"/>
                  </a:lnTo>
                  <a:lnTo>
                    <a:pt x="283" y="898"/>
                  </a:lnTo>
                  <a:lnTo>
                    <a:pt x="287" y="902"/>
                  </a:lnTo>
                  <a:lnTo>
                    <a:pt x="295" y="905"/>
                  </a:lnTo>
                  <a:lnTo>
                    <a:pt x="304" y="906"/>
                  </a:lnTo>
                  <a:lnTo>
                    <a:pt x="304" y="906"/>
                  </a:lnTo>
                  <a:lnTo>
                    <a:pt x="307" y="909"/>
                  </a:lnTo>
                  <a:lnTo>
                    <a:pt x="308" y="914"/>
                  </a:lnTo>
                  <a:lnTo>
                    <a:pt x="310" y="921"/>
                  </a:lnTo>
                  <a:lnTo>
                    <a:pt x="310" y="921"/>
                  </a:lnTo>
                  <a:lnTo>
                    <a:pt x="313" y="923"/>
                  </a:lnTo>
                  <a:lnTo>
                    <a:pt x="315" y="926"/>
                  </a:lnTo>
                  <a:lnTo>
                    <a:pt x="315" y="930"/>
                  </a:lnTo>
                  <a:lnTo>
                    <a:pt x="315" y="930"/>
                  </a:lnTo>
                  <a:lnTo>
                    <a:pt x="315" y="933"/>
                  </a:lnTo>
                  <a:lnTo>
                    <a:pt x="313" y="936"/>
                  </a:lnTo>
                  <a:lnTo>
                    <a:pt x="308" y="941"/>
                  </a:lnTo>
                  <a:lnTo>
                    <a:pt x="302" y="945"/>
                  </a:lnTo>
                  <a:lnTo>
                    <a:pt x="301" y="948"/>
                  </a:lnTo>
                  <a:lnTo>
                    <a:pt x="299" y="952"/>
                  </a:lnTo>
                  <a:lnTo>
                    <a:pt x="299" y="952"/>
                  </a:lnTo>
                  <a:lnTo>
                    <a:pt x="301" y="976"/>
                  </a:lnTo>
                  <a:lnTo>
                    <a:pt x="302" y="989"/>
                  </a:lnTo>
                  <a:lnTo>
                    <a:pt x="304" y="994"/>
                  </a:lnTo>
                  <a:lnTo>
                    <a:pt x="305" y="997"/>
                  </a:lnTo>
                  <a:lnTo>
                    <a:pt x="305" y="997"/>
                  </a:lnTo>
                  <a:lnTo>
                    <a:pt x="311" y="1000"/>
                  </a:lnTo>
                  <a:lnTo>
                    <a:pt x="315" y="1003"/>
                  </a:lnTo>
                  <a:lnTo>
                    <a:pt x="320" y="1006"/>
                  </a:lnTo>
                  <a:lnTo>
                    <a:pt x="321" y="1007"/>
                  </a:lnTo>
                  <a:lnTo>
                    <a:pt x="321" y="1009"/>
                  </a:lnTo>
                  <a:lnTo>
                    <a:pt x="321" y="1009"/>
                  </a:lnTo>
                  <a:lnTo>
                    <a:pt x="321" y="1016"/>
                  </a:lnTo>
                  <a:lnTo>
                    <a:pt x="318" y="1023"/>
                  </a:lnTo>
                  <a:lnTo>
                    <a:pt x="315" y="1032"/>
                  </a:lnTo>
                  <a:lnTo>
                    <a:pt x="313" y="1040"/>
                  </a:lnTo>
                  <a:lnTo>
                    <a:pt x="313" y="1040"/>
                  </a:lnTo>
                  <a:lnTo>
                    <a:pt x="313" y="1043"/>
                  </a:lnTo>
                  <a:lnTo>
                    <a:pt x="314" y="1046"/>
                  </a:lnTo>
                  <a:lnTo>
                    <a:pt x="318" y="1050"/>
                  </a:lnTo>
                  <a:lnTo>
                    <a:pt x="326" y="1055"/>
                  </a:lnTo>
                  <a:lnTo>
                    <a:pt x="332" y="1056"/>
                  </a:lnTo>
                  <a:lnTo>
                    <a:pt x="332" y="1056"/>
                  </a:lnTo>
                  <a:lnTo>
                    <a:pt x="347" y="1061"/>
                  </a:lnTo>
                  <a:lnTo>
                    <a:pt x="363" y="1062"/>
                  </a:lnTo>
                  <a:lnTo>
                    <a:pt x="363" y="1062"/>
                  </a:lnTo>
                  <a:lnTo>
                    <a:pt x="382" y="1061"/>
                  </a:lnTo>
                  <a:lnTo>
                    <a:pt x="382" y="1061"/>
                  </a:lnTo>
                  <a:lnTo>
                    <a:pt x="382" y="1065"/>
                  </a:lnTo>
                  <a:lnTo>
                    <a:pt x="384" y="1075"/>
                  </a:lnTo>
                  <a:lnTo>
                    <a:pt x="388" y="1086"/>
                  </a:lnTo>
                  <a:lnTo>
                    <a:pt x="391" y="1092"/>
                  </a:lnTo>
                  <a:lnTo>
                    <a:pt x="395" y="1095"/>
                  </a:lnTo>
                  <a:lnTo>
                    <a:pt x="395" y="1095"/>
                  </a:lnTo>
                  <a:lnTo>
                    <a:pt x="406" y="1100"/>
                  </a:lnTo>
                  <a:lnTo>
                    <a:pt x="415" y="1105"/>
                  </a:lnTo>
                  <a:lnTo>
                    <a:pt x="424" y="1111"/>
                  </a:lnTo>
                  <a:lnTo>
                    <a:pt x="430" y="1117"/>
                  </a:lnTo>
                  <a:lnTo>
                    <a:pt x="430" y="1117"/>
                  </a:lnTo>
                  <a:lnTo>
                    <a:pt x="434" y="1124"/>
                  </a:lnTo>
                  <a:lnTo>
                    <a:pt x="438" y="1132"/>
                  </a:lnTo>
                  <a:lnTo>
                    <a:pt x="441" y="1133"/>
                  </a:lnTo>
                  <a:lnTo>
                    <a:pt x="446" y="1136"/>
                  </a:lnTo>
                  <a:lnTo>
                    <a:pt x="450" y="1138"/>
                  </a:lnTo>
                  <a:lnTo>
                    <a:pt x="458" y="1138"/>
                  </a:lnTo>
                  <a:lnTo>
                    <a:pt x="458" y="1138"/>
                  </a:lnTo>
                  <a:lnTo>
                    <a:pt x="471" y="1139"/>
                  </a:lnTo>
                  <a:lnTo>
                    <a:pt x="483" y="1139"/>
                  </a:lnTo>
                  <a:lnTo>
                    <a:pt x="492" y="1142"/>
                  </a:lnTo>
                  <a:lnTo>
                    <a:pt x="495" y="1143"/>
                  </a:lnTo>
                  <a:lnTo>
                    <a:pt x="498" y="1146"/>
                  </a:lnTo>
                  <a:lnTo>
                    <a:pt x="498" y="1146"/>
                  </a:lnTo>
                  <a:lnTo>
                    <a:pt x="511" y="1167"/>
                  </a:lnTo>
                  <a:lnTo>
                    <a:pt x="511" y="1167"/>
                  </a:lnTo>
                  <a:lnTo>
                    <a:pt x="515" y="1170"/>
                  </a:lnTo>
                  <a:lnTo>
                    <a:pt x="520" y="1172"/>
                  </a:lnTo>
                  <a:lnTo>
                    <a:pt x="532" y="1170"/>
                  </a:lnTo>
                  <a:lnTo>
                    <a:pt x="532" y="1170"/>
                  </a:lnTo>
                  <a:lnTo>
                    <a:pt x="539" y="1170"/>
                  </a:lnTo>
                  <a:lnTo>
                    <a:pt x="545" y="1172"/>
                  </a:lnTo>
                  <a:lnTo>
                    <a:pt x="548" y="1173"/>
                  </a:lnTo>
                  <a:lnTo>
                    <a:pt x="549" y="1176"/>
                  </a:lnTo>
                  <a:lnTo>
                    <a:pt x="551" y="1179"/>
                  </a:lnTo>
                  <a:lnTo>
                    <a:pt x="551" y="1183"/>
                  </a:lnTo>
                  <a:lnTo>
                    <a:pt x="551" y="1183"/>
                  </a:lnTo>
                  <a:lnTo>
                    <a:pt x="552" y="1206"/>
                  </a:lnTo>
                  <a:lnTo>
                    <a:pt x="552" y="1216"/>
                  </a:lnTo>
                  <a:lnTo>
                    <a:pt x="555" y="1219"/>
                  </a:lnTo>
                  <a:lnTo>
                    <a:pt x="557" y="1222"/>
                  </a:lnTo>
                  <a:lnTo>
                    <a:pt x="557" y="1222"/>
                  </a:lnTo>
                  <a:lnTo>
                    <a:pt x="563" y="1228"/>
                  </a:lnTo>
                  <a:lnTo>
                    <a:pt x="567" y="1237"/>
                  </a:lnTo>
                  <a:lnTo>
                    <a:pt x="572" y="1246"/>
                  </a:lnTo>
                  <a:lnTo>
                    <a:pt x="578" y="1253"/>
                  </a:lnTo>
                  <a:lnTo>
                    <a:pt x="578" y="1253"/>
                  </a:lnTo>
                  <a:lnTo>
                    <a:pt x="579" y="1256"/>
                  </a:lnTo>
                  <a:lnTo>
                    <a:pt x="582" y="1257"/>
                  </a:lnTo>
                  <a:lnTo>
                    <a:pt x="589" y="1259"/>
                  </a:lnTo>
                  <a:lnTo>
                    <a:pt x="597" y="1259"/>
                  </a:lnTo>
                  <a:lnTo>
                    <a:pt x="606" y="1257"/>
                  </a:lnTo>
                  <a:lnTo>
                    <a:pt x="606" y="1257"/>
                  </a:lnTo>
                  <a:lnTo>
                    <a:pt x="615" y="1259"/>
                  </a:lnTo>
                  <a:lnTo>
                    <a:pt x="625" y="1260"/>
                  </a:lnTo>
                  <a:lnTo>
                    <a:pt x="646" y="1265"/>
                  </a:lnTo>
                  <a:lnTo>
                    <a:pt x="646" y="1265"/>
                  </a:lnTo>
                  <a:lnTo>
                    <a:pt x="650" y="1266"/>
                  </a:lnTo>
                  <a:lnTo>
                    <a:pt x="655" y="1265"/>
                  </a:lnTo>
                  <a:lnTo>
                    <a:pt x="661" y="1260"/>
                  </a:lnTo>
                  <a:lnTo>
                    <a:pt x="668" y="1255"/>
                  </a:lnTo>
                  <a:lnTo>
                    <a:pt x="672" y="1253"/>
                  </a:lnTo>
                  <a:lnTo>
                    <a:pt x="678" y="1252"/>
                  </a:lnTo>
                  <a:lnTo>
                    <a:pt x="678" y="1252"/>
                  </a:lnTo>
                  <a:lnTo>
                    <a:pt x="684" y="1252"/>
                  </a:lnTo>
                  <a:lnTo>
                    <a:pt x="690" y="1250"/>
                  </a:lnTo>
                  <a:lnTo>
                    <a:pt x="699" y="1247"/>
                  </a:lnTo>
                  <a:lnTo>
                    <a:pt x="706" y="1243"/>
                  </a:lnTo>
                  <a:lnTo>
                    <a:pt x="711" y="1240"/>
                  </a:lnTo>
                  <a:lnTo>
                    <a:pt x="711" y="1240"/>
                  </a:lnTo>
                  <a:lnTo>
                    <a:pt x="715" y="1238"/>
                  </a:lnTo>
                  <a:lnTo>
                    <a:pt x="721" y="1237"/>
                  </a:lnTo>
                  <a:lnTo>
                    <a:pt x="721" y="1237"/>
                  </a:lnTo>
                  <a:lnTo>
                    <a:pt x="729" y="1232"/>
                  </a:lnTo>
                  <a:lnTo>
                    <a:pt x="732" y="1232"/>
                  </a:lnTo>
                  <a:lnTo>
                    <a:pt x="733" y="1232"/>
                  </a:lnTo>
                  <a:lnTo>
                    <a:pt x="736" y="1235"/>
                  </a:lnTo>
                  <a:lnTo>
                    <a:pt x="736" y="1235"/>
                  </a:lnTo>
                  <a:lnTo>
                    <a:pt x="738" y="1240"/>
                  </a:lnTo>
                  <a:lnTo>
                    <a:pt x="739" y="1247"/>
                  </a:lnTo>
                  <a:lnTo>
                    <a:pt x="740" y="1255"/>
                  </a:lnTo>
                  <a:lnTo>
                    <a:pt x="743" y="1263"/>
                  </a:lnTo>
                  <a:lnTo>
                    <a:pt x="743" y="1263"/>
                  </a:lnTo>
                  <a:lnTo>
                    <a:pt x="751" y="1269"/>
                  </a:lnTo>
                  <a:lnTo>
                    <a:pt x="757" y="1274"/>
                  </a:lnTo>
                  <a:lnTo>
                    <a:pt x="763" y="1278"/>
                  </a:lnTo>
                  <a:lnTo>
                    <a:pt x="767" y="1281"/>
                  </a:lnTo>
                  <a:lnTo>
                    <a:pt x="767" y="1281"/>
                  </a:lnTo>
                  <a:lnTo>
                    <a:pt x="772" y="1286"/>
                  </a:lnTo>
                  <a:lnTo>
                    <a:pt x="777" y="1287"/>
                  </a:lnTo>
                  <a:lnTo>
                    <a:pt x="782" y="1289"/>
                  </a:lnTo>
                  <a:lnTo>
                    <a:pt x="785" y="1287"/>
                  </a:lnTo>
                  <a:lnTo>
                    <a:pt x="785" y="1287"/>
                  </a:lnTo>
                  <a:lnTo>
                    <a:pt x="786" y="1284"/>
                  </a:lnTo>
                  <a:lnTo>
                    <a:pt x="789" y="1281"/>
                  </a:lnTo>
                  <a:lnTo>
                    <a:pt x="792" y="1280"/>
                  </a:lnTo>
                  <a:lnTo>
                    <a:pt x="794" y="1280"/>
                  </a:lnTo>
                  <a:lnTo>
                    <a:pt x="797" y="1281"/>
                  </a:lnTo>
                  <a:lnTo>
                    <a:pt x="800" y="1284"/>
                  </a:lnTo>
                  <a:lnTo>
                    <a:pt x="800" y="1284"/>
                  </a:lnTo>
                  <a:close/>
                  <a:moveTo>
                    <a:pt x="923" y="199"/>
                  </a:moveTo>
                  <a:lnTo>
                    <a:pt x="923" y="199"/>
                  </a:lnTo>
                  <a:lnTo>
                    <a:pt x="930" y="199"/>
                  </a:lnTo>
                  <a:lnTo>
                    <a:pt x="936" y="199"/>
                  </a:lnTo>
                  <a:lnTo>
                    <a:pt x="943" y="194"/>
                  </a:lnTo>
                  <a:lnTo>
                    <a:pt x="943" y="194"/>
                  </a:lnTo>
                  <a:lnTo>
                    <a:pt x="951" y="191"/>
                  </a:lnTo>
                  <a:lnTo>
                    <a:pt x="958" y="190"/>
                  </a:lnTo>
                  <a:lnTo>
                    <a:pt x="964" y="191"/>
                  </a:lnTo>
                  <a:lnTo>
                    <a:pt x="966" y="193"/>
                  </a:lnTo>
                  <a:lnTo>
                    <a:pt x="967" y="194"/>
                  </a:lnTo>
                  <a:lnTo>
                    <a:pt x="967" y="194"/>
                  </a:lnTo>
                  <a:lnTo>
                    <a:pt x="970" y="200"/>
                  </a:lnTo>
                  <a:lnTo>
                    <a:pt x="970" y="204"/>
                  </a:lnTo>
                  <a:lnTo>
                    <a:pt x="969" y="207"/>
                  </a:lnTo>
                  <a:lnTo>
                    <a:pt x="964" y="210"/>
                  </a:lnTo>
                  <a:lnTo>
                    <a:pt x="964" y="210"/>
                  </a:lnTo>
                  <a:lnTo>
                    <a:pt x="958" y="215"/>
                  </a:lnTo>
                  <a:lnTo>
                    <a:pt x="954" y="218"/>
                  </a:lnTo>
                  <a:lnTo>
                    <a:pt x="951" y="219"/>
                  </a:lnTo>
                  <a:lnTo>
                    <a:pt x="945" y="219"/>
                  </a:lnTo>
                  <a:lnTo>
                    <a:pt x="945" y="219"/>
                  </a:lnTo>
                  <a:lnTo>
                    <a:pt x="933" y="216"/>
                  </a:lnTo>
                  <a:lnTo>
                    <a:pt x="929" y="215"/>
                  </a:lnTo>
                  <a:lnTo>
                    <a:pt x="924" y="213"/>
                  </a:lnTo>
                  <a:lnTo>
                    <a:pt x="924" y="213"/>
                  </a:lnTo>
                  <a:lnTo>
                    <a:pt x="923" y="212"/>
                  </a:lnTo>
                  <a:lnTo>
                    <a:pt x="923" y="209"/>
                  </a:lnTo>
                  <a:lnTo>
                    <a:pt x="921" y="204"/>
                  </a:lnTo>
                  <a:lnTo>
                    <a:pt x="923" y="199"/>
                  </a:lnTo>
                  <a:lnTo>
                    <a:pt x="923" y="199"/>
                  </a:lnTo>
                  <a:close/>
                  <a:moveTo>
                    <a:pt x="746" y="42"/>
                  </a:moveTo>
                  <a:lnTo>
                    <a:pt x="746" y="42"/>
                  </a:lnTo>
                  <a:lnTo>
                    <a:pt x="754" y="42"/>
                  </a:lnTo>
                  <a:lnTo>
                    <a:pt x="769" y="47"/>
                  </a:lnTo>
                  <a:lnTo>
                    <a:pt x="769" y="47"/>
                  </a:lnTo>
                  <a:lnTo>
                    <a:pt x="782" y="50"/>
                  </a:lnTo>
                  <a:lnTo>
                    <a:pt x="795" y="50"/>
                  </a:lnTo>
                  <a:lnTo>
                    <a:pt x="804" y="50"/>
                  </a:lnTo>
                  <a:lnTo>
                    <a:pt x="806" y="49"/>
                  </a:lnTo>
                  <a:lnTo>
                    <a:pt x="807" y="46"/>
                  </a:lnTo>
                  <a:lnTo>
                    <a:pt x="807" y="46"/>
                  </a:lnTo>
                  <a:lnTo>
                    <a:pt x="804" y="43"/>
                  </a:lnTo>
                  <a:lnTo>
                    <a:pt x="801" y="40"/>
                  </a:lnTo>
                  <a:lnTo>
                    <a:pt x="798" y="39"/>
                  </a:lnTo>
                  <a:lnTo>
                    <a:pt x="795" y="36"/>
                  </a:lnTo>
                  <a:lnTo>
                    <a:pt x="795" y="36"/>
                  </a:lnTo>
                  <a:lnTo>
                    <a:pt x="795" y="33"/>
                  </a:lnTo>
                  <a:lnTo>
                    <a:pt x="797" y="30"/>
                  </a:lnTo>
                  <a:lnTo>
                    <a:pt x="800" y="25"/>
                  </a:lnTo>
                  <a:lnTo>
                    <a:pt x="801" y="21"/>
                  </a:lnTo>
                  <a:lnTo>
                    <a:pt x="801" y="21"/>
                  </a:lnTo>
                  <a:lnTo>
                    <a:pt x="800" y="15"/>
                  </a:lnTo>
                  <a:lnTo>
                    <a:pt x="798" y="12"/>
                  </a:lnTo>
                  <a:lnTo>
                    <a:pt x="795" y="9"/>
                  </a:lnTo>
                  <a:lnTo>
                    <a:pt x="788" y="8"/>
                  </a:lnTo>
                  <a:lnTo>
                    <a:pt x="788" y="8"/>
                  </a:lnTo>
                  <a:lnTo>
                    <a:pt x="780" y="5"/>
                  </a:lnTo>
                  <a:lnTo>
                    <a:pt x="775" y="2"/>
                  </a:lnTo>
                  <a:lnTo>
                    <a:pt x="772" y="0"/>
                  </a:lnTo>
                  <a:lnTo>
                    <a:pt x="769" y="0"/>
                  </a:lnTo>
                  <a:lnTo>
                    <a:pt x="769" y="0"/>
                  </a:lnTo>
                  <a:lnTo>
                    <a:pt x="766" y="3"/>
                  </a:lnTo>
                  <a:lnTo>
                    <a:pt x="764" y="9"/>
                  </a:lnTo>
                  <a:lnTo>
                    <a:pt x="763" y="15"/>
                  </a:lnTo>
                  <a:lnTo>
                    <a:pt x="760" y="19"/>
                  </a:lnTo>
                  <a:lnTo>
                    <a:pt x="760" y="19"/>
                  </a:lnTo>
                  <a:lnTo>
                    <a:pt x="751" y="33"/>
                  </a:lnTo>
                  <a:lnTo>
                    <a:pt x="746" y="42"/>
                  </a:lnTo>
                  <a:lnTo>
                    <a:pt x="74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8" name="Freeform 7">
              <a:extLst>
                <a:ext uri="{FF2B5EF4-FFF2-40B4-BE49-F238E27FC236}">
                  <a16:creationId xmlns:a16="http://schemas.microsoft.com/office/drawing/2014/main" id="{8FA792A1-EAD3-2F46-A041-7FF4B32353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43063" y="1787525"/>
              <a:ext cx="1736725" cy="2030412"/>
            </a:xfrm>
            <a:custGeom>
              <a:avLst/>
              <a:gdLst>
                <a:gd name="T0" fmla="*/ 0 w 1094"/>
                <a:gd name="T1" fmla="*/ 911 h 1279"/>
                <a:gd name="T2" fmla="*/ 56 w 1094"/>
                <a:gd name="T3" fmla="*/ 945 h 1279"/>
                <a:gd name="T4" fmla="*/ 94 w 1094"/>
                <a:gd name="T5" fmla="*/ 1022 h 1279"/>
                <a:gd name="T6" fmla="*/ 52 w 1094"/>
                <a:gd name="T7" fmla="*/ 1157 h 1279"/>
                <a:gd name="T8" fmla="*/ 112 w 1094"/>
                <a:gd name="T9" fmla="*/ 1210 h 1279"/>
                <a:gd name="T10" fmla="*/ 229 w 1094"/>
                <a:gd name="T11" fmla="*/ 1236 h 1279"/>
                <a:gd name="T12" fmla="*/ 323 w 1094"/>
                <a:gd name="T13" fmla="*/ 1265 h 1279"/>
                <a:gd name="T14" fmla="*/ 422 w 1094"/>
                <a:gd name="T15" fmla="*/ 1233 h 1279"/>
                <a:gd name="T16" fmla="*/ 478 w 1094"/>
                <a:gd name="T17" fmla="*/ 1169 h 1279"/>
                <a:gd name="T18" fmla="*/ 534 w 1094"/>
                <a:gd name="T19" fmla="*/ 1116 h 1279"/>
                <a:gd name="T20" fmla="*/ 558 w 1094"/>
                <a:gd name="T21" fmla="*/ 1089 h 1279"/>
                <a:gd name="T22" fmla="*/ 602 w 1094"/>
                <a:gd name="T23" fmla="*/ 1031 h 1279"/>
                <a:gd name="T24" fmla="*/ 666 w 1094"/>
                <a:gd name="T25" fmla="*/ 996 h 1279"/>
                <a:gd name="T26" fmla="*/ 759 w 1094"/>
                <a:gd name="T27" fmla="*/ 1013 h 1279"/>
                <a:gd name="T28" fmla="*/ 817 w 1094"/>
                <a:gd name="T29" fmla="*/ 1051 h 1279"/>
                <a:gd name="T30" fmla="*/ 893 w 1094"/>
                <a:gd name="T31" fmla="*/ 1034 h 1279"/>
                <a:gd name="T32" fmla="*/ 927 w 1094"/>
                <a:gd name="T33" fmla="*/ 974 h 1279"/>
                <a:gd name="T34" fmla="*/ 961 w 1094"/>
                <a:gd name="T35" fmla="*/ 911 h 1279"/>
                <a:gd name="T36" fmla="*/ 980 w 1094"/>
                <a:gd name="T37" fmla="*/ 849 h 1279"/>
                <a:gd name="T38" fmla="*/ 1035 w 1094"/>
                <a:gd name="T39" fmla="*/ 796 h 1279"/>
                <a:gd name="T40" fmla="*/ 1001 w 1094"/>
                <a:gd name="T41" fmla="*/ 694 h 1279"/>
                <a:gd name="T42" fmla="*/ 1056 w 1094"/>
                <a:gd name="T43" fmla="*/ 658 h 1279"/>
                <a:gd name="T44" fmla="*/ 1073 w 1094"/>
                <a:gd name="T45" fmla="*/ 599 h 1279"/>
                <a:gd name="T46" fmla="*/ 999 w 1094"/>
                <a:gd name="T47" fmla="*/ 575 h 1279"/>
                <a:gd name="T48" fmla="*/ 928 w 1094"/>
                <a:gd name="T49" fmla="*/ 578 h 1279"/>
                <a:gd name="T50" fmla="*/ 847 w 1094"/>
                <a:gd name="T51" fmla="*/ 606 h 1279"/>
                <a:gd name="T52" fmla="*/ 801 w 1094"/>
                <a:gd name="T53" fmla="*/ 648 h 1279"/>
                <a:gd name="T54" fmla="*/ 767 w 1094"/>
                <a:gd name="T55" fmla="*/ 621 h 1279"/>
                <a:gd name="T56" fmla="*/ 829 w 1094"/>
                <a:gd name="T57" fmla="*/ 563 h 1279"/>
                <a:gd name="T58" fmla="*/ 765 w 1094"/>
                <a:gd name="T59" fmla="*/ 434 h 1279"/>
                <a:gd name="T60" fmla="*/ 688 w 1094"/>
                <a:gd name="T61" fmla="*/ 396 h 1279"/>
                <a:gd name="T62" fmla="*/ 705 w 1094"/>
                <a:gd name="T63" fmla="*/ 360 h 1279"/>
                <a:gd name="T64" fmla="*/ 783 w 1094"/>
                <a:gd name="T65" fmla="*/ 393 h 1279"/>
                <a:gd name="T66" fmla="*/ 829 w 1094"/>
                <a:gd name="T67" fmla="*/ 297 h 1279"/>
                <a:gd name="T68" fmla="*/ 943 w 1094"/>
                <a:gd name="T69" fmla="*/ 237 h 1279"/>
                <a:gd name="T70" fmla="*/ 955 w 1094"/>
                <a:gd name="T71" fmla="*/ 190 h 1279"/>
                <a:gd name="T72" fmla="*/ 981 w 1094"/>
                <a:gd name="T73" fmla="*/ 166 h 1279"/>
                <a:gd name="T74" fmla="*/ 925 w 1094"/>
                <a:gd name="T75" fmla="*/ 156 h 1279"/>
                <a:gd name="T76" fmla="*/ 848 w 1094"/>
                <a:gd name="T77" fmla="*/ 125 h 1279"/>
                <a:gd name="T78" fmla="*/ 842 w 1094"/>
                <a:gd name="T79" fmla="*/ 89 h 1279"/>
                <a:gd name="T80" fmla="*/ 862 w 1094"/>
                <a:gd name="T81" fmla="*/ 45 h 1279"/>
                <a:gd name="T82" fmla="*/ 817 w 1094"/>
                <a:gd name="T83" fmla="*/ 0 h 1279"/>
                <a:gd name="T84" fmla="*/ 696 w 1094"/>
                <a:gd name="T85" fmla="*/ 100 h 1279"/>
                <a:gd name="T86" fmla="*/ 675 w 1094"/>
                <a:gd name="T87" fmla="*/ 171 h 1279"/>
                <a:gd name="T88" fmla="*/ 756 w 1094"/>
                <a:gd name="T89" fmla="*/ 177 h 1279"/>
                <a:gd name="T90" fmla="*/ 659 w 1094"/>
                <a:gd name="T91" fmla="*/ 189 h 1279"/>
                <a:gd name="T92" fmla="*/ 591 w 1094"/>
                <a:gd name="T93" fmla="*/ 217 h 1279"/>
                <a:gd name="T94" fmla="*/ 546 w 1094"/>
                <a:gd name="T95" fmla="*/ 224 h 1279"/>
                <a:gd name="T96" fmla="*/ 477 w 1094"/>
                <a:gd name="T97" fmla="*/ 285 h 1279"/>
                <a:gd name="T98" fmla="*/ 380 w 1094"/>
                <a:gd name="T99" fmla="*/ 343 h 1279"/>
                <a:gd name="T100" fmla="*/ 219 w 1094"/>
                <a:gd name="T101" fmla="*/ 454 h 1279"/>
                <a:gd name="T102" fmla="*/ 191 w 1094"/>
                <a:gd name="T103" fmla="*/ 545 h 1279"/>
                <a:gd name="T104" fmla="*/ 112 w 1094"/>
                <a:gd name="T105" fmla="*/ 621 h 1279"/>
                <a:gd name="T106" fmla="*/ 158 w 1094"/>
                <a:gd name="T107" fmla="*/ 665 h 1279"/>
                <a:gd name="T108" fmla="*/ 246 w 1094"/>
                <a:gd name="T109" fmla="*/ 683 h 1279"/>
                <a:gd name="T110" fmla="*/ 183 w 1094"/>
                <a:gd name="T111" fmla="*/ 723 h 1279"/>
                <a:gd name="T112" fmla="*/ 102 w 1094"/>
                <a:gd name="T113" fmla="*/ 753 h 1279"/>
                <a:gd name="T114" fmla="*/ 177 w 1094"/>
                <a:gd name="T115" fmla="*/ 314 h 1279"/>
                <a:gd name="T116" fmla="*/ 194 w 1094"/>
                <a:gd name="T117" fmla="*/ 242 h 1279"/>
                <a:gd name="T118" fmla="*/ 126 w 1094"/>
                <a:gd name="T119" fmla="*/ 197 h 1279"/>
                <a:gd name="T120" fmla="*/ 137 w 1094"/>
                <a:gd name="T121" fmla="*/ 306 h 1279"/>
                <a:gd name="T122" fmla="*/ 117 w 1094"/>
                <a:gd name="T123" fmla="*/ 728 h 1279"/>
                <a:gd name="T124" fmla="*/ 118 w 1094"/>
                <a:gd name="T125" fmla="*/ 68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4" h="1279">
                  <a:moveTo>
                    <a:pt x="56" y="842"/>
                  </a:moveTo>
                  <a:lnTo>
                    <a:pt x="56" y="842"/>
                  </a:lnTo>
                  <a:lnTo>
                    <a:pt x="52" y="845"/>
                  </a:lnTo>
                  <a:lnTo>
                    <a:pt x="44" y="846"/>
                  </a:lnTo>
                  <a:lnTo>
                    <a:pt x="29" y="849"/>
                  </a:lnTo>
                  <a:lnTo>
                    <a:pt x="29" y="849"/>
                  </a:lnTo>
                  <a:lnTo>
                    <a:pt x="28" y="851"/>
                  </a:lnTo>
                  <a:lnTo>
                    <a:pt x="26" y="854"/>
                  </a:lnTo>
                  <a:lnTo>
                    <a:pt x="26" y="861"/>
                  </a:lnTo>
                  <a:lnTo>
                    <a:pt x="28" y="873"/>
                  </a:lnTo>
                  <a:lnTo>
                    <a:pt x="28" y="873"/>
                  </a:lnTo>
                  <a:lnTo>
                    <a:pt x="28" y="874"/>
                  </a:lnTo>
                  <a:lnTo>
                    <a:pt x="25" y="877"/>
                  </a:lnTo>
                  <a:lnTo>
                    <a:pt x="17" y="882"/>
                  </a:lnTo>
                  <a:lnTo>
                    <a:pt x="17" y="882"/>
                  </a:lnTo>
                  <a:lnTo>
                    <a:pt x="15" y="886"/>
                  </a:lnTo>
                  <a:lnTo>
                    <a:pt x="10" y="894"/>
                  </a:lnTo>
                  <a:lnTo>
                    <a:pt x="0" y="911"/>
                  </a:lnTo>
                  <a:lnTo>
                    <a:pt x="0" y="911"/>
                  </a:lnTo>
                  <a:lnTo>
                    <a:pt x="7" y="920"/>
                  </a:lnTo>
                  <a:lnTo>
                    <a:pt x="15" y="926"/>
                  </a:lnTo>
                  <a:lnTo>
                    <a:pt x="19" y="929"/>
                  </a:lnTo>
                  <a:lnTo>
                    <a:pt x="23" y="931"/>
                  </a:lnTo>
                  <a:lnTo>
                    <a:pt x="23" y="931"/>
                  </a:lnTo>
                  <a:lnTo>
                    <a:pt x="32" y="932"/>
                  </a:lnTo>
                  <a:lnTo>
                    <a:pt x="38" y="931"/>
                  </a:lnTo>
                  <a:lnTo>
                    <a:pt x="44" y="929"/>
                  </a:lnTo>
                  <a:lnTo>
                    <a:pt x="47" y="928"/>
                  </a:lnTo>
                  <a:lnTo>
                    <a:pt x="47" y="928"/>
                  </a:lnTo>
                  <a:lnTo>
                    <a:pt x="49" y="926"/>
                  </a:lnTo>
                  <a:lnTo>
                    <a:pt x="52" y="928"/>
                  </a:lnTo>
                  <a:lnTo>
                    <a:pt x="53" y="929"/>
                  </a:lnTo>
                  <a:lnTo>
                    <a:pt x="55" y="935"/>
                  </a:lnTo>
                  <a:lnTo>
                    <a:pt x="55" y="935"/>
                  </a:lnTo>
                  <a:lnTo>
                    <a:pt x="55" y="941"/>
                  </a:lnTo>
                  <a:lnTo>
                    <a:pt x="56" y="945"/>
                  </a:lnTo>
                  <a:lnTo>
                    <a:pt x="60" y="947"/>
                  </a:lnTo>
                  <a:lnTo>
                    <a:pt x="66" y="948"/>
                  </a:lnTo>
                  <a:lnTo>
                    <a:pt x="66" y="948"/>
                  </a:lnTo>
                  <a:lnTo>
                    <a:pt x="71" y="950"/>
                  </a:lnTo>
                  <a:lnTo>
                    <a:pt x="78" y="954"/>
                  </a:lnTo>
                  <a:lnTo>
                    <a:pt x="97" y="968"/>
                  </a:lnTo>
                  <a:lnTo>
                    <a:pt x="114" y="982"/>
                  </a:lnTo>
                  <a:lnTo>
                    <a:pt x="121" y="991"/>
                  </a:lnTo>
                  <a:lnTo>
                    <a:pt x="121" y="991"/>
                  </a:lnTo>
                  <a:lnTo>
                    <a:pt x="121" y="993"/>
                  </a:lnTo>
                  <a:lnTo>
                    <a:pt x="117" y="994"/>
                  </a:lnTo>
                  <a:lnTo>
                    <a:pt x="112" y="997"/>
                  </a:lnTo>
                  <a:lnTo>
                    <a:pt x="108" y="1002"/>
                  </a:lnTo>
                  <a:lnTo>
                    <a:pt x="108" y="1002"/>
                  </a:lnTo>
                  <a:lnTo>
                    <a:pt x="103" y="1008"/>
                  </a:lnTo>
                  <a:lnTo>
                    <a:pt x="99" y="1012"/>
                  </a:lnTo>
                  <a:lnTo>
                    <a:pt x="94" y="1018"/>
                  </a:lnTo>
                  <a:lnTo>
                    <a:pt x="94" y="1022"/>
                  </a:lnTo>
                  <a:lnTo>
                    <a:pt x="94" y="1027"/>
                  </a:lnTo>
                  <a:lnTo>
                    <a:pt x="94" y="1027"/>
                  </a:lnTo>
                  <a:lnTo>
                    <a:pt x="94" y="1039"/>
                  </a:lnTo>
                  <a:lnTo>
                    <a:pt x="94" y="1049"/>
                  </a:lnTo>
                  <a:lnTo>
                    <a:pt x="92" y="1058"/>
                  </a:lnTo>
                  <a:lnTo>
                    <a:pt x="89" y="1064"/>
                  </a:lnTo>
                  <a:lnTo>
                    <a:pt x="89" y="1064"/>
                  </a:lnTo>
                  <a:lnTo>
                    <a:pt x="74" y="1083"/>
                  </a:lnTo>
                  <a:lnTo>
                    <a:pt x="65" y="1095"/>
                  </a:lnTo>
                  <a:lnTo>
                    <a:pt x="62" y="1104"/>
                  </a:lnTo>
                  <a:lnTo>
                    <a:pt x="62" y="1104"/>
                  </a:lnTo>
                  <a:lnTo>
                    <a:pt x="59" y="1114"/>
                  </a:lnTo>
                  <a:lnTo>
                    <a:pt x="52" y="1128"/>
                  </a:lnTo>
                  <a:lnTo>
                    <a:pt x="52" y="1128"/>
                  </a:lnTo>
                  <a:lnTo>
                    <a:pt x="50" y="1132"/>
                  </a:lnTo>
                  <a:lnTo>
                    <a:pt x="49" y="1136"/>
                  </a:lnTo>
                  <a:lnTo>
                    <a:pt x="49" y="1147"/>
                  </a:lnTo>
                  <a:lnTo>
                    <a:pt x="52" y="1157"/>
                  </a:lnTo>
                  <a:lnTo>
                    <a:pt x="55" y="1162"/>
                  </a:lnTo>
                  <a:lnTo>
                    <a:pt x="55" y="1162"/>
                  </a:lnTo>
                  <a:lnTo>
                    <a:pt x="57" y="1165"/>
                  </a:lnTo>
                  <a:lnTo>
                    <a:pt x="62" y="1165"/>
                  </a:lnTo>
                  <a:lnTo>
                    <a:pt x="69" y="1165"/>
                  </a:lnTo>
                  <a:lnTo>
                    <a:pt x="69" y="1165"/>
                  </a:lnTo>
                  <a:lnTo>
                    <a:pt x="71" y="1166"/>
                  </a:lnTo>
                  <a:lnTo>
                    <a:pt x="71" y="1169"/>
                  </a:lnTo>
                  <a:lnTo>
                    <a:pt x="68" y="1178"/>
                  </a:lnTo>
                  <a:lnTo>
                    <a:pt x="68" y="1178"/>
                  </a:lnTo>
                  <a:lnTo>
                    <a:pt x="68" y="1182"/>
                  </a:lnTo>
                  <a:lnTo>
                    <a:pt x="71" y="1187"/>
                  </a:lnTo>
                  <a:lnTo>
                    <a:pt x="75" y="1191"/>
                  </a:lnTo>
                  <a:lnTo>
                    <a:pt x="83" y="1197"/>
                  </a:lnTo>
                  <a:lnTo>
                    <a:pt x="83" y="1197"/>
                  </a:lnTo>
                  <a:lnTo>
                    <a:pt x="96" y="1208"/>
                  </a:lnTo>
                  <a:lnTo>
                    <a:pt x="102" y="1210"/>
                  </a:lnTo>
                  <a:lnTo>
                    <a:pt x="112" y="1210"/>
                  </a:lnTo>
                  <a:lnTo>
                    <a:pt x="112" y="1210"/>
                  </a:lnTo>
                  <a:lnTo>
                    <a:pt x="132" y="1208"/>
                  </a:lnTo>
                  <a:lnTo>
                    <a:pt x="148" y="1206"/>
                  </a:lnTo>
                  <a:lnTo>
                    <a:pt x="148" y="1206"/>
                  </a:lnTo>
                  <a:lnTo>
                    <a:pt x="158" y="1209"/>
                  </a:lnTo>
                  <a:lnTo>
                    <a:pt x="169" y="1213"/>
                  </a:lnTo>
                  <a:lnTo>
                    <a:pt x="177" y="1222"/>
                  </a:lnTo>
                  <a:lnTo>
                    <a:pt x="185" y="1231"/>
                  </a:lnTo>
                  <a:lnTo>
                    <a:pt x="185" y="1231"/>
                  </a:lnTo>
                  <a:lnTo>
                    <a:pt x="192" y="1242"/>
                  </a:lnTo>
                  <a:lnTo>
                    <a:pt x="200" y="1250"/>
                  </a:lnTo>
                  <a:lnTo>
                    <a:pt x="207" y="1259"/>
                  </a:lnTo>
                  <a:lnTo>
                    <a:pt x="207" y="1259"/>
                  </a:lnTo>
                  <a:lnTo>
                    <a:pt x="209" y="1256"/>
                  </a:lnTo>
                  <a:lnTo>
                    <a:pt x="209" y="1256"/>
                  </a:lnTo>
                  <a:lnTo>
                    <a:pt x="213" y="1250"/>
                  </a:lnTo>
                  <a:lnTo>
                    <a:pt x="220" y="1243"/>
                  </a:lnTo>
                  <a:lnTo>
                    <a:pt x="229" y="1236"/>
                  </a:lnTo>
                  <a:lnTo>
                    <a:pt x="229" y="1236"/>
                  </a:lnTo>
                  <a:lnTo>
                    <a:pt x="237" y="1240"/>
                  </a:lnTo>
                  <a:lnTo>
                    <a:pt x="241" y="1246"/>
                  </a:lnTo>
                  <a:lnTo>
                    <a:pt x="246" y="1252"/>
                  </a:lnTo>
                  <a:lnTo>
                    <a:pt x="246" y="1252"/>
                  </a:lnTo>
                  <a:lnTo>
                    <a:pt x="253" y="1268"/>
                  </a:lnTo>
                  <a:lnTo>
                    <a:pt x="256" y="1276"/>
                  </a:lnTo>
                  <a:lnTo>
                    <a:pt x="257" y="1277"/>
                  </a:lnTo>
                  <a:lnTo>
                    <a:pt x="260" y="1279"/>
                  </a:lnTo>
                  <a:lnTo>
                    <a:pt x="260" y="1279"/>
                  </a:lnTo>
                  <a:lnTo>
                    <a:pt x="268" y="1279"/>
                  </a:lnTo>
                  <a:lnTo>
                    <a:pt x="278" y="1277"/>
                  </a:lnTo>
                  <a:lnTo>
                    <a:pt x="290" y="1274"/>
                  </a:lnTo>
                  <a:lnTo>
                    <a:pt x="297" y="1271"/>
                  </a:lnTo>
                  <a:lnTo>
                    <a:pt x="297" y="1271"/>
                  </a:lnTo>
                  <a:lnTo>
                    <a:pt x="303" y="1268"/>
                  </a:lnTo>
                  <a:lnTo>
                    <a:pt x="311" y="1265"/>
                  </a:lnTo>
                  <a:lnTo>
                    <a:pt x="323" y="1265"/>
                  </a:lnTo>
                  <a:lnTo>
                    <a:pt x="323" y="1265"/>
                  </a:lnTo>
                  <a:lnTo>
                    <a:pt x="325" y="1264"/>
                  </a:lnTo>
                  <a:lnTo>
                    <a:pt x="328" y="1262"/>
                  </a:lnTo>
                  <a:lnTo>
                    <a:pt x="333" y="1261"/>
                  </a:lnTo>
                  <a:lnTo>
                    <a:pt x="343" y="1261"/>
                  </a:lnTo>
                  <a:lnTo>
                    <a:pt x="343" y="1261"/>
                  </a:lnTo>
                  <a:lnTo>
                    <a:pt x="368" y="1262"/>
                  </a:lnTo>
                  <a:lnTo>
                    <a:pt x="377" y="1261"/>
                  </a:lnTo>
                  <a:lnTo>
                    <a:pt x="380" y="1259"/>
                  </a:lnTo>
                  <a:lnTo>
                    <a:pt x="382" y="1258"/>
                  </a:lnTo>
                  <a:lnTo>
                    <a:pt x="382" y="1258"/>
                  </a:lnTo>
                  <a:lnTo>
                    <a:pt x="386" y="1252"/>
                  </a:lnTo>
                  <a:lnTo>
                    <a:pt x="394" y="1243"/>
                  </a:lnTo>
                  <a:lnTo>
                    <a:pt x="402" y="1236"/>
                  </a:lnTo>
                  <a:lnTo>
                    <a:pt x="405" y="1233"/>
                  </a:lnTo>
                  <a:lnTo>
                    <a:pt x="408" y="1233"/>
                  </a:lnTo>
                  <a:lnTo>
                    <a:pt x="408" y="1233"/>
                  </a:lnTo>
                  <a:lnTo>
                    <a:pt x="422" y="1233"/>
                  </a:lnTo>
                  <a:lnTo>
                    <a:pt x="429" y="1233"/>
                  </a:lnTo>
                  <a:lnTo>
                    <a:pt x="434" y="1233"/>
                  </a:lnTo>
                  <a:lnTo>
                    <a:pt x="434" y="1233"/>
                  </a:lnTo>
                  <a:lnTo>
                    <a:pt x="454" y="1221"/>
                  </a:lnTo>
                  <a:lnTo>
                    <a:pt x="454" y="1221"/>
                  </a:lnTo>
                  <a:lnTo>
                    <a:pt x="459" y="1219"/>
                  </a:lnTo>
                  <a:lnTo>
                    <a:pt x="462" y="1218"/>
                  </a:lnTo>
                  <a:lnTo>
                    <a:pt x="466" y="1218"/>
                  </a:lnTo>
                  <a:lnTo>
                    <a:pt x="469" y="1215"/>
                  </a:lnTo>
                  <a:lnTo>
                    <a:pt x="469" y="1215"/>
                  </a:lnTo>
                  <a:lnTo>
                    <a:pt x="474" y="1209"/>
                  </a:lnTo>
                  <a:lnTo>
                    <a:pt x="477" y="1203"/>
                  </a:lnTo>
                  <a:lnTo>
                    <a:pt x="479" y="1193"/>
                  </a:lnTo>
                  <a:lnTo>
                    <a:pt x="479" y="1193"/>
                  </a:lnTo>
                  <a:lnTo>
                    <a:pt x="477" y="1179"/>
                  </a:lnTo>
                  <a:lnTo>
                    <a:pt x="477" y="1179"/>
                  </a:lnTo>
                  <a:lnTo>
                    <a:pt x="477" y="1175"/>
                  </a:lnTo>
                  <a:lnTo>
                    <a:pt x="478" y="1169"/>
                  </a:lnTo>
                  <a:lnTo>
                    <a:pt x="481" y="1163"/>
                  </a:lnTo>
                  <a:lnTo>
                    <a:pt x="485" y="1157"/>
                  </a:lnTo>
                  <a:lnTo>
                    <a:pt x="485" y="1157"/>
                  </a:lnTo>
                  <a:lnTo>
                    <a:pt x="491" y="1150"/>
                  </a:lnTo>
                  <a:lnTo>
                    <a:pt x="496" y="1142"/>
                  </a:lnTo>
                  <a:lnTo>
                    <a:pt x="496" y="1142"/>
                  </a:lnTo>
                  <a:lnTo>
                    <a:pt x="497" y="1138"/>
                  </a:lnTo>
                  <a:lnTo>
                    <a:pt x="503" y="1135"/>
                  </a:lnTo>
                  <a:lnTo>
                    <a:pt x="509" y="1132"/>
                  </a:lnTo>
                  <a:lnTo>
                    <a:pt x="518" y="1129"/>
                  </a:lnTo>
                  <a:lnTo>
                    <a:pt x="518" y="1129"/>
                  </a:lnTo>
                  <a:lnTo>
                    <a:pt x="533" y="1126"/>
                  </a:lnTo>
                  <a:lnTo>
                    <a:pt x="539" y="1125"/>
                  </a:lnTo>
                  <a:lnTo>
                    <a:pt x="540" y="1123"/>
                  </a:lnTo>
                  <a:lnTo>
                    <a:pt x="542" y="1122"/>
                  </a:lnTo>
                  <a:lnTo>
                    <a:pt x="542" y="1122"/>
                  </a:lnTo>
                  <a:lnTo>
                    <a:pt x="539" y="1119"/>
                  </a:lnTo>
                  <a:lnTo>
                    <a:pt x="534" y="1116"/>
                  </a:lnTo>
                  <a:lnTo>
                    <a:pt x="530" y="1111"/>
                  </a:lnTo>
                  <a:lnTo>
                    <a:pt x="528" y="1108"/>
                  </a:lnTo>
                  <a:lnTo>
                    <a:pt x="528" y="1108"/>
                  </a:lnTo>
                  <a:lnTo>
                    <a:pt x="528" y="1105"/>
                  </a:lnTo>
                  <a:lnTo>
                    <a:pt x="528" y="1101"/>
                  </a:lnTo>
                  <a:lnTo>
                    <a:pt x="531" y="1098"/>
                  </a:lnTo>
                  <a:lnTo>
                    <a:pt x="534" y="1096"/>
                  </a:lnTo>
                  <a:lnTo>
                    <a:pt x="534" y="1096"/>
                  </a:lnTo>
                  <a:lnTo>
                    <a:pt x="536" y="1096"/>
                  </a:lnTo>
                  <a:lnTo>
                    <a:pt x="537" y="1095"/>
                  </a:lnTo>
                  <a:lnTo>
                    <a:pt x="539" y="1092"/>
                  </a:lnTo>
                  <a:lnTo>
                    <a:pt x="540" y="1088"/>
                  </a:lnTo>
                  <a:lnTo>
                    <a:pt x="543" y="1085"/>
                  </a:lnTo>
                  <a:lnTo>
                    <a:pt x="543" y="1085"/>
                  </a:lnTo>
                  <a:lnTo>
                    <a:pt x="546" y="1085"/>
                  </a:lnTo>
                  <a:lnTo>
                    <a:pt x="549" y="1085"/>
                  </a:lnTo>
                  <a:lnTo>
                    <a:pt x="552" y="1086"/>
                  </a:lnTo>
                  <a:lnTo>
                    <a:pt x="558" y="1089"/>
                  </a:lnTo>
                  <a:lnTo>
                    <a:pt x="558" y="1089"/>
                  </a:lnTo>
                  <a:lnTo>
                    <a:pt x="565" y="1091"/>
                  </a:lnTo>
                  <a:lnTo>
                    <a:pt x="571" y="1091"/>
                  </a:lnTo>
                  <a:lnTo>
                    <a:pt x="574" y="1088"/>
                  </a:lnTo>
                  <a:lnTo>
                    <a:pt x="577" y="1083"/>
                  </a:lnTo>
                  <a:lnTo>
                    <a:pt x="577" y="1083"/>
                  </a:lnTo>
                  <a:lnTo>
                    <a:pt x="579" y="1074"/>
                  </a:lnTo>
                  <a:lnTo>
                    <a:pt x="580" y="1070"/>
                  </a:lnTo>
                  <a:lnTo>
                    <a:pt x="586" y="1065"/>
                  </a:lnTo>
                  <a:lnTo>
                    <a:pt x="586" y="1065"/>
                  </a:lnTo>
                  <a:lnTo>
                    <a:pt x="592" y="1061"/>
                  </a:lnTo>
                  <a:lnTo>
                    <a:pt x="595" y="1058"/>
                  </a:lnTo>
                  <a:lnTo>
                    <a:pt x="596" y="1055"/>
                  </a:lnTo>
                  <a:lnTo>
                    <a:pt x="596" y="1048"/>
                  </a:lnTo>
                  <a:lnTo>
                    <a:pt x="596" y="1048"/>
                  </a:lnTo>
                  <a:lnTo>
                    <a:pt x="598" y="1040"/>
                  </a:lnTo>
                  <a:lnTo>
                    <a:pt x="599" y="1034"/>
                  </a:lnTo>
                  <a:lnTo>
                    <a:pt x="602" y="1031"/>
                  </a:lnTo>
                  <a:lnTo>
                    <a:pt x="607" y="1030"/>
                  </a:lnTo>
                  <a:lnTo>
                    <a:pt x="607" y="1030"/>
                  </a:lnTo>
                  <a:lnTo>
                    <a:pt x="616" y="1030"/>
                  </a:lnTo>
                  <a:lnTo>
                    <a:pt x="619" y="1030"/>
                  </a:lnTo>
                  <a:lnTo>
                    <a:pt x="622" y="1027"/>
                  </a:lnTo>
                  <a:lnTo>
                    <a:pt x="622" y="1027"/>
                  </a:lnTo>
                  <a:lnTo>
                    <a:pt x="625" y="1027"/>
                  </a:lnTo>
                  <a:lnTo>
                    <a:pt x="629" y="1027"/>
                  </a:lnTo>
                  <a:lnTo>
                    <a:pt x="633" y="1027"/>
                  </a:lnTo>
                  <a:lnTo>
                    <a:pt x="638" y="1027"/>
                  </a:lnTo>
                  <a:lnTo>
                    <a:pt x="638" y="1027"/>
                  </a:lnTo>
                  <a:lnTo>
                    <a:pt x="642" y="1024"/>
                  </a:lnTo>
                  <a:lnTo>
                    <a:pt x="647" y="1019"/>
                  </a:lnTo>
                  <a:lnTo>
                    <a:pt x="656" y="1008"/>
                  </a:lnTo>
                  <a:lnTo>
                    <a:pt x="656" y="1008"/>
                  </a:lnTo>
                  <a:lnTo>
                    <a:pt x="659" y="1000"/>
                  </a:lnTo>
                  <a:lnTo>
                    <a:pt x="662" y="997"/>
                  </a:lnTo>
                  <a:lnTo>
                    <a:pt x="666" y="996"/>
                  </a:lnTo>
                  <a:lnTo>
                    <a:pt x="675" y="997"/>
                  </a:lnTo>
                  <a:lnTo>
                    <a:pt x="675" y="997"/>
                  </a:lnTo>
                  <a:lnTo>
                    <a:pt x="685" y="1000"/>
                  </a:lnTo>
                  <a:lnTo>
                    <a:pt x="694" y="1002"/>
                  </a:lnTo>
                  <a:lnTo>
                    <a:pt x="703" y="1002"/>
                  </a:lnTo>
                  <a:lnTo>
                    <a:pt x="709" y="999"/>
                  </a:lnTo>
                  <a:lnTo>
                    <a:pt x="709" y="999"/>
                  </a:lnTo>
                  <a:lnTo>
                    <a:pt x="718" y="993"/>
                  </a:lnTo>
                  <a:lnTo>
                    <a:pt x="728" y="988"/>
                  </a:lnTo>
                  <a:lnTo>
                    <a:pt x="739" y="985"/>
                  </a:lnTo>
                  <a:lnTo>
                    <a:pt x="743" y="985"/>
                  </a:lnTo>
                  <a:lnTo>
                    <a:pt x="748" y="985"/>
                  </a:lnTo>
                  <a:lnTo>
                    <a:pt x="748" y="985"/>
                  </a:lnTo>
                  <a:lnTo>
                    <a:pt x="750" y="987"/>
                  </a:lnTo>
                  <a:lnTo>
                    <a:pt x="752" y="990"/>
                  </a:lnTo>
                  <a:lnTo>
                    <a:pt x="755" y="997"/>
                  </a:lnTo>
                  <a:lnTo>
                    <a:pt x="756" y="1005"/>
                  </a:lnTo>
                  <a:lnTo>
                    <a:pt x="759" y="1013"/>
                  </a:lnTo>
                  <a:lnTo>
                    <a:pt x="759" y="1013"/>
                  </a:lnTo>
                  <a:lnTo>
                    <a:pt x="770" y="1030"/>
                  </a:lnTo>
                  <a:lnTo>
                    <a:pt x="773" y="1036"/>
                  </a:lnTo>
                  <a:lnTo>
                    <a:pt x="774" y="1042"/>
                  </a:lnTo>
                  <a:lnTo>
                    <a:pt x="774" y="1042"/>
                  </a:lnTo>
                  <a:lnTo>
                    <a:pt x="776" y="1046"/>
                  </a:lnTo>
                  <a:lnTo>
                    <a:pt x="779" y="1049"/>
                  </a:lnTo>
                  <a:lnTo>
                    <a:pt x="782" y="1053"/>
                  </a:lnTo>
                  <a:lnTo>
                    <a:pt x="786" y="1059"/>
                  </a:lnTo>
                  <a:lnTo>
                    <a:pt x="786" y="1059"/>
                  </a:lnTo>
                  <a:lnTo>
                    <a:pt x="793" y="1071"/>
                  </a:lnTo>
                  <a:lnTo>
                    <a:pt x="796" y="1073"/>
                  </a:lnTo>
                  <a:lnTo>
                    <a:pt x="799" y="1073"/>
                  </a:lnTo>
                  <a:lnTo>
                    <a:pt x="799" y="1073"/>
                  </a:lnTo>
                  <a:lnTo>
                    <a:pt x="805" y="1067"/>
                  </a:lnTo>
                  <a:lnTo>
                    <a:pt x="813" y="1055"/>
                  </a:lnTo>
                  <a:lnTo>
                    <a:pt x="813" y="1055"/>
                  </a:lnTo>
                  <a:lnTo>
                    <a:pt x="817" y="1051"/>
                  </a:lnTo>
                  <a:lnTo>
                    <a:pt x="823" y="1046"/>
                  </a:lnTo>
                  <a:lnTo>
                    <a:pt x="830" y="1043"/>
                  </a:lnTo>
                  <a:lnTo>
                    <a:pt x="838" y="1042"/>
                  </a:lnTo>
                  <a:lnTo>
                    <a:pt x="838" y="1042"/>
                  </a:lnTo>
                  <a:lnTo>
                    <a:pt x="847" y="1039"/>
                  </a:lnTo>
                  <a:lnTo>
                    <a:pt x="851" y="1037"/>
                  </a:lnTo>
                  <a:lnTo>
                    <a:pt x="856" y="1033"/>
                  </a:lnTo>
                  <a:lnTo>
                    <a:pt x="857" y="1028"/>
                  </a:lnTo>
                  <a:lnTo>
                    <a:pt x="857" y="1028"/>
                  </a:lnTo>
                  <a:lnTo>
                    <a:pt x="860" y="1025"/>
                  </a:lnTo>
                  <a:lnTo>
                    <a:pt x="864" y="1022"/>
                  </a:lnTo>
                  <a:lnTo>
                    <a:pt x="870" y="1022"/>
                  </a:lnTo>
                  <a:lnTo>
                    <a:pt x="873" y="1024"/>
                  </a:lnTo>
                  <a:lnTo>
                    <a:pt x="876" y="1027"/>
                  </a:lnTo>
                  <a:lnTo>
                    <a:pt x="876" y="1027"/>
                  </a:lnTo>
                  <a:lnTo>
                    <a:pt x="882" y="1031"/>
                  </a:lnTo>
                  <a:lnTo>
                    <a:pt x="888" y="1034"/>
                  </a:lnTo>
                  <a:lnTo>
                    <a:pt x="893" y="1034"/>
                  </a:lnTo>
                  <a:lnTo>
                    <a:pt x="897" y="1033"/>
                  </a:lnTo>
                  <a:lnTo>
                    <a:pt x="897" y="1033"/>
                  </a:lnTo>
                  <a:lnTo>
                    <a:pt x="900" y="1030"/>
                  </a:lnTo>
                  <a:lnTo>
                    <a:pt x="902" y="1027"/>
                  </a:lnTo>
                  <a:lnTo>
                    <a:pt x="904" y="1021"/>
                  </a:lnTo>
                  <a:lnTo>
                    <a:pt x="904" y="1021"/>
                  </a:lnTo>
                  <a:lnTo>
                    <a:pt x="907" y="1018"/>
                  </a:lnTo>
                  <a:lnTo>
                    <a:pt x="912" y="1016"/>
                  </a:lnTo>
                  <a:lnTo>
                    <a:pt x="915" y="1015"/>
                  </a:lnTo>
                  <a:lnTo>
                    <a:pt x="916" y="1011"/>
                  </a:lnTo>
                  <a:lnTo>
                    <a:pt x="916" y="1011"/>
                  </a:lnTo>
                  <a:lnTo>
                    <a:pt x="918" y="999"/>
                  </a:lnTo>
                  <a:lnTo>
                    <a:pt x="918" y="987"/>
                  </a:lnTo>
                  <a:lnTo>
                    <a:pt x="918" y="987"/>
                  </a:lnTo>
                  <a:lnTo>
                    <a:pt x="919" y="982"/>
                  </a:lnTo>
                  <a:lnTo>
                    <a:pt x="922" y="979"/>
                  </a:lnTo>
                  <a:lnTo>
                    <a:pt x="925" y="978"/>
                  </a:lnTo>
                  <a:lnTo>
                    <a:pt x="927" y="974"/>
                  </a:lnTo>
                  <a:lnTo>
                    <a:pt x="927" y="974"/>
                  </a:lnTo>
                  <a:lnTo>
                    <a:pt x="933" y="965"/>
                  </a:lnTo>
                  <a:lnTo>
                    <a:pt x="934" y="959"/>
                  </a:lnTo>
                  <a:lnTo>
                    <a:pt x="936" y="953"/>
                  </a:lnTo>
                  <a:lnTo>
                    <a:pt x="936" y="953"/>
                  </a:lnTo>
                  <a:lnTo>
                    <a:pt x="937" y="947"/>
                  </a:lnTo>
                  <a:lnTo>
                    <a:pt x="939" y="945"/>
                  </a:lnTo>
                  <a:lnTo>
                    <a:pt x="943" y="942"/>
                  </a:lnTo>
                  <a:lnTo>
                    <a:pt x="946" y="939"/>
                  </a:lnTo>
                  <a:lnTo>
                    <a:pt x="946" y="939"/>
                  </a:lnTo>
                  <a:lnTo>
                    <a:pt x="949" y="934"/>
                  </a:lnTo>
                  <a:lnTo>
                    <a:pt x="950" y="929"/>
                  </a:lnTo>
                  <a:lnTo>
                    <a:pt x="952" y="926"/>
                  </a:lnTo>
                  <a:lnTo>
                    <a:pt x="955" y="922"/>
                  </a:lnTo>
                  <a:lnTo>
                    <a:pt x="955" y="922"/>
                  </a:lnTo>
                  <a:lnTo>
                    <a:pt x="959" y="917"/>
                  </a:lnTo>
                  <a:lnTo>
                    <a:pt x="961" y="911"/>
                  </a:lnTo>
                  <a:lnTo>
                    <a:pt x="961" y="911"/>
                  </a:lnTo>
                  <a:lnTo>
                    <a:pt x="962" y="908"/>
                  </a:lnTo>
                  <a:lnTo>
                    <a:pt x="967" y="905"/>
                  </a:lnTo>
                  <a:lnTo>
                    <a:pt x="970" y="904"/>
                  </a:lnTo>
                  <a:lnTo>
                    <a:pt x="971" y="902"/>
                  </a:lnTo>
                  <a:lnTo>
                    <a:pt x="973" y="899"/>
                  </a:lnTo>
                  <a:lnTo>
                    <a:pt x="973" y="899"/>
                  </a:lnTo>
                  <a:lnTo>
                    <a:pt x="974" y="895"/>
                  </a:lnTo>
                  <a:lnTo>
                    <a:pt x="973" y="889"/>
                  </a:lnTo>
                  <a:lnTo>
                    <a:pt x="973" y="885"/>
                  </a:lnTo>
                  <a:lnTo>
                    <a:pt x="970" y="880"/>
                  </a:lnTo>
                  <a:lnTo>
                    <a:pt x="970" y="880"/>
                  </a:lnTo>
                  <a:lnTo>
                    <a:pt x="967" y="876"/>
                  </a:lnTo>
                  <a:lnTo>
                    <a:pt x="965" y="870"/>
                  </a:lnTo>
                  <a:lnTo>
                    <a:pt x="965" y="865"/>
                  </a:lnTo>
                  <a:lnTo>
                    <a:pt x="968" y="859"/>
                  </a:lnTo>
                  <a:lnTo>
                    <a:pt x="968" y="859"/>
                  </a:lnTo>
                  <a:lnTo>
                    <a:pt x="974" y="854"/>
                  </a:lnTo>
                  <a:lnTo>
                    <a:pt x="980" y="849"/>
                  </a:lnTo>
                  <a:lnTo>
                    <a:pt x="984" y="848"/>
                  </a:lnTo>
                  <a:lnTo>
                    <a:pt x="987" y="848"/>
                  </a:lnTo>
                  <a:lnTo>
                    <a:pt x="989" y="849"/>
                  </a:lnTo>
                  <a:lnTo>
                    <a:pt x="989" y="849"/>
                  </a:lnTo>
                  <a:lnTo>
                    <a:pt x="992" y="852"/>
                  </a:lnTo>
                  <a:lnTo>
                    <a:pt x="995" y="855"/>
                  </a:lnTo>
                  <a:lnTo>
                    <a:pt x="1005" y="857"/>
                  </a:lnTo>
                  <a:lnTo>
                    <a:pt x="1005" y="857"/>
                  </a:lnTo>
                  <a:lnTo>
                    <a:pt x="1013" y="858"/>
                  </a:lnTo>
                  <a:lnTo>
                    <a:pt x="1017" y="857"/>
                  </a:lnTo>
                  <a:lnTo>
                    <a:pt x="1026" y="855"/>
                  </a:lnTo>
                  <a:lnTo>
                    <a:pt x="1026" y="855"/>
                  </a:lnTo>
                  <a:lnTo>
                    <a:pt x="1029" y="855"/>
                  </a:lnTo>
                  <a:lnTo>
                    <a:pt x="1033" y="855"/>
                  </a:lnTo>
                  <a:lnTo>
                    <a:pt x="1041" y="857"/>
                  </a:lnTo>
                  <a:lnTo>
                    <a:pt x="1044" y="855"/>
                  </a:lnTo>
                  <a:lnTo>
                    <a:pt x="1044" y="855"/>
                  </a:lnTo>
                  <a:lnTo>
                    <a:pt x="1035" y="796"/>
                  </a:lnTo>
                  <a:lnTo>
                    <a:pt x="1035" y="796"/>
                  </a:lnTo>
                  <a:lnTo>
                    <a:pt x="1035" y="753"/>
                  </a:lnTo>
                  <a:lnTo>
                    <a:pt x="1035" y="753"/>
                  </a:lnTo>
                  <a:lnTo>
                    <a:pt x="1033" y="735"/>
                  </a:lnTo>
                  <a:lnTo>
                    <a:pt x="1033" y="723"/>
                  </a:lnTo>
                  <a:lnTo>
                    <a:pt x="1032" y="714"/>
                  </a:lnTo>
                  <a:lnTo>
                    <a:pt x="1032" y="714"/>
                  </a:lnTo>
                  <a:lnTo>
                    <a:pt x="1029" y="710"/>
                  </a:lnTo>
                  <a:lnTo>
                    <a:pt x="1027" y="705"/>
                  </a:lnTo>
                  <a:lnTo>
                    <a:pt x="1024" y="704"/>
                  </a:lnTo>
                  <a:lnTo>
                    <a:pt x="1021" y="704"/>
                  </a:lnTo>
                  <a:lnTo>
                    <a:pt x="1021" y="704"/>
                  </a:lnTo>
                  <a:lnTo>
                    <a:pt x="1013" y="702"/>
                  </a:lnTo>
                  <a:lnTo>
                    <a:pt x="1007" y="701"/>
                  </a:lnTo>
                  <a:lnTo>
                    <a:pt x="1002" y="697"/>
                  </a:lnTo>
                  <a:lnTo>
                    <a:pt x="1002" y="697"/>
                  </a:lnTo>
                  <a:lnTo>
                    <a:pt x="1001" y="695"/>
                  </a:lnTo>
                  <a:lnTo>
                    <a:pt x="1001" y="694"/>
                  </a:lnTo>
                  <a:lnTo>
                    <a:pt x="1002" y="689"/>
                  </a:lnTo>
                  <a:lnTo>
                    <a:pt x="1007" y="686"/>
                  </a:lnTo>
                  <a:lnTo>
                    <a:pt x="1011" y="685"/>
                  </a:lnTo>
                  <a:lnTo>
                    <a:pt x="1011" y="685"/>
                  </a:lnTo>
                  <a:lnTo>
                    <a:pt x="1016" y="686"/>
                  </a:lnTo>
                  <a:lnTo>
                    <a:pt x="1020" y="688"/>
                  </a:lnTo>
                  <a:lnTo>
                    <a:pt x="1032" y="692"/>
                  </a:lnTo>
                  <a:lnTo>
                    <a:pt x="1032" y="692"/>
                  </a:lnTo>
                  <a:lnTo>
                    <a:pt x="1033" y="692"/>
                  </a:lnTo>
                  <a:lnTo>
                    <a:pt x="1036" y="691"/>
                  </a:lnTo>
                  <a:lnTo>
                    <a:pt x="1039" y="688"/>
                  </a:lnTo>
                  <a:lnTo>
                    <a:pt x="1045" y="682"/>
                  </a:lnTo>
                  <a:lnTo>
                    <a:pt x="1045" y="682"/>
                  </a:lnTo>
                  <a:lnTo>
                    <a:pt x="1047" y="679"/>
                  </a:lnTo>
                  <a:lnTo>
                    <a:pt x="1050" y="673"/>
                  </a:lnTo>
                  <a:lnTo>
                    <a:pt x="1054" y="662"/>
                  </a:lnTo>
                  <a:lnTo>
                    <a:pt x="1054" y="662"/>
                  </a:lnTo>
                  <a:lnTo>
                    <a:pt x="1056" y="658"/>
                  </a:lnTo>
                  <a:lnTo>
                    <a:pt x="1060" y="652"/>
                  </a:lnTo>
                  <a:lnTo>
                    <a:pt x="1070" y="643"/>
                  </a:lnTo>
                  <a:lnTo>
                    <a:pt x="1070" y="643"/>
                  </a:lnTo>
                  <a:lnTo>
                    <a:pt x="1084" y="633"/>
                  </a:lnTo>
                  <a:lnTo>
                    <a:pt x="1091" y="627"/>
                  </a:lnTo>
                  <a:lnTo>
                    <a:pt x="1093" y="624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3" y="620"/>
                  </a:lnTo>
                  <a:lnTo>
                    <a:pt x="1090" y="618"/>
                  </a:lnTo>
                  <a:lnTo>
                    <a:pt x="1085" y="617"/>
                  </a:lnTo>
                  <a:lnTo>
                    <a:pt x="1079" y="615"/>
                  </a:lnTo>
                  <a:lnTo>
                    <a:pt x="1079" y="615"/>
                  </a:lnTo>
                  <a:lnTo>
                    <a:pt x="1075" y="612"/>
                  </a:lnTo>
                  <a:lnTo>
                    <a:pt x="1073" y="609"/>
                  </a:lnTo>
                  <a:lnTo>
                    <a:pt x="1073" y="605"/>
                  </a:lnTo>
                  <a:lnTo>
                    <a:pt x="1073" y="599"/>
                  </a:lnTo>
                  <a:lnTo>
                    <a:pt x="1073" y="599"/>
                  </a:lnTo>
                  <a:lnTo>
                    <a:pt x="1072" y="591"/>
                  </a:lnTo>
                  <a:lnTo>
                    <a:pt x="1067" y="587"/>
                  </a:lnTo>
                  <a:lnTo>
                    <a:pt x="1063" y="583"/>
                  </a:lnTo>
                  <a:lnTo>
                    <a:pt x="1057" y="581"/>
                  </a:lnTo>
                  <a:lnTo>
                    <a:pt x="1057" y="581"/>
                  </a:lnTo>
                  <a:lnTo>
                    <a:pt x="1051" y="581"/>
                  </a:lnTo>
                  <a:lnTo>
                    <a:pt x="1047" y="583"/>
                  </a:lnTo>
                  <a:lnTo>
                    <a:pt x="1042" y="585"/>
                  </a:lnTo>
                  <a:lnTo>
                    <a:pt x="1038" y="587"/>
                  </a:lnTo>
                  <a:lnTo>
                    <a:pt x="1038" y="587"/>
                  </a:lnTo>
                  <a:lnTo>
                    <a:pt x="1033" y="585"/>
                  </a:lnTo>
                  <a:lnTo>
                    <a:pt x="1030" y="584"/>
                  </a:lnTo>
                  <a:lnTo>
                    <a:pt x="1024" y="575"/>
                  </a:lnTo>
                  <a:lnTo>
                    <a:pt x="1024" y="575"/>
                  </a:lnTo>
                  <a:lnTo>
                    <a:pt x="1021" y="572"/>
                  </a:lnTo>
                  <a:lnTo>
                    <a:pt x="1017" y="572"/>
                  </a:lnTo>
                  <a:lnTo>
                    <a:pt x="1008" y="572"/>
                  </a:lnTo>
                  <a:lnTo>
                    <a:pt x="999" y="575"/>
                  </a:lnTo>
                  <a:lnTo>
                    <a:pt x="992" y="577"/>
                  </a:lnTo>
                  <a:lnTo>
                    <a:pt x="992" y="577"/>
                  </a:lnTo>
                  <a:lnTo>
                    <a:pt x="974" y="587"/>
                  </a:lnTo>
                  <a:lnTo>
                    <a:pt x="955" y="599"/>
                  </a:lnTo>
                  <a:lnTo>
                    <a:pt x="955" y="599"/>
                  </a:lnTo>
                  <a:lnTo>
                    <a:pt x="947" y="603"/>
                  </a:lnTo>
                  <a:lnTo>
                    <a:pt x="944" y="603"/>
                  </a:lnTo>
                  <a:lnTo>
                    <a:pt x="943" y="603"/>
                  </a:lnTo>
                  <a:lnTo>
                    <a:pt x="943" y="603"/>
                  </a:lnTo>
                  <a:lnTo>
                    <a:pt x="941" y="600"/>
                  </a:lnTo>
                  <a:lnTo>
                    <a:pt x="943" y="599"/>
                  </a:lnTo>
                  <a:lnTo>
                    <a:pt x="943" y="590"/>
                  </a:lnTo>
                  <a:lnTo>
                    <a:pt x="943" y="590"/>
                  </a:lnTo>
                  <a:lnTo>
                    <a:pt x="943" y="587"/>
                  </a:lnTo>
                  <a:lnTo>
                    <a:pt x="941" y="585"/>
                  </a:lnTo>
                  <a:lnTo>
                    <a:pt x="937" y="581"/>
                  </a:lnTo>
                  <a:lnTo>
                    <a:pt x="933" y="580"/>
                  </a:lnTo>
                  <a:lnTo>
                    <a:pt x="928" y="578"/>
                  </a:lnTo>
                  <a:lnTo>
                    <a:pt x="928" y="578"/>
                  </a:lnTo>
                  <a:lnTo>
                    <a:pt x="899" y="578"/>
                  </a:lnTo>
                  <a:lnTo>
                    <a:pt x="864" y="580"/>
                  </a:lnTo>
                  <a:lnTo>
                    <a:pt x="864" y="580"/>
                  </a:lnTo>
                  <a:lnTo>
                    <a:pt x="859" y="581"/>
                  </a:lnTo>
                  <a:lnTo>
                    <a:pt x="856" y="583"/>
                  </a:lnTo>
                  <a:lnTo>
                    <a:pt x="854" y="584"/>
                  </a:lnTo>
                  <a:lnTo>
                    <a:pt x="856" y="585"/>
                  </a:lnTo>
                  <a:lnTo>
                    <a:pt x="859" y="587"/>
                  </a:lnTo>
                  <a:lnTo>
                    <a:pt x="859" y="587"/>
                  </a:lnTo>
                  <a:lnTo>
                    <a:pt x="863" y="590"/>
                  </a:lnTo>
                  <a:lnTo>
                    <a:pt x="866" y="593"/>
                  </a:lnTo>
                  <a:lnTo>
                    <a:pt x="866" y="596"/>
                  </a:lnTo>
                  <a:lnTo>
                    <a:pt x="864" y="600"/>
                  </a:lnTo>
                  <a:lnTo>
                    <a:pt x="864" y="600"/>
                  </a:lnTo>
                  <a:lnTo>
                    <a:pt x="862" y="603"/>
                  </a:lnTo>
                  <a:lnTo>
                    <a:pt x="857" y="605"/>
                  </a:lnTo>
                  <a:lnTo>
                    <a:pt x="847" y="606"/>
                  </a:lnTo>
                  <a:lnTo>
                    <a:pt x="847" y="606"/>
                  </a:lnTo>
                  <a:lnTo>
                    <a:pt x="841" y="608"/>
                  </a:lnTo>
                  <a:lnTo>
                    <a:pt x="835" y="611"/>
                  </a:lnTo>
                  <a:lnTo>
                    <a:pt x="835" y="611"/>
                  </a:lnTo>
                  <a:lnTo>
                    <a:pt x="827" y="614"/>
                  </a:lnTo>
                  <a:lnTo>
                    <a:pt x="811" y="614"/>
                  </a:lnTo>
                  <a:lnTo>
                    <a:pt x="811" y="614"/>
                  </a:lnTo>
                  <a:lnTo>
                    <a:pt x="805" y="615"/>
                  </a:lnTo>
                  <a:lnTo>
                    <a:pt x="802" y="615"/>
                  </a:lnTo>
                  <a:lnTo>
                    <a:pt x="799" y="618"/>
                  </a:lnTo>
                  <a:lnTo>
                    <a:pt x="799" y="620"/>
                  </a:lnTo>
                  <a:lnTo>
                    <a:pt x="799" y="624"/>
                  </a:lnTo>
                  <a:lnTo>
                    <a:pt x="799" y="625"/>
                  </a:lnTo>
                  <a:lnTo>
                    <a:pt x="799" y="625"/>
                  </a:lnTo>
                  <a:lnTo>
                    <a:pt x="801" y="634"/>
                  </a:lnTo>
                  <a:lnTo>
                    <a:pt x="802" y="642"/>
                  </a:lnTo>
                  <a:lnTo>
                    <a:pt x="801" y="648"/>
                  </a:lnTo>
                  <a:lnTo>
                    <a:pt x="801" y="648"/>
                  </a:lnTo>
                  <a:lnTo>
                    <a:pt x="796" y="651"/>
                  </a:lnTo>
                  <a:lnTo>
                    <a:pt x="787" y="652"/>
                  </a:lnTo>
                  <a:lnTo>
                    <a:pt x="779" y="654"/>
                  </a:lnTo>
                  <a:lnTo>
                    <a:pt x="773" y="654"/>
                  </a:lnTo>
                  <a:lnTo>
                    <a:pt x="773" y="654"/>
                  </a:lnTo>
                  <a:lnTo>
                    <a:pt x="771" y="652"/>
                  </a:lnTo>
                  <a:lnTo>
                    <a:pt x="771" y="649"/>
                  </a:lnTo>
                  <a:lnTo>
                    <a:pt x="773" y="645"/>
                  </a:lnTo>
                  <a:lnTo>
                    <a:pt x="776" y="640"/>
                  </a:lnTo>
                  <a:lnTo>
                    <a:pt x="776" y="640"/>
                  </a:lnTo>
                  <a:lnTo>
                    <a:pt x="783" y="627"/>
                  </a:lnTo>
                  <a:lnTo>
                    <a:pt x="790" y="612"/>
                  </a:lnTo>
                  <a:lnTo>
                    <a:pt x="790" y="612"/>
                  </a:lnTo>
                  <a:lnTo>
                    <a:pt x="790" y="611"/>
                  </a:lnTo>
                  <a:lnTo>
                    <a:pt x="789" y="609"/>
                  </a:lnTo>
                  <a:lnTo>
                    <a:pt x="783" y="611"/>
                  </a:lnTo>
                  <a:lnTo>
                    <a:pt x="767" y="621"/>
                  </a:lnTo>
                  <a:lnTo>
                    <a:pt x="767" y="621"/>
                  </a:lnTo>
                  <a:lnTo>
                    <a:pt x="761" y="625"/>
                  </a:lnTo>
                  <a:lnTo>
                    <a:pt x="756" y="627"/>
                  </a:lnTo>
                  <a:lnTo>
                    <a:pt x="755" y="627"/>
                  </a:lnTo>
                  <a:lnTo>
                    <a:pt x="755" y="624"/>
                  </a:lnTo>
                  <a:lnTo>
                    <a:pt x="755" y="624"/>
                  </a:lnTo>
                  <a:lnTo>
                    <a:pt x="758" y="620"/>
                  </a:lnTo>
                  <a:lnTo>
                    <a:pt x="762" y="614"/>
                  </a:lnTo>
                  <a:lnTo>
                    <a:pt x="771" y="602"/>
                  </a:lnTo>
                  <a:lnTo>
                    <a:pt x="771" y="602"/>
                  </a:lnTo>
                  <a:lnTo>
                    <a:pt x="777" y="600"/>
                  </a:lnTo>
                  <a:lnTo>
                    <a:pt x="785" y="599"/>
                  </a:lnTo>
                  <a:lnTo>
                    <a:pt x="802" y="596"/>
                  </a:lnTo>
                  <a:lnTo>
                    <a:pt x="802" y="596"/>
                  </a:lnTo>
                  <a:lnTo>
                    <a:pt x="805" y="594"/>
                  </a:lnTo>
                  <a:lnTo>
                    <a:pt x="808" y="591"/>
                  </a:lnTo>
                  <a:lnTo>
                    <a:pt x="816" y="583"/>
                  </a:lnTo>
                  <a:lnTo>
                    <a:pt x="823" y="572"/>
                  </a:lnTo>
                  <a:lnTo>
                    <a:pt x="829" y="563"/>
                  </a:lnTo>
                  <a:lnTo>
                    <a:pt x="829" y="563"/>
                  </a:lnTo>
                  <a:lnTo>
                    <a:pt x="830" y="559"/>
                  </a:lnTo>
                  <a:lnTo>
                    <a:pt x="832" y="551"/>
                  </a:lnTo>
                  <a:lnTo>
                    <a:pt x="832" y="534"/>
                  </a:lnTo>
                  <a:lnTo>
                    <a:pt x="830" y="504"/>
                  </a:lnTo>
                  <a:lnTo>
                    <a:pt x="830" y="504"/>
                  </a:lnTo>
                  <a:lnTo>
                    <a:pt x="830" y="500"/>
                  </a:lnTo>
                  <a:lnTo>
                    <a:pt x="827" y="494"/>
                  </a:lnTo>
                  <a:lnTo>
                    <a:pt x="822" y="479"/>
                  </a:lnTo>
                  <a:lnTo>
                    <a:pt x="808" y="457"/>
                  </a:lnTo>
                  <a:lnTo>
                    <a:pt x="808" y="457"/>
                  </a:lnTo>
                  <a:lnTo>
                    <a:pt x="804" y="451"/>
                  </a:lnTo>
                  <a:lnTo>
                    <a:pt x="796" y="445"/>
                  </a:lnTo>
                  <a:lnTo>
                    <a:pt x="789" y="439"/>
                  </a:lnTo>
                  <a:lnTo>
                    <a:pt x="783" y="434"/>
                  </a:lnTo>
                  <a:lnTo>
                    <a:pt x="783" y="434"/>
                  </a:lnTo>
                  <a:lnTo>
                    <a:pt x="776" y="433"/>
                  </a:lnTo>
                  <a:lnTo>
                    <a:pt x="765" y="434"/>
                  </a:lnTo>
                  <a:lnTo>
                    <a:pt x="755" y="434"/>
                  </a:lnTo>
                  <a:lnTo>
                    <a:pt x="745" y="436"/>
                  </a:lnTo>
                  <a:lnTo>
                    <a:pt x="745" y="436"/>
                  </a:lnTo>
                  <a:lnTo>
                    <a:pt x="725" y="436"/>
                  </a:lnTo>
                  <a:lnTo>
                    <a:pt x="716" y="434"/>
                  </a:lnTo>
                  <a:lnTo>
                    <a:pt x="710" y="434"/>
                  </a:lnTo>
                  <a:lnTo>
                    <a:pt x="710" y="434"/>
                  </a:lnTo>
                  <a:lnTo>
                    <a:pt x="706" y="431"/>
                  </a:lnTo>
                  <a:lnTo>
                    <a:pt x="705" y="428"/>
                  </a:lnTo>
                  <a:lnTo>
                    <a:pt x="702" y="418"/>
                  </a:lnTo>
                  <a:lnTo>
                    <a:pt x="702" y="418"/>
                  </a:lnTo>
                  <a:lnTo>
                    <a:pt x="700" y="412"/>
                  </a:lnTo>
                  <a:lnTo>
                    <a:pt x="697" y="409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88" y="400"/>
                  </a:lnTo>
                  <a:lnTo>
                    <a:pt x="688" y="399"/>
                  </a:lnTo>
                  <a:lnTo>
                    <a:pt x="688" y="396"/>
                  </a:lnTo>
                  <a:lnTo>
                    <a:pt x="688" y="394"/>
                  </a:lnTo>
                  <a:lnTo>
                    <a:pt x="688" y="394"/>
                  </a:lnTo>
                  <a:lnTo>
                    <a:pt x="691" y="393"/>
                  </a:lnTo>
                  <a:lnTo>
                    <a:pt x="694" y="393"/>
                  </a:lnTo>
                  <a:lnTo>
                    <a:pt x="703" y="393"/>
                  </a:lnTo>
                  <a:lnTo>
                    <a:pt x="703" y="393"/>
                  </a:lnTo>
                  <a:lnTo>
                    <a:pt x="706" y="391"/>
                  </a:lnTo>
                  <a:lnTo>
                    <a:pt x="708" y="390"/>
                  </a:lnTo>
                  <a:lnTo>
                    <a:pt x="706" y="387"/>
                  </a:lnTo>
                  <a:lnTo>
                    <a:pt x="705" y="383"/>
                  </a:lnTo>
                  <a:lnTo>
                    <a:pt x="705" y="383"/>
                  </a:lnTo>
                  <a:lnTo>
                    <a:pt x="700" y="377"/>
                  </a:lnTo>
                  <a:lnTo>
                    <a:pt x="697" y="371"/>
                  </a:lnTo>
                  <a:lnTo>
                    <a:pt x="697" y="371"/>
                  </a:lnTo>
                  <a:lnTo>
                    <a:pt x="696" y="368"/>
                  </a:lnTo>
                  <a:lnTo>
                    <a:pt x="697" y="365"/>
                  </a:lnTo>
                  <a:lnTo>
                    <a:pt x="700" y="362"/>
                  </a:lnTo>
                  <a:lnTo>
                    <a:pt x="705" y="360"/>
                  </a:lnTo>
                  <a:lnTo>
                    <a:pt x="705" y="360"/>
                  </a:lnTo>
                  <a:lnTo>
                    <a:pt x="709" y="360"/>
                  </a:lnTo>
                  <a:lnTo>
                    <a:pt x="712" y="360"/>
                  </a:lnTo>
                  <a:lnTo>
                    <a:pt x="716" y="365"/>
                  </a:lnTo>
                  <a:lnTo>
                    <a:pt x="721" y="371"/>
                  </a:lnTo>
                  <a:lnTo>
                    <a:pt x="725" y="375"/>
                  </a:lnTo>
                  <a:lnTo>
                    <a:pt x="725" y="375"/>
                  </a:lnTo>
                  <a:lnTo>
                    <a:pt x="739" y="389"/>
                  </a:lnTo>
                  <a:lnTo>
                    <a:pt x="745" y="394"/>
                  </a:lnTo>
                  <a:lnTo>
                    <a:pt x="749" y="397"/>
                  </a:lnTo>
                  <a:lnTo>
                    <a:pt x="749" y="397"/>
                  </a:lnTo>
                  <a:lnTo>
                    <a:pt x="750" y="396"/>
                  </a:lnTo>
                  <a:lnTo>
                    <a:pt x="753" y="394"/>
                  </a:lnTo>
                  <a:lnTo>
                    <a:pt x="762" y="387"/>
                  </a:lnTo>
                  <a:lnTo>
                    <a:pt x="762" y="387"/>
                  </a:lnTo>
                  <a:lnTo>
                    <a:pt x="767" y="387"/>
                  </a:lnTo>
                  <a:lnTo>
                    <a:pt x="773" y="387"/>
                  </a:lnTo>
                  <a:lnTo>
                    <a:pt x="783" y="393"/>
                  </a:lnTo>
                  <a:lnTo>
                    <a:pt x="783" y="393"/>
                  </a:lnTo>
                  <a:lnTo>
                    <a:pt x="787" y="393"/>
                  </a:lnTo>
                  <a:lnTo>
                    <a:pt x="790" y="391"/>
                  </a:lnTo>
                  <a:lnTo>
                    <a:pt x="798" y="386"/>
                  </a:lnTo>
                  <a:lnTo>
                    <a:pt x="798" y="386"/>
                  </a:lnTo>
                  <a:lnTo>
                    <a:pt x="801" y="381"/>
                  </a:lnTo>
                  <a:lnTo>
                    <a:pt x="804" y="375"/>
                  </a:lnTo>
                  <a:lnTo>
                    <a:pt x="804" y="369"/>
                  </a:lnTo>
                  <a:lnTo>
                    <a:pt x="805" y="362"/>
                  </a:lnTo>
                  <a:lnTo>
                    <a:pt x="805" y="362"/>
                  </a:lnTo>
                  <a:lnTo>
                    <a:pt x="805" y="338"/>
                  </a:lnTo>
                  <a:lnTo>
                    <a:pt x="807" y="325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11" y="313"/>
                  </a:lnTo>
                  <a:lnTo>
                    <a:pt x="816" y="307"/>
                  </a:lnTo>
                  <a:lnTo>
                    <a:pt x="823" y="301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36" y="294"/>
                  </a:lnTo>
                  <a:lnTo>
                    <a:pt x="845" y="292"/>
                  </a:lnTo>
                  <a:lnTo>
                    <a:pt x="862" y="294"/>
                  </a:lnTo>
                  <a:lnTo>
                    <a:pt x="862" y="294"/>
                  </a:lnTo>
                  <a:lnTo>
                    <a:pt x="881" y="294"/>
                  </a:lnTo>
                  <a:lnTo>
                    <a:pt x="890" y="292"/>
                  </a:lnTo>
                  <a:lnTo>
                    <a:pt x="896" y="291"/>
                  </a:lnTo>
                  <a:lnTo>
                    <a:pt x="896" y="291"/>
                  </a:lnTo>
                  <a:lnTo>
                    <a:pt x="900" y="286"/>
                  </a:lnTo>
                  <a:lnTo>
                    <a:pt x="904" y="279"/>
                  </a:lnTo>
                  <a:lnTo>
                    <a:pt x="910" y="266"/>
                  </a:lnTo>
                  <a:lnTo>
                    <a:pt x="910" y="266"/>
                  </a:lnTo>
                  <a:lnTo>
                    <a:pt x="921" y="254"/>
                  </a:lnTo>
                  <a:lnTo>
                    <a:pt x="931" y="242"/>
                  </a:lnTo>
                  <a:lnTo>
                    <a:pt x="931" y="242"/>
                  </a:lnTo>
                  <a:lnTo>
                    <a:pt x="937" y="239"/>
                  </a:lnTo>
                  <a:lnTo>
                    <a:pt x="943" y="237"/>
                  </a:lnTo>
                  <a:lnTo>
                    <a:pt x="955" y="236"/>
                  </a:lnTo>
                  <a:lnTo>
                    <a:pt x="955" y="236"/>
                  </a:lnTo>
                  <a:lnTo>
                    <a:pt x="958" y="234"/>
                  </a:lnTo>
                  <a:lnTo>
                    <a:pt x="962" y="233"/>
                  </a:lnTo>
                  <a:lnTo>
                    <a:pt x="968" y="227"/>
                  </a:lnTo>
                  <a:lnTo>
                    <a:pt x="974" y="221"/>
                  </a:lnTo>
                  <a:lnTo>
                    <a:pt x="976" y="215"/>
                  </a:lnTo>
                  <a:lnTo>
                    <a:pt x="976" y="215"/>
                  </a:lnTo>
                  <a:lnTo>
                    <a:pt x="977" y="214"/>
                  </a:lnTo>
                  <a:lnTo>
                    <a:pt x="976" y="211"/>
                  </a:lnTo>
                  <a:lnTo>
                    <a:pt x="971" y="208"/>
                  </a:lnTo>
                  <a:lnTo>
                    <a:pt x="971" y="208"/>
                  </a:lnTo>
                  <a:lnTo>
                    <a:pt x="959" y="200"/>
                  </a:lnTo>
                  <a:lnTo>
                    <a:pt x="955" y="196"/>
                  </a:lnTo>
                  <a:lnTo>
                    <a:pt x="952" y="192"/>
                  </a:lnTo>
                  <a:lnTo>
                    <a:pt x="952" y="192"/>
                  </a:lnTo>
                  <a:lnTo>
                    <a:pt x="952" y="190"/>
                  </a:lnTo>
                  <a:lnTo>
                    <a:pt x="955" y="190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8" y="190"/>
                  </a:lnTo>
                  <a:lnTo>
                    <a:pt x="974" y="193"/>
                  </a:lnTo>
                  <a:lnTo>
                    <a:pt x="983" y="199"/>
                  </a:lnTo>
                  <a:lnTo>
                    <a:pt x="983" y="199"/>
                  </a:lnTo>
                  <a:lnTo>
                    <a:pt x="986" y="199"/>
                  </a:lnTo>
                  <a:lnTo>
                    <a:pt x="987" y="196"/>
                  </a:lnTo>
                  <a:lnTo>
                    <a:pt x="993" y="189"/>
                  </a:lnTo>
                  <a:lnTo>
                    <a:pt x="993" y="189"/>
                  </a:lnTo>
                  <a:lnTo>
                    <a:pt x="993" y="187"/>
                  </a:lnTo>
                  <a:lnTo>
                    <a:pt x="993" y="186"/>
                  </a:lnTo>
                  <a:lnTo>
                    <a:pt x="989" y="183"/>
                  </a:lnTo>
                  <a:lnTo>
                    <a:pt x="979" y="177"/>
                  </a:lnTo>
                  <a:lnTo>
                    <a:pt x="979" y="177"/>
                  </a:lnTo>
                  <a:lnTo>
                    <a:pt x="976" y="174"/>
                  </a:lnTo>
                  <a:lnTo>
                    <a:pt x="977" y="172"/>
                  </a:lnTo>
                  <a:lnTo>
                    <a:pt x="981" y="166"/>
                  </a:lnTo>
                  <a:lnTo>
                    <a:pt x="981" y="166"/>
                  </a:lnTo>
                  <a:lnTo>
                    <a:pt x="984" y="163"/>
                  </a:lnTo>
                  <a:lnTo>
                    <a:pt x="986" y="160"/>
                  </a:lnTo>
                  <a:lnTo>
                    <a:pt x="986" y="155"/>
                  </a:lnTo>
                  <a:lnTo>
                    <a:pt x="986" y="150"/>
                  </a:lnTo>
                  <a:lnTo>
                    <a:pt x="986" y="150"/>
                  </a:lnTo>
                  <a:lnTo>
                    <a:pt x="983" y="146"/>
                  </a:lnTo>
                  <a:lnTo>
                    <a:pt x="980" y="146"/>
                  </a:lnTo>
                  <a:lnTo>
                    <a:pt x="970" y="150"/>
                  </a:lnTo>
                  <a:lnTo>
                    <a:pt x="970" y="150"/>
                  </a:lnTo>
                  <a:lnTo>
                    <a:pt x="952" y="160"/>
                  </a:lnTo>
                  <a:lnTo>
                    <a:pt x="941" y="165"/>
                  </a:lnTo>
                  <a:lnTo>
                    <a:pt x="933" y="168"/>
                  </a:lnTo>
                  <a:lnTo>
                    <a:pt x="933" y="168"/>
                  </a:lnTo>
                  <a:lnTo>
                    <a:pt x="930" y="168"/>
                  </a:lnTo>
                  <a:lnTo>
                    <a:pt x="928" y="166"/>
                  </a:lnTo>
                  <a:lnTo>
                    <a:pt x="927" y="163"/>
                  </a:lnTo>
                  <a:lnTo>
                    <a:pt x="925" y="156"/>
                  </a:lnTo>
                  <a:lnTo>
                    <a:pt x="924" y="147"/>
                  </a:lnTo>
                  <a:lnTo>
                    <a:pt x="924" y="147"/>
                  </a:lnTo>
                  <a:lnTo>
                    <a:pt x="922" y="143"/>
                  </a:lnTo>
                  <a:lnTo>
                    <a:pt x="919" y="140"/>
                  </a:lnTo>
                  <a:lnTo>
                    <a:pt x="913" y="134"/>
                  </a:lnTo>
                  <a:lnTo>
                    <a:pt x="907" y="131"/>
                  </a:lnTo>
                  <a:lnTo>
                    <a:pt x="903" y="129"/>
                  </a:lnTo>
                  <a:lnTo>
                    <a:pt x="903" y="129"/>
                  </a:lnTo>
                  <a:lnTo>
                    <a:pt x="890" y="129"/>
                  </a:lnTo>
                  <a:lnTo>
                    <a:pt x="875" y="129"/>
                  </a:lnTo>
                  <a:lnTo>
                    <a:pt x="875" y="129"/>
                  </a:lnTo>
                  <a:lnTo>
                    <a:pt x="859" y="131"/>
                  </a:lnTo>
                  <a:lnTo>
                    <a:pt x="845" y="129"/>
                  </a:lnTo>
                  <a:lnTo>
                    <a:pt x="845" y="129"/>
                  </a:lnTo>
                  <a:lnTo>
                    <a:pt x="844" y="129"/>
                  </a:lnTo>
                  <a:lnTo>
                    <a:pt x="845" y="128"/>
                  </a:lnTo>
                  <a:lnTo>
                    <a:pt x="848" y="125"/>
                  </a:lnTo>
                  <a:lnTo>
                    <a:pt x="848" y="125"/>
                  </a:lnTo>
                  <a:lnTo>
                    <a:pt x="857" y="112"/>
                  </a:lnTo>
                  <a:lnTo>
                    <a:pt x="869" y="97"/>
                  </a:lnTo>
                  <a:lnTo>
                    <a:pt x="869" y="97"/>
                  </a:lnTo>
                  <a:lnTo>
                    <a:pt x="872" y="92"/>
                  </a:lnTo>
                  <a:lnTo>
                    <a:pt x="873" y="86"/>
                  </a:lnTo>
                  <a:lnTo>
                    <a:pt x="873" y="76"/>
                  </a:lnTo>
                  <a:lnTo>
                    <a:pt x="873" y="76"/>
                  </a:lnTo>
                  <a:lnTo>
                    <a:pt x="873" y="73"/>
                  </a:lnTo>
                  <a:lnTo>
                    <a:pt x="870" y="72"/>
                  </a:lnTo>
                  <a:lnTo>
                    <a:pt x="867" y="7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63" y="72"/>
                  </a:lnTo>
                  <a:lnTo>
                    <a:pt x="860" y="76"/>
                  </a:lnTo>
                  <a:lnTo>
                    <a:pt x="854" y="83"/>
                  </a:lnTo>
                  <a:lnTo>
                    <a:pt x="854" y="83"/>
                  </a:lnTo>
                  <a:lnTo>
                    <a:pt x="847" y="88"/>
                  </a:lnTo>
                  <a:lnTo>
                    <a:pt x="842" y="89"/>
                  </a:lnTo>
                  <a:lnTo>
                    <a:pt x="839" y="89"/>
                  </a:lnTo>
                  <a:lnTo>
                    <a:pt x="839" y="89"/>
                  </a:lnTo>
                  <a:lnTo>
                    <a:pt x="836" y="86"/>
                  </a:lnTo>
                  <a:lnTo>
                    <a:pt x="833" y="83"/>
                  </a:lnTo>
                  <a:lnTo>
                    <a:pt x="832" y="79"/>
                  </a:lnTo>
                  <a:lnTo>
                    <a:pt x="832" y="76"/>
                  </a:lnTo>
                  <a:lnTo>
                    <a:pt x="832" y="76"/>
                  </a:lnTo>
                  <a:lnTo>
                    <a:pt x="835" y="73"/>
                  </a:lnTo>
                  <a:lnTo>
                    <a:pt x="838" y="72"/>
                  </a:lnTo>
                  <a:lnTo>
                    <a:pt x="847" y="70"/>
                  </a:lnTo>
                  <a:lnTo>
                    <a:pt x="847" y="70"/>
                  </a:lnTo>
                  <a:lnTo>
                    <a:pt x="851" y="69"/>
                  </a:lnTo>
                  <a:lnTo>
                    <a:pt x="856" y="64"/>
                  </a:lnTo>
                  <a:lnTo>
                    <a:pt x="863" y="55"/>
                  </a:lnTo>
                  <a:lnTo>
                    <a:pt x="863" y="55"/>
                  </a:lnTo>
                  <a:lnTo>
                    <a:pt x="864" y="52"/>
                  </a:lnTo>
                  <a:lnTo>
                    <a:pt x="863" y="48"/>
                  </a:lnTo>
                  <a:lnTo>
                    <a:pt x="862" y="45"/>
                  </a:lnTo>
                  <a:lnTo>
                    <a:pt x="859" y="42"/>
                  </a:lnTo>
                  <a:lnTo>
                    <a:pt x="859" y="42"/>
                  </a:lnTo>
                  <a:lnTo>
                    <a:pt x="856" y="40"/>
                  </a:lnTo>
                  <a:lnTo>
                    <a:pt x="853" y="40"/>
                  </a:lnTo>
                  <a:lnTo>
                    <a:pt x="845" y="40"/>
                  </a:lnTo>
                  <a:lnTo>
                    <a:pt x="845" y="40"/>
                  </a:lnTo>
                  <a:lnTo>
                    <a:pt x="842" y="40"/>
                  </a:lnTo>
                  <a:lnTo>
                    <a:pt x="839" y="38"/>
                  </a:lnTo>
                  <a:lnTo>
                    <a:pt x="835" y="33"/>
                  </a:lnTo>
                  <a:lnTo>
                    <a:pt x="835" y="33"/>
                  </a:lnTo>
                  <a:lnTo>
                    <a:pt x="832" y="27"/>
                  </a:lnTo>
                  <a:lnTo>
                    <a:pt x="830" y="18"/>
                  </a:lnTo>
                  <a:lnTo>
                    <a:pt x="826" y="3"/>
                  </a:lnTo>
                  <a:lnTo>
                    <a:pt x="826" y="3"/>
                  </a:lnTo>
                  <a:lnTo>
                    <a:pt x="825" y="2"/>
                  </a:lnTo>
                  <a:lnTo>
                    <a:pt x="822" y="0"/>
                  </a:lnTo>
                  <a:lnTo>
                    <a:pt x="820" y="0"/>
                  </a:lnTo>
                  <a:lnTo>
                    <a:pt x="817" y="0"/>
                  </a:lnTo>
                  <a:lnTo>
                    <a:pt x="817" y="0"/>
                  </a:lnTo>
                  <a:lnTo>
                    <a:pt x="805" y="11"/>
                  </a:lnTo>
                  <a:lnTo>
                    <a:pt x="798" y="18"/>
                  </a:lnTo>
                  <a:lnTo>
                    <a:pt x="793" y="24"/>
                  </a:lnTo>
                  <a:lnTo>
                    <a:pt x="793" y="24"/>
                  </a:lnTo>
                  <a:lnTo>
                    <a:pt x="790" y="27"/>
                  </a:lnTo>
                  <a:lnTo>
                    <a:pt x="783" y="33"/>
                  </a:lnTo>
                  <a:lnTo>
                    <a:pt x="764" y="43"/>
                  </a:lnTo>
                  <a:lnTo>
                    <a:pt x="745" y="54"/>
                  </a:lnTo>
                  <a:lnTo>
                    <a:pt x="731" y="60"/>
                  </a:lnTo>
                  <a:lnTo>
                    <a:pt x="731" y="60"/>
                  </a:lnTo>
                  <a:lnTo>
                    <a:pt x="725" y="61"/>
                  </a:lnTo>
                  <a:lnTo>
                    <a:pt x="721" y="63"/>
                  </a:lnTo>
                  <a:lnTo>
                    <a:pt x="712" y="70"/>
                  </a:lnTo>
                  <a:lnTo>
                    <a:pt x="712" y="70"/>
                  </a:lnTo>
                  <a:lnTo>
                    <a:pt x="706" y="77"/>
                  </a:lnTo>
                  <a:lnTo>
                    <a:pt x="700" y="88"/>
                  </a:lnTo>
                  <a:lnTo>
                    <a:pt x="696" y="100"/>
                  </a:lnTo>
                  <a:lnTo>
                    <a:pt x="694" y="107"/>
                  </a:lnTo>
                  <a:lnTo>
                    <a:pt x="694" y="107"/>
                  </a:lnTo>
                  <a:lnTo>
                    <a:pt x="694" y="112"/>
                  </a:lnTo>
                  <a:lnTo>
                    <a:pt x="697" y="117"/>
                  </a:lnTo>
                  <a:lnTo>
                    <a:pt x="703" y="126"/>
                  </a:lnTo>
                  <a:lnTo>
                    <a:pt x="703" y="126"/>
                  </a:lnTo>
                  <a:lnTo>
                    <a:pt x="705" y="129"/>
                  </a:lnTo>
                  <a:lnTo>
                    <a:pt x="705" y="132"/>
                  </a:lnTo>
                  <a:lnTo>
                    <a:pt x="702" y="134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88" y="138"/>
                  </a:lnTo>
                  <a:lnTo>
                    <a:pt x="679" y="146"/>
                  </a:lnTo>
                  <a:lnTo>
                    <a:pt x="679" y="146"/>
                  </a:lnTo>
                  <a:lnTo>
                    <a:pt x="676" y="149"/>
                  </a:lnTo>
                  <a:lnTo>
                    <a:pt x="675" y="153"/>
                  </a:lnTo>
                  <a:lnTo>
                    <a:pt x="673" y="162"/>
                  </a:lnTo>
                  <a:lnTo>
                    <a:pt x="675" y="171"/>
                  </a:lnTo>
                  <a:lnTo>
                    <a:pt x="678" y="177"/>
                  </a:lnTo>
                  <a:lnTo>
                    <a:pt x="678" y="177"/>
                  </a:lnTo>
                  <a:lnTo>
                    <a:pt x="681" y="178"/>
                  </a:lnTo>
                  <a:lnTo>
                    <a:pt x="685" y="177"/>
                  </a:lnTo>
                  <a:lnTo>
                    <a:pt x="694" y="172"/>
                  </a:lnTo>
                  <a:lnTo>
                    <a:pt x="694" y="172"/>
                  </a:lnTo>
                  <a:lnTo>
                    <a:pt x="700" y="171"/>
                  </a:lnTo>
                  <a:lnTo>
                    <a:pt x="709" y="171"/>
                  </a:lnTo>
                  <a:lnTo>
                    <a:pt x="724" y="171"/>
                  </a:lnTo>
                  <a:lnTo>
                    <a:pt x="724" y="171"/>
                  </a:lnTo>
                  <a:lnTo>
                    <a:pt x="734" y="166"/>
                  </a:lnTo>
                  <a:lnTo>
                    <a:pt x="740" y="163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50" y="163"/>
                  </a:lnTo>
                  <a:lnTo>
                    <a:pt x="752" y="165"/>
                  </a:lnTo>
                  <a:lnTo>
                    <a:pt x="755" y="169"/>
                  </a:lnTo>
                  <a:lnTo>
                    <a:pt x="756" y="177"/>
                  </a:lnTo>
                  <a:lnTo>
                    <a:pt x="756" y="183"/>
                  </a:lnTo>
                  <a:lnTo>
                    <a:pt x="756" y="183"/>
                  </a:lnTo>
                  <a:lnTo>
                    <a:pt x="755" y="187"/>
                  </a:lnTo>
                  <a:lnTo>
                    <a:pt x="752" y="192"/>
                  </a:lnTo>
                  <a:lnTo>
                    <a:pt x="749" y="194"/>
                  </a:lnTo>
                  <a:lnTo>
                    <a:pt x="745" y="196"/>
                  </a:lnTo>
                  <a:lnTo>
                    <a:pt x="745" y="196"/>
                  </a:lnTo>
                  <a:lnTo>
                    <a:pt x="736" y="197"/>
                  </a:lnTo>
                  <a:lnTo>
                    <a:pt x="724" y="199"/>
                  </a:lnTo>
                  <a:lnTo>
                    <a:pt x="724" y="199"/>
                  </a:lnTo>
                  <a:lnTo>
                    <a:pt x="710" y="202"/>
                  </a:lnTo>
                  <a:lnTo>
                    <a:pt x="702" y="203"/>
                  </a:lnTo>
                  <a:lnTo>
                    <a:pt x="691" y="202"/>
                  </a:lnTo>
                  <a:lnTo>
                    <a:pt x="691" y="202"/>
                  </a:lnTo>
                  <a:lnTo>
                    <a:pt x="682" y="199"/>
                  </a:lnTo>
                  <a:lnTo>
                    <a:pt x="676" y="196"/>
                  </a:lnTo>
                  <a:lnTo>
                    <a:pt x="669" y="192"/>
                  </a:lnTo>
                  <a:lnTo>
                    <a:pt x="659" y="189"/>
                  </a:lnTo>
                  <a:lnTo>
                    <a:pt x="659" y="189"/>
                  </a:lnTo>
                  <a:lnTo>
                    <a:pt x="650" y="189"/>
                  </a:lnTo>
                  <a:lnTo>
                    <a:pt x="642" y="189"/>
                  </a:lnTo>
                  <a:lnTo>
                    <a:pt x="625" y="189"/>
                  </a:lnTo>
                  <a:lnTo>
                    <a:pt x="601" y="193"/>
                  </a:lnTo>
                  <a:lnTo>
                    <a:pt x="601" y="193"/>
                  </a:lnTo>
                  <a:lnTo>
                    <a:pt x="592" y="196"/>
                  </a:lnTo>
                  <a:lnTo>
                    <a:pt x="580" y="202"/>
                  </a:lnTo>
                  <a:lnTo>
                    <a:pt x="580" y="202"/>
                  </a:lnTo>
                  <a:lnTo>
                    <a:pt x="576" y="205"/>
                  </a:lnTo>
                  <a:lnTo>
                    <a:pt x="573" y="208"/>
                  </a:lnTo>
                  <a:lnTo>
                    <a:pt x="573" y="211"/>
                  </a:lnTo>
                  <a:lnTo>
                    <a:pt x="574" y="214"/>
                  </a:lnTo>
                  <a:lnTo>
                    <a:pt x="574" y="214"/>
                  </a:lnTo>
                  <a:lnTo>
                    <a:pt x="577" y="214"/>
                  </a:lnTo>
                  <a:lnTo>
                    <a:pt x="582" y="215"/>
                  </a:lnTo>
                  <a:lnTo>
                    <a:pt x="591" y="217"/>
                  </a:lnTo>
                  <a:lnTo>
                    <a:pt x="591" y="217"/>
                  </a:lnTo>
                  <a:lnTo>
                    <a:pt x="592" y="217"/>
                  </a:lnTo>
                  <a:lnTo>
                    <a:pt x="594" y="218"/>
                  </a:lnTo>
                  <a:lnTo>
                    <a:pt x="592" y="221"/>
                  </a:lnTo>
                  <a:lnTo>
                    <a:pt x="589" y="224"/>
                  </a:lnTo>
                  <a:lnTo>
                    <a:pt x="585" y="226"/>
                  </a:lnTo>
                  <a:lnTo>
                    <a:pt x="585" y="226"/>
                  </a:lnTo>
                  <a:lnTo>
                    <a:pt x="579" y="229"/>
                  </a:lnTo>
                  <a:lnTo>
                    <a:pt x="574" y="227"/>
                  </a:lnTo>
                  <a:lnTo>
                    <a:pt x="568" y="226"/>
                  </a:lnTo>
                  <a:lnTo>
                    <a:pt x="568" y="226"/>
                  </a:lnTo>
                  <a:lnTo>
                    <a:pt x="564" y="224"/>
                  </a:lnTo>
                  <a:lnTo>
                    <a:pt x="561" y="221"/>
                  </a:lnTo>
                  <a:lnTo>
                    <a:pt x="559" y="220"/>
                  </a:lnTo>
                  <a:lnTo>
                    <a:pt x="556" y="218"/>
                  </a:lnTo>
                  <a:lnTo>
                    <a:pt x="556" y="218"/>
                  </a:lnTo>
                  <a:lnTo>
                    <a:pt x="554" y="218"/>
                  </a:lnTo>
                  <a:lnTo>
                    <a:pt x="552" y="220"/>
                  </a:lnTo>
                  <a:lnTo>
                    <a:pt x="546" y="224"/>
                  </a:lnTo>
                  <a:lnTo>
                    <a:pt x="536" y="236"/>
                  </a:lnTo>
                  <a:lnTo>
                    <a:pt x="536" y="236"/>
                  </a:lnTo>
                  <a:lnTo>
                    <a:pt x="533" y="239"/>
                  </a:lnTo>
                  <a:lnTo>
                    <a:pt x="527" y="242"/>
                  </a:lnTo>
                  <a:lnTo>
                    <a:pt x="514" y="246"/>
                  </a:lnTo>
                  <a:lnTo>
                    <a:pt x="514" y="246"/>
                  </a:lnTo>
                  <a:lnTo>
                    <a:pt x="509" y="248"/>
                  </a:lnTo>
                  <a:lnTo>
                    <a:pt x="506" y="249"/>
                  </a:lnTo>
                  <a:lnTo>
                    <a:pt x="503" y="254"/>
                  </a:lnTo>
                  <a:lnTo>
                    <a:pt x="502" y="260"/>
                  </a:lnTo>
                  <a:lnTo>
                    <a:pt x="500" y="266"/>
                  </a:lnTo>
                  <a:lnTo>
                    <a:pt x="500" y="266"/>
                  </a:lnTo>
                  <a:lnTo>
                    <a:pt x="497" y="272"/>
                  </a:lnTo>
                  <a:lnTo>
                    <a:pt x="494" y="276"/>
                  </a:lnTo>
                  <a:lnTo>
                    <a:pt x="490" y="280"/>
                  </a:lnTo>
                  <a:lnTo>
                    <a:pt x="485" y="283"/>
                  </a:lnTo>
                  <a:lnTo>
                    <a:pt x="485" y="283"/>
                  </a:lnTo>
                  <a:lnTo>
                    <a:pt x="477" y="285"/>
                  </a:lnTo>
                  <a:lnTo>
                    <a:pt x="465" y="286"/>
                  </a:lnTo>
                  <a:lnTo>
                    <a:pt x="465" y="286"/>
                  </a:lnTo>
                  <a:lnTo>
                    <a:pt x="459" y="288"/>
                  </a:lnTo>
                  <a:lnTo>
                    <a:pt x="453" y="291"/>
                  </a:lnTo>
                  <a:lnTo>
                    <a:pt x="444" y="298"/>
                  </a:lnTo>
                  <a:lnTo>
                    <a:pt x="444" y="298"/>
                  </a:lnTo>
                  <a:lnTo>
                    <a:pt x="437" y="303"/>
                  </a:lnTo>
                  <a:lnTo>
                    <a:pt x="428" y="306"/>
                  </a:lnTo>
                  <a:lnTo>
                    <a:pt x="411" y="311"/>
                  </a:lnTo>
                  <a:lnTo>
                    <a:pt x="411" y="311"/>
                  </a:lnTo>
                  <a:lnTo>
                    <a:pt x="405" y="313"/>
                  </a:lnTo>
                  <a:lnTo>
                    <a:pt x="400" y="316"/>
                  </a:lnTo>
                  <a:lnTo>
                    <a:pt x="397" y="320"/>
                  </a:lnTo>
                  <a:lnTo>
                    <a:pt x="395" y="323"/>
                  </a:lnTo>
                  <a:lnTo>
                    <a:pt x="395" y="323"/>
                  </a:lnTo>
                  <a:lnTo>
                    <a:pt x="389" y="332"/>
                  </a:lnTo>
                  <a:lnTo>
                    <a:pt x="385" y="338"/>
                  </a:lnTo>
                  <a:lnTo>
                    <a:pt x="380" y="343"/>
                  </a:lnTo>
                  <a:lnTo>
                    <a:pt x="380" y="343"/>
                  </a:lnTo>
                  <a:lnTo>
                    <a:pt x="365" y="347"/>
                  </a:lnTo>
                  <a:lnTo>
                    <a:pt x="351" y="351"/>
                  </a:lnTo>
                  <a:lnTo>
                    <a:pt x="351" y="351"/>
                  </a:lnTo>
                  <a:lnTo>
                    <a:pt x="327" y="365"/>
                  </a:lnTo>
                  <a:lnTo>
                    <a:pt x="327" y="365"/>
                  </a:lnTo>
                  <a:lnTo>
                    <a:pt x="314" y="372"/>
                  </a:lnTo>
                  <a:lnTo>
                    <a:pt x="303" y="378"/>
                  </a:lnTo>
                  <a:lnTo>
                    <a:pt x="296" y="384"/>
                  </a:lnTo>
                  <a:lnTo>
                    <a:pt x="296" y="384"/>
                  </a:lnTo>
                  <a:lnTo>
                    <a:pt x="271" y="412"/>
                  </a:lnTo>
                  <a:lnTo>
                    <a:pt x="256" y="428"/>
                  </a:lnTo>
                  <a:lnTo>
                    <a:pt x="250" y="434"/>
                  </a:lnTo>
                  <a:lnTo>
                    <a:pt x="246" y="437"/>
                  </a:lnTo>
                  <a:lnTo>
                    <a:pt x="246" y="437"/>
                  </a:lnTo>
                  <a:lnTo>
                    <a:pt x="240" y="439"/>
                  </a:lnTo>
                  <a:lnTo>
                    <a:pt x="232" y="443"/>
                  </a:lnTo>
                  <a:lnTo>
                    <a:pt x="219" y="454"/>
                  </a:lnTo>
                  <a:lnTo>
                    <a:pt x="219" y="454"/>
                  </a:lnTo>
                  <a:lnTo>
                    <a:pt x="216" y="457"/>
                  </a:lnTo>
                  <a:lnTo>
                    <a:pt x="214" y="461"/>
                  </a:lnTo>
                  <a:lnTo>
                    <a:pt x="210" y="473"/>
                  </a:lnTo>
                  <a:lnTo>
                    <a:pt x="206" y="489"/>
                  </a:lnTo>
                  <a:lnTo>
                    <a:pt x="206" y="489"/>
                  </a:lnTo>
                  <a:lnTo>
                    <a:pt x="204" y="497"/>
                  </a:lnTo>
                  <a:lnTo>
                    <a:pt x="200" y="506"/>
                  </a:lnTo>
                  <a:lnTo>
                    <a:pt x="200" y="506"/>
                  </a:lnTo>
                  <a:lnTo>
                    <a:pt x="194" y="516"/>
                  </a:lnTo>
                  <a:lnTo>
                    <a:pt x="189" y="523"/>
                  </a:lnTo>
                  <a:lnTo>
                    <a:pt x="189" y="523"/>
                  </a:lnTo>
                  <a:lnTo>
                    <a:pt x="188" y="525"/>
                  </a:lnTo>
                  <a:lnTo>
                    <a:pt x="188" y="529"/>
                  </a:lnTo>
                  <a:lnTo>
                    <a:pt x="188" y="535"/>
                  </a:lnTo>
                  <a:lnTo>
                    <a:pt x="189" y="540"/>
                  </a:lnTo>
                  <a:lnTo>
                    <a:pt x="189" y="540"/>
                  </a:lnTo>
                  <a:lnTo>
                    <a:pt x="191" y="545"/>
                  </a:lnTo>
                  <a:lnTo>
                    <a:pt x="191" y="548"/>
                  </a:lnTo>
                  <a:lnTo>
                    <a:pt x="191" y="551"/>
                  </a:lnTo>
                  <a:lnTo>
                    <a:pt x="191" y="551"/>
                  </a:lnTo>
                  <a:lnTo>
                    <a:pt x="188" y="553"/>
                  </a:lnTo>
                  <a:lnTo>
                    <a:pt x="185" y="554"/>
                  </a:lnTo>
                  <a:lnTo>
                    <a:pt x="174" y="557"/>
                  </a:lnTo>
                  <a:lnTo>
                    <a:pt x="174" y="557"/>
                  </a:lnTo>
                  <a:lnTo>
                    <a:pt x="167" y="562"/>
                  </a:lnTo>
                  <a:lnTo>
                    <a:pt x="158" y="571"/>
                  </a:lnTo>
                  <a:lnTo>
                    <a:pt x="148" y="583"/>
                  </a:lnTo>
                  <a:lnTo>
                    <a:pt x="148" y="583"/>
                  </a:lnTo>
                  <a:lnTo>
                    <a:pt x="132" y="597"/>
                  </a:lnTo>
                  <a:lnTo>
                    <a:pt x="132" y="597"/>
                  </a:lnTo>
                  <a:lnTo>
                    <a:pt x="120" y="608"/>
                  </a:lnTo>
                  <a:lnTo>
                    <a:pt x="114" y="615"/>
                  </a:lnTo>
                  <a:lnTo>
                    <a:pt x="112" y="618"/>
                  </a:lnTo>
                  <a:lnTo>
                    <a:pt x="112" y="621"/>
                  </a:lnTo>
                  <a:lnTo>
                    <a:pt x="112" y="621"/>
                  </a:lnTo>
                  <a:lnTo>
                    <a:pt x="114" y="623"/>
                  </a:lnTo>
                  <a:lnTo>
                    <a:pt x="117" y="624"/>
                  </a:lnTo>
                  <a:lnTo>
                    <a:pt x="123" y="627"/>
                  </a:lnTo>
                  <a:lnTo>
                    <a:pt x="137" y="630"/>
                  </a:lnTo>
                  <a:lnTo>
                    <a:pt x="137" y="630"/>
                  </a:lnTo>
                  <a:lnTo>
                    <a:pt x="142" y="631"/>
                  </a:lnTo>
                  <a:lnTo>
                    <a:pt x="143" y="634"/>
                  </a:lnTo>
                  <a:lnTo>
                    <a:pt x="143" y="639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2" y="649"/>
                  </a:lnTo>
                  <a:lnTo>
                    <a:pt x="142" y="654"/>
                  </a:lnTo>
                  <a:lnTo>
                    <a:pt x="145" y="660"/>
                  </a:lnTo>
                  <a:lnTo>
                    <a:pt x="145" y="660"/>
                  </a:lnTo>
                  <a:lnTo>
                    <a:pt x="146" y="662"/>
                  </a:lnTo>
                  <a:lnTo>
                    <a:pt x="151" y="664"/>
                  </a:lnTo>
                  <a:lnTo>
                    <a:pt x="154" y="665"/>
                  </a:lnTo>
                  <a:lnTo>
                    <a:pt x="158" y="665"/>
                  </a:lnTo>
                  <a:lnTo>
                    <a:pt x="158" y="665"/>
                  </a:lnTo>
                  <a:lnTo>
                    <a:pt x="161" y="664"/>
                  </a:lnTo>
                  <a:lnTo>
                    <a:pt x="163" y="660"/>
                  </a:lnTo>
                  <a:lnTo>
                    <a:pt x="166" y="657"/>
                  </a:lnTo>
                  <a:lnTo>
                    <a:pt x="169" y="652"/>
                  </a:lnTo>
                  <a:lnTo>
                    <a:pt x="169" y="652"/>
                  </a:lnTo>
                  <a:lnTo>
                    <a:pt x="173" y="649"/>
                  </a:lnTo>
                  <a:lnTo>
                    <a:pt x="177" y="648"/>
                  </a:lnTo>
                  <a:lnTo>
                    <a:pt x="182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203" y="652"/>
                  </a:lnTo>
                  <a:lnTo>
                    <a:pt x="220" y="660"/>
                  </a:lnTo>
                  <a:lnTo>
                    <a:pt x="220" y="660"/>
                  </a:lnTo>
                  <a:lnTo>
                    <a:pt x="232" y="668"/>
                  </a:lnTo>
                  <a:lnTo>
                    <a:pt x="244" y="680"/>
                  </a:lnTo>
                  <a:lnTo>
                    <a:pt x="244" y="680"/>
                  </a:lnTo>
                  <a:lnTo>
                    <a:pt x="246" y="683"/>
                  </a:lnTo>
                  <a:lnTo>
                    <a:pt x="244" y="689"/>
                  </a:lnTo>
                  <a:lnTo>
                    <a:pt x="238" y="698"/>
                  </a:lnTo>
                  <a:lnTo>
                    <a:pt x="238" y="698"/>
                  </a:lnTo>
                  <a:lnTo>
                    <a:pt x="235" y="707"/>
                  </a:lnTo>
                  <a:lnTo>
                    <a:pt x="232" y="719"/>
                  </a:lnTo>
                  <a:lnTo>
                    <a:pt x="232" y="719"/>
                  </a:lnTo>
                  <a:lnTo>
                    <a:pt x="229" y="722"/>
                  </a:lnTo>
                  <a:lnTo>
                    <a:pt x="225" y="725"/>
                  </a:lnTo>
                  <a:lnTo>
                    <a:pt x="219" y="725"/>
                  </a:lnTo>
                  <a:lnTo>
                    <a:pt x="213" y="723"/>
                  </a:lnTo>
                  <a:lnTo>
                    <a:pt x="213" y="723"/>
                  </a:lnTo>
                  <a:lnTo>
                    <a:pt x="204" y="719"/>
                  </a:lnTo>
                  <a:lnTo>
                    <a:pt x="200" y="717"/>
                  </a:lnTo>
                  <a:lnTo>
                    <a:pt x="194" y="716"/>
                  </a:lnTo>
                  <a:lnTo>
                    <a:pt x="194" y="716"/>
                  </a:lnTo>
                  <a:lnTo>
                    <a:pt x="191" y="716"/>
                  </a:lnTo>
                  <a:lnTo>
                    <a:pt x="188" y="717"/>
                  </a:lnTo>
                  <a:lnTo>
                    <a:pt x="183" y="723"/>
                  </a:lnTo>
                  <a:lnTo>
                    <a:pt x="174" y="735"/>
                  </a:lnTo>
                  <a:lnTo>
                    <a:pt x="174" y="735"/>
                  </a:lnTo>
                  <a:lnTo>
                    <a:pt x="171" y="740"/>
                  </a:lnTo>
                  <a:lnTo>
                    <a:pt x="166" y="744"/>
                  </a:lnTo>
                  <a:lnTo>
                    <a:pt x="157" y="748"/>
                  </a:lnTo>
                  <a:lnTo>
                    <a:pt x="157" y="748"/>
                  </a:lnTo>
                  <a:lnTo>
                    <a:pt x="151" y="748"/>
                  </a:lnTo>
                  <a:lnTo>
                    <a:pt x="140" y="744"/>
                  </a:lnTo>
                  <a:lnTo>
                    <a:pt x="124" y="737"/>
                  </a:lnTo>
                  <a:lnTo>
                    <a:pt x="124" y="737"/>
                  </a:lnTo>
                  <a:lnTo>
                    <a:pt x="120" y="737"/>
                  </a:lnTo>
                  <a:lnTo>
                    <a:pt x="114" y="737"/>
                  </a:lnTo>
                  <a:lnTo>
                    <a:pt x="108" y="738"/>
                  </a:lnTo>
                  <a:lnTo>
                    <a:pt x="102" y="740"/>
                  </a:lnTo>
                  <a:lnTo>
                    <a:pt x="102" y="740"/>
                  </a:lnTo>
                  <a:lnTo>
                    <a:pt x="100" y="741"/>
                  </a:lnTo>
                  <a:lnTo>
                    <a:pt x="100" y="745"/>
                  </a:lnTo>
                  <a:lnTo>
                    <a:pt x="102" y="753"/>
                  </a:lnTo>
                  <a:lnTo>
                    <a:pt x="105" y="768"/>
                  </a:lnTo>
                  <a:lnTo>
                    <a:pt x="105" y="768"/>
                  </a:lnTo>
                  <a:lnTo>
                    <a:pt x="105" y="778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81" y="814"/>
                  </a:lnTo>
                  <a:lnTo>
                    <a:pt x="56" y="842"/>
                  </a:lnTo>
                  <a:lnTo>
                    <a:pt x="56" y="842"/>
                  </a:lnTo>
                  <a:close/>
                  <a:moveTo>
                    <a:pt x="137" y="306"/>
                  </a:moveTo>
                  <a:lnTo>
                    <a:pt x="137" y="306"/>
                  </a:lnTo>
                  <a:lnTo>
                    <a:pt x="140" y="313"/>
                  </a:lnTo>
                  <a:lnTo>
                    <a:pt x="145" y="317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9" y="317"/>
                  </a:lnTo>
                  <a:lnTo>
                    <a:pt x="176" y="314"/>
                  </a:lnTo>
                  <a:lnTo>
                    <a:pt x="176" y="314"/>
                  </a:lnTo>
                  <a:lnTo>
                    <a:pt x="177" y="314"/>
                  </a:lnTo>
                  <a:lnTo>
                    <a:pt x="179" y="313"/>
                  </a:lnTo>
                  <a:lnTo>
                    <a:pt x="177" y="310"/>
                  </a:lnTo>
                  <a:lnTo>
                    <a:pt x="176" y="306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9" y="289"/>
                  </a:lnTo>
                  <a:lnTo>
                    <a:pt x="179" y="283"/>
                  </a:lnTo>
                  <a:lnTo>
                    <a:pt x="179" y="277"/>
                  </a:lnTo>
                  <a:lnTo>
                    <a:pt x="179" y="277"/>
                  </a:lnTo>
                  <a:lnTo>
                    <a:pt x="174" y="266"/>
                  </a:lnTo>
                  <a:lnTo>
                    <a:pt x="176" y="260"/>
                  </a:lnTo>
                  <a:lnTo>
                    <a:pt x="179" y="251"/>
                  </a:lnTo>
                  <a:lnTo>
                    <a:pt x="179" y="251"/>
                  </a:lnTo>
                  <a:lnTo>
                    <a:pt x="182" y="248"/>
                  </a:lnTo>
                  <a:lnTo>
                    <a:pt x="185" y="245"/>
                  </a:lnTo>
                  <a:lnTo>
                    <a:pt x="191" y="243"/>
                  </a:lnTo>
                  <a:lnTo>
                    <a:pt x="194" y="243"/>
                  </a:lnTo>
                  <a:lnTo>
                    <a:pt x="194" y="24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89" y="220"/>
                  </a:lnTo>
                  <a:lnTo>
                    <a:pt x="186" y="192"/>
                  </a:lnTo>
                  <a:lnTo>
                    <a:pt x="186" y="192"/>
                  </a:lnTo>
                  <a:lnTo>
                    <a:pt x="185" y="181"/>
                  </a:lnTo>
                  <a:lnTo>
                    <a:pt x="182" y="174"/>
                  </a:lnTo>
                  <a:lnTo>
                    <a:pt x="177" y="169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69" y="165"/>
                  </a:lnTo>
                  <a:lnTo>
                    <a:pt x="164" y="165"/>
                  </a:lnTo>
                  <a:lnTo>
                    <a:pt x="152" y="171"/>
                  </a:lnTo>
                  <a:lnTo>
                    <a:pt x="140" y="178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7" y="192"/>
                  </a:lnTo>
                  <a:lnTo>
                    <a:pt x="126" y="197"/>
                  </a:lnTo>
                  <a:lnTo>
                    <a:pt x="124" y="205"/>
                  </a:lnTo>
                  <a:lnTo>
                    <a:pt x="124" y="205"/>
                  </a:lnTo>
                  <a:lnTo>
                    <a:pt x="124" y="211"/>
                  </a:lnTo>
                  <a:lnTo>
                    <a:pt x="123" y="214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1" y="226"/>
                  </a:lnTo>
                  <a:lnTo>
                    <a:pt x="108" y="229"/>
                  </a:lnTo>
                  <a:lnTo>
                    <a:pt x="108" y="233"/>
                  </a:lnTo>
                  <a:lnTo>
                    <a:pt x="108" y="233"/>
                  </a:lnTo>
                  <a:lnTo>
                    <a:pt x="108" y="239"/>
                  </a:lnTo>
                  <a:lnTo>
                    <a:pt x="112" y="245"/>
                  </a:lnTo>
                  <a:lnTo>
                    <a:pt x="121" y="260"/>
                  </a:lnTo>
                  <a:lnTo>
                    <a:pt x="121" y="260"/>
                  </a:lnTo>
                  <a:lnTo>
                    <a:pt x="130" y="277"/>
                  </a:lnTo>
                  <a:lnTo>
                    <a:pt x="134" y="289"/>
                  </a:lnTo>
                  <a:lnTo>
                    <a:pt x="137" y="306"/>
                  </a:lnTo>
                  <a:lnTo>
                    <a:pt x="137" y="306"/>
                  </a:lnTo>
                  <a:close/>
                  <a:moveTo>
                    <a:pt x="118" y="685"/>
                  </a:moveTo>
                  <a:lnTo>
                    <a:pt x="118" y="685"/>
                  </a:lnTo>
                  <a:lnTo>
                    <a:pt x="100" y="698"/>
                  </a:lnTo>
                  <a:lnTo>
                    <a:pt x="96" y="707"/>
                  </a:lnTo>
                  <a:lnTo>
                    <a:pt x="96" y="707"/>
                  </a:lnTo>
                  <a:lnTo>
                    <a:pt x="94" y="711"/>
                  </a:lnTo>
                  <a:lnTo>
                    <a:pt x="94" y="716"/>
                  </a:lnTo>
                  <a:lnTo>
                    <a:pt x="96" y="719"/>
                  </a:lnTo>
                  <a:lnTo>
                    <a:pt x="96" y="726"/>
                  </a:lnTo>
                  <a:lnTo>
                    <a:pt x="96" y="726"/>
                  </a:lnTo>
                  <a:lnTo>
                    <a:pt x="96" y="729"/>
                  </a:lnTo>
                  <a:lnTo>
                    <a:pt x="97" y="731"/>
                  </a:lnTo>
                  <a:lnTo>
                    <a:pt x="99" y="732"/>
                  </a:lnTo>
                  <a:lnTo>
                    <a:pt x="100" y="732"/>
                  </a:lnTo>
                  <a:lnTo>
                    <a:pt x="106" y="729"/>
                  </a:lnTo>
                  <a:lnTo>
                    <a:pt x="114" y="728"/>
                  </a:lnTo>
                  <a:lnTo>
                    <a:pt x="114" y="728"/>
                  </a:lnTo>
                  <a:lnTo>
                    <a:pt x="117" y="728"/>
                  </a:lnTo>
                  <a:lnTo>
                    <a:pt x="121" y="726"/>
                  </a:lnTo>
                  <a:lnTo>
                    <a:pt x="130" y="720"/>
                  </a:lnTo>
                  <a:lnTo>
                    <a:pt x="146" y="708"/>
                  </a:lnTo>
                  <a:lnTo>
                    <a:pt x="146" y="708"/>
                  </a:lnTo>
                  <a:lnTo>
                    <a:pt x="151" y="704"/>
                  </a:lnTo>
                  <a:lnTo>
                    <a:pt x="151" y="701"/>
                  </a:lnTo>
                  <a:lnTo>
                    <a:pt x="149" y="697"/>
                  </a:lnTo>
                  <a:lnTo>
                    <a:pt x="145" y="692"/>
                  </a:lnTo>
                  <a:lnTo>
                    <a:pt x="145" y="692"/>
                  </a:lnTo>
                  <a:lnTo>
                    <a:pt x="140" y="689"/>
                  </a:lnTo>
                  <a:lnTo>
                    <a:pt x="137" y="689"/>
                  </a:lnTo>
                  <a:lnTo>
                    <a:pt x="134" y="689"/>
                  </a:lnTo>
                  <a:lnTo>
                    <a:pt x="133" y="688"/>
                  </a:lnTo>
                  <a:lnTo>
                    <a:pt x="133" y="688"/>
                  </a:lnTo>
                  <a:lnTo>
                    <a:pt x="132" y="685"/>
                  </a:lnTo>
                  <a:lnTo>
                    <a:pt x="127" y="683"/>
                  </a:lnTo>
                  <a:lnTo>
                    <a:pt x="123" y="683"/>
                  </a:lnTo>
                  <a:lnTo>
                    <a:pt x="118" y="685"/>
                  </a:lnTo>
                  <a:lnTo>
                    <a:pt x="118" y="6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9" name="Freeform 8">
              <a:extLst>
                <a:ext uri="{FF2B5EF4-FFF2-40B4-BE49-F238E27FC236}">
                  <a16:creationId xmlns:a16="http://schemas.microsoft.com/office/drawing/2014/main" id="{44F2378C-AAD0-674C-A077-E19F12B89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63" y="5270500"/>
              <a:ext cx="271463" cy="254000"/>
            </a:xfrm>
            <a:custGeom>
              <a:avLst/>
              <a:gdLst>
                <a:gd name="T0" fmla="*/ 47 w 171"/>
                <a:gd name="T1" fmla="*/ 50 h 160"/>
                <a:gd name="T2" fmla="*/ 45 w 171"/>
                <a:gd name="T3" fmla="*/ 58 h 160"/>
                <a:gd name="T4" fmla="*/ 23 w 171"/>
                <a:gd name="T5" fmla="*/ 62 h 160"/>
                <a:gd name="T6" fmla="*/ 4 w 171"/>
                <a:gd name="T7" fmla="*/ 68 h 160"/>
                <a:gd name="T8" fmla="*/ 11 w 171"/>
                <a:gd name="T9" fmla="*/ 83 h 160"/>
                <a:gd name="T10" fmla="*/ 8 w 171"/>
                <a:gd name="T11" fmla="*/ 92 h 160"/>
                <a:gd name="T12" fmla="*/ 5 w 171"/>
                <a:gd name="T13" fmla="*/ 107 h 160"/>
                <a:gd name="T14" fmla="*/ 0 w 171"/>
                <a:gd name="T15" fmla="*/ 118 h 160"/>
                <a:gd name="T16" fmla="*/ 4 w 171"/>
                <a:gd name="T17" fmla="*/ 139 h 160"/>
                <a:gd name="T18" fmla="*/ 20 w 171"/>
                <a:gd name="T19" fmla="*/ 154 h 160"/>
                <a:gd name="T20" fmla="*/ 32 w 171"/>
                <a:gd name="T21" fmla="*/ 160 h 160"/>
                <a:gd name="T22" fmla="*/ 40 w 171"/>
                <a:gd name="T23" fmla="*/ 154 h 160"/>
                <a:gd name="T24" fmla="*/ 48 w 171"/>
                <a:gd name="T25" fmla="*/ 144 h 160"/>
                <a:gd name="T26" fmla="*/ 56 w 171"/>
                <a:gd name="T27" fmla="*/ 145 h 160"/>
                <a:gd name="T28" fmla="*/ 65 w 171"/>
                <a:gd name="T29" fmla="*/ 155 h 160"/>
                <a:gd name="T30" fmla="*/ 74 w 171"/>
                <a:gd name="T31" fmla="*/ 157 h 160"/>
                <a:gd name="T32" fmla="*/ 88 w 171"/>
                <a:gd name="T33" fmla="*/ 154 h 160"/>
                <a:gd name="T34" fmla="*/ 102 w 171"/>
                <a:gd name="T35" fmla="*/ 157 h 160"/>
                <a:gd name="T36" fmla="*/ 111 w 171"/>
                <a:gd name="T37" fmla="*/ 155 h 160"/>
                <a:gd name="T38" fmla="*/ 114 w 171"/>
                <a:gd name="T39" fmla="*/ 146 h 160"/>
                <a:gd name="T40" fmla="*/ 108 w 171"/>
                <a:gd name="T41" fmla="*/ 142 h 160"/>
                <a:gd name="T42" fmla="*/ 91 w 171"/>
                <a:gd name="T43" fmla="*/ 136 h 160"/>
                <a:gd name="T44" fmla="*/ 91 w 171"/>
                <a:gd name="T45" fmla="*/ 133 h 160"/>
                <a:gd name="T46" fmla="*/ 103 w 171"/>
                <a:gd name="T47" fmla="*/ 126 h 160"/>
                <a:gd name="T48" fmla="*/ 108 w 171"/>
                <a:gd name="T49" fmla="*/ 126 h 160"/>
                <a:gd name="T50" fmla="*/ 119 w 171"/>
                <a:gd name="T51" fmla="*/ 124 h 160"/>
                <a:gd name="T52" fmla="*/ 131 w 171"/>
                <a:gd name="T53" fmla="*/ 120 h 160"/>
                <a:gd name="T54" fmla="*/ 155 w 171"/>
                <a:gd name="T55" fmla="*/ 118 h 160"/>
                <a:gd name="T56" fmla="*/ 164 w 171"/>
                <a:gd name="T57" fmla="*/ 114 h 160"/>
                <a:gd name="T58" fmla="*/ 171 w 171"/>
                <a:gd name="T59" fmla="*/ 108 h 160"/>
                <a:gd name="T60" fmla="*/ 171 w 171"/>
                <a:gd name="T61" fmla="*/ 98 h 160"/>
                <a:gd name="T62" fmla="*/ 168 w 171"/>
                <a:gd name="T63" fmla="*/ 75 h 160"/>
                <a:gd name="T64" fmla="*/ 155 w 171"/>
                <a:gd name="T65" fmla="*/ 46 h 160"/>
                <a:gd name="T66" fmla="*/ 143 w 171"/>
                <a:gd name="T67" fmla="*/ 35 h 160"/>
                <a:gd name="T68" fmla="*/ 125 w 171"/>
                <a:gd name="T69" fmla="*/ 24 h 160"/>
                <a:gd name="T70" fmla="*/ 111 w 171"/>
                <a:gd name="T71" fmla="*/ 7 h 160"/>
                <a:gd name="T72" fmla="*/ 99 w 171"/>
                <a:gd name="T73" fmla="*/ 1 h 160"/>
                <a:gd name="T74" fmla="*/ 90 w 171"/>
                <a:gd name="T75" fmla="*/ 0 h 160"/>
                <a:gd name="T76" fmla="*/ 80 w 171"/>
                <a:gd name="T77" fmla="*/ 6 h 160"/>
                <a:gd name="T78" fmla="*/ 69 w 171"/>
                <a:gd name="T79" fmla="*/ 10 h 160"/>
                <a:gd name="T80" fmla="*/ 57 w 171"/>
                <a:gd name="T81" fmla="*/ 12 h 160"/>
                <a:gd name="T82" fmla="*/ 50 w 171"/>
                <a:gd name="T83" fmla="*/ 15 h 160"/>
                <a:gd name="T84" fmla="*/ 45 w 171"/>
                <a:gd name="T85" fmla="*/ 3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1" h="160">
                  <a:moveTo>
                    <a:pt x="47" y="40"/>
                  </a:moveTo>
                  <a:lnTo>
                    <a:pt x="47" y="40"/>
                  </a:lnTo>
                  <a:lnTo>
                    <a:pt x="47" y="50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5" y="58"/>
                  </a:lnTo>
                  <a:lnTo>
                    <a:pt x="42" y="59"/>
                  </a:lnTo>
                  <a:lnTo>
                    <a:pt x="34" y="61"/>
                  </a:lnTo>
                  <a:lnTo>
                    <a:pt x="23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3" y="86"/>
                  </a:lnTo>
                  <a:lnTo>
                    <a:pt x="10" y="89"/>
                  </a:lnTo>
                  <a:lnTo>
                    <a:pt x="8" y="92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107"/>
                  </a:lnTo>
                  <a:lnTo>
                    <a:pt x="4" y="11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29"/>
                  </a:lnTo>
                  <a:lnTo>
                    <a:pt x="3" y="136"/>
                  </a:lnTo>
                  <a:lnTo>
                    <a:pt x="4" y="139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20" y="154"/>
                  </a:lnTo>
                  <a:lnTo>
                    <a:pt x="26" y="158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40" y="154"/>
                  </a:lnTo>
                  <a:lnTo>
                    <a:pt x="44" y="148"/>
                  </a:lnTo>
                  <a:lnTo>
                    <a:pt x="45" y="145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6" y="145"/>
                  </a:lnTo>
                  <a:lnTo>
                    <a:pt x="56" y="145"/>
                  </a:lnTo>
                  <a:lnTo>
                    <a:pt x="62" y="149"/>
                  </a:lnTo>
                  <a:lnTo>
                    <a:pt x="63" y="154"/>
                  </a:lnTo>
                  <a:lnTo>
                    <a:pt x="65" y="155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74" y="157"/>
                  </a:lnTo>
                  <a:lnTo>
                    <a:pt x="77" y="155"/>
                  </a:lnTo>
                  <a:lnTo>
                    <a:pt x="81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96" y="155"/>
                  </a:lnTo>
                  <a:lnTo>
                    <a:pt x="102" y="157"/>
                  </a:lnTo>
                  <a:lnTo>
                    <a:pt x="108" y="158"/>
                  </a:lnTo>
                  <a:lnTo>
                    <a:pt x="109" y="157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2" y="151"/>
                  </a:lnTo>
                  <a:lnTo>
                    <a:pt x="114" y="146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94" y="138"/>
                  </a:lnTo>
                  <a:lnTo>
                    <a:pt x="91" y="136"/>
                  </a:lnTo>
                  <a:lnTo>
                    <a:pt x="90" y="135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4" y="130"/>
                  </a:lnTo>
                  <a:lnTo>
                    <a:pt x="99" y="127"/>
                  </a:lnTo>
                  <a:lnTo>
                    <a:pt x="103" y="126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9" y="127"/>
                  </a:lnTo>
                  <a:lnTo>
                    <a:pt x="112" y="127"/>
                  </a:lnTo>
                  <a:lnTo>
                    <a:pt x="119" y="124"/>
                  </a:lnTo>
                  <a:lnTo>
                    <a:pt x="127" y="121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34" y="118"/>
                  </a:lnTo>
                  <a:lnTo>
                    <a:pt x="140" y="118"/>
                  </a:lnTo>
                  <a:lnTo>
                    <a:pt x="155" y="118"/>
                  </a:lnTo>
                  <a:lnTo>
                    <a:pt x="155" y="118"/>
                  </a:lnTo>
                  <a:lnTo>
                    <a:pt x="159" y="117"/>
                  </a:lnTo>
                  <a:lnTo>
                    <a:pt x="164" y="114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8"/>
                  </a:lnTo>
                  <a:lnTo>
                    <a:pt x="170" y="107"/>
                  </a:lnTo>
                  <a:lnTo>
                    <a:pt x="170" y="107"/>
                  </a:lnTo>
                  <a:lnTo>
                    <a:pt x="171" y="98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68" y="75"/>
                  </a:lnTo>
                  <a:lnTo>
                    <a:pt x="165" y="64"/>
                  </a:lnTo>
                  <a:lnTo>
                    <a:pt x="165" y="64"/>
                  </a:lnTo>
                  <a:lnTo>
                    <a:pt x="155" y="46"/>
                  </a:lnTo>
                  <a:lnTo>
                    <a:pt x="155" y="46"/>
                  </a:lnTo>
                  <a:lnTo>
                    <a:pt x="149" y="40"/>
                  </a:lnTo>
                  <a:lnTo>
                    <a:pt x="143" y="35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5" y="24"/>
                  </a:lnTo>
                  <a:lnTo>
                    <a:pt x="121" y="18"/>
                  </a:lnTo>
                  <a:lnTo>
                    <a:pt x="117" y="12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03" y="4"/>
                  </a:lnTo>
                  <a:lnTo>
                    <a:pt x="99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0" y="0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0" y="6"/>
                  </a:lnTo>
                  <a:lnTo>
                    <a:pt x="75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0" y="15"/>
                  </a:lnTo>
                  <a:lnTo>
                    <a:pt x="47" y="18"/>
                  </a:lnTo>
                  <a:lnTo>
                    <a:pt x="45" y="25"/>
                  </a:lnTo>
                  <a:lnTo>
                    <a:pt x="45" y="32"/>
                  </a:lnTo>
                  <a:lnTo>
                    <a:pt x="47" y="40"/>
                  </a:lnTo>
                  <a:lnTo>
                    <a:pt x="47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0" name="Freeform 9">
              <a:extLst>
                <a:ext uri="{FF2B5EF4-FFF2-40B4-BE49-F238E27FC236}">
                  <a16:creationId xmlns:a16="http://schemas.microsoft.com/office/drawing/2014/main" id="{13637BD9-32E6-B242-96E1-372B5DD07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888" y="6653213"/>
              <a:ext cx="293688" cy="230187"/>
            </a:xfrm>
            <a:custGeom>
              <a:avLst/>
              <a:gdLst>
                <a:gd name="T0" fmla="*/ 83 w 185"/>
                <a:gd name="T1" fmla="*/ 129 h 145"/>
                <a:gd name="T2" fmla="*/ 91 w 185"/>
                <a:gd name="T3" fmla="*/ 127 h 145"/>
                <a:gd name="T4" fmla="*/ 104 w 185"/>
                <a:gd name="T5" fmla="*/ 134 h 145"/>
                <a:gd name="T6" fmla="*/ 113 w 185"/>
                <a:gd name="T7" fmla="*/ 134 h 145"/>
                <a:gd name="T8" fmla="*/ 119 w 185"/>
                <a:gd name="T9" fmla="*/ 134 h 145"/>
                <a:gd name="T10" fmla="*/ 126 w 185"/>
                <a:gd name="T11" fmla="*/ 127 h 145"/>
                <a:gd name="T12" fmla="*/ 131 w 185"/>
                <a:gd name="T13" fmla="*/ 112 h 145"/>
                <a:gd name="T14" fmla="*/ 131 w 185"/>
                <a:gd name="T15" fmla="*/ 103 h 145"/>
                <a:gd name="T16" fmla="*/ 138 w 185"/>
                <a:gd name="T17" fmla="*/ 92 h 145"/>
                <a:gd name="T18" fmla="*/ 150 w 185"/>
                <a:gd name="T19" fmla="*/ 84 h 145"/>
                <a:gd name="T20" fmla="*/ 156 w 185"/>
                <a:gd name="T21" fmla="*/ 83 h 145"/>
                <a:gd name="T22" fmla="*/ 179 w 185"/>
                <a:gd name="T23" fmla="*/ 80 h 145"/>
                <a:gd name="T24" fmla="*/ 184 w 185"/>
                <a:gd name="T25" fmla="*/ 78 h 145"/>
                <a:gd name="T26" fmla="*/ 185 w 185"/>
                <a:gd name="T27" fmla="*/ 72 h 145"/>
                <a:gd name="T28" fmla="*/ 181 w 185"/>
                <a:gd name="T29" fmla="*/ 60 h 145"/>
                <a:gd name="T30" fmla="*/ 178 w 185"/>
                <a:gd name="T31" fmla="*/ 56 h 145"/>
                <a:gd name="T32" fmla="*/ 169 w 185"/>
                <a:gd name="T33" fmla="*/ 55 h 145"/>
                <a:gd name="T34" fmla="*/ 157 w 185"/>
                <a:gd name="T35" fmla="*/ 50 h 145"/>
                <a:gd name="T36" fmla="*/ 154 w 185"/>
                <a:gd name="T37" fmla="*/ 47 h 145"/>
                <a:gd name="T38" fmla="*/ 154 w 185"/>
                <a:gd name="T39" fmla="*/ 41 h 145"/>
                <a:gd name="T40" fmla="*/ 154 w 185"/>
                <a:gd name="T41" fmla="*/ 31 h 145"/>
                <a:gd name="T42" fmla="*/ 150 w 185"/>
                <a:gd name="T43" fmla="*/ 22 h 145"/>
                <a:gd name="T44" fmla="*/ 134 w 185"/>
                <a:gd name="T45" fmla="*/ 0 h 145"/>
                <a:gd name="T46" fmla="*/ 114 w 185"/>
                <a:gd name="T47" fmla="*/ 6 h 145"/>
                <a:gd name="T48" fmla="*/ 111 w 185"/>
                <a:gd name="T49" fmla="*/ 10 h 145"/>
                <a:gd name="T50" fmla="*/ 101 w 185"/>
                <a:gd name="T51" fmla="*/ 17 h 145"/>
                <a:gd name="T52" fmla="*/ 95 w 185"/>
                <a:gd name="T53" fmla="*/ 22 h 145"/>
                <a:gd name="T54" fmla="*/ 79 w 185"/>
                <a:gd name="T55" fmla="*/ 41 h 145"/>
                <a:gd name="T56" fmla="*/ 74 w 185"/>
                <a:gd name="T57" fmla="*/ 46 h 145"/>
                <a:gd name="T58" fmla="*/ 67 w 185"/>
                <a:gd name="T59" fmla="*/ 55 h 145"/>
                <a:gd name="T60" fmla="*/ 58 w 185"/>
                <a:gd name="T61" fmla="*/ 65 h 145"/>
                <a:gd name="T62" fmla="*/ 51 w 185"/>
                <a:gd name="T63" fmla="*/ 69 h 145"/>
                <a:gd name="T64" fmla="*/ 39 w 185"/>
                <a:gd name="T65" fmla="*/ 71 h 145"/>
                <a:gd name="T66" fmla="*/ 33 w 185"/>
                <a:gd name="T67" fmla="*/ 74 h 145"/>
                <a:gd name="T68" fmla="*/ 11 w 185"/>
                <a:gd name="T69" fmla="*/ 92 h 145"/>
                <a:gd name="T70" fmla="*/ 9 w 185"/>
                <a:gd name="T71" fmla="*/ 96 h 145"/>
                <a:gd name="T72" fmla="*/ 6 w 185"/>
                <a:gd name="T73" fmla="*/ 115 h 145"/>
                <a:gd name="T74" fmla="*/ 6 w 185"/>
                <a:gd name="T75" fmla="*/ 127 h 145"/>
                <a:gd name="T76" fmla="*/ 6 w 185"/>
                <a:gd name="T77" fmla="*/ 130 h 145"/>
                <a:gd name="T78" fmla="*/ 0 w 185"/>
                <a:gd name="T79" fmla="*/ 139 h 145"/>
                <a:gd name="T80" fmla="*/ 20 w 185"/>
                <a:gd name="T81" fmla="*/ 145 h 145"/>
                <a:gd name="T82" fmla="*/ 46 w 185"/>
                <a:gd name="T83" fmla="*/ 143 h 145"/>
                <a:gd name="T84" fmla="*/ 58 w 185"/>
                <a:gd name="T85" fmla="*/ 142 h 145"/>
                <a:gd name="T86" fmla="*/ 71 w 185"/>
                <a:gd name="T87" fmla="*/ 134 h 145"/>
                <a:gd name="T88" fmla="*/ 83 w 185"/>
                <a:gd name="T89" fmla="*/ 1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145">
                  <a:moveTo>
                    <a:pt x="83" y="129"/>
                  </a:moveTo>
                  <a:lnTo>
                    <a:pt x="83" y="129"/>
                  </a:lnTo>
                  <a:lnTo>
                    <a:pt x="86" y="127"/>
                  </a:lnTo>
                  <a:lnTo>
                    <a:pt x="91" y="127"/>
                  </a:lnTo>
                  <a:lnTo>
                    <a:pt x="97" y="130"/>
                  </a:lnTo>
                  <a:lnTo>
                    <a:pt x="104" y="134"/>
                  </a:lnTo>
                  <a:lnTo>
                    <a:pt x="108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9" y="134"/>
                  </a:lnTo>
                  <a:lnTo>
                    <a:pt x="123" y="132"/>
                  </a:lnTo>
                  <a:lnTo>
                    <a:pt x="126" y="127"/>
                  </a:lnTo>
                  <a:lnTo>
                    <a:pt x="128" y="123"/>
                  </a:lnTo>
                  <a:lnTo>
                    <a:pt x="131" y="112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4" y="97"/>
                  </a:lnTo>
                  <a:lnTo>
                    <a:pt x="138" y="92"/>
                  </a:lnTo>
                  <a:lnTo>
                    <a:pt x="144" y="87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56" y="83"/>
                  </a:lnTo>
                  <a:lnTo>
                    <a:pt x="163" y="81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4" y="78"/>
                  </a:lnTo>
                  <a:lnTo>
                    <a:pt x="185" y="75"/>
                  </a:lnTo>
                  <a:lnTo>
                    <a:pt x="185" y="72"/>
                  </a:lnTo>
                  <a:lnTo>
                    <a:pt x="185" y="68"/>
                  </a:lnTo>
                  <a:lnTo>
                    <a:pt x="181" y="60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4" y="55"/>
                  </a:lnTo>
                  <a:lnTo>
                    <a:pt x="169" y="55"/>
                  </a:lnTo>
                  <a:lnTo>
                    <a:pt x="163" y="53"/>
                  </a:lnTo>
                  <a:lnTo>
                    <a:pt x="157" y="50"/>
                  </a:lnTo>
                  <a:lnTo>
                    <a:pt x="157" y="50"/>
                  </a:lnTo>
                  <a:lnTo>
                    <a:pt x="154" y="47"/>
                  </a:lnTo>
                  <a:lnTo>
                    <a:pt x="153" y="46"/>
                  </a:lnTo>
                  <a:lnTo>
                    <a:pt x="154" y="41"/>
                  </a:lnTo>
                  <a:lnTo>
                    <a:pt x="154" y="37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0" y="22"/>
                  </a:lnTo>
                  <a:lnTo>
                    <a:pt x="144" y="1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1" y="10"/>
                  </a:lnTo>
                  <a:lnTo>
                    <a:pt x="107" y="13"/>
                  </a:lnTo>
                  <a:lnTo>
                    <a:pt x="101" y="17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83" y="35"/>
                  </a:lnTo>
                  <a:lnTo>
                    <a:pt x="79" y="41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0" y="49"/>
                  </a:lnTo>
                  <a:lnTo>
                    <a:pt x="67" y="55"/>
                  </a:lnTo>
                  <a:lnTo>
                    <a:pt x="62" y="60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1" y="69"/>
                  </a:lnTo>
                  <a:lnTo>
                    <a:pt x="45" y="71"/>
                  </a:lnTo>
                  <a:lnTo>
                    <a:pt x="39" y="71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20" y="84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6" y="115"/>
                  </a:lnTo>
                  <a:lnTo>
                    <a:pt x="6" y="123"/>
                  </a:lnTo>
                  <a:lnTo>
                    <a:pt x="6" y="127"/>
                  </a:lnTo>
                  <a:lnTo>
                    <a:pt x="6" y="127"/>
                  </a:lnTo>
                  <a:lnTo>
                    <a:pt x="6" y="130"/>
                  </a:lnTo>
                  <a:lnTo>
                    <a:pt x="5" y="133"/>
                  </a:lnTo>
                  <a:lnTo>
                    <a:pt x="0" y="139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34" y="145"/>
                  </a:lnTo>
                  <a:lnTo>
                    <a:pt x="46" y="143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65" y="139"/>
                  </a:lnTo>
                  <a:lnTo>
                    <a:pt x="71" y="134"/>
                  </a:lnTo>
                  <a:lnTo>
                    <a:pt x="76" y="132"/>
                  </a:lnTo>
                  <a:lnTo>
                    <a:pt x="83" y="129"/>
                  </a:lnTo>
                  <a:lnTo>
                    <a:pt x="83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1" name="Freeform 10">
              <a:extLst>
                <a:ext uri="{FF2B5EF4-FFF2-40B4-BE49-F238E27FC236}">
                  <a16:creationId xmlns:a16="http://schemas.microsoft.com/office/drawing/2014/main" id="{5356B547-2AE6-384A-B54E-F53A014C9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325" y="6092825"/>
              <a:ext cx="673100" cy="703262"/>
            </a:xfrm>
            <a:custGeom>
              <a:avLst/>
              <a:gdLst>
                <a:gd name="T0" fmla="*/ 20 w 424"/>
                <a:gd name="T1" fmla="*/ 363 h 443"/>
                <a:gd name="T2" fmla="*/ 38 w 424"/>
                <a:gd name="T3" fmla="*/ 357 h 443"/>
                <a:gd name="T4" fmla="*/ 64 w 424"/>
                <a:gd name="T5" fmla="*/ 375 h 443"/>
                <a:gd name="T6" fmla="*/ 72 w 424"/>
                <a:gd name="T7" fmla="*/ 390 h 443"/>
                <a:gd name="T8" fmla="*/ 63 w 424"/>
                <a:gd name="T9" fmla="*/ 408 h 443"/>
                <a:gd name="T10" fmla="*/ 66 w 424"/>
                <a:gd name="T11" fmla="*/ 440 h 443"/>
                <a:gd name="T12" fmla="*/ 135 w 424"/>
                <a:gd name="T13" fmla="*/ 434 h 443"/>
                <a:gd name="T14" fmla="*/ 140 w 424"/>
                <a:gd name="T15" fmla="*/ 390 h 443"/>
                <a:gd name="T16" fmla="*/ 160 w 424"/>
                <a:gd name="T17" fmla="*/ 378 h 443"/>
                <a:gd name="T18" fmla="*/ 199 w 424"/>
                <a:gd name="T19" fmla="*/ 403 h 443"/>
                <a:gd name="T20" fmla="*/ 226 w 424"/>
                <a:gd name="T21" fmla="*/ 427 h 443"/>
                <a:gd name="T22" fmla="*/ 208 w 424"/>
                <a:gd name="T23" fmla="*/ 347 h 443"/>
                <a:gd name="T24" fmla="*/ 236 w 424"/>
                <a:gd name="T25" fmla="*/ 333 h 443"/>
                <a:gd name="T26" fmla="*/ 227 w 424"/>
                <a:gd name="T27" fmla="*/ 304 h 443"/>
                <a:gd name="T28" fmla="*/ 258 w 424"/>
                <a:gd name="T29" fmla="*/ 330 h 443"/>
                <a:gd name="T30" fmla="*/ 340 w 424"/>
                <a:gd name="T31" fmla="*/ 353 h 443"/>
                <a:gd name="T32" fmla="*/ 385 w 424"/>
                <a:gd name="T33" fmla="*/ 286 h 443"/>
                <a:gd name="T34" fmla="*/ 357 w 424"/>
                <a:gd name="T35" fmla="*/ 274 h 443"/>
                <a:gd name="T36" fmla="*/ 338 w 424"/>
                <a:gd name="T37" fmla="*/ 261 h 443"/>
                <a:gd name="T38" fmla="*/ 347 w 424"/>
                <a:gd name="T39" fmla="*/ 224 h 443"/>
                <a:gd name="T40" fmla="*/ 369 w 424"/>
                <a:gd name="T41" fmla="*/ 225 h 443"/>
                <a:gd name="T42" fmla="*/ 390 w 424"/>
                <a:gd name="T43" fmla="*/ 191 h 443"/>
                <a:gd name="T44" fmla="*/ 417 w 424"/>
                <a:gd name="T45" fmla="*/ 188 h 443"/>
                <a:gd name="T46" fmla="*/ 418 w 424"/>
                <a:gd name="T47" fmla="*/ 156 h 443"/>
                <a:gd name="T48" fmla="*/ 405 w 424"/>
                <a:gd name="T49" fmla="*/ 114 h 443"/>
                <a:gd name="T50" fmla="*/ 385 w 424"/>
                <a:gd name="T51" fmla="*/ 70 h 443"/>
                <a:gd name="T52" fmla="*/ 381 w 424"/>
                <a:gd name="T53" fmla="*/ 85 h 443"/>
                <a:gd name="T54" fmla="*/ 340 w 424"/>
                <a:gd name="T55" fmla="*/ 54 h 443"/>
                <a:gd name="T56" fmla="*/ 319 w 424"/>
                <a:gd name="T57" fmla="*/ 36 h 443"/>
                <a:gd name="T58" fmla="*/ 297 w 424"/>
                <a:gd name="T59" fmla="*/ 6 h 443"/>
                <a:gd name="T60" fmla="*/ 283 w 424"/>
                <a:gd name="T61" fmla="*/ 6 h 443"/>
                <a:gd name="T62" fmla="*/ 270 w 424"/>
                <a:gd name="T63" fmla="*/ 30 h 443"/>
                <a:gd name="T64" fmla="*/ 246 w 424"/>
                <a:gd name="T65" fmla="*/ 37 h 443"/>
                <a:gd name="T66" fmla="*/ 246 w 424"/>
                <a:gd name="T67" fmla="*/ 59 h 443"/>
                <a:gd name="T68" fmla="*/ 251 w 424"/>
                <a:gd name="T69" fmla="*/ 79 h 443"/>
                <a:gd name="T70" fmla="*/ 240 w 424"/>
                <a:gd name="T71" fmla="*/ 88 h 443"/>
                <a:gd name="T72" fmla="*/ 223 w 424"/>
                <a:gd name="T73" fmla="*/ 85 h 443"/>
                <a:gd name="T74" fmla="*/ 203 w 424"/>
                <a:gd name="T75" fmla="*/ 77 h 443"/>
                <a:gd name="T76" fmla="*/ 180 w 424"/>
                <a:gd name="T77" fmla="*/ 86 h 443"/>
                <a:gd name="T78" fmla="*/ 169 w 424"/>
                <a:gd name="T79" fmla="*/ 116 h 443"/>
                <a:gd name="T80" fmla="*/ 163 w 424"/>
                <a:gd name="T81" fmla="*/ 99 h 443"/>
                <a:gd name="T82" fmla="*/ 146 w 424"/>
                <a:gd name="T83" fmla="*/ 94 h 443"/>
                <a:gd name="T84" fmla="*/ 140 w 424"/>
                <a:gd name="T85" fmla="*/ 74 h 443"/>
                <a:gd name="T86" fmla="*/ 150 w 424"/>
                <a:gd name="T87" fmla="*/ 39 h 443"/>
                <a:gd name="T88" fmla="*/ 123 w 424"/>
                <a:gd name="T89" fmla="*/ 19 h 443"/>
                <a:gd name="T90" fmla="*/ 101 w 424"/>
                <a:gd name="T91" fmla="*/ 30 h 443"/>
                <a:gd name="T92" fmla="*/ 91 w 424"/>
                <a:gd name="T93" fmla="*/ 55 h 443"/>
                <a:gd name="T94" fmla="*/ 88 w 424"/>
                <a:gd name="T95" fmla="*/ 79 h 443"/>
                <a:gd name="T96" fmla="*/ 91 w 424"/>
                <a:gd name="T97" fmla="*/ 116 h 443"/>
                <a:gd name="T98" fmla="*/ 98 w 424"/>
                <a:gd name="T99" fmla="*/ 132 h 443"/>
                <a:gd name="T100" fmla="*/ 131 w 424"/>
                <a:gd name="T101" fmla="*/ 139 h 443"/>
                <a:gd name="T102" fmla="*/ 159 w 424"/>
                <a:gd name="T103" fmla="*/ 150 h 443"/>
                <a:gd name="T104" fmla="*/ 211 w 424"/>
                <a:gd name="T105" fmla="*/ 156 h 443"/>
                <a:gd name="T106" fmla="*/ 229 w 424"/>
                <a:gd name="T107" fmla="*/ 168 h 443"/>
                <a:gd name="T108" fmla="*/ 193 w 424"/>
                <a:gd name="T109" fmla="*/ 187 h 443"/>
                <a:gd name="T110" fmla="*/ 187 w 424"/>
                <a:gd name="T111" fmla="*/ 208 h 443"/>
                <a:gd name="T112" fmla="*/ 153 w 424"/>
                <a:gd name="T113" fmla="*/ 213 h 443"/>
                <a:gd name="T114" fmla="*/ 120 w 424"/>
                <a:gd name="T115" fmla="*/ 215 h 443"/>
                <a:gd name="T116" fmla="*/ 97 w 424"/>
                <a:gd name="T117" fmla="*/ 216 h 443"/>
                <a:gd name="T118" fmla="*/ 77 w 424"/>
                <a:gd name="T119" fmla="*/ 249 h 443"/>
                <a:gd name="T120" fmla="*/ 43 w 424"/>
                <a:gd name="T121" fmla="*/ 285 h 443"/>
                <a:gd name="T122" fmla="*/ 24 w 424"/>
                <a:gd name="T123" fmla="*/ 328 h 443"/>
                <a:gd name="T124" fmla="*/ 0 w 424"/>
                <a:gd name="T125" fmla="*/ 34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4" h="443">
                  <a:moveTo>
                    <a:pt x="2" y="350"/>
                  </a:moveTo>
                  <a:lnTo>
                    <a:pt x="2" y="350"/>
                  </a:lnTo>
                  <a:lnTo>
                    <a:pt x="11" y="350"/>
                  </a:lnTo>
                  <a:lnTo>
                    <a:pt x="17" y="350"/>
                  </a:lnTo>
                  <a:lnTo>
                    <a:pt x="18" y="351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20" y="363"/>
                  </a:lnTo>
                  <a:lnTo>
                    <a:pt x="21" y="365"/>
                  </a:lnTo>
                  <a:lnTo>
                    <a:pt x="24" y="365"/>
                  </a:lnTo>
                  <a:lnTo>
                    <a:pt x="24" y="365"/>
                  </a:lnTo>
                  <a:lnTo>
                    <a:pt x="27" y="362"/>
                  </a:lnTo>
                  <a:lnTo>
                    <a:pt x="29" y="359"/>
                  </a:lnTo>
                  <a:lnTo>
                    <a:pt x="32" y="357"/>
                  </a:lnTo>
                  <a:lnTo>
                    <a:pt x="38" y="357"/>
                  </a:lnTo>
                  <a:lnTo>
                    <a:pt x="38" y="357"/>
                  </a:lnTo>
                  <a:lnTo>
                    <a:pt x="42" y="360"/>
                  </a:lnTo>
                  <a:lnTo>
                    <a:pt x="43" y="363"/>
                  </a:lnTo>
                  <a:lnTo>
                    <a:pt x="45" y="366"/>
                  </a:lnTo>
                  <a:lnTo>
                    <a:pt x="49" y="370"/>
                  </a:lnTo>
                  <a:lnTo>
                    <a:pt x="49" y="370"/>
                  </a:lnTo>
                  <a:lnTo>
                    <a:pt x="55" y="373"/>
                  </a:lnTo>
                  <a:lnTo>
                    <a:pt x="60" y="373"/>
                  </a:lnTo>
                  <a:lnTo>
                    <a:pt x="64" y="375"/>
                  </a:lnTo>
                  <a:lnTo>
                    <a:pt x="66" y="376"/>
                  </a:lnTo>
                  <a:lnTo>
                    <a:pt x="66" y="376"/>
                  </a:lnTo>
                  <a:lnTo>
                    <a:pt x="67" y="379"/>
                  </a:lnTo>
                  <a:lnTo>
                    <a:pt x="66" y="381"/>
                  </a:lnTo>
                  <a:lnTo>
                    <a:pt x="66" y="384"/>
                  </a:lnTo>
                  <a:lnTo>
                    <a:pt x="67" y="387"/>
                  </a:lnTo>
                  <a:lnTo>
                    <a:pt x="67" y="387"/>
                  </a:lnTo>
                  <a:lnTo>
                    <a:pt x="72" y="390"/>
                  </a:lnTo>
                  <a:lnTo>
                    <a:pt x="76" y="390"/>
                  </a:lnTo>
                  <a:lnTo>
                    <a:pt x="77" y="391"/>
                  </a:lnTo>
                  <a:lnTo>
                    <a:pt x="79" y="396"/>
                  </a:lnTo>
                  <a:lnTo>
                    <a:pt x="79" y="396"/>
                  </a:lnTo>
                  <a:lnTo>
                    <a:pt x="77" y="399"/>
                  </a:lnTo>
                  <a:lnTo>
                    <a:pt x="76" y="400"/>
                  </a:lnTo>
                  <a:lnTo>
                    <a:pt x="70" y="405"/>
                  </a:lnTo>
                  <a:lnTo>
                    <a:pt x="63" y="408"/>
                  </a:lnTo>
                  <a:lnTo>
                    <a:pt x="58" y="410"/>
                  </a:lnTo>
                  <a:lnTo>
                    <a:pt x="58" y="410"/>
                  </a:lnTo>
                  <a:lnTo>
                    <a:pt x="55" y="413"/>
                  </a:lnTo>
                  <a:lnTo>
                    <a:pt x="55" y="416"/>
                  </a:lnTo>
                  <a:lnTo>
                    <a:pt x="54" y="424"/>
                  </a:lnTo>
                  <a:lnTo>
                    <a:pt x="57" y="440"/>
                  </a:lnTo>
                  <a:lnTo>
                    <a:pt x="57" y="440"/>
                  </a:lnTo>
                  <a:lnTo>
                    <a:pt x="66" y="440"/>
                  </a:lnTo>
                  <a:lnTo>
                    <a:pt x="82" y="442"/>
                  </a:lnTo>
                  <a:lnTo>
                    <a:pt x="101" y="443"/>
                  </a:lnTo>
                  <a:lnTo>
                    <a:pt x="110" y="443"/>
                  </a:lnTo>
                  <a:lnTo>
                    <a:pt x="117" y="442"/>
                  </a:lnTo>
                  <a:lnTo>
                    <a:pt x="117" y="442"/>
                  </a:lnTo>
                  <a:lnTo>
                    <a:pt x="125" y="440"/>
                  </a:lnTo>
                  <a:lnTo>
                    <a:pt x="131" y="437"/>
                  </a:lnTo>
                  <a:lnTo>
                    <a:pt x="135" y="434"/>
                  </a:lnTo>
                  <a:lnTo>
                    <a:pt x="138" y="431"/>
                  </a:lnTo>
                  <a:lnTo>
                    <a:pt x="140" y="427"/>
                  </a:lnTo>
                  <a:lnTo>
                    <a:pt x="141" y="422"/>
                  </a:lnTo>
                  <a:lnTo>
                    <a:pt x="143" y="412"/>
                  </a:lnTo>
                  <a:lnTo>
                    <a:pt x="143" y="412"/>
                  </a:lnTo>
                  <a:lnTo>
                    <a:pt x="141" y="402"/>
                  </a:lnTo>
                  <a:lnTo>
                    <a:pt x="140" y="393"/>
                  </a:lnTo>
                  <a:lnTo>
                    <a:pt x="140" y="390"/>
                  </a:lnTo>
                  <a:lnTo>
                    <a:pt x="141" y="388"/>
                  </a:lnTo>
                  <a:lnTo>
                    <a:pt x="143" y="387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52" y="385"/>
                  </a:lnTo>
                  <a:lnTo>
                    <a:pt x="154" y="384"/>
                  </a:lnTo>
                  <a:lnTo>
                    <a:pt x="159" y="379"/>
                  </a:lnTo>
                  <a:lnTo>
                    <a:pt x="160" y="378"/>
                  </a:lnTo>
                  <a:lnTo>
                    <a:pt x="163" y="378"/>
                  </a:lnTo>
                  <a:lnTo>
                    <a:pt x="168" y="378"/>
                  </a:lnTo>
                  <a:lnTo>
                    <a:pt x="174" y="379"/>
                  </a:lnTo>
                  <a:lnTo>
                    <a:pt x="174" y="379"/>
                  </a:lnTo>
                  <a:lnTo>
                    <a:pt x="184" y="385"/>
                  </a:lnTo>
                  <a:lnTo>
                    <a:pt x="192" y="390"/>
                  </a:lnTo>
                  <a:lnTo>
                    <a:pt x="194" y="394"/>
                  </a:lnTo>
                  <a:lnTo>
                    <a:pt x="199" y="403"/>
                  </a:lnTo>
                  <a:lnTo>
                    <a:pt x="199" y="403"/>
                  </a:lnTo>
                  <a:lnTo>
                    <a:pt x="203" y="413"/>
                  </a:lnTo>
                  <a:lnTo>
                    <a:pt x="211" y="424"/>
                  </a:lnTo>
                  <a:lnTo>
                    <a:pt x="214" y="427"/>
                  </a:lnTo>
                  <a:lnTo>
                    <a:pt x="218" y="428"/>
                  </a:lnTo>
                  <a:lnTo>
                    <a:pt x="221" y="428"/>
                  </a:lnTo>
                  <a:lnTo>
                    <a:pt x="226" y="427"/>
                  </a:lnTo>
                  <a:lnTo>
                    <a:pt x="226" y="427"/>
                  </a:lnTo>
                  <a:lnTo>
                    <a:pt x="229" y="424"/>
                  </a:lnTo>
                  <a:lnTo>
                    <a:pt x="230" y="419"/>
                  </a:lnTo>
                  <a:lnTo>
                    <a:pt x="234" y="409"/>
                  </a:lnTo>
                  <a:lnTo>
                    <a:pt x="236" y="399"/>
                  </a:lnTo>
                  <a:lnTo>
                    <a:pt x="236" y="394"/>
                  </a:lnTo>
                  <a:lnTo>
                    <a:pt x="234" y="391"/>
                  </a:lnTo>
                  <a:lnTo>
                    <a:pt x="234" y="391"/>
                  </a:lnTo>
                  <a:lnTo>
                    <a:pt x="208" y="347"/>
                  </a:lnTo>
                  <a:lnTo>
                    <a:pt x="208" y="347"/>
                  </a:lnTo>
                  <a:lnTo>
                    <a:pt x="223" y="354"/>
                  </a:lnTo>
                  <a:lnTo>
                    <a:pt x="233" y="357"/>
                  </a:lnTo>
                  <a:lnTo>
                    <a:pt x="236" y="356"/>
                  </a:lnTo>
                  <a:lnTo>
                    <a:pt x="239" y="354"/>
                  </a:lnTo>
                  <a:lnTo>
                    <a:pt x="239" y="354"/>
                  </a:lnTo>
                  <a:lnTo>
                    <a:pt x="239" y="345"/>
                  </a:lnTo>
                  <a:lnTo>
                    <a:pt x="236" y="333"/>
                  </a:lnTo>
                  <a:lnTo>
                    <a:pt x="233" y="323"/>
                  </a:lnTo>
                  <a:lnTo>
                    <a:pt x="230" y="320"/>
                  </a:lnTo>
                  <a:lnTo>
                    <a:pt x="227" y="317"/>
                  </a:lnTo>
                  <a:lnTo>
                    <a:pt x="227" y="317"/>
                  </a:lnTo>
                  <a:lnTo>
                    <a:pt x="224" y="316"/>
                  </a:lnTo>
                  <a:lnTo>
                    <a:pt x="224" y="314"/>
                  </a:lnTo>
                  <a:lnTo>
                    <a:pt x="224" y="308"/>
                  </a:lnTo>
                  <a:lnTo>
                    <a:pt x="227" y="304"/>
                  </a:lnTo>
                  <a:lnTo>
                    <a:pt x="233" y="299"/>
                  </a:lnTo>
                  <a:lnTo>
                    <a:pt x="233" y="299"/>
                  </a:lnTo>
                  <a:lnTo>
                    <a:pt x="236" y="299"/>
                  </a:lnTo>
                  <a:lnTo>
                    <a:pt x="239" y="302"/>
                  </a:lnTo>
                  <a:lnTo>
                    <a:pt x="243" y="311"/>
                  </a:lnTo>
                  <a:lnTo>
                    <a:pt x="249" y="323"/>
                  </a:lnTo>
                  <a:lnTo>
                    <a:pt x="254" y="328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79" y="342"/>
                  </a:lnTo>
                  <a:lnTo>
                    <a:pt x="289" y="347"/>
                  </a:lnTo>
                  <a:lnTo>
                    <a:pt x="298" y="350"/>
                  </a:lnTo>
                  <a:lnTo>
                    <a:pt x="298" y="350"/>
                  </a:lnTo>
                  <a:lnTo>
                    <a:pt x="317" y="350"/>
                  </a:lnTo>
                  <a:lnTo>
                    <a:pt x="329" y="351"/>
                  </a:lnTo>
                  <a:lnTo>
                    <a:pt x="340" y="353"/>
                  </a:lnTo>
                  <a:lnTo>
                    <a:pt x="340" y="353"/>
                  </a:lnTo>
                  <a:lnTo>
                    <a:pt x="362" y="359"/>
                  </a:lnTo>
                  <a:lnTo>
                    <a:pt x="374" y="325"/>
                  </a:lnTo>
                  <a:lnTo>
                    <a:pt x="374" y="325"/>
                  </a:lnTo>
                  <a:lnTo>
                    <a:pt x="381" y="304"/>
                  </a:lnTo>
                  <a:lnTo>
                    <a:pt x="385" y="293"/>
                  </a:lnTo>
                  <a:lnTo>
                    <a:pt x="385" y="289"/>
                  </a:lnTo>
                  <a:lnTo>
                    <a:pt x="385" y="286"/>
                  </a:lnTo>
                  <a:lnTo>
                    <a:pt x="385" y="286"/>
                  </a:lnTo>
                  <a:lnTo>
                    <a:pt x="383" y="283"/>
                  </a:lnTo>
                  <a:lnTo>
                    <a:pt x="380" y="282"/>
                  </a:lnTo>
                  <a:lnTo>
                    <a:pt x="369" y="282"/>
                  </a:lnTo>
                  <a:lnTo>
                    <a:pt x="369" y="282"/>
                  </a:lnTo>
                  <a:lnTo>
                    <a:pt x="363" y="280"/>
                  </a:lnTo>
                  <a:lnTo>
                    <a:pt x="359" y="279"/>
                  </a:lnTo>
                  <a:lnTo>
                    <a:pt x="357" y="274"/>
                  </a:lnTo>
                  <a:lnTo>
                    <a:pt x="356" y="267"/>
                  </a:lnTo>
                  <a:lnTo>
                    <a:pt x="356" y="267"/>
                  </a:lnTo>
                  <a:lnTo>
                    <a:pt x="353" y="262"/>
                  </a:lnTo>
                  <a:lnTo>
                    <a:pt x="351" y="261"/>
                  </a:lnTo>
                  <a:lnTo>
                    <a:pt x="350" y="261"/>
                  </a:lnTo>
                  <a:lnTo>
                    <a:pt x="341" y="262"/>
                  </a:lnTo>
                  <a:lnTo>
                    <a:pt x="341" y="262"/>
                  </a:lnTo>
                  <a:lnTo>
                    <a:pt x="338" y="261"/>
                  </a:lnTo>
                  <a:lnTo>
                    <a:pt x="337" y="258"/>
                  </a:lnTo>
                  <a:lnTo>
                    <a:pt x="337" y="246"/>
                  </a:lnTo>
                  <a:lnTo>
                    <a:pt x="337" y="246"/>
                  </a:lnTo>
                  <a:lnTo>
                    <a:pt x="338" y="239"/>
                  </a:lnTo>
                  <a:lnTo>
                    <a:pt x="340" y="231"/>
                  </a:lnTo>
                  <a:lnTo>
                    <a:pt x="344" y="227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50" y="222"/>
                  </a:lnTo>
                  <a:lnTo>
                    <a:pt x="351" y="224"/>
                  </a:lnTo>
                  <a:lnTo>
                    <a:pt x="354" y="225"/>
                  </a:lnTo>
                  <a:lnTo>
                    <a:pt x="357" y="228"/>
                  </a:lnTo>
                  <a:lnTo>
                    <a:pt x="363" y="230"/>
                  </a:lnTo>
                  <a:lnTo>
                    <a:pt x="363" y="230"/>
                  </a:lnTo>
                  <a:lnTo>
                    <a:pt x="366" y="228"/>
                  </a:lnTo>
                  <a:lnTo>
                    <a:pt x="369" y="225"/>
                  </a:lnTo>
                  <a:lnTo>
                    <a:pt x="374" y="215"/>
                  </a:lnTo>
                  <a:lnTo>
                    <a:pt x="375" y="205"/>
                  </a:lnTo>
                  <a:lnTo>
                    <a:pt x="375" y="196"/>
                  </a:lnTo>
                  <a:lnTo>
                    <a:pt x="375" y="196"/>
                  </a:lnTo>
                  <a:lnTo>
                    <a:pt x="377" y="193"/>
                  </a:lnTo>
                  <a:lnTo>
                    <a:pt x="378" y="191"/>
                  </a:lnTo>
                  <a:lnTo>
                    <a:pt x="383" y="190"/>
                  </a:lnTo>
                  <a:lnTo>
                    <a:pt x="390" y="191"/>
                  </a:lnTo>
                  <a:lnTo>
                    <a:pt x="397" y="196"/>
                  </a:lnTo>
                  <a:lnTo>
                    <a:pt x="397" y="196"/>
                  </a:lnTo>
                  <a:lnTo>
                    <a:pt x="405" y="199"/>
                  </a:lnTo>
                  <a:lnTo>
                    <a:pt x="406" y="199"/>
                  </a:lnTo>
                  <a:lnTo>
                    <a:pt x="408" y="197"/>
                  </a:lnTo>
                  <a:lnTo>
                    <a:pt x="412" y="193"/>
                  </a:lnTo>
                  <a:lnTo>
                    <a:pt x="417" y="188"/>
                  </a:lnTo>
                  <a:lnTo>
                    <a:pt x="417" y="188"/>
                  </a:lnTo>
                  <a:lnTo>
                    <a:pt x="421" y="184"/>
                  </a:lnTo>
                  <a:lnTo>
                    <a:pt x="424" y="178"/>
                  </a:lnTo>
                  <a:lnTo>
                    <a:pt x="424" y="172"/>
                  </a:lnTo>
                  <a:lnTo>
                    <a:pt x="424" y="168"/>
                  </a:lnTo>
                  <a:lnTo>
                    <a:pt x="424" y="168"/>
                  </a:lnTo>
                  <a:lnTo>
                    <a:pt x="423" y="165"/>
                  </a:lnTo>
                  <a:lnTo>
                    <a:pt x="420" y="160"/>
                  </a:lnTo>
                  <a:lnTo>
                    <a:pt x="418" y="156"/>
                  </a:lnTo>
                  <a:lnTo>
                    <a:pt x="417" y="150"/>
                  </a:lnTo>
                  <a:lnTo>
                    <a:pt x="417" y="150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5" y="123"/>
                  </a:lnTo>
                  <a:lnTo>
                    <a:pt x="409" y="117"/>
                  </a:lnTo>
                  <a:lnTo>
                    <a:pt x="409" y="117"/>
                  </a:lnTo>
                  <a:lnTo>
                    <a:pt x="405" y="114"/>
                  </a:lnTo>
                  <a:lnTo>
                    <a:pt x="403" y="110"/>
                  </a:lnTo>
                  <a:lnTo>
                    <a:pt x="403" y="101"/>
                  </a:lnTo>
                  <a:lnTo>
                    <a:pt x="403" y="101"/>
                  </a:lnTo>
                  <a:lnTo>
                    <a:pt x="402" y="95"/>
                  </a:lnTo>
                  <a:lnTo>
                    <a:pt x="400" y="91"/>
                  </a:lnTo>
                  <a:lnTo>
                    <a:pt x="394" y="82"/>
                  </a:lnTo>
                  <a:lnTo>
                    <a:pt x="394" y="82"/>
                  </a:lnTo>
                  <a:lnTo>
                    <a:pt x="385" y="70"/>
                  </a:lnTo>
                  <a:lnTo>
                    <a:pt x="383" y="65"/>
                  </a:lnTo>
                  <a:lnTo>
                    <a:pt x="383" y="65"/>
                  </a:lnTo>
                  <a:lnTo>
                    <a:pt x="383" y="73"/>
                  </a:lnTo>
                  <a:lnTo>
                    <a:pt x="383" y="79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1" y="85"/>
                  </a:lnTo>
                  <a:lnTo>
                    <a:pt x="377" y="83"/>
                  </a:lnTo>
                  <a:lnTo>
                    <a:pt x="363" y="79"/>
                  </a:lnTo>
                  <a:lnTo>
                    <a:pt x="363" y="79"/>
                  </a:lnTo>
                  <a:lnTo>
                    <a:pt x="357" y="74"/>
                  </a:lnTo>
                  <a:lnTo>
                    <a:pt x="353" y="70"/>
                  </a:lnTo>
                  <a:lnTo>
                    <a:pt x="344" y="58"/>
                  </a:lnTo>
                  <a:lnTo>
                    <a:pt x="344" y="58"/>
                  </a:lnTo>
                  <a:lnTo>
                    <a:pt x="340" y="54"/>
                  </a:lnTo>
                  <a:lnTo>
                    <a:pt x="335" y="51"/>
                  </a:lnTo>
                  <a:lnTo>
                    <a:pt x="323" y="48"/>
                  </a:lnTo>
                  <a:lnTo>
                    <a:pt x="323" y="48"/>
                  </a:lnTo>
                  <a:lnTo>
                    <a:pt x="320" y="46"/>
                  </a:lnTo>
                  <a:lnTo>
                    <a:pt x="320" y="45"/>
                  </a:lnTo>
                  <a:lnTo>
                    <a:pt x="320" y="40"/>
                  </a:lnTo>
                  <a:lnTo>
                    <a:pt x="320" y="37"/>
                  </a:lnTo>
                  <a:lnTo>
                    <a:pt x="319" y="36"/>
                  </a:lnTo>
                  <a:lnTo>
                    <a:pt x="316" y="33"/>
                  </a:lnTo>
                  <a:lnTo>
                    <a:pt x="316" y="33"/>
                  </a:lnTo>
                  <a:lnTo>
                    <a:pt x="307" y="28"/>
                  </a:lnTo>
                  <a:lnTo>
                    <a:pt x="306" y="27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3" y="15"/>
                  </a:lnTo>
                  <a:lnTo>
                    <a:pt x="297" y="6"/>
                  </a:lnTo>
                  <a:lnTo>
                    <a:pt x="297" y="6"/>
                  </a:lnTo>
                  <a:lnTo>
                    <a:pt x="292" y="2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3" y="3"/>
                  </a:lnTo>
                  <a:lnTo>
                    <a:pt x="283" y="6"/>
                  </a:lnTo>
                  <a:lnTo>
                    <a:pt x="280" y="14"/>
                  </a:lnTo>
                  <a:lnTo>
                    <a:pt x="280" y="14"/>
                  </a:lnTo>
                  <a:lnTo>
                    <a:pt x="277" y="18"/>
                  </a:lnTo>
                  <a:lnTo>
                    <a:pt x="274" y="19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5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69" y="33"/>
                  </a:lnTo>
                  <a:lnTo>
                    <a:pt x="266" y="34"/>
                  </a:lnTo>
                  <a:lnTo>
                    <a:pt x="255" y="33"/>
                  </a:lnTo>
                  <a:lnTo>
                    <a:pt x="255" y="33"/>
                  </a:lnTo>
                  <a:lnTo>
                    <a:pt x="254" y="33"/>
                  </a:lnTo>
                  <a:lnTo>
                    <a:pt x="251" y="33"/>
                  </a:lnTo>
                  <a:lnTo>
                    <a:pt x="246" y="37"/>
                  </a:lnTo>
                  <a:lnTo>
                    <a:pt x="243" y="42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5" y="49"/>
                  </a:lnTo>
                  <a:lnTo>
                    <a:pt x="249" y="55"/>
                  </a:lnTo>
                  <a:lnTo>
                    <a:pt x="249" y="55"/>
                  </a:lnTo>
                  <a:lnTo>
                    <a:pt x="249" y="58"/>
                  </a:lnTo>
                  <a:lnTo>
                    <a:pt x="246" y="59"/>
                  </a:lnTo>
                  <a:lnTo>
                    <a:pt x="237" y="67"/>
                  </a:lnTo>
                  <a:lnTo>
                    <a:pt x="237" y="67"/>
                  </a:lnTo>
                  <a:lnTo>
                    <a:pt x="236" y="68"/>
                  </a:lnTo>
                  <a:lnTo>
                    <a:pt x="237" y="71"/>
                  </a:lnTo>
                  <a:lnTo>
                    <a:pt x="242" y="73"/>
                  </a:lnTo>
                  <a:lnTo>
                    <a:pt x="246" y="76"/>
                  </a:lnTo>
                  <a:lnTo>
                    <a:pt x="246" y="76"/>
                  </a:lnTo>
                  <a:lnTo>
                    <a:pt x="251" y="79"/>
                  </a:lnTo>
                  <a:lnTo>
                    <a:pt x="255" y="80"/>
                  </a:lnTo>
                  <a:lnTo>
                    <a:pt x="260" y="82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1" y="86"/>
                  </a:lnTo>
                  <a:lnTo>
                    <a:pt x="261" y="88"/>
                  </a:lnTo>
                  <a:lnTo>
                    <a:pt x="257" y="88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34" y="86"/>
                  </a:lnTo>
                  <a:lnTo>
                    <a:pt x="230" y="85"/>
                  </a:lnTo>
                  <a:lnTo>
                    <a:pt x="227" y="83"/>
                  </a:lnTo>
                  <a:lnTo>
                    <a:pt x="226" y="82"/>
                  </a:lnTo>
                  <a:lnTo>
                    <a:pt x="226" y="82"/>
                  </a:lnTo>
                  <a:lnTo>
                    <a:pt x="223" y="83"/>
                  </a:lnTo>
                  <a:lnTo>
                    <a:pt x="223" y="85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15" y="89"/>
                  </a:lnTo>
                  <a:lnTo>
                    <a:pt x="212" y="88"/>
                  </a:lnTo>
                  <a:lnTo>
                    <a:pt x="208" y="83"/>
                  </a:lnTo>
                  <a:lnTo>
                    <a:pt x="205" y="79"/>
                  </a:lnTo>
                  <a:lnTo>
                    <a:pt x="205" y="79"/>
                  </a:lnTo>
                  <a:lnTo>
                    <a:pt x="203" y="77"/>
                  </a:lnTo>
                  <a:lnTo>
                    <a:pt x="200" y="76"/>
                  </a:lnTo>
                  <a:lnTo>
                    <a:pt x="193" y="73"/>
                  </a:lnTo>
                  <a:lnTo>
                    <a:pt x="180" y="73"/>
                  </a:lnTo>
                  <a:lnTo>
                    <a:pt x="180" y="73"/>
                  </a:lnTo>
                  <a:lnTo>
                    <a:pt x="177" y="73"/>
                  </a:lnTo>
                  <a:lnTo>
                    <a:pt x="177" y="73"/>
                  </a:lnTo>
                  <a:lnTo>
                    <a:pt x="177" y="77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1" y="91"/>
                  </a:lnTo>
                  <a:lnTo>
                    <a:pt x="181" y="96"/>
                  </a:lnTo>
                  <a:lnTo>
                    <a:pt x="178" y="108"/>
                  </a:lnTo>
                  <a:lnTo>
                    <a:pt x="178" y="108"/>
                  </a:lnTo>
                  <a:lnTo>
                    <a:pt x="177" y="113"/>
                  </a:lnTo>
                  <a:lnTo>
                    <a:pt x="174" y="116"/>
                  </a:lnTo>
                  <a:lnTo>
                    <a:pt x="169" y="116"/>
                  </a:lnTo>
                  <a:lnTo>
                    <a:pt x="165" y="116"/>
                  </a:lnTo>
                  <a:lnTo>
                    <a:pt x="165" y="116"/>
                  </a:lnTo>
                  <a:lnTo>
                    <a:pt x="163" y="114"/>
                  </a:lnTo>
                  <a:lnTo>
                    <a:pt x="162" y="113"/>
                  </a:lnTo>
                  <a:lnTo>
                    <a:pt x="162" y="108"/>
                  </a:lnTo>
                  <a:lnTo>
                    <a:pt x="163" y="102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3" y="98"/>
                  </a:lnTo>
                  <a:lnTo>
                    <a:pt x="162" y="98"/>
                  </a:lnTo>
                  <a:lnTo>
                    <a:pt x="157" y="98"/>
                  </a:lnTo>
                  <a:lnTo>
                    <a:pt x="152" y="98"/>
                  </a:lnTo>
                  <a:lnTo>
                    <a:pt x="150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6" y="94"/>
                  </a:lnTo>
                  <a:lnTo>
                    <a:pt x="143" y="94"/>
                  </a:lnTo>
                  <a:lnTo>
                    <a:pt x="140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4" y="92"/>
                  </a:lnTo>
                  <a:lnTo>
                    <a:pt x="132" y="91"/>
                  </a:lnTo>
                  <a:lnTo>
                    <a:pt x="134" y="86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4" y="62"/>
                  </a:lnTo>
                  <a:lnTo>
                    <a:pt x="147" y="57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4" y="46"/>
                  </a:lnTo>
                  <a:lnTo>
                    <a:pt x="154" y="43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47" y="33"/>
                  </a:lnTo>
                  <a:lnTo>
                    <a:pt x="144" y="30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34" y="21"/>
                  </a:lnTo>
                  <a:lnTo>
                    <a:pt x="131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0" y="21"/>
                  </a:lnTo>
                  <a:lnTo>
                    <a:pt x="117" y="24"/>
                  </a:lnTo>
                  <a:lnTo>
                    <a:pt x="115" y="27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4" y="30"/>
                  </a:lnTo>
                  <a:lnTo>
                    <a:pt x="101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1"/>
                  </a:lnTo>
                  <a:lnTo>
                    <a:pt x="94" y="33"/>
                  </a:lnTo>
                  <a:lnTo>
                    <a:pt x="94" y="40"/>
                  </a:lnTo>
                  <a:lnTo>
                    <a:pt x="92" y="49"/>
                  </a:lnTo>
                  <a:lnTo>
                    <a:pt x="92" y="5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86" y="58"/>
                  </a:lnTo>
                  <a:lnTo>
                    <a:pt x="85" y="64"/>
                  </a:lnTo>
                  <a:lnTo>
                    <a:pt x="85" y="64"/>
                  </a:lnTo>
                  <a:lnTo>
                    <a:pt x="85" y="67"/>
                  </a:lnTo>
                  <a:lnTo>
                    <a:pt x="85" y="71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88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91" y="102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2" y="114"/>
                  </a:lnTo>
                  <a:lnTo>
                    <a:pt x="91" y="116"/>
                  </a:lnTo>
                  <a:lnTo>
                    <a:pt x="89" y="117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5"/>
                  </a:lnTo>
                  <a:lnTo>
                    <a:pt x="88" y="126"/>
                  </a:lnTo>
                  <a:lnTo>
                    <a:pt x="91" y="129"/>
                  </a:lnTo>
                  <a:lnTo>
                    <a:pt x="94" y="131"/>
                  </a:lnTo>
                  <a:lnTo>
                    <a:pt x="98" y="132"/>
                  </a:lnTo>
                  <a:lnTo>
                    <a:pt x="106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29" y="135"/>
                  </a:lnTo>
                  <a:lnTo>
                    <a:pt x="131" y="136"/>
                  </a:lnTo>
                  <a:lnTo>
                    <a:pt x="132" y="138"/>
                  </a:lnTo>
                  <a:lnTo>
                    <a:pt x="131" y="139"/>
                  </a:lnTo>
                  <a:lnTo>
                    <a:pt x="131" y="144"/>
                  </a:lnTo>
                  <a:lnTo>
                    <a:pt x="131" y="144"/>
                  </a:lnTo>
                  <a:lnTo>
                    <a:pt x="131" y="145"/>
                  </a:lnTo>
                  <a:lnTo>
                    <a:pt x="132" y="147"/>
                  </a:lnTo>
                  <a:lnTo>
                    <a:pt x="141" y="148"/>
                  </a:lnTo>
                  <a:lnTo>
                    <a:pt x="152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66" y="150"/>
                  </a:lnTo>
                  <a:lnTo>
                    <a:pt x="174" y="151"/>
                  </a:lnTo>
                  <a:lnTo>
                    <a:pt x="190" y="159"/>
                  </a:lnTo>
                  <a:lnTo>
                    <a:pt x="190" y="159"/>
                  </a:lnTo>
                  <a:lnTo>
                    <a:pt x="194" y="160"/>
                  </a:lnTo>
                  <a:lnTo>
                    <a:pt x="199" y="160"/>
                  </a:lnTo>
                  <a:lnTo>
                    <a:pt x="206" y="159"/>
                  </a:lnTo>
                  <a:lnTo>
                    <a:pt x="211" y="156"/>
                  </a:lnTo>
                  <a:lnTo>
                    <a:pt x="215" y="154"/>
                  </a:lnTo>
                  <a:lnTo>
                    <a:pt x="215" y="154"/>
                  </a:lnTo>
                  <a:lnTo>
                    <a:pt x="220" y="156"/>
                  </a:lnTo>
                  <a:lnTo>
                    <a:pt x="224" y="159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3" y="174"/>
                  </a:lnTo>
                  <a:lnTo>
                    <a:pt x="214" y="181"/>
                  </a:lnTo>
                  <a:lnTo>
                    <a:pt x="214" y="181"/>
                  </a:lnTo>
                  <a:lnTo>
                    <a:pt x="211" y="185"/>
                  </a:lnTo>
                  <a:lnTo>
                    <a:pt x="208" y="185"/>
                  </a:lnTo>
                  <a:lnTo>
                    <a:pt x="197" y="185"/>
                  </a:lnTo>
                  <a:lnTo>
                    <a:pt x="197" y="185"/>
                  </a:lnTo>
                  <a:lnTo>
                    <a:pt x="193" y="187"/>
                  </a:lnTo>
                  <a:lnTo>
                    <a:pt x="190" y="188"/>
                  </a:lnTo>
                  <a:lnTo>
                    <a:pt x="190" y="191"/>
                  </a:lnTo>
                  <a:lnTo>
                    <a:pt x="192" y="196"/>
                  </a:lnTo>
                  <a:lnTo>
                    <a:pt x="192" y="196"/>
                  </a:lnTo>
                  <a:lnTo>
                    <a:pt x="192" y="200"/>
                  </a:lnTo>
                  <a:lnTo>
                    <a:pt x="190" y="203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3" y="213"/>
                  </a:lnTo>
                  <a:lnTo>
                    <a:pt x="178" y="216"/>
                  </a:lnTo>
                  <a:lnTo>
                    <a:pt x="174" y="221"/>
                  </a:lnTo>
                  <a:lnTo>
                    <a:pt x="174" y="221"/>
                  </a:lnTo>
                  <a:lnTo>
                    <a:pt x="171" y="221"/>
                  </a:lnTo>
                  <a:lnTo>
                    <a:pt x="166" y="221"/>
                  </a:lnTo>
                  <a:lnTo>
                    <a:pt x="160" y="218"/>
                  </a:lnTo>
                  <a:lnTo>
                    <a:pt x="153" y="213"/>
                  </a:lnTo>
                  <a:lnTo>
                    <a:pt x="147" y="209"/>
                  </a:lnTo>
                  <a:lnTo>
                    <a:pt x="147" y="209"/>
                  </a:lnTo>
                  <a:lnTo>
                    <a:pt x="141" y="209"/>
                  </a:lnTo>
                  <a:lnTo>
                    <a:pt x="137" y="211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5" y="216"/>
                  </a:lnTo>
                  <a:lnTo>
                    <a:pt x="120" y="215"/>
                  </a:lnTo>
                  <a:lnTo>
                    <a:pt x="113" y="212"/>
                  </a:lnTo>
                  <a:lnTo>
                    <a:pt x="113" y="212"/>
                  </a:lnTo>
                  <a:lnTo>
                    <a:pt x="110" y="212"/>
                  </a:lnTo>
                  <a:lnTo>
                    <a:pt x="107" y="213"/>
                  </a:lnTo>
                  <a:lnTo>
                    <a:pt x="104" y="215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97" y="216"/>
                  </a:lnTo>
                  <a:lnTo>
                    <a:pt x="94" y="219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0" y="234"/>
                  </a:lnTo>
                  <a:lnTo>
                    <a:pt x="79" y="239"/>
                  </a:lnTo>
                  <a:lnTo>
                    <a:pt x="79" y="243"/>
                  </a:lnTo>
                  <a:lnTo>
                    <a:pt x="79" y="243"/>
                  </a:lnTo>
                  <a:lnTo>
                    <a:pt x="77" y="249"/>
                  </a:lnTo>
                  <a:lnTo>
                    <a:pt x="73" y="258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6"/>
                  </a:lnTo>
                  <a:lnTo>
                    <a:pt x="60" y="279"/>
                  </a:lnTo>
                  <a:lnTo>
                    <a:pt x="52" y="282"/>
                  </a:lnTo>
                  <a:lnTo>
                    <a:pt x="43" y="285"/>
                  </a:lnTo>
                  <a:lnTo>
                    <a:pt x="43" y="285"/>
                  </a:lnTo>
                  <a:lnTo>
                    <a:pt x="32" y="299"/>
                  </a:lnTo>
                  <a:lnTo>
                    <a:pt x="24" y="310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20"/>
                  </a:lnTo>
                  <a:lnTo>
                    <a:pt x="21" y="322"/>
                  </a:lnTo>
                  <a:lnTo>
                    <a:pt x="24" y="328"/>
                  </a:lnTo>
                  <a:lnTo>
                    <a:pt x="24" y="328"/>
                  </a:lnTo>
                  <a:lnTo>
                    <a:pt x="24" y="330"/>
                  </a:lnTo>
                  <a:lnTo>
                    <a:pt x="20" y="333"/>
                  </a:lnTo>
                  <a:lnTo>
                    <a:pt x="11" y="335"/>
                  </a:lnTo>
                  <a:lnTo>
                    <a:pt x="11" y="335"/>
                  </a:lnTo>
                  <a:lnTo>
                    <a:pt x="3" y="338"/>
                  </a:lnTo>
                  <a:lnTo>
                    <a:pt x="2" y="339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2" y="350"/>
                  </a:lnTo>
                  <a:lnTo>
                    <a:pt x="2" y="3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2" name="Freeform 11">
              <a:extLst>
                <a:ext uri="{FF2B5EF4-FFF2-40B4-BE49-F238E27FC236}">
                  <a16:creationId xmlns:a16="http://schemas.microsoft.com/office/drawing/2014/main" id="{F1F2C255-7C07-0942-918B-71096532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7663" y="4875213"/>
              <a:ext cx="1960563" cy="1603375"/>
            </a:xfrm>
            <a:custGeom>
              <a:avLst/>
              <a:gdLst>
                <a:gd name="T0" fmla="*/ 256 w 1235"/>
                <a:gd name="T1" fmla="*/ 770 h 1010"/>
                <a:gd name="T2" fmla="*/ 330 w 1235"/>
                <a:gd name="T3" fmla="*/ 741 h 1010"/>
                <a:gd name="T4" fmla="*/ 395 w 1235"/>
                <a:gd name="T5" fmla="*/ 778 h 1010"/>
                <a:gd name="T6" fmla="*/ 425 w 1235"/>
                <a:gd name="T7" fmla="*/ 812 h 1010"/>
                <a:gd name="T8" fmla="*/ 462 w 1235"/>
                <a:gd name="T9" fmla="*/ 875 h 1010"/>
                <a:gd name="T10" fmla="*/ 477 w 1235"/>
                <a:gd name="T11" fmla="*/ 908 h 1010"/>
                <a:gd name="T12" fmla="*/ 474 w 1235"/>
                <a:gd name="T13" fmla="*/ 942 h 1010"/>
                <a:gd name="T14" fmla="*/ 523 w 1235"/>
                <a:gd name="T15" fmla="*/ 970 h 1010"/>
                <a:gd name="T16" fmla="*/ 573 w 1235"/>
                <a:gd name="T17" fmla="*/ 1010 h 1010"/>
                <a:gd name="T18" fmla="*/ 622 w 1235"/>
                <a:gd name="T19" fmla="*/ 954 h 1010"/>
                <a:gd name="T20" fmla="*/ 665 w 1235"/>
                <a:gd name="T21" fmla="*/ 936 h 1010"/>
                <a:gd name="T22" fmla="*/ 700 w 1235"/>
                <a:gd name="T23" fmla="*/ 923 h 1010"/>
                <a:gd name="T24" fmla="*/ 715 w 1235"/>
                <a:gd name="T25" fmla="*/ 880 h 1010"/>
                <a:gd name="T26" fmla="*/ 745 w 1235"/>
                <a:gd name="T27" fmla="*/ 844 h 1010"/>
                <a:gd name="T28" fmla="*/ 805 w 1235"/>
                <a:gd name="T29" fmla="*/ 840 h 1010"/>
                <a:gd name="T30" fmla="*/ 862 w 1235"/>
                <a:gd name="T31" fmla="*/ 853 h 1010"/>
                <a:gd name="T32" fmla="*/ 919 w 1235"/>
                <a:gd name="T33" fmla="*/ 884 h 1010"/>
                <a:gd name="T34" fmla="*/ 993 w 1235"/>
                <a:gd name="T35" fmla="*/ 920 h 1010"/>
                <a:gd name="T36" fmla="*/ 1076 w 1235"/>
                <a:gd name="T37" fmla="*/ 905 h 1010"/>
                <a:gd name="T38" fmla="*/ 1149 w 1235"/>
                <a:gd name="T39" fmla="*/ 930 h 1010"/>
                <a:gd name="T40" fmla="*/ 1233 w 1235"/>
                <a:gd name="T41" fmla="*/ 878 h 1010"/>
                <a:gd name="T42" fmla="*/ 1193 w 1235"/>
                <a:gd name="T43" fmla="*/ 841 h 1010"/>
                <a:gd name="T44" fmla="*/ 1176 w 1235"/>
                <a:gd name="T45" fmla="*/ 794 h 1010"/>
                <a:gd name="T46" fmla="*/ 1155 w 1235"/>
                <a:gd name="T47" fmla="*/ 755 h 1010"/>
                <a:gd name="T48" fmla="*/ 1113 w 1235"/>
                <a:gd name="T49" fmla="*/ 733 h 1010"/>
                <a:gd name="T50" fmla="*/ 1085 w 1235"/>
                <a:gd name="T51" fmla="*/ 692 h 1010"/>
                <a:gd name="T52" fmla="*/ 1036 w 1235"/>
                <a:gd name="T53" fmla="*/ 675 h 1010"/>
                <a:gd name="T54" fmla="*/ 1004 w 1235"/>
                <a:gd name="T55" fmla="*/ 652 h 1010"/>
                <a:gd name="T56" fmla="*/ 939 w 1235"/>
                <a:gd name="T57" fmla="*/ 677 h 1010"/>
                <a:gd name="T58" fmla="*/ 860 w 1235"/>
                <a:gd name="T59" fmla="*/ 649 h 1010"/>
                <a:gd name="T60" fmla="*/ 832 w 1235"/>
                <a:gd name="T61" fmla="*/ 582 h 1010"/>
                <a:gd name="T62" fmla="*/ 751 w 1235"/>
                <a:gd name="T63" fmla="*/ 550 h 1010"/>
                <a:gd name="T64" fmla="*/ 688 w 1235"/>
                <a:gd name="T65" fmla="*/ 507 h 1010"/>
                <a:gd name="T66" fmla="*/ 611 w 1235"/>
                <a:gd name="T67" fmla="*/ 462 h 1010"/>
                <a:gd name="T68" fmla="*/ 604 w 1235"/>
                <a:gd name="T69" fmla="*/ 412 h 1010"/>
                <a:gd name="T70" fmla="*/ 608 w 1235"/>
                <a:gd name="T71" fmla="*/ 342 h 1010"/>
                <a:gd name="T72" fmla="*/ 576 w 1235"/>
                <a:gd name="T73" fmla="*/ 310 h 1010"/>
                <a:gd name="T74" fmla="*/ 542 w 1235"/>
                <a:gd name="T75" fmla="*/ 287 h 1010"/>
                <a:gd name="T76" fmla="*/ 499 w 1235"/>
                <a:gd name="T77" fmla="*/ 287 h 1010"/>
                <a:gd name="T78" fmla="*/ 453 w 1235"/>
                <a:gd name="T79" fmla="*/ 267 h 1010"/>
                <a:gd name="T80" fmla="*/ 447 w 1235"/>
                <a:gd name="T81" fmla="*/ 237 h 1010"/>
                <a:gd name="T82" fmla="*/ 444 w 1235"/>
                <a:gd name="T83" fmla="*/ 213 h 1010"/>
                <a:gd name="T84" fmla="*/ 394 w 1235"/>
                <a:gd name="T85" fmla="*/ 184 h 1010"/>
                <a:gd name="T86" fmla="*/ 321 w 1235"/>
                <a:gd name="T87" fmla="*/ 178 h 1010"/>
                <a:gd name="T88" fmla="*/ 295 w 1235"/>
                <a:gd name="T89" fmla="*/ 122 h 1010"/>
                <a:gd name="T90" fmla="*/ 318 w 1235"/>
                <a:gd name="T91" fmla="*/ 90 h 1010"/>
                <a:gd name="T92" fmla="*/ 336 w 1235"/>
                <a:gd name="T93" fmla="*/ 28 h 1010"/>
                <a:gd name="T94" fmla="*/ 275 w 1235"/>
                <a:gd name="T95" fmla="*/ 30 h 1010"/>
                <a:gd name="T96" fmla="*/ 232 w 1235"/>
                <a:gd name="T97" fmla="*/ 15 h 1010"/>
                <a:gd name="T98" fmla="*/ 173 w 1235"/>
                <a:gd name="T99" fmla="*/ 36 h 1010"/>
                <a:gd name="T100" fmla="*/ 118 w 1235"/>
                <a:gd name="T101" fmla="*/ 108 h 1010"/>
                <a:gd name="T102" fmla="*/ 56 w 1235"/>
                <a:gd name="T103" fmla="*/ 160 h 1010"/>
                <a:gd name="T104" fmla="*/ 41 w 1235"/>
                <a:gd name="T105" fmla="*/ 227 h 1010"/>
                <a:gd name="T106" fmla="*/ 6 w 1235"/>
                <a:gd name="T107" fmla="*/ 270 h 1010"/>
                <a:gd name="T108" fmla="*/ 55 w 1235"/>
                <a:gd name="T109" fmla="*/ 332 h 1010"/>
                <a:gd name="T110" fmla="*/ 92 w 1235"/>
                <a:gd name="T111" fmla="*/ 428 h 1010"/>
                <a:gd name="T112" fmla="*/ 68 w 1235"/>
                <a:gd name="T113" fmla="*/ 530 h 1010"/>
                <a:gd name="T114" fmla="*/ 61 w 1235"/>
                <a:gd name="T115" fmla="*/ 581 h 1010"/>
                <a:gd name="T116" fmla="*/ 89 w 1235"/>
                <a:gd name="T117" fmla="*/ 680 h 1010"/>
                <a:gd name="T118" fmla="*/ 89 w 1235"/>
                <a:gd name="T119" fmla="*/ 764 h 1010"/>
                <a:gd name="T120" fmla="*/ 144 w 1235"/>
                <a:gd name="T121" fmla="*/ 788 h 1010"/>
                <a:gd name="T122" fmla="*/ 179 w 1235"/>
                <a:gd name="T123" fmla="*/ 779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5" h="1010">
                  <a:moveTo>
                    <a:pt x="213" y="767"/>
                  </a:moveTo>
                  <a:lnTo>
                    <a:pt x="213" y="767"/>
                  </a:lnTo>
                  <a:lnTo>
                    <a:pt x="221" y="764"/>
                  </a:lnTo>
                  <a:lnTo>
                    <a:pt x="222" y="764"/>
                  </a:lnTo>
                  <a:lnTo>
                    <a:pt x="222" y="766"/>
                  </a:lnTo>
                  <a:lnTo>
                    <a:pt x="222" y="769"/>
                  </a:lnTo>
                  <a:lnTo>
                    <a:pt x="222" y="773"/>
                  </a:lnTo>
                  <a:lnTo>
                    <a:pt x="222" y="773"/>
                  </a:lnTo>
                  <a:lnTo>
                    <a:pt x="226" y="775"/>
                  </a:lnTo>
                  <a:lnTo>
                    <a:pt x="234" y="776"/>
                  </a:lnTo>
                  <a:lnTo>
                    <a:pt x="244" y="775"/>
                  </a:lnTo>
                  <a:lnTo>
                    <a:pt x="256" y="770"/>
                  </a:lnTo>
                  <a:lnTo>
                    <a:pt x="256" y="770"/>
                  </a:lnTo>
                  <a:lnTo>
                    <a:pt x="265" y="766"/>
                  </a:lnTo>
                  <a:lnTo>
                    <a:pt x="271" y="763"/>
                  </a:lnTo>
                  <a:lnTo>
                    <a:pt x="274" y="760"/>
                  </a:lnTo>
                  <a:lnTo>
                    <a:pt x="278" y="758"/>
                  </a:lnTo>
                  <a:lnTo>
                    <a:pt x="278" y="758"/>
                  </a:lnTo>
                  <a:lnTo>
                    <a:pt x="286" y="758"/>
                  </a:lnTo>
                  <a:lnTo>
                    <a:pt x="296" y="757"/>
                  </a:lnTo>
                  <a:lnTo>
                    <a:pt x="318" y="752"/>
                  </a:lnTo>
                  <a:lnTo>
                    <a:pt x="318" y="752"/>
                  </a:lnTo>
                  <a:lnTo>
                    <a:pt x="323" y="751"/>
                  </a:lnTo>
                  <a:lnTo>
                    <a:pt x="326" y="749"/>
                  </a:lnTo>
                  <a:lnTo>
                    <a:pt x="329" y="745"/>
                  </a:lnTo>
                  <a:lnTo>
                    <a:pt x="330" y="741"/>
                  </a:lnTo>
                  <a:lnTo>
                    <a:pt x="333" y="739"/>
                  </a:lnTo>
                  <a:lnTo>
                    <a:pt x="333" y="739"/>
                  </a:lnTo>
                  <a:lnTo>
                    <a:pt x="335" y="739"/>
                  </a:lnTo>
                  <a:lnTo>
                    <a:pt x="338" y="741"/>
                  </a:lnTo>
                  <a:lnTo>
                    <a:pt x="346" y="746"/>
                  </a:lnTo>
                  <a:lnTo>
                    <a:pt x="355" y="752"/>
                  </a:lnTo>
                  <a:lnTo>
                    <a:pt x="364" y="757"/>
                  </a:lnTo>
                  <a:lnTo>
                    <a:pt x="364" y="757"/>
                  </a:lnTo>
                  <a:lnTo>
                    <a:pt x="373" y="761"/>
                  </a:lnTo>
                  <a:lnTo>
                    <a:pt x="382" y="766"/>
                  </a:lnTo>
                  <a:lnTo>
                    <a:pt x="391" y="775"/>
                  </a:lnTo>
                  <a:lnTo>
                    <a:pt x="391" y="775"/>
                  </a:lnTo>
                  <a:lnTo>
                    <a:pt x="395" y="778"/>
                  </a:lnTo>
                  <a:lnTo>
                    <a:pt x="401" y="781"/>
                  </a:lnTo>
                  <a:lnTo>
                    <a:pt x="409" y="782"/>
                  </a:lnTo>
                  <a:lnTo>
                    <a:pt x="417" y="781"/>
                  </a:lnTo>
                  <a:lnTo>
                    <a:pt x="417" y="781"/>
                  </a:lnTo>
                  <a:lnTo>
                    <a:pt x="422" y="781"/>
                  </a:lnTo>
                  <a:lnTo>
                    <a:pt x="423" y="781"/>
                  </a:lnTo>
                  <a:lnTo>
                    <a:pt x="423" y="782"/>
                  </a:lnTo>
                  <a:lnTo>
                    <a:pt x="423" y="785"/>
                  </a:lnTo>
                  <a:lnTo>
                    <a:pt x="422" y="792"/>
                  </a:lnTo>
                  <a:lnTo>
                    <a:pt x="422" y="803"/>
                  </a:lnTo>
                  <a:lnTo>
                    <a:pt x="422" y="803"/>
                  </a:lnTo>
                  <a:lnTo>
                    <a:pt x="422" y="807"/>
                  </a:lnTo>
                  <a:lnTo>
                    <a:pt x="425" y="812"/>
                  </a:lnTo>
                  <a:lnTo>
                    <a:pt x="429" y="818"/>
                  </a:lnTo>
                  <a:lnTo>
                    <a:pt x="435" y="825"/>
                  </a:lnTo>
                  <a:lnTo>
                    <a:pt x="437" y="828"/>
                  </a:lnTo>
                  <a:lnTo>
                    <a:pt x="438" y="832"/>
                  </a:lnTo>
                  <a:lnTo>
                    <a:pt x="438" y="832"/>
                  </a:lnTo>
                  <a:lnTo>
                    <a:pt x="441" y="838"/>
                  </a:lnTo>
                  <a:lnTo>
                    <a:pt x="447" y="844"/>
                  </a:lnTo>
                  <a:lnTo>
                    <a:pt x="452" y="850"/>
                  </a:lnTo>
                  <a:lnTo>
                    <a:pt x="459" y="858"/>
                  </a:lnTo>
                  <a:lnTo>
                    <a:pt x="459" y="858"/>
                  </a:lnTo>
                  <a:lnTo>
                    <a:pt x="460" y="862"/>
                  </a:lnTo>
                  <a:lnTo>
                    <a:pt x="462" y="866"/>
                  </a:lnTo>
                  <a:lnTo>
                    <a:pt x="462" y="875"/>
                  </a:lnTo>
                  <a:lnTo>
                    <a:pt x="460" y="883"/>
                  </a:lnTo>
                  <a:lnTo>
                    <a:pt x="462" y="890"/>
                  </a:lnTo>
                  <a:lnTo>
                    <a:pt x="462" y="890"/>
                  </a:lnTo>
                  <a:lnTo>
                    <a:pt x="463" y="893"/>
                  </a:lnTo>
                  <a:lnTo>
                    <a:pt x="465" y="895"/>
                  </a:lnTo>
                  <a:lnTo>
                    <a:pt x="469" y="896"/>
                  </a:lnTo>
                  <a:lnTo>
                    <a:pt x="475" y="898"/>
                  </a:lnTo>
                  <a:lnTo>
                    <a:pt x="477" y="899"/>
                  </a:lnTo>
                  <a:lnTo>
                    <a:pt x="478" y="902"/>
                  </a:lnTo>
                  <a:lnTo>
                    <a:pt x="478" y="902"/>
                  </a:lnTo>
                  <a:lnTo>
                    <a:pt x="480" y="905"/>
                  </a:lnTo>
                  <a:lnTo>
                    <a:pt x="480" y="906"/>
                  </a:lnTo>
                  <a:lnTo>
                    <a:pt x="477" y="908"/>
                  </a:lnTo>
                  <a:lnTo>
                    <a:pt x="474" y="909"/>
                  </a:lnTo>
                  <a:lnTo>
                    <a:pt x="472" y="911"/>
                  </a:lnTo>
                  <a:lnTo>
                    <a:pt x="472" y="912"/>
                  </a:lnTo>
                  <a:lnTo>
                    <a:pt x="472" y="912"/>
                  </a:lnTo>
                  <a:lnTo>
                    <a:pt x="475" y="917"/>
                  </a:lnTo>
                  <a:lnTo>
                    <a:pt x="477" y="921"/>
                  </a:lnTo>
                  <a:lnTo>
                    <a:pt x="477" y="927"/>
                  </a:lnTo>
                  <a:lnTo>
                    <a:pt x="474" y="933"/>
                  </a:lnTo>
                  <a:lnTo>
                    <a:pt x="474" y="933"/>
                  </a:lnTo>
                  <a:lnTo>
                    <a:pt x="471" y="936"/>
                  </a:lnTo>
                  <a:lnTo>
                    <a:pt x="471" y="939"/>
                  </a:lnTo>
                  <a:lnTo>
                    <a:pt x="472" y="941"/>
                  </a:lnTo>
                  <a:lnTo>
                    <a:pt x="474" y="942"/>
                  </a:lnTo>
                  <a:lnTo>
                    <a:pt x="480" y="946"/>
                  </a:lnTo>
                  <a:lnTo>
                    <a:pt x="486" y="951"/>
                  </a:lnTo>
                  <a:lnTo>
                    <a:pt x="486" y="951"/>
                  </a:lnTo>
                  <a:lnTo>
                    <a:pt x="489" y="954"/>
                  </a:lnTo>
                  <a:lnTo>
                    <a:pt x="493" y="955"/>
                  </a:lnTo>
                  <a:lnTo>
                    <a:pt x="499" y="955"/>
                  </a:lnTo>
                  <a:lnTo>
                    <a:pt x="506" y="954"/>
                  </a:lnTo>
                  <a:lnTo>
                    <a:pt x="511" y="954"/>
                  </a:lnTo>
                  <a:lnTo>
                    <a:pt x="511" y="954"/>
                  </a:lnTo>
                  <a:lnTo>
                    <a:pt x="514" y="955"/>
                  </a:lnTo>
                  <a:lnTo>
                    <a:pt x="515" y="960"/>
                  </a:lnTo>
                  <a:lnTo>
                    <a:pt x="518" y="964"/>
                  </a:lnTo>
                  <a:lnTo>
                    <a:pt x="523" y="970"/>
                  </a:lnTo>
                  <a:lnTo>
                    <a:pt x="523" y="970"/>
                  </a:lnTo>
                  <a:lnTo>
                    <a:pt x="530" y="976"/>
                  </a:lnTo>
                  <a:lnTo>
                    <a:pt x="536" y="979"/>
                  </a:lnTo>
                  <a:lnTo>
                    <a:pt x="549" y="980"/>
                  </a:lnTo>
                  <a:lnTo>
                    <a:pt x="549" y="980"/>
                  </a:lnTo>
                  <a:lnTo>
                    <a:pt x="554" y="983"/>
                  </a:lnTo>
                  <a:lnTo>
                    <a:pt x="555" y="985"/>
                  </a:lnTo>
                  <a:lnTo>
                    <a:pt x="554" y="988"/>
                  </a:lnTo>
                  <a:lnTo>
                    <a:pt x="554" y="991"/>
                  </a:lnTo>
                  <a:lnTo>
                    <a:pt x="554" y="991"/>
                  </a:lnTo>
                  <a:lnTo>
                    <a:pt x="563" y="1000"/>
                  </a:lnTo>
                  <a:lnTo>
                    <a:pt x="573" y="1010"/>
                  </a:lnTo>
                  <a:lnTo>
                    <a:pt x="573" y="1010"/>
                  </a:lnTo>
                  <a:lnTo>
                    <a:pt x="576" y="1009"/>
                  </a:lnTo>
                  <a:lnTo>
                    <a:pt x="580" y="1003"/>
                  </a:lnTo>
                  <a:lnTo>
                    <a:pt x="580" y="1003"/>
                  </a:lnTo>
                  <a:lnTo>
                    <a:pt x="583" y="1000"/>
                  </a:lnTo>
                  <a:lnTo>
                    <a:pt x="588" y="998"/>
                  </a:lnTo>
                  <a:lnTo>
                    <a:pt x="600" y="997"/>
                  </a:lnTo>
                  <a:lnTo>
                    <a:pt x="600" y="997"/>
                  </a:lnTo>
                  <a:lnTo>
                    <a:pt x="604" y="995"/>
                  </a:lnTo>
                  <a:lnTo>
                    <a:pt x="606" y="994"/>
                  </a:lnTo>
                  <a:lnTo>
                    <a:pt x="610" y="989"/>
                  </a:lnTo>
                  <a:lnTo>
                    <a:pt x="613" y="980"/>
                  </a:lnTo>
                  <a:lnTo>
                    <a:pt x="613" y="980"/>
                  </a:lnTo>
                  <a:lnTo>
                    <a:pt x="622" y="954"/>
                  </a:lnTo>
                  <a:lnTo>
                    <a:pt x="622" y="954"/>
                  </a:lnTo>
                  <a:lnTo>
                    <a:pt x="623" y="952"/>
                  </a:lnTo>
                  <a:lnTo>
                    <a:pt x="626" y="951"/>
                  </a:lnTo>
                  <a:lnTo>
                    <a:pt x="631" y="949"/>
                  </a:lnTo>
                  <a:lnTo>
                    <a:pt x="634" y="946"/>
                  </a:lnTo>
                  <a:lnTo>
                    <a:pt x="634" y="946"/>
                  </a:lnTo>
                  <a:lnTo>
                    <a:pt x="637" y="945"/>
                  </a:lnTo>
                  <a:lnTo>
                    <a:pt x="640" y="943"/>
                  </a:lnTo>
                  <a:lnTo>
                    <a:pt x="646" y="943"/>
                  </a:lnTo>
                  <a:lnTo>
                    <a:pt x="646" y="943"/>
                  </a:lnTo>
                  <a:lnTo>
                    <a:pt x="648" y="943"/>
                  </a:lnTo>
                  <a:lnTo>
                    <a:pt x="653" y="942"/>
                  </a:lnTo>
                  <a:lnTo>
                    <a:pt x="665" y="936"/>
                  </a:lnTo>
                  <a:lnTo>
                    <a:pt x="665" y="936"/>
                  </a:lnTo>
                  <a:lnTo>
                    <a:pt x="669" y="933"/>
                  </a:lnTo>
                  <a:lnTo>
                    <a:pt x="674" y="935"/>
                  </a:lnTo>
                  <a:lnTo>
                    <a:pt x="683" y="938"/>
                  </a:lnTo>
                  <a:lnTo>
                    <a:pt x="683" y="938"/>
                  </a:lnTo>
                  <a:lnTo>
                    <a:pt x="685" y="938"/>
                  </a:lnTo>
                  <a:lnTo>
                    <a:pt x="687" y="938"/>
                  </a:lnTo>
                  <a:lnTo>
                    <a:pt x="690" y="933"/>
                  </a:lnTo>
                  <a:lnTo>
                    <a:pt x="693" y="927"/>
                  </a:lnTo>
                  <a:lnTo>
                    <a:pt x="694" y="926"/>
                  </a:lnTo>
                  <a:lnTo>
                    <a:pt x="697" y="924"/>
                  </a:lnTo>
                  <a:lnTo>
                    <a:pt x="697" y="924"/>
                  </a:lnTo>
                  <a:lnTo>
                    <a:pt x="700" y="923"/>
                  </a:lnTo>
                  <a:lnTo>
                    <a:pt x="703" y="921"/>
                  </a:lnTo>
                  <a:lnTo>
                    <a:pt x="708" y="915"/>
                  </a:lnTo>
                  <a:lnTo>
                    <a:pt x="711" y="908"/>
                  </a:lnTo>
                  <a:lnTo>
                    <a:pt x="712" y="901"/>
                  </a:lnTo>
                  <a:lnTo>
                    <a:pt x="712" y="901"/>
                  </a:lnTo>
                  <a:lnTo>
                    <a:pt x="712" y="896"/>
                  </a:lnTo>
                  <a:lnTo>
                    <a:pt x="712" y="893"/>
                  </a:lnTo>
                  <a:lnTo>
                    <a:pt x="706" y="887"/>
                  </a:lnTo>
                  <a:lnTo>
                    <a:pt x="706" y="887"/>
                  </a:lnTo>
                  <a:lnTo>
                    <a:pt x="705" y="884"/>
                  </a:lnTo>
                  <a:lnTo>
                    <a:pt x="706" y="883"/>
                  </a:lnTo>
                  <a:lnTo>
                    <a:pt x="709" y="881"/>
                  </a:lnTo>
                  <a:lnTo>
                    <a:pt x="715" y="880"/>
                  </a:lnTo>
                  <a:lnTo>
                    <a:pt x="718" y="877"/>
                  </a:lnTo>
                  <a:lnTo>
                    <a:pt x="718" y="877"/>
                  </a:lnTo>
                  <a:lnTo>
                    <a:pt x="720" y="872"/>
                  </a:lnTo>
                  <a:lnTo>
                    <a:pt x="720" y="866"/>
                  </a:lnTo>
                  <a:lnTo>
                    <a:pt x="721" y="859"/>
                  </a:lnTo>
                  <a:lnTo>
                    <a:pt x="723" y="852"/>
                  </a:lnTo>
                  <a:lnTo>
                    <a:pt x="723" y="852"/>
                  </a:lnTo>
                  <a:lnTo>
                    <a:pt x="724" y="847"/>
                  </a:lnTo>
                  <a:lnTo>
                    <a:pt x="727" y="846"/>
                  </a:lnTo>
                  <a:lnTo>
                    <a:pt x="734" y="844"/>
                  </a:lnTo>
                  <a:lnTo>
                    <a:pt x="742" y="844"/>
                  </a:lnTo>
                  <a:lnTo>
                    <a:pt x="745" y="844"/>
                  </a:lnTo>
                  <a:lnTo>
                    <a:pt x="745" y="844"/>
                  </a:lnTo>
                  <a:lnTo>
                    <a:pt x="746" y="835"/>
                  </a:lnTo>
                  <a:lnTo>
                    <a:pt x="749" y="829"/>
                  </a:lnTo>
                  <a:lnTo>
                    <a:pt x="754" y="822"/>
                  </a:lnTo>
                  <a:lnTo>
                    <a:pt x="754" y="822"/>
                  </a:lnTo>
                  <a:lnTo>
                    <a:pt x="758" y="819"/>
                  </a:lnTo>
                  <a:lnTo>
                    <a:pt x="764" y="819"/>
                  </a:lnTo>
                  <a:lnTo>
                    <a:pt x="770" y="819"/>
                  </a:lnTo>
                  <a:lnTo>
                    <a:pt x="776" y="821"/>
                  </a:lnTo>
                  <a:lnTo>
                    <a:pt x="789" y="826"/>
                  </a:lnTo>
                  <a:lnTo>
                    <a:pt x="798" y="835"/>
                  </a:lnTo>
                  <a:lnTo>
                    <a:pt x="798" y="835"/>
                  </a:lnTo>
                  <a:lnTo>
                    <a:pt x="802" y="838"/>
                  </a:lnTo>
                  <a:lnTo>
                    <a:pt x="805" y="840"/>
                  </a:lnTo>
                  <a:lnTo>
                    <a:pt x="813" y="841"/>
                  </a:lnTo>
                  <a:lnTo>
                    <a:pt x="819" y="843"/>
                  </a:lnTo>
                  <a:lnTo>
                    <a:pt x="822" y="843"/>
                  </a:lnTo>
                  <a:lnTo>
                    <a:pt x="825" y="846"/>
                  </a:lnTo>
                  <a:lnTo>
                    <a:pt x="825" y="846"/>
                  </a:lnTo>
                  <a:lnTo>
                    <a:pt x="831" y="849"/>
                  </a:lnTo>
                  <a:lnTo>
                    <a:pt x="837" y="850"/>
                  </a:lnTo>
                  <a:lnTo>
                    <a:pt x="842" y="852"/>
                  </a:lnTo>
                  <a:lnTo>
                    <a:pt x="847" y="853"/>
                  </a:lnTo>
                  <a:lnTo>
                    <a:pt x="847" y="853"/>
                  </a:lnTo>
                  <a:lnTo>
                    <a:pt x="851" y="853"/>
                  </a:lnTo>
                  <a:lnTo>
                    <a:pt x="856" y="853"/>
                  </a:lnTo>
                  <a:lnTo>
                    <a:pt x="862" y="853"/>
                  </a:lnTo>
                  <a:lnTo>
                    <a:pt x="866" y="855"/>
                  </a:lnTo>
                  <a:lnTo>
                    <a:pt x="866" y="855"/>
                  </a:lnTo>
                  <a:lnTo>
                    <a:pt x="869" y="856"/>
                  </a:lnTo>
                  <a:lnTo>
                    <a:pt x="871" y="859"/>
                  </a:lnTo>
                  <a:lnTo>
                    <a:pt x="869" y="865"/>
                  </a:lnTo>
                  <a:lnTo>
                    <a:pt x="868" y="869"/>
                  </a:lnTo>
                  <a:lnTo>
                    <a:pt x="866" y="874"/>
                  </a:lnTo>
                  <a:lnTo>
                    <a:pt x="866" y="874"/>
                  </a:lnTo>
                  <a:lnTo>
                    <a:pt x="868" y="875"/>
                  </a:lnTo>
                  <a:lnTo>
                    <a:pt x="872" y="877"/>
                  </a:lnTo>
                  <a:lnTo>
                    <a:pt x="885" y="881"/>
                  </a:lnTo>
                  <a:lnTo>
                    <a:pt x="903" y="883"/>
                  </a:lnTo>
                  <a:lnTo>
                    <a:pt x="919" y="884"/>
                  </a:lnTo>
                  <a:lnTo>
                    <a:pt x="919" y="884"/>
                  </a:lnTo>
                  <a:lnTo>
                    <a:pt x="934" y="886"/>
                  </a:lnTo>
                  <a:lnTo>
                    <a:pt x="945" y="889"/>
                  </a:lnTo>
                  <a:lnTo>
                    <a:pt x="951" y="892"/>
                  </a:lnTo>
                  <a:lnTo>
                    <a:pt x="955" y="898"/>
                  </a:lnTo>
                  <a:lnTo>
                    <a:pt x="955" y="898"/>
                  </a:lnTo>
                  <a:lnTo>
                    <a:pt x="961" y="908"/>
                  </a:lnTo>
                  <a:lnTo>
                    <a:pt x="965" y="914"/>
                  </a:lnTo>
                  <a:lnTo>
                    <a:pt x="965" y="914"/>
                  </a:lnTo>
                  <a:lnTo>
                    <a:pt x="967" y="915"/>
                  </a:lnTo>
                  <a:lnTo>
                    <a:pt x="971" y="915"/>
                  </a:lnTo>
                  <a:lnTo>
                    <a:pt x="982" y="917"/>
                  </a:lnTo>
                  <a:lnTo>
                    <a:pt x="993" y="920"/>
                  </a:lnTo>
                  <a:lnTo>
                    <a:pt x="998" y="921"/>
                  </a:lnTo>
                  <a:lnTo>
                    <a:pt x="1001" y="923"/>
                  </a:lnTo>
                  <a:lnTo>
                    <a:pt x="1001" y="923"/>
                  </a:lnTo>
                  <a:lnTo>
                    <a:pt x="1010" y="930"/>
                  </a:lnTo>
                  <a:lnTo>
                    <a:pt x="1014" y="933"/>
                  </a:lnTo>
                  <a:lnTo>
                    <a:pt x="1019" y="935"/>
                  </a:lnTo>
                  <a:lnTo>
                    <a:pt x="1019" y="935"/>
                  </a:lnTo>
                  <a:lnTo>
                    <a:pt x="1023" y="932"/>
                  </a:lnTo>
                  <a:lnTo>
                    <a:pt x="1029" y="927"/>
                  </a:lnTo>
                  <a:lnTo>
                    <a:pt x="1038" y="923"/>
                  </a:lnTo>
                  <a:lnTo>
                    <a:pt x="1048" y="917"/>
                  </a:lnTo>
                  <a:lnTo>
                    <a:pt x="1048" y="917"/>
                  </a:lnTo>
                  <a:lnTo>
                    <a:pt x="1076" y="905"/>
                  </a:lnTo>
                  <a:lnTo>
                    <a:pt x="1088" y="902"/>
                  </a:lnTo>
                  <a:lnTo>
                    <a:pt x="1093" y="902"/>
                  </a:lnTo>
                  <a:lnTo>
                    <a:pt x="1096" y="903"/>
                  </a:lnTo>
                  <a:lnTo>
                    <a:pt x="1096" y="903"/>
                  </a:lnTo>
                  <a:lnTo>
                    <a:pt x="1100" y="906"/>
                  </a:lnTo>
                  <a:lnTo>
                    <a:pt x="1103" y="909"/>
                  </a:lnTo>
                  <a:lnTo>
                    <a:pt x="1109" y="920"/>
                  </a:lnTo>
                  <a:lnTo>
                    <a:pt x="1118" y="935"/>
                  </a:lnTo>
                  <a:lnTo>
                    <a:pt x="1118" y="935"/>
                  </a:lnTo>
                  <a:lnTo>
                    <a:pt x="1121" y="938"/>
                  </a:lnTo>
                  <a:lnTo>
                    <a:pt x="1128" y="939"/>
                  </a:lnTo>
                  <a:lnTo>
                    <a:pt x="1128" y="939"/>
                  </a:lnTo>
                  <a:lnTo>
                    <a:pt x="1149" y="930"/>
                  </a:lnTo>
                  <a:lnTo>
                    <a:pt x="1183" y="917"/>
                  </a:lnTo>
                  <a:lnTo>
                    <a:pt x="1183" y="917"/>
                  </a:lnTo>
                  <a:lnTo>
                    <a:pt x="1193" y="911"/>
                  </a:lnTo>
                  <a:lnTo>
                    <a:pt x="1201" y="903"/>
                  </a:lnTo>
                  <a:lnTo>
                    <a:pt x="1205" y="896"/>
                  </a:lnTo>
                  <a:lnTo>
                    <a:pt x="1207" y="890"/>
                  </a:lnTo>
                  <a:lnTo>
                    <a:pt x="1207" y="890"/>
                  </a:lnTo>
                  <a:lnTo>
                    <a:pt x="1207" y="887"/>
                  </a:lnTo>
                  <a:lnTo>
                    <a:pt x="1208" y="886"/>
                  </a:lnTo>
                  <a:lnTo>
                    <a:pt x="1214" y="883"/>
                  </a:lnTo>
                  <a:lnTo>
                    <a:pt x="1230" y="880"/>
                  </a:lnTo>
                  <a:lnTo>
                    <a:pt x="1230" y="880"/>
                  </a:lnTo>
                  <a:lnTo>
                    <a:pt x="1233" y="878"/>
                  </a:lnTo>
                  <a:lnTo>
                    <a:pt x="1235" y="877"/>
                  </a:lnTo>
                  <a:lnTo>
                    <a:pt x="1235" y="875"/>
                  </a:lnTo>
                  <a:lnTo>
                    <a:pt x="1235" y="874"/>
                  </a:lnTo>
                  <a:lnTo>
                    <a:pt x="1229" y="869"/>
                  </a:lnTo>
                  <a:lnTo>
                    <a:pt x="1222" y="866"/>
                  </a:lnTo>
                  <a:lnTo>
                    <a:pt x="1222" y="866"/>
                  </a:lnTo>
                  <a:lnTo>
                    <a:pt x="1208" y="863"/>
                  </a:lnTo>
                  <a:lnTo>
                    <a:pt x="1204" y="861"/>
                  </a:lnTo>
                  <a:lnTo>
                    <a:pt x="1201" y="853"/>
                  </a:lnTo>
                  <a:lnTo>
                    <a:pt x="1201" y="853"/>
                  </a:lnTo>
                  <a:lnTo>
                    <a:pt x="1199" y="847"/>
                  </a:lnTo>
                  <a:lnTo>
                    <a:pt x="1196" y="844"/>
                  </a:lnTo>
                  <a:lnTo>
                    <a:pt x="1193" y="841"/>
                  </a:lnTo>
                  <a:lnTo>
                    <a:pt x="1185" y="838"/>
                  </a:lnTo>
                  <a:lnTo>
                    <a:pt x="1185" y="838"/>
                  </a:lnTo>
                  <a:lnTo>
                    <a:pt x="1182" y="837"/>
                  </a:lnTo>
                  <a:lnTo>
                    <a:pt x="1179" y="834"/>
                  </a:lnTo>
                  <a:lnTo>
                    <a:pt x="1176" y="831"/>
                  </a:lnTo>
                  <a:lnTo>
                    <a:pt x="1176" y="828"/>
                  </a:lnTo>
                  <a:lnTo>
                    <a:pt x="1177" y="821"/>
                  </a:lnTo>
                  <a:lnTo>
                    <a:pt x="1182" y="812"/>
                  </a:lnTo>
                  <a:lnTo>
                    <a:pt x="1182" y="812"/>
                  </a:lnTo>
                  <a:lnTo>
                    <a:pt x="1182" y="809"/>
                  </a:lnTo>
                  <a:lnTo>
                    <a:pt x="1182" y="804"/>
                  </a:lnTo>
                  <a:lnTo>
                    <a:pt x="1180" y="798"/>
                  </a:lnTo>
                  <a:lnTo>
                    <a:pt x="1176" y="794"/>
                  </a:lnTo>
                  <a:lnTo>
                    <a:pt x="1173" y="791"/>
                  </a:lnTo>
                  <a:lnTo>
                    <a:pt x="1173" y="791"/>
                  </a:lnTo>
                  <a:lnTo>
                    <a:pt x="1171" y="791"/>
                  </a:lnTo>
                  <a:lnTo>
                    <a:pt x="1171" y="791"/>
                  </a:lnTo>
                  <a:lnTo>
                    <a:pt x="1170" y="786"/>
                  </a:lnTo>
                  <a:lnTo>
                    <a:pt x="1167" y="776"/>
                  </a:lnTo>
                  <a:lnTo>
                    <a:pt x="1167" y="776"/>
                  </a:lnTo>
                  <a:lnTo>
                    <a:pt x="1167" y="766"/>
                  </a:lnTo>
                  <a:lnTo>
                    <a:pt x="1165" y="763"/>
                  </a:lnTo>
                  <a:lnTo>
                    <a:pt x="1162" y="761"/>
                  </a:lnTo>
                  <a:lnTo>
                    <a:pt x="1162" y="761"/>
                  </a:lnTo>
                  <a:lnTo>
                    <a:pt x="1158" y="760"/>
                  </a:lnTo>
                  <a:lnTo>
                    <a:pt x="1155" y="755"/>
                  </a:lnTo>
                  <a:lnTo>
                    <a:pt x="1149" y="746"/>
                  </a:lnTo>
                  <a:lnTo>
                    <a:pt x="1149" y="746"/>
                  </a:lnTo>
                  <a:lnTo>
                    <a:pt x="1147" y="745"/>
                  </a:lnTo>
                  <a:lnTo>
                    <a:pt x="1146" y="745"/>
                  </a:lnTo>
                  <a:lnTo>
                    <a:pt x="1140" y="745"/>
                  </a:lnTo>
                  <a:lnTo>
                    <a:pt x="1128" y="748"/>
                  </a:lnTo>
                  <a:lnTo>
                    <a:pt x="1128" y="748"/>
                  </a:lnTo>
                  <a:lnTo>
                    <a:pt x="1125" y="748"/>
                  </a:lnTo>
                  <a:lnTo>
                    <a:pt x="1122" y="746"/>
                  </a:lnTo>
                  <a:lnTo>
                    <a:pt x="1119" y="739"/>
                  </a:lnTo>
                  <a:lnTo>
                    <a:pt x="1119" y="739"/>
                  </a:lnTo>
                  <a:lnTo>
                    <a:pt x="1116" y="735"/>
                  </a:lnTo>
                  <a:lnTo>
                    <a:pt x="1113" y="733"/>
                  </a:lnTo>
                  <a:lnTo>
                    <a:pt x="1112" y="732"/>
                  </a:lnTo>
                  <a:lnTo>
                    <a:pt x="1112" y="730"/>
                  </a:lnTo>
                  <a:lnTo>
                    <a:pt x="1112" y="730"/>
                  </a:lnTo>
                  <a:lnTo>
                    <a:pt x="1112" y="724"/>
                  </a:lnTo>
                  <a:lnTo>
                    <a:pt x="1112" y="720"/>
                  </a:lnTo>
                  <a:lnTo>
                    <a:pt x="1110" y="718"/>
                  </a:lnTo>
                  <a:lnTo>
                    <a:pt x="1110" y="718"/>
                  </a:lnTo>
                  <a:lnTo>
                    <a:pt x="1103" y="711"/>
                  </a:lnTo>
                  <a:lnTo>
                    <a:pt x="1093" y="696"/>
                  </a:lnTo>
                  <a:lnTo>
                    <a:pt x="1093" y="696"/>
                  </a:lnTo>
                  <a:lnTo>
                    <a:pt x="1090" y="693"/>
                  </a:lnTo>
                  <a:lnTo>
                    <a:pt x="1087" y="692"/>
                  </a:lnTo>
                  <a:lnTo>
                    <a:pt x="1085" y="692"/>
                  </a:lnTo>
                  <a:lnTo>
                    <a:pt x="1082" y="693"/>
                  </a:lnTo>
                  <a:lnTo>
                    <a:pt x="1079" y="696"/>
                  </a:lnTo>
                  <a:lnTo>
                    <a:pt x="1078" y="699"/>
                  </a:lnTo>
                  <a:lnTo>
                    <a:pt x="1078" y="699"/>
                  </a:lnTo>
                  <a:lnTo>
                    <a:pt x="1075" y="701"/>
                  </a:lnTo>
                  <a:lnTo>
                    <a:pt x="1070" y="699"/>
                  </a:lnTo>
                  <a:lnTo>
                    <a:pt x="1065" y="698"/>
                  </a:lnTo>
                  <a:lnTo>
                    <a:pt x="1060" y="693"/>
                  </a:lnTo>
                  <a:lnTo>
                    <a:pt x="1060" y="693"/>
                  </a:lnTo>
                  <a:lnTo>
                    <a:pt x="1056" y="690"/>
                  </a:lnTo>
                  <a:lnTo>
                    <a:pt x="1050" y="686"/>
                  </a:lnTo>
                  <a:lnTo>
                    <a:pt x="1044" y="681"/>
                  </a:lnTo>
                  <a:lnTo>
                    <a:pt x="1036" y="675"/>
                  </a:lnTo>
                  <a:lnTo>
                    <a:pt x="1036" y="675"/>
                  </a:lnTo>
                  <a:lnTo>
                    <a:pt x="1033" y="667"/>
                  </a:lnTo>
                  <a:lnTo>
                    <a:pt x="1032" y="659"/>
                  </a:lnTo>
                  <a:lnTo>
                    <a:pt x="1031" y="652"/>
                  </a:lnTo>
                  <a:lnTo>
                    <a:pt x="1029" y="647"/>
                  </a:lnTo>
                  <a:lnTo>
                    <a:pt x="1029" y="647"/>
                  </a:lnTo>
                  <a:lnTo>
                    <a:pt x="1028" y="644"/>
                  </a:lnTo>
                  <a:lnTo>
                    <a:pt x="1025" y="644"/>
                  </a:lnTo>
                  <a:lnTo>
                    <a:pt x="1022" y="644"/>
                  </a:lnTo>
                  <a:lnTo>
                    <a:pt x="1014" y="649"/>
                  </a:lnTo>
                  <a:lnTo>
                    <a:pt x="1014" y="649"/>
                  </a:lnTo>
                  <a:lnTo>
                    <a:pt x="1008" y="650"/>
                  </a:lnTo>
                  <a:lnTo>
                    <a:pt x="1004" y="652"/>
                  </a:lnTo>
                  <a:lnTo>
                    <a:pt x="1004" y="652"/>
                  </a:lnTo>
                  <a:lnTo>
                    <a:pt x="999" y="655"/>
                  </a:lnTo>
                  <a:lnTo>
                    <a:pt x="992" y="659"/>
                  </a:lnTo>
                  <a:lnTo>
                    <a:pt x="983" y="662"/>
                  </a:lnTo>
                  <a:lnTo>
                    <a:pt x="977" y="664"/>
                  </a:lnTo>
                  <a:lnTo>
                    <a:pt x="971" y="664"/>
                  </a:lnTo>
                  <a:lnTo>
                    <a:pt x="971" y="664"/>
                  </a:lnTo>
                  <a:lnTo>
                    <a:pt x="965" y="665"/>
                  </a:lnTo>
                  <a:lnTo>
                    <a:pt x="961" y="667"/>
                  </a:lnTo>
                  <a:lnTo>
                    <a:pt x="954" y="672"/>
                  </a:lnTo>
                  <a:lnTo>
                    <a:pt x="948" y="677"/>
                  </a:lnTo>
                  <a:lnTo>
                    <a:pt x="943" y="678"/>
                  </a:lnTo>
                  <a:lnTo>
                    <a:pt x="939" y="677"/>
                  </a:lnTo>
                  <a:lnTo>
                    <a:pt x="939" y="677"/>
                  </a:lnTo>
                  <a:lnTo>
                    <a:pt x="918" y="672"/>
                  </a:lnTo>
                  <a:lnTo>
                    <a:pt x="908" y="671"/>
                  </a:lnTo>
                  <a:lnTo>
                    <a:pt x="899" y="669"/>
                  </a:lnTo>
                  <a:lnTo>
                    <a:pt x="899" y="669"/>
                  </a:lnTo>
                  <a:lnTo>
                    <a:pt x="890" y="671"/>
                  </a:lnTo>
                  <a:lnTo>
                    <a:pt x="882" y="671"/>
                  </a:lnTo>
                  <a:lnTo>
                    <a:pt x="875" y="669"/>
                  </a:lnTo>
                  <a:lnTo>
                    <a:pt x="872" y="668"/>
                  </a:lnTo>
                  <a:lnTo>
                    <a:pt x="871" y="665"/>
                  </a:lnTo>
                  <a:lnTo>
                    <a:pt x="871" y="665"/>
                  </a:lnTo>
                  <a:lnTo>
                    <a:pt x="865" y="658"/>
                  </a:lnTo>
                  <a:lnTo>
                    <a:pt x="860" y="649"/>
                  </a:lnTo>
                  <a:lnTo>
                    <a:pt x="856" y="640"/>
                  </a:lnTo>
                  <a:lnTo>
                    <a:pt x="850" y="634"/>
                  </a:lnTo>
                  <a:lnTo>
                    <a:pt x="850" y="634"/>
                  </a:lnTo>
                  <a:lnTo>
                    <a:pt x="848" y="631"/>
                  </a:lnTo>
                  <a:lnTo>
                    <a:pt x="845" y="628"/>
                  </a:lnTo>
                  <a:lnTo>
                    <a:pt x="845" y="618"/>
                  </a:lnTo>
                  <a:lnTo>
                    <a:pt x="844" y="595"/>
                  </a:lnTo>
                  <a:lnTo>
                    <a:pt x="844" y="595"/>
                  </a:lnTo>
                  <a:lnTo>
                    <a:pt x="844" y="591"/>
                  </a:lnTo>
                  <a:lnTo>
                    <a:pt x="842" y="588"/>
                  </a:lnTo>
                  <a:lnTo>
                    <a:pt x="841" y="585"/>
                  </a:lnTo>
                  <a:lnTo>
                    <a:pt x="838" y="584"/>
                  </a:lnTo>
                  <a:lnTo>
                    <a:pt x="832" y="582"/>
                  </a:lnTo>
                  <a:lnTo>
                    <a:pt x="825" y="582"/>
                  </a:lnTo>
                  <a:lnTo>
                    <a:pt x="825" y="582"/>
                  </a:lnTo>
                  <a:lnTo>
                    <a:pt x="813" y="584"/>
                  </a:lnTo>
                  <a:lnTo>
                    <a:pt x="808" y="582"/>
                  </a:lnTo>
                  <a:lnTo>
                    <a:pt x="804" y="579"/>
                  </a:lnTo>
                  <a:lnTo>
                    <a:pt x="804" y="579"/>
                  </a:lnTo>
                  <a:lnTo>
                    <a:pt x="791" y="558"/>
                  </a:lnTo>
                  <a:lnTo>
                    <a:pt x="791" y="558"/>
                  </a:lnTo>
                  <a:lnTo>
                    <a:pt x="788" y="555"/>
                  </a:lnTo>
                  <a:lnTo>
                    <a:pt x="785" y="554"/>
                  </a:lnTo>
                  <a:lnTo>
                    <a:pt x="776" y="551"/>
                  </a:lnTo>
                  <a:lnTo>
                    <a:pt x="764" y="551"/>
                  </a:lnTo>
                  <a:lnTo>
                    <a:pt x="751" y="550"/>
                  </a:lnTo>
                  <a:lnTo>
                    <a:pt x="751" y="550"/>
                  </a:lnTo>
                  <a:lnTo>
                    <a:pt x="743" y="550"/>
                  </a:lnTo>
                  <a:lnTo>
                    <a:pt x="739" y="548"/>
                  </a:lnTo>
                  <a:lnTo>
                    <a:pt x="734" y="545"/>
                  </a:lnTo>
                  <a:lnTo>
                    <a:pt x="731" y="544"/>
                  </a:lnTo>
                  <a:lnTo>
                    <a:pt x="727" y="536"/>
                  </a:lnTo>
                  <a:lnTo>
                    <a:pt x="723" y="529"/>
                  </a:lnTo>
                  <a:lnTo>
                    <a:pt x="723" y="529"/>
                  </a:lnTo>
                  <a:lnTo>
                    <a:pt x="717" y="523"/>
                  </a:lnTo>
                  <a:lnTo>
                    <a:pt x="708" y="517"/>
                  </a:lnTo>
                  <a:lnTo>
                    <a:pt x="699" y="512"/>
                  </a:lnTo>
                  <a:lnTo>
                    <a:pt x="688" y="507"/>
                  </a:lnTo>
                  <a:lnTo>
                    <a:pt x="688" y="507"/>
                  </a:lnTo>
                  <a:lnTo>
                    <a:pt x="684" y="504"/>
                  </a:lnTo>
                  <a:lnTo>
                    <a:pt x="681" y="498"/>
                  </a:lnTo>
                  <a:lnTo>
                    <a:pt x="677" y="487"/>
                  </a:lnTo>
                  <a:lnTo>
                    <a:pt x="675" y="477"/>
                  </a:lnTo>
                  <a:lnTo>
                    <a:pt x="675" y="473"/>
                  </a:lnTo>
                  <a:lnTo>
                    <a:pt x="675" y="473"/>
                  </a:lnTo>
                  <a:lnTo>
                    <a:pt x="656" y="474"/>
                  </a:lnTo>
                  <a:lnTo>
                    <a:pt x="656" y="474"/>
                  </a:lnTo>
                  <a:lnTo>
                    <a:pt x="640" y="473"/>
                  </a:lnTo>
                  <a:lnTo>
                    <a:pt x="625" y="468"/>
                  </a:lnTo>
                  <a:lnTo>
                    <a:pt x="625" y="468"/>
                  </a:lnTo>
                  <a:lnTo>
                    <a:pt x="619" y="467"/>
                  </a:lnTo>
                  <a:lnTo>
                    <a:pt x="611" y="462"/>
                  </a:lnTo>
                  <a:lnTo>
                    <a:pt x="607" y="458"/>
                  </a:lnTo>
                  <a:lnTo>
                    <a:pt x="606" y="455"/>
                  </a:lnTo>
                  <a:lnTo>
                    <a:pt x="606" y="452"/>
                  </a:lnTo>
                  <a:lnTo>
                    <a:pt x="606" y="452"/>
                  </a:lnTo>
                  <a:lnTo>
                    <a:pt x="608" y="444"/>
                  </a:lnTo>
                  <a:lnTo>
                    <a:pt x="611" y="435"/>
                  </a:lnTo>
                  <a:lnTo>
                    <a:pt x="614" y="428"/>
                  </a:lnTo>
                  <a:lnTo>
                    <a:pt x="614" y="421"/>
                  </a:lnTo>
                  <a:lnTo>
                    <a:pt x="614" y="421"/>
                  </a:lnTo>
                  <a:lnTo>
                    <a:pt x="614" y="419"/>
                  </a:lnTo>
                  <a:lnTo>
                    <a:pt x="613" y="418"/>
                  </a:lnTo>
                  <a:lnTo>
                    <a:pt x="608" y="415"/>
                  </a:lnTo>
                  <a:lnTo>
                    <a:pt x="604" y="412"/>
                  </a:lnTo>
                  <a:lnTo>
                    <a:pt x="598" y="409"/>
                  </a:lnTo>
                  <a:lnTo>
                    <a:pt x="598" y="409"/>
                  </a:lnTo>
                  <a:lnTo>
                    <a:pt x="597" y="406"/>
                  </a:lnTo>
                  <a:lnTo>
                    <a:pt x="595" y="401"/>
                  </a:lnTo>
                  <a:lnTo>
                    <a:pt x="594" y="388"/>
                  </a:lnTo>
                  <a:lnTo>
                    <a:pt x="592" y="364"/>
                  </a:lnTo>
                  <a:lnTo>
                    <a:pt x="592" y="364"/>
                  </a:lnTo>
                  <a:lnTo>
                    <a:pt x="594" y="360"/>
                  </a:lnTo>
                  <a:lnTo>
                    <a:pt x="595" y="357"/>
                  </a:lnTo>
                  <a:lnTo>
                    <a:pt x="601" y="353"/>
                  </a:lnTo>
                  <a:lnTo>
                    <a:pt x="606" y="348"/>
                  </a:lnTo>
                  <a:lnTo>
                    <a:pt x="608" y="345"/>
                  </a:lnTo>
                  <a:lnTo>
                    <a:pt x="608" y="342"/>
                  </a:lnTo>
                  <a:lnTo>
                    <a:pt x="608" y="342"/>
                  </a:lnTo>
                  <a:lnTo>
                    <a:pt x="608" y="338"/>
                  </a:lnTo>
                  <a:lnTo>
                    <a:pt x="606" y="335"/>
                  </a:lnTo>
                  <a:lnTo>
                    <a:pt x="603" y="333"/>
                  </a:lnTo>
                  <a:lnTo>
                    <a:pt x="603" y="333"/>
                  </a:lnTo>
                  <a:lnTo>
                    <a:pt x="601" y="326"/>
                  </a:lnTo>
                  <a:lnTo>
                    <a:pt x="600" y="321"/>
                  </a:lnTo>
                  <a:lnTo>
                    <a:pt x="597" y="318"/>
                  </a:lnTo>
                  <a:lnTo>
                    <a:pt x="597" y="318"/>
                  </a:lnTo>
                  <a:lnTo>
                    <a:pt x="588" y="317"/>
                  </a:lnTo>
                  <a:lnTo>
                    <a:pt x="580" y="314"/>
                  </a:lnTo>
                  <a:lnTo>
                    <a:pt x="576" y="310"/>
                  </a:lnTo>
                  <a:lnTo>
                    <a:pt x="576" y="310"/>
                  </a:lnTo>
                  <a:lnTo>
                    <a:pt x="571" y="305"/>
                  </a:lnTo>
                  <a:lnTo>
                    <a:pt x="569" y="304"/>
                  </a:lnTo>
                  <a:lnTo>
                    <a:pt x="564" y="301"/>
                  </a:lnTo>
                  <a:lnTo>
                    <a:pt x="563" y="295"/>
                  </a:lnTo>
                  <a:lnTo>
                    <a:pt x="563" y="295"/>
                  </a:lnTo>
                  <a:lnTo>
                    <a:pt x="558" y="284"/>
                  </a:lnTo>
                  <a:lnTo>
                    <a:pt x="557" y="281"/>
                  </a:lnTo>
                  <a:lnTo>
                    <a:pt x="554" y="280"/>
                  </a:lnTo>
                  <a:lnTo>
                    <a:pt x="554" y="280"/>
                  </a:lnTo>
                  <a:lnTo>
                    <a:pt x="551" y="280"/>
                  </a:lnTo>
                  <a:lnTo>
                    <a:pt x="546" y="281"/>
                  </a:lnTo>
                  <a:lnTo>
                    <a:pt x="542" y="284"/>
                  </a:lnTo>
                  <a:lnTo>
                    <a:pt x="542" y="287"/>
                  </a:lnTo>
                  <a:lnTo>
                    <a:pt x="542" y="287"/>
                  </a:lnTo>
                  <a:lnTo>
                    <a:pt x="542" y="290"/>
                  </a:lnTo>
                  <a:lnTo>
                    <a:pt x="540" y="293"/>
                  </a:lnTo>
                  <a:lnTo>
                    <a:pt x="539" y="295"/>
                  </a:lnTo>
                  <a:lnTo>
                    <a:pt x="537" y="295"/>
                  </a:lnTo>
                  <a:lnTo>
                    <a:pt x="537" y="295"/>
                  </a:lnTo>
                  <a:lnTo>
                    <a:pt x="530" y="292"/>
                  </a:lnTo>
                  <a:lnTo>
                    <a:pt x="518" y="284"/>
                  </a:lnTo>
                  <a:lnTo>
                    <a:pt x="518" y="284"/>
                  </a:lnTo>
                  <a:lnTo>
                    <a:pt x="515" y="283"/>
                  </a:lnTo>
                  <a:lnTo>
                    <a:pt x="512" y="283"/>
                  </a:lnTo>
                  <a:lnTo>
                    <a:pt x="505" y="284"/>
                  </a:lnTo>
                  <a:lnTo>
                    <a:pt x="499" y="287"/>
                  </a:lnTo>
                  <a:lnTo>
                    <a:pt x="493" y="290"/>
                  </a:lnTo>
                  <a:lnTo>
                    <a:pt x="493" y="290"/>
                  </a:lnTo>
                  <a:lnTo>
                    <a:pt x="487" y="290"/>
                  </a:lnTo>
                  <a:lnTo>
                    <a:pt x="478" y="290"/>
                  </a:lnTo>
                  <a:lnTo>
                    <a:pt x="460" y="289"/>
                  </a:lnTo>
                  <a:lnTo>
                    <a:pt x="460" y="289"/>
                  </a:lnTo>
                  <a:lnTo>
                    <a:pt x="457" y="287"/>
                  </a:lnTo>
                  <a:lnTo>
                    <a:pt x="456" y="287"/>
                  </a:lnTo>
                  <a:lnTo>
                    <a:pt x="454" y="283"/>
                  </a:lnTo>
                  <a:lnTo>
                    <a:pt x="454" y="277"/>
                  </a:lnTo>
                  <a:lnTo>
                    <a:pt x="453" y="270"/>
                  </a:lnTo>
                  <a:lnTo>
                    <a:pt x="453" y="270"/>
                  </a:lnTo>
                  <a:lnTo>
                    <a:pt x="453" y="267"/>
                  </a:lnTo>
                  <a:lnTo>
                    <a:pt x="452" y="265"/>
                  </a:lnTo>
                  <a:lnTo>
                    <a:pt x="449" y="264"/>
                  </a:lnTo>
                  <a:lnTo>
                    <a:pt x="440" y="267"/>
                  </a:lnTo>
                  <a:lnTo>
                    <a:pt x="440" y="267"/>
                  </a:lnTo>
                  <a:lnTo>
                    <a:pt x="438" y="265"/>
                  </a:lnTo>
                  <a:lnTo>
                    <a:pt x="438" y="265"/>
                  </a:lnTo>
                  <a:lnTo>
                    <a:pt x="438" y="261"/>
                  </a:lnTo>
                  <a:lnTo>
                    <a:pt x="440" y="253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41" y="243"/>
                  </a:lnTo>
                  <a:lnTo>
                    <a:pt x="443" y="241"/>
                  </a:lnTo>
                  <a:lnTo>
                    <a:pt x="447" y="237"/>
                  </a:lnTo>
                  <a:lnTo>
                    <a:pt x="453" y="234"/>
                  </a:lnTo>
                  <a:lnTo>
                    <a:pt x="456" y="233"/>
                  </a:lnTo>
                  <a:lnTo>
                    <a:pt x="459" y="230"/>
                  </a:lnTo>
                  <a:lnTo>
                    <a:pt x="459" y="230"/>
                  </a:lnTo>
                  <a:lnTo>
                    <a:pt x="460" y="225"/>
                  </a:lnTo>
                  <a:lnTo>
                    <a:pt x="460" y="222"/>
                  </a:lnTo>
                  <a:lnTo>
                    <a:pt x="459" y="221"/>
                  </a:lnTo>
                  <a:lnTo>
                    <a:pt x="457" y="218"/>
                  </a:lnTo>
                  <a:lnTo>
                    <a:pt x="453" y="215"/>
                  </a:lnTo>
                  <a:lnTo>
                    <a:pt x="449" y="213"/>
                  </a:lnTo>
                  <a:lnTo>
                    <a:pt x="449" y="213"/>
                  </a:lnTo>
                  <a:lnTo>
                    <a:pt x="446" y="213"/>
                  </a:lnTo>
                  <a:lnTo>
                    <a:pt x="444" y="213"/>
                  </a:lnTo>
                  <a:lnTo>
                    <a:pt x="441" y="207"/>
                  </a:lnTo>
                  <a:lnTo>
                    <a:pt x="441" y="207"/>
                  </a:lnTo>
                  <a:lnTo>
                    <a:pt x="438" y="204"/>
                  </a:lnTo>
                  <a:lnTo>
                    <a:pt x="435" y="203"/>
                  </a:lnTo>
                  <a:lnTo>
                    <a:pt x="431" y="201"/>
                  </a:lnTo>
                  <a:lnTo>
                    <a:pt x="426" y="199"/>
                  </a:lnTo>
                  <a:lnTo>
                    <a:pt x="426" y="199"/>
                  </a:lnTo>
                  <a:lnTo>
                    <a:pt x="420" y="194"/>
                  </a:lnTo>
                  <a:lnTo>
                    <a:pt x="413" y="188"/>
                  </a:lnTo>
                  <a:lnTo>
                    <a:pt x="406" y="184"/>
                  </a:lnTo>
                  <a:lnTo>
                    <a:pt x="398" y="182"/>
                  </a:lnTo>
                  <a:lnTo>
                    <a:pt x="398" y="182"/>
                  </a:lnTo>
                  <a:lnTo>
                    <a:pt x="394" y="184"/>
                  </a:lnTo>
                  <a:lnTo>
                    <a:pt x="389" y="185"/>
                  </a:lnTo>
                  <a:lnTo>
                    <a:pt x="385" y="188"/>
                  </a:lnTo>
                  <a:lnTo>
                    <a:pt x="380" y="190"/>
                  </a:lnTo>
                  <a:lnTo>
                    <a:pt x="380" y="190"/>
                  </a:lnTo>
                  <a:lnTo>
                    <a:pt x="375" y="190"/>
                  </a:lnTo>
                  <a:lnTo>
                    <a:pt x="369" y="188"/>
                  </a:lnTo>
                  <a:lnTo>
                    <a:pt x="358" y="182"/>
                  </a:lnTo>
                  <a:lnTo>
                    <a:pt x="358" y="182"/>
                  </a:lnTo>
                  <a:lnTo>
                    <a:pt x="352" y="179"/>
                  </a:lnTo>
                  <a:lnTo>
                    <a:pt x="345" y="178"/>
                  </a:lnTo>
                  <a:lnTo>
                    <a:pt x="329" y="178"/>
                  </a:lnTo>
                  <a:lnTo>
                    <a:pt x="329" y="178"/>
                  </a:lnTo>
                  <a:lnTo>
                    <a:pt x="321" y="178"/>
                  </a:lnTo>
                  <a:lnTo>
                    <a:pt x="317" y="176"/>
                  </a:lnTo>
                  <a:lnTo>
                    <a:pt x="315" y="173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7" y="161"/>
                  </a:lnTo>
                  <a:lnTo>
                    <a:pt x="317" y="153"/>
                  </a:lnTo>
                  <a:lnTo>
                    <a:pt x="317" y="145"/>
                  </a:lnTo>
                  <a:lnTo>
                    <a:pt x="312" y="139"/>
                  </a:lnTo>
                  <a:lnTo>
                    <a:pt x="312" y="139"/>
                  </a:lnTo>
                  <a:lnTo>
                    <a:pt x="309" y="135"/>
                  </a:lnTo>
                  <a:lnTo>
                    <a:pt x="305" y="132"/>
                  </a:lnTo>
                  <a:lnTo>
                    <a:pt x="299" y="129"/>
                  </a:lnTo>
                  <a:lnTo>
                    <a:pt x="295" y="122"/>
                  </a:lnTo>
                  <a:lnTo>
                    <a:pt x="295" y="122"/>
                  </a:lnTo>
                  <a:lnTo>
                    <a:pt x="293" y="119"/>
                  </a:lnTo>
                  <a:lnTo>
                    <a:pt x="293" y="116"/>
                  </a:lnTo>
                  <a:lnTo>
                    <a:pt x="295" y="114"/>
                  </a:lnTo>
                  <a:lnTo>
                    <a:pt x="298" y="113"/>
                  </a:lnTo>
                  <a:lnTo>
                    <a:pt x="312" y="110"/>
                  </a:lnTo>
                  <a:lnTo>
                    <a:pt x="312" y="110"/>
                  </a:lnTo>
                  <a:lnTo>
                    <a:pt x="317" y="108"/>
                  </a:lnTo>
                  <a:lnTo>
                    <a:pt x="318" y="107"/>
                  </a:lnTo>
                  <a:lnTo>
                    <a:pt x="320" y="104"/>
                  </a:lnTo>
                  <a:lnTo>
                    <a:pt x="320" y="101"/>
                  </a:lnTo>
                  <a:lnTo>
                    <a:pt x="318" y="90"/>
                  </a:lnTo>
                  <a:lnTo>
                    <a:pt x="318" y="90"/>
                  </a:lnTo>
                  <a:lnTo>
                    <a:pt x="320" y="87"/>
                  </a:lnTo>
                  <a:lnTo>
                    <a:pt x="323" y="83"/>
                  </a:lnTo>
                  <a:lnTo>
                    <a:pt x="332" y="76"/>
                  </a:lnTo>
                  <a:lnTo>
                    <a:pt x="339" y="67"/>
                  </a:lnTo>
                  <a:lnTo>
                    <a:pt x="342" y="64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2" y="56"/>
                  </a:lnTo>
                  <a:lnTo>
                    <a:pt x="342" y="53"/>
                  </a:lnTo>
                  <a:lnTo>
                    <a:pt x="338" y="40"/>
                  </a:lnTo>
                  <a:lnTo>
                    <a:pt x="338" y="40"/>
                  </a:lnTo>
                  <a:lnTo>
                    <a:pt x="336" y="34"/>
                  </a:lnTo>
                  <a:lnTo>
                    <a:pt x="336" y="28"/>
                  </a:lnTo>
                  <a:lnTo>
                    <a:pt x="338" y="15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11" y="5"/>
                  </a:lnTo>
                  <a:lnTo>
                    <a:pt x="311" y="5"/>
                  </a:lnTo>
                  <a:lnTo>
                    <a:pt x="298" y="5"/>
                  </a:lnTo>
                  <a:lnTo>
                    <a:pt x="292" y="6"/>
                  </a:lnTo>
                  <a:lnTo>
                    <a:pt x="290" y="7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6" y="16"/>
                  </a:lnTo>
                  <a:lnTo>
                    <a:pt x="280" y="24"/>
                  </a:lnTo>
                  <a:lnTo>
                    <a:pt x="275" y="30"/>
                  </a:lnTo>
                  <a:lnTo>
                    <a:pt x="271" y="31"/>
                  </a:lnTo>
                  <a:lnTo>
                    <a:pt x="271" y="31"/>
                  </a:lnTo>
                  <a:lnTo>
                    <a:pt x="256" y="39"/>
                  </a:lnTo>
                  <a:lnTo>
                    <a:pt x="246" y="43"/>
                  </a:lnTo>
                  <a:lnTo>
                    <a:pt x="243" y="43"/>
                  </a:lnTo>
                  <a:lnTo>
                    <a:pt x="240" y="43"/>
                  </a:lnTo>
                  <a:lnTo>
                    <a:pt x="240" y="43"/>
                  </a:lnTo>
                  <a:lnTo>
                    <a:pt x="237" y="39"/>
                  </a:lnTo>
                  <a:lnTo>
                    <a:pt x="235" y="3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4" y="18"/>
                  </a:lnTo>
                  <a:lnTo>
                    <a:pt x="232" y="15"/>
                  </a:lnTo>
                  <a:lnTo>
                    <a:pt x="229" y="12"/>
                  </a:lnTo>
                  <a:lnTo>
                    <a:pt x="226" y="12"/>
                  </a:lnTo>
                  <a:lnTo>
                    <a:pt x="226" y="12"/>
                  </a:lnTo>
                  <a:lnTo>
                    <a:pt x="209" y="13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88" y="18"/>
                  </a:lnTo>
                  <a:lnTo>
                    <a:pt x="185" y="22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2" y="33"/>
                  </a:lnTo>
                  <a:lnTo>
                    <a:pt x="178" y="34"/>
                  </a:lnTo>
                  <a:lnTo>
                    <a:pt x="173" y="36"/>
                  </a:lnTo>
                  <a:lnTo>
                    <a:pt x="169" y="39"/>
                  </a:lnTo>
                  <a:lnTo>
                    <a:pt x="169" y="39"/>
                  </a:lnTo>
                  <a:lnTo>
                    <a:pt x="161" y="52"/>
                  </a:lnTo>
                  <a:lnTo>
                    <a:pt x="158" y="61"/>
                  </a:lnTo>
                  <a:lnTo>
                    <a:pt x="155" y="68"/>
                  </a:lnTo>
                  <a:lnTo>
                    <a:pt x="155" y="68"/>
                  </a:lnTo>
                  <a:lnTo>
                    <a:pt x="155" y="74"/>
                  </a:lnTo>
                  <a:lnTo>
                    <a:pt x="152" y="80"/>
                  </a:lnTo>
                  <a:lnTo>
                    <a:pt x="149" y="86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33" y="98"/>
                  </a:lnTo>
                  <a:lnTo>
                    <a:pt x="118" y="108"/>
                  </a:lnTo>
                  <a:lnTo>
                    <a:pt x="105" y="12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87" y="145"/>
                  </a:lnTo>
                  <a:lnTo>
                    <a:pt x="83" y="150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2" y="153"/>
                  </a:lnTo>
                  <a:lnTo>
                    <a:pt x="65" y="153"/>
                  </a:lnTo>
                  <a:lnTo>
                    <a:pt x="59" y="154"/>
                  </a:lnTo>
                  <a:lnTo>
                    <a:pt x="58" y="157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8" y="172"/>
                  </a:lnTo>
                  <a:lnTo>
                    <a:pt x="56" y="178"/>
                  </a:lnTo>
                  <a:lnTo>
                    <a:pt x="53" y="188"/>
                  </a:lnTo>
                  <a:lnTo>
                    <a:pt x="53" y="188"/>
                  </a:lnTo>
                  <a:lnTo>
                    <a:pt x="50" y="197"/>
                  </a:lnTo>
                  <a:lnTo>
                    <a:pt x="49" y="204"/>
                  </a:lnTo>
                  <a:lnTo>
                    <a:pt x="49" y="210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9" y="218"/>
                  </a:lnTo>
                  <a:lnTo>
                    <a:pt x="47" y="221"/>
                  </a:lnTo>
                  <a:lnTo>
                    <a:pt x="46" y="224"/>
                  </a:lnTo>
                  <a:lnTo>
                    <a:pt x="41" y="227"/>
                  </a:lnTo>
                  <a:lnTo>
                    <a:pt x="41" y="227"/>
                  </a:lnTo>
                  <a:lnTo>
                    <a:pt x="38" y="228"/>
                  </a:lnTo>
                  <a:lnTo>
                    <a:pt x="35" y="231"/>
                  </a:lnTo>
                  <a:lnTo>
                    <a:pt x="28" y="240"/>
                  </a:lnTo>
                  <a:lnTo>
                    <a:pt x="28" y="240"/>
                  </a:lnTo>
                  <a:lnTo>
                    <a:pt x="24" y="244"/>
                  </a:lnTo>
                  <a:lnTo>
                    <a:pt x="21" y="249"/>
                  </a:lnTo>
                  <a:lnTo>
                    <a:pt x="18" y="253"/>
                  </a:lnTo>
                  <a:lnTo>
                    <a:pt x="13" y="258"/>
                  </a:lnTo>
                  <a:lnTo>
                    <a:pt x="13" y="25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6" y="270"/>
                  </a:lnTo>
                  <a:lnTo>
                    <a:pt x="10" y="273"/>
                  </a:lnTo>
                  <a:lnTo>
                    <a:pt x="15" y="277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8" y="287"/>
                  </a:lnTo>
                  <a:lnTo>
                    <a:pt x="18" y="295"/>
                  </a:lnTo>
                  <a:lnTo>
                    <a:pt x="19" y="302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5" y="313"/>
                  </a:lnTo>
                  <a:lnTo>
                    <a:pt x="30" y="316"/>
                  </a:lnTo>
                  <a:lnTo>
                    <a:pt x="41" y="323"/>
                  </a:lnTo>
                  <a:lnTo>
                    <a:pt x="55" y="332"/>
                  </a:lnTo>
                  <a:lnTo>
                    <a:pt x="65" y="339"/>
                  </a:lnTo>
                  <a:lnTo>
                    <a:pt x="65" y="339"/>
                  </a:lnTo>
                  <a:lnTo>
                    <a:pt x="68" y="345"/>
                  </a:lnTo>
                  <a:lnTo>
                    <a:pt x="70" y="353"/>
                  </a:lnTo>
                  <a:lnTo>
                    <a:pt x="72" y="369"/>
                  </a:lnTo>
                  <a:lnTo>
                    <a:pt x="75" y="387"/>
                  </a:lnTo>
                  <a:lnTo>
                    <a:pt x="77" y="398"/>
                  </a:lnTo>
                  <a:lnTo>
                    <a:pt x="77" y="398"/>
                  </a:lnTo>
                  <a:lnTo>
                    <a:pt x="80" y="406"/>
                  </a:lnTo>
                  <a:lnTo>
                    <a:pt x="84" y="413"/>
                  </a:lnTo>
                  <a:lnTo>
                    <a:pt x="89" y="421"/>
                  </a:lnTo>
                  <a:lnTo>
                    <a:pt x="92" y="428"/>
                  </a:lnTo>
                  <a:lnTo>
                    <a:pt x="92" y="428"/>
                  </a:lnTo>
                  <a:lnTo>
                    <a:pt x="92" y="437"/>
                  </a:lnTo>
                  <a:lnTo>
                    <a:pt x="90" y="447"/>
                  </a:lnTo>
                  <a:lnTo>
                    <a:pt x="87" y="458"/>
                  </a:lnTo>
                  <a:lnTo>
                    <a:pt x="86" y="461"/>
                  </a:lnTo>
                  <a:lnTo>
                    <a:pt x="83" y="464"/>
                  </a:lnTo>
                  <a:lnTo>
                    <a:pt x="83" y="464"/>
                  </a:lnTo>
                  <a:lnTo>
                    <a:pt x="80" y="468"/>
                  </a:lnTo>
                  <a:lnTo>
                    <a:pt x="77" y="474"/>
                  </a:lnTo>
                  <a:lnTo>
                    <a:pt x="72" y="492"/>
                  </a:lnTo>
                  <a:lnTo>
                    <a:pt x="71" y="508"/>
                  </a:lnTo>
                  <a:lnTo>
                    <a:pt x="70" y="520"/>
                  </a:lnTo>
                  <a:lnTo>
                    <a:pt x="70" y="520"/>
                  </a:lnTo>
                  <a:lnTo>
                    <a:pt x="68" y="530"/>
                  </a:lnTo>
                  <a:lnTo>
                    <a:pt x="67" y="532"/>
                  </a:lnTo>
                  <a:lnTo>
                    <a:pt x="64" y="536"/>
                  </a:lnTo>
                  <a:lnTo>
                    <a:pt x="64" y="536"/>
                  </a:lnTo>
                  <a:lnTo>
                    <a:pt x="62" y="539"/>
                  </a:lnTo>
                  <a:lnTo>
                    <a:pt x="62" y="544"/>
                  </a:lnTo>
                  <a:lnTo>
                    <a:pt x="67" y="554"/>
                  </a:lnTo>
                  <a:lnTo>
                    <a:pt x="67" y="554"/>
                  </a:lnTo>
                  <a:lnTo>
                    <a:pt x="68" y="560"/>
                  </a:lnTo>
                  <a:lnTo>
                    <a:pt x="68" y="566"/>
                  </a:lnTo>
                  <a:lnTo>
                    <a:pt x="67" y="569"/>
                  </a:lnTo>
                  <a:lnTo>
                    <a:pt x="64" y="573"/>
                  </a:lnTo>
                  <a:lnTo>
                    <a:pt x="64" y="573"/>
                  </a:lnTo>
                  <a:lnTo>
                    <a:pt x="61" y="581"/>
                  </a:lnTo>
                  <a:lnTo>
                    <a:pt x="56" y="591"/>
                  </a:lnTo>
                  <a:lnTo>
                    <a:pt x="52" y="603"/>
                  </a:lnTo>
                  <a:lnTo>
                    <a:pt x="47" y="613"/>
                  </a:lnTo>
                  <a:lnTo>
                    <a:pt x="47" y="613"/>
                  </a:lnTo>
                  <a:lnTo>
                    <a:pt x="44" y="621"/>
                  </a:lnTo>
                  <a:lnTo>
                    <a:pt x="43" y="627"/>
                  </a:lnTo>
                  <a:lnTo>
                    <a:pt x="43" y="641"/>
                  </a:lnTo>
                  <a:lnTo>
                    <a:pt x="43" y="641"/>
                  </a:lnTo>
                  <a:lnTo>
                    <a:pt x="44" y="646"/>
                  </a:lnTo>
                  <a:lnTo>
                    <a:pt x="49" y="652"/>
                  </a:lnTo>
                  <a:lnTo>
                    <a:pt x="64" y="662"/>
                  </a:lnTo>
                  <a:lnTo>
                    <a:pt x="78" y="672"/>
                  </a:lnTo>
                  <a:lnTo>
                    <a:pt x="89" y="680"/>
                  </a:lnTo>
                  <a:lnTo>
                    <a:pt x="89" y="680"/>
                  </a:lnTo>
                  <a:lnTo>
                    <a:pt x="92" y="684"/>
                  </a:lnTo>
                  <a:lnTo>
                    <a:pt x="92" y="689"/>
                  </a:lnTo>
                  <a:lnTo>
                    <a:pt x="93" y="702"/>
                  </a:lnTo>
                  <a:lnTo>
                    <a:pt x="92" y="715"/>
                  </a:lnTo>
                  <a:lnTo>
                    <a:pt x="89" y="724"/>
                  </a:lnTo>
                  <a:lnTo>
                    <a:pt x="89" y="724"/>
                  </a:lnTo>
                  <a:lnTo>
                    <a:pt x="87" y="727"/>
                  </a:lnTo>
                  <a:lnTo>
                    <a:pt x="86" y="733"/>
                  </a:lnTo>
                  <a:lnTo>
                    <a:pt x="84" y="744"/>
                  </a:lnTo>
                  <a:lnTo>
                    <a:pt x="86" y="755"/>
                  </a:lnTo>
                  <a:lnTo>
                    <a:pt x="89" y="764"/>
                  </a:lnTo>
                  <a:lnTo>
                    <a:pt x="89" y="764"/>
                  </a:lnTo>
                  <a:lnTo>
                    <a:pt x="89" y="772"/>
                  </a:lnTo>
                  <a:lnTo>
                    <a:pt x="89" y="772"/>
                  </a:lnTo>
                  <a:lnTo>
                    <a:pt x="89" y="773"/>
                  </a:lnTo>
                  <a:lnTo>
                    <a:pt x="89" y="773"/>
                  </a:lnTo>
                  <a:lnTo>
                    <a:pt x="98" y="776"/>
                  </a:lnTo>
                  <a:lnTo>
                    <a:pt x="105" y="779"/>
                  </a:lnTo>
                  <a:lnTo>
                    <a:pt x="111" y="784"/>
                  </a:lnTo>
                  <a:lnTo>
                    <a:pt x="111" y="784"/>
                  </a:lnTo>
                  <a:lnTo>
                    <a:pt x="115" y="788"/>
                  </a:lnTo>
                  <a:lnTo>
                    <a:pt x="123" y="789"/>
                  </a:lnTo>
                  <a:lnTo>
                    <a:pt x="132" y="791"/>
                  </a:lnTo>
                  <a:lnTo>
                    <a:pt x="144" y="788"/>
                  </a:lnTo>
                  <a:lnTo>
                    <a:pt x="144" y="788"/>
                  </a:lnTo>
                  <a:lnTo>
                    <a:pt x="148" y="785"/>
                  </a:lnTo>
                  <a:lnTo>
                    <a:pt x="151" y="782"/>
                  </a:lnTo>
                  <a:lnTo>
                    <a:pt x="154" y="779"/>
                  </a:lnTo>
                  <a:lnTo>
                    <a:pt x="155" y="778"/>
                  </a:lnTo>
                  <a:lnTo>
                    <a:pt x="155" y="772"/>
                  </a:lnTo>
                  <a:lnTo>
                    <a:pt x="157" y="770"/>
                  </a:lnTo>
                  <a:lnTo>
                    <a:pt x="157" y="770"/>
                  </a:lnTo>
                  <a:lnTo>
                    <a:pt x="158" y="770"/>
                  </a:lnTo>
                  <a:lnTo>
                    <a:pt x="163" y="772"/>
                  </a:lnTo>
                  <a:lnTo>
                    <a:pt x="172" y="779"/>
                  </a:lnTo>
                  <a:lnTo>
                    <a:pt x="172" y="779"/>
                  </a:lnTo>
                  <a:lnTo>
                    <a:pt x="175" y="779"/>
                  </a:lnTo>
                  <a:lnTo>
                    <a:pt x="179" y="779"/>
                  </a:lnTo>
                  <a:lnTo>
                    <a:pt x="189" y="776"/>
                  </a:lnTo>
                  <a:lnTo>
                    <a:pt x="213" y="767"/>
                  </a:lnTo>
                  <a:lnTo>
                    <a:pt x="213" y="7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3" name="Freeform 12">
              <a:extLst>
                <a:ext uri="{FF2B5EF4-FFF2-40B4-BE49-F238E27FC236}">
                  <a16:creationId xmlns:a16="http://schemas.microsoft.com/office/drawing/2014/main" id="{B5C06016-5BCE-1C4C-A51D-FE913E8B8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8563" y="5006975"/>
              <a:ext cx="1668463" cy="2938462"/>
            </a:xfrm>
            <a:custGeom>
              <a:avLst/>
              <a:gdLst>
                <a:gd name="T0" fmla="*/ 441 w 1051"/>
                <a:gd name="T1" fmla="*/ 1171 h 1851"/>
                <a:gd name="T2" fmla="*/ 462 w 1051"/>
                <a:gd name="T3" fmla="*/ 1280 h 1851"/>
                <a:gd name="T4" fmla="*/ 412 w 1051"/>
                <a:gd name="T5" fmla="*/ 1342 h 1851"/>
                <a:gd name="T6" fmla="*/ 348 w 1051"/>
                <a:gd name="T7" fmla="*/ 1460 h 1851"/>
                <a:gd name="T8" fmla="*/ 340 w 1051"/>
                <a:gd name="T9" fmla="*/ 1562 h 1851"/>
                <a:gd name="T10" fmla="*/ 388 w 1051"/>
                <a:gd name="T11" fmla="*/ 1579 h 1851"/>
                <a:gd name="T12" fmla="*/ 446 w 1051"/>
                <a:gd name="T13" fmla="*/ 1648 h 1851"/>
                <a:gd name="T14" fmla="*/ 500 w 1051"/>
                <a:gd name="T15" fmla="*/ 1653 h 1851"/>
                <a:gd name="T16" fmla="*/ 568 w 1051"/>
                <a:gd name="T17" fmla="*/ 1629 h 1851"/>
                <a:gd name="T18" fmla="*/ 669 w 1051"/>
                <a:gd name="T19" fmla="*/ 1644 h 1851"/>
                <a:gd name="T20" fmla="*/ 742 w 1051"/>
                <a:gd name="T21" fmla="*/ 1614 h 1851"/>
                <a:gd name="T22" fmla="*/ 762 w 1051"/>
                <a:gd name="T23" fmla="*/ 1719 h 1851"/>
                <a:gd name="T24" fmla="*/ 807 w 1051"/>
                <a:gd name="T25" fmla="*/ 1825 h 1851"/>
                <a:gd name="T26" fmla="*/ 825 w 1051"/>
                <a:gd name="T27" fmla="*/ 1755 h 1851"/>
                <a:gd name="T28" fmla="*/ 881 w 1051"/>
                <a:gd name="T29" fmla="*/ 1751 h 1851"/>
                <a:gd name="T30" fmla="*/ 943 w 1051"/>
                <a:gd name="T31" fmla="*/ 1714 h 1851"/>
                <a:gd name="T32" fmla="*/ 955 w 1051"/>
                <a:gd name="T33" fmla="*/ 1645 h 1851"/>
                <a:gd name="T34" fmla="*/ 989 w 1051"/>
                <a:gd name="T35" fmla="*/ 1594 h 1851"/>
                <a:gd name="T36" fmla="*/ 936 w 1051"/>
                <a:gd name="T37" fmla="*/ 1588 h 1851"/>
                <a:gd name="T38" fmla="*/ 939 w 1051"/>
                <a:gd name="T39" fmla="*/ 1533 h 1851"/>
                <a:gd name="T40" fmla="*/ 995 w 1051"/>
                <a:gd name="T41" fmla="*/ 1509 h 1851"/>
                <a:gd name="T42" fmla="*/ 1025 w 1051"/>
                <a:gd name="T43" fmla="*/ 1561 h 1851"/>
                <a:gd name="T44" fmla="*/ 1047 w 1051"/>
                <a:gd name="T45" fmla="*/ 1426 h 1851"/>
                <a:gd name="T46" fmla="*/ 1005 w 1051"/>
                <a:gd name="T47" fmla="*/ 1337 h 1851"/>
                <a:gd name="T48" fmla="*/ 943 w 1051"/>
                <a:gd name="T49" fmla="*/ 1225 h 1851"/>
                <a:gd name="T50" fmla="*/ 854 w 1051"/>
                <a:gd name="T51" fmla="*/ 1022 h 1851"/>
                <a:gd name="T52" fmla="*/ 791 w 1051"/>
                <a:gd name="T53" fmla="*/ 929 h 1851"/>
                <a:gd name="T54" fmla="*/ 620 w 1051"/>
                <a:gd name="T55" fmla="*/ 932 h 1851"/>
                <a:gd name="T56" fmla="*/ 616 w 1051"/>
                <a:gd name="T57" fmla="*/ 982 h 1851"/>
                <a:gd name="T58" fmla="*/ 564 w 1051"/>
                <a:gd name="T59" fmla="*/ 1056 h 1851"/>
                <a:gd name="T60" fmla="*/ 539 w 1051"/>
                <a:gd name="T61" fmla="*/ 985 h 1851"/>
                <a:gd name="T62" fmla="*/ 518 w 1051"/>
                <a:gd name="T63" fmla="*/ 1050 h 1851"/>
                <a:gd name="T64" fmla="*/ 386 w 1051"/>
                <a:gd name="T65" fmla="*/ 1016 h 1851"/>
                <a:gd name="T66" fmla="*/ 428 w 1051"/>
                <a:gd name="T67" fmla="*/ 807 h 1851"/>
                <a:gd name="T68" fmla="*/ 462 w 1051"/>
                <a:gd name="T69" fmla="*/ 542 h 1851"/>
                <a:gd name="T70" fmla="*/ 489 w 1051"/>
                <a:gd name="T71" fmla="*/ 323 h 1851"/>
                <a:gd name="T72" fmla="*/ 605 w 1051"/>
                <a:gd name="T73" fmla="*/ 252 h 1851"/>
                <a:gd name="T74" fmla="*/ 659 w 1051"/>
                <a:gd name="T75" fmla="*/ 193 h 1851"/>
                <a:gd name="T76" fmla="*/ 586 w 1051"/>
                <a:gd name="T77" fmla="*/ 135 h 1851"/>
                <a:gd name="T78" fmla="*/ 505 w 1051"/>
                <a:gd name="T79" fmla="*/ 110 h 1851"/>
                <a:gd name="T80" fmla="*/ 480 w 1051"/>
                <a:gd name="T81" fmla="*/ 19 h 1851"/>
                <a:gd name="T82" fmla="*/ 366 w 1051"/>
                <a:gd name="T83" fmla="*/ 70 h 1851"/>
                <a:gd name="T84" fmla="*/ 333 w 1051"/>
                <a:gd name="T85" fmla="*/ 81 h 1851"/>
                <a:gd name="T86" fmla="*/ 292 w 1051"/>
                <a:gd name="T87" fmla="*/ 107 h 1851"/>
                <a:gd name="T88" fmla="*/ 201 w 1051"/>
                <a:gd name="T89" fmla="*/ 123 h 1851"/>
                <a:gd name="T90" fmla="*/ 183 w 1051"/>
                <a:gd name="T91" fmla="*/ 249 h 1851"/>
                <a:gd name="T92" fmla="*/ 164 w 1051"/>
                <a:gd name="T93" fmla="*/ 348 h 1851"/>
                <a:gd name="T94" fmla="*/ 247 w 1051"/>
                <a:gd name="T95" fmla="*/ 461 h 1851"/>
                <a:gd name="T96" fmla="*/ 213 w 1051"/>
                <a:gd name="T97" fmla="*/ 495 h 1851"/>
                <a:gd name="T98" fmla="*/ 126 w 1051"/>
                <a:gd name="T99" fmla="*/ 600 h 1851"/>
                <a:gd name="T100" fmla="*/ 29 w 1051"/>
                <a:gd name="T101" fmla="*/ 662 h 1851"/>
                <a:gd name="T102" fmla="*/ 22 w 1051"/>
                <a:gd name="T103" fmla="*/ 775 h 1851"/>
                <a:gd name="T104" fmla="*/ 13 w 1051"/>
                <a:gd name="T105" fmla="*/ 828 h 1851"/>
                <a:gd name="T106" fmla="*/ 27 w 1051"/>
                <a:gd name="T107" fmla="*/ 900 h 1851"/>
                <a:gd name="T108" fmla="*/ 95 w 1051"/>
                <a:gd name="T109" fmla="*/ 975 h 1851"/>
                <a:gd name="T110" fmla="*/ 99 w 1051"/>
                <a:gd name="T111" fmla="*/ 1077 h 1851"/>
                <a:gd name="T112" fmla="*/ 215 w 1051"/>
                <a:gd name="T113" fmla="*/ 1040 h 1851"/>
                <a:gd name="T114" fmla="*/ 200 w 1051"/>
                <a:gd name="T115" fmla="*/ 1108 h 1851"/>
                <a:gd name="T116" fmla="*/ 170 w 1051"/>
                <a:gd name="T117" fmla="*/ 1211 h 1851"/>
                <a:gd name="T118" fmla="*/ 213 w 1051"/>
                <a:gd name="T119" fmla="*/ 1257 h 1851"/>
                <a:gd name="T120" fmla="*/ 286 w 1051"/>
                <a:gd name="T121" fmla="*/ 1283 h 1851"/>
                <a:gd name="T122" fmla="*/ 340 w 1051"/>
                <a:gd name="T123" fmla="*/ 1246 h 1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1" h="1851">
                  <a:moveTo>
                    <a:pt x="380" y="1197"/>
                  </a:moveTo>
                  <a:lnTo>
                    <a:pt x="380" y="1197"/>
                  </a:lnTo>
                  <a:lnTo>
                    <a:pt x="394" y="1194"/>
                  </a:lnTo>
                  <a:lnTo>
                    <a:pt x="397" y="1194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404" y="1186"/>
                  </a:lnTo>
                  <a:lnTo>
                    <a:pt x="407" y="1182"/>
                  </a:lnTo>
                  <a:lnTo>
                    <a:pt x="409" y="1176"/>
                  </a:lnTo>
                  <a:lnTo>
                    <a:pt x="409" y="1176"/>
                  </a:lnTo>
                  <a:lnTo>
                    <a:pt x="412" y="1164"/>
                  </a:lnTo>
                  <a:lnTo>
                    <a:pt x="413" y="1160"/>
                  </a:lnTo>
                  <a:lnTo>
                    <a:pt x="416" y="1158"/>
                  </a:lnTo>
                  <a:lnTo>
                    <a:pt x="417" y="1158"/>
                  </a:lnTo>
                  <a:lnTo>
                    <a:pt x="417" y="1158"/>
                  </a:lnTo>
                  <a:lnTo>
                    <a:pt x="422" y="1158"/>
                  </a:lnTo>
                  <a:lnTo>
                    <a:pt x="425" y="1161"/>
                  </a:lnTo>
                  <a:lnTo>
                    <a:pt x="428" y="1163"/>
                  </a:lnTo>
                  <a:lnTo>
                    <a:pt x="432" y="1164"/>
                  </a:lnTo>
                  <a:lnTo>
                    <a:pt x="432" y="1164"/>
                  </a:lnTo>
                  <a:lnTo>
                    <a:pt x="438" y="1167"/>
                  </a:lnTo>
                  <a:lnTo>
                    <a:pt x="441" y="1171"/>
                  </a:lnTo>
                  <a:lnTo>
                    <a:pt x="450" y="1182"/>
                  </a:lnTo>
                  <a:lnTo>
                    <a:pt x="450" y="1182"/>
                  </a:lnTo>
                  <a:lnTo>
                    <a:pt x="453" y="1188"/>
                  </a:lnTo>
                  <a:lnTo>
                    <a:pt x="456" y="1194"/>
                  </a:lnTo>
                  <a:lnTo>
                    <a:pt x="457" y="1206"/>
                  </a:lnTo>
                  <a:lnTo>
                    <a:pt x="457" y="1206"/>
                  </a:lnTo>
                  <a:lnTo>
                    <a:pt x="457" y="1213"/>
                  </a:lnTo>
                  <a:lnTo>
                    <a:pt x="462" y="1222"/>
                  </a:lnTo>
                  <a:lnTo>
                    <a:pt x="462" y="1222"/>
                  </a:lnTo>
                  <a:lnTo>
                    <a:pt x="474" y="1238"/>
                  </a:lnTo>
                  <a:lnTo>
                    <a:pt x="489" y="1251"/>
                  </a:lnTo>
                  <a:lnTo>
                    <a:pt x="489" y="1251"/>
                  </a:lnTo>
                  <a:lnTo>
                    <a:pt x="494" y="1259"/>
                  </a:lnTo>
                  <a:lnTo>
                    <a:pt x="499" y="1265"/>
                  </a:lnTo>
                  <a:lnTo>
                    <a:pt x="500" y="1271"/>
                  </a:lnTo>
                  <a:lnTo>
                    <a:pt x="500" y="1272"/>
                  </a:lnTo>
                  <a:lnTo>
                    <a:pt x="499" y="1275"/>
                  </a:lnTo>
                  <a:lnTo>
                    <a:pt x="499" y="1275"/>
                  </a:lnTo>
                  <a:lnTo>
                    <a:pt x="496" y="1277"/>
                  </a:lnTo>
                  <a:lnTo>
                    <a:pt x="491" y="1277"/>
                  </a:lnTo>
                  <a:lnTo>
                    <a:pt x="477" y="1278"/>
                  </a:lnTo>
                  <a:lnTo>
                    <a:pt x="462" y="1280"/>
                  </a:lnTo>
                  <a:lnTo>
                    <a:pt x="450" y="1283"/>
                  </a:lnTo>
                  <a:lnTo>
                    <a:pt x="450" y="1283"/>
                  </a:lnTo>
                  <a:lnTo>
                    <a:pt x="443" y="1284"/>
                  </a:lnTo>
                  <a:lnTo>
                    <a:pt x="432" y="1286"/>
                  </a:lnTo>
                  <a:lnTo>
                    <a:pt x="416" y="1288"/>
                  </a:lnTo>
                  <a:lnTo>
                    <a:pt x="416" y="1288"/>
                  </a:lnTo>
                  <a:lnTo>
                    <a:pt x="409" y="1290"/>
                  </a:lnTo>
                  <a:lnTo>
                    <a:pt x="404" y="1293"/>
                  </a:lnTo>
                  <a:lnTo>
                    <a:pt x="401" y="1294"/>
                  </a:lnTo>
                  <a:lnTo>
                    <a:pt x="401" y="1297"/>
                  </a:lnTo>
                  <a:lnTo>
                    <a:pt x="403" y="1300"/>
                  </a:lnTo>
                  <a:lnTo>
                    <a:pt x="404" y="1303"/>
                  </a:lnTo>
                  <a:lnTo>
                    <a:pt x="404" y="1303"/>
                  </a:lnTo>
                  <a:lnTo>
                    <a:pt x="409" y="1308"/>
                  </a:lnTo>
                  <a:lnTo>
                    <a:pt x="412" y="1314"/>
                  </a:lnTo>
                  <a:lnTo>
                    <a:pt x="414" y="1320"/>
                  </a:lnTo>
                  <a:lnTo>
                    <a:pt x="417" y="1324"/>
                  </a:lnTo>
                  <a:lnTo>
                    <a:pt x="417" y="1324"/>
                  </a:lnTo>
                  <a:lnTo>
                    <a:pt x="422" y="1328"/>
                  </a:lnTo>
                  <a:lnTo>
                    <a:pt x="422" y="1333"/>
                  </a:lnTo>
                  <a:lnTo>
                    <a:pt x="417" y="1337"/>
                  </a:lnTo>
                  <a:lnTo>
                    <a:pt x="412" y="1342"/>
                  </a:lnTo>
                  <a:lnTo>
                    <a:pt x="412" y="1342"/>
                  </a:lnTo>
                  <a:lnTo>
                    <a:pt x="406" y="1346"/>
                  </a:lnTo>
                  <a:lnTo>
                    <a:pt x="398" y="1354"/>
                  </a:lnTo>
                  <a:lnTo>
                    <a:pt x="392" y="1363"/>
                  </a:lnTo>
                  <a:lnTo>
                    <a:pt x="391" y="1367"/>
                  </a:lnTo>
                  <a:lnTo>
                    <a:pt x="391" y="1370"/>
                  </a:lnTo>
                  <a:lnTo>
                    <a:pt x="391" y="1370"/>
                  </a:lnTo>
                  <a:lnTo>
                    <a:pt x="388" y="1383"/>
                  </a:lnTo>
                  <a:lnTo>
                    <a:pt x="386" y="1394"/>
                  </a:lnTo>
                  <a:lnTo>
                    <a:pt x="386" y="1394"/>
                  </a:lnTo>
                  <a:lnTo>
                    <a:pt x="385" y="1403"/>
                  </a:lnTo>
                  <a:lnTo>
                    <a:pt x="383" y="1408"/>
                  </a:lnTo>
                  <a:lnTo>
                    <a:pt x="379" y="1414"/>
                  </a:lnTo>
                  <a:lnTo>
                    <a:pt x="379" y="1414"/>
                  </a:lnTo>
                  <a:lnTo>
                    <a:pt x="358" y="1431"/>
                  </a:lnTo>
                  <a:lnTo>
                    <a:pt x="348" y="1440"/>
                  </a:lnTo>
                  <a:lnTo>
                    <a:pt x="342" y="1445"/>
                  </a:lnTo>
                  <a:lnTo>
                    <a:pt x="342" y="1445"/>
                  </a:lnTo>
                  <a:lnTo>
                    <a:pt x="342" y="1448"/>
                  </a:lnTo>
                  <a:lnTo>
                    <a:pt x="342" y="1451"/>
                  </a:lnTo>
                  <a:lnTo>
                    <a:pt x="345" y="1456"/>
                  </a:lnTo>
                  <a:lnTo>
                    <a:pt x="348" y="1460"/>
                  </a:lnTo>
                  <a:lnTo>
                    <a:pt x="348" y="1460"/>
                  </a:lnTo>
                  <a:lnTo>
                    <a:pt x="352" y="1466"/>
                  </a:lnTo>
                  <a:lnTo>
                    <a:pt x="354" y="1472"/>
                  </a:lnTo>
                  <a:lnTo>
                    <a:pt x="352" y="1478"/>
                  </a:lnTo>
                  <a:lnTo>
                    <a:pt x="351" y="1481"/>
                  </a:lnTo>
                  <a:lnTo>
                    <a:pt x="349" y="1481"/>
                  </a:lnTo>
                  <a:lnTo>
                    <a:pt x="349" y="1481"/>
                  </a:lnTo>
                  <a:lnTo>
                    <a:pt x="345" y="1483"/>
                  </a:lnTo>
                  <a:lnTo>
                    <a:pt x="343" y="1484"/>
                  </a:lnTo>
                  <a:lnTo>
                    <a:pt x="342" y="1488"/>
                  </a:lnTo>
                  <a:lnTo>
                    <a:pt x="343" y="1493"/>
                  </a:lnTo>
                  <a:lnTo>
                    <a:pt x="343" y="1493"/>
                  </a:lnTo>
                  <a:lnTo>
                    <a:pt x="343" y="1499"/>
                  </a:lnTo>
                  <a:lnTo>
                    <a:pt x="342" y="1505"/>
                  </a:lnTo>
                  <a:lnTo>
                    <a:pt x="339" y="1514"/>
                  </a:lnTo>
                  <a:lnTo>
                    <a:pt x="339" y="1514"/>
                  </a:lnTo>
                  <a:lnTo>
                    <a:pt x="339" y="1527"/>
                  </a:lnTo>
                  <a:lnTo>
                    <a:pt x="339" y="1543"/>
                  </a:lnTo>
                  <a:lnTo>
                    <a:pt x="339" y="1543"/>
                  </a:lnTo>
                  <a:lnTo>
                    <a:pt x="339" y="1552"/>
                  </a:lnTo>
                  <a:lnTo>
                    <a:pt x="340" y="1562"/>
                  </a:lnTo>
                  <a:lnTo>
                    <a:pt x="340" y="1562"/>
                  </a:lnTo>
                  <a:lnTo>
                    <a:pt x="342" y="1576"/>
                  </a:lnTo>
                  <a:lnTo>
                    <a:pt x="345" y="1579"/>
                  </a:lnTo>
                  <a:lnTo>
                    <a:pt x="346" y="1576"/>
                  </a:lnTo>
                  <a:lnTo>
                    <a:pt x="346" y="1576"/>
                  </a:lnTo>
                  <a:lnTo>
                    <a:pt x="352" y="1567"/>
                  </a:lnTo>
                  <a:lnTo>
                    <a:pt x="355" y="1564"/>
                  </a:lnTo>
                  <a:lnTo>
                    <a:pt x="358" y="1562"/>
                  </a:lnTo>
                  <a:lnTo>
                    <a:pt x="358" y="1562"/>
                  </a:lnTo>
                  <a:lnTo>
                    <a:pt x="363" y="1562"/>
                  </a:lnTo>
                  <a:lnTo>
                    <a:pt x="366" y="1564"/>
                  </a:lnTo>
                  <a:lnTo>
                    <a:pt x="369" y="1567"/>
                  </a:lnTo>
                  <a:lnTo>
                    <a:pt x="369" y="1571"/>
                  </a:lnTo>
                  <a:lnTo>
                    <a:pt x="369" y="1571"/>
                  </a:lnTo>
                  <a:lnTo>
                    <a:pt x="369" y="1580"/>
                  </a:lnTo>
                  <a:lnTo>
                    <a:pt x="369" y="1583"/>
                  </a:lnTo>
                  <a:lnTo>
                    <a:pt x="372" y="1586"/>
                  </a:lnTo>
                  <a:lnTo>
                    <a:pt x="372" y="1586"/>
                  </a:lnTo>
                  <a:lnTo>
                    <a:pt x="373" y="1588"/>
                  </a:lnTo>
                  <a:lnTo>
                    <a:pt x="374" y="1589"/>
                  </a:lnTo>
                  <a:lnTo>
                    <a:pt x="377" y="1588"/>
                  </a:lnTo>
                  <a:lnTo>
                    <a:pt x="388" y="1579"/>
                  </a:lnTo>
                  <a:lnTo>
                    <a:pt x="388" y="1579"/>
                  </a:lnTo>
                  <a:lnTo>
                    <a:pt x="392" y="1576"/>
                  </a:lnTo>
                  <a:lnTo>
                    <a:pt x="398" y="1576"/>
                  </a:lnTo>
                  <a:lnTo>
                    <a:pt x="404" y="1579"/>
                  </a:lnTo>
                  <a:lnTo>
                    <a:pt x="410" y="1585"/>
                  </a:lnTo>
                  <a:lnTo>
                    <a:pt x="410" y="1585"/>
                  </a:lnTo>
                  <a:lnTo>
                    <a:pt x="426" y="1605"/>
                  </a:lnTo>
                  <a:lnTo>
                    <a:pt x="435" y="1614"/>
                  </a:lnTo>
                  <a:lnTo>
                    <a:pt x="440" y="1623"/>
                  </a:lnTo>
                  <a:lnTo>
                    <a:pt x="440" y="1623"/>
                  </a:lnTo>
                  <a:lnTo>
                    <a:pt x="443" y="1628"/>
                  </a:lnTo>
                  <a:lnTo>
                    <a:pt x="443" y="1632"/>
                  </a:lnTo>
                  <a:lnTo>
                    <a:pt x="441" y="1635"/>
                  </a:lnTo>
                  <a:lnTo>
                    <a:pt x="438" y="1638"/>
                  </a:lnTo>
                  <a:lnTo>
                    <a:pt x="438" y="1638"/>
                  </a:lnTo>
                  <a:lnTo>
                    <a:pt x="435" y="1642"/>
                  </a:lnTo>
                  <a:lnTo>
                    <a:pt x="435" y="1647"/>
                  </a:lnTo>
                  <a:lnTo>
                    <a:pt x="435" y="1651"/>
                  </a:lnTo>
                  <a:lnTo>
                    <a:pt x="437" y="1653"/>
                  </a:lnTo>
                  <a:lnTo>
                    <a:pt x="438" y="1653"/>
                  </a:lnTo>
                  <a:lnTo>
                    <a:pt x="438" y="1653"/>
                  </a:lnTo>
                  <a:lnTo>
                    <a:pt x="443" y="1651"/>
                  </a:lnTo>
                  <a:lnTo>
                    <a:pt x="446" y="1648"/>
                  </a:lnTo>
                  <a:lnTo>
                    <a:pt x="447" y="1648"/>
                  </a:lnTo>
                  <a:lnTo>
                    <a:pt x="449" y="1648"/>
                  </a:lnTo>
                  <a:lnTo>
                    <a:pt x="450" y="1650"/>
                  </a:lnTo>
                  <a:lnTo>
                    <a:pt x="451" y="1653"/>
                  </a:lnTo>
                  <a:lnTo>
                    <a:pt x="451" y="1653"/>
                  </a:lnTo>
                  <a:lnTo>
                    <a:pt x="459" y="1668"/>
                  </a:lnTo>
                  <a:lnTo>
                    <a:pt x="465" y="1678"/>
                  </a:lnTo>
                  <a:lnTo>
                    <a:pt x="465" y="1678"/>
                  </a:lnTo>
                  <a:lnTo>
                    <a:pt x="469" y="1678"/>
                  </a:lnTo>
                  <a:lnTo>
                    <a:pt x="475" y="1678"/>
                  </a:lnTo>
                  <a:lnTo>
                    <a:pt x="481" y="1675"/>
                  </a:lnTo>
                  <a:lnTo>
                    <a:pt x="484" y="1672"/>
                  </a:lnTo>
                  <a:lnTo>
                    <a:pt x="484" y="1672"/>
                  </a:lnTo>
                  <a:lnTo>
                    <a:pt x="486" y="1666"/>
                  </a:lnTo>
                  <a:lnTo>
                    <a:pt x="487" y="1663"/>
                  </a:lnTo>
                  <a:lnTo>
                    <a:pt x="490" y="1662"/>
                  </a:lnTo>
                  <a:lnTo>
                    <a:pt x="490" y="1662"/>
                  </a:lnTo>
                  <a:lnTo>
                    <a:pt x="494" y="1660"/>
                  </a:lnTo>
                  <a:lnTo>
                    <a:pt x="497" y="1659"/>
                  </a:lnTo>
                  <a:lnTo>
                    <a:pt x="500" y="1657"/>
                  </a:lnTo>
                  <a:lnTo>
                    <a:pt x="500" y="1653"/>
                  </a:lnTo>
                  <a:lnTo>
                    <a:pt x="500" y="1653"/>
                  </a:lnTo>
                  <a:lnTo>
                    <a:pt x="497" y="1641"/>
                  </a:lnTo>
                  <a:lnTo>
                    <a:pt x="499" y="1637"/>
                  </a:lnTo>
                  <a:lnTo>
                    <a:pt x="500" y="1635"/>
                  </a:lnTo>
                  <a:lnTo>
                    <a:pt x="502" y="1634"/>
                  </a:lnTo>
                  <a:lnTo>
                    <a:pt x="502" y="1634"/>
                  </a:lnTo>
                  <a:lnTo>
                    <a:pt x="508" y="1635"/>
                  </a:lnTo>
                  <a:lnTo>
                    <a:pt x="514" y="1637"/>
                  </a:lnTo>
                  <a:lnTo>
                    <a:pt x="521" y="1641"/>
                  </a:lnTo>
                  <a:lnTo>
                    <a:pt x="521" y="1641"/>
                  </a:lnTo>
                  <a:lnTo>
                    <a:pt x="526" y="1642"/>
                  </a:lnTo>
                  <a:lnTo>
                    <a:pt x="531" y="1644"/>
                  </a:lnTo>
                  <a:lnTo>
                    <a:pt x="539" y="1642"/>
                  </a:lnTo>
                  <a:lnTo>
                    <a:pt x="542" y="1641"/>
                  </a:lnTo>
                  <a:lnTo>
                    <a:pt x="543" y="1639"/>
                  </a:lnTo>
                  <a:lnTo>
                    <a:pt x="543" y="1639"/>
                  </a:lnTo>
                  <a:lnTo>
                    <a:pt x="545" y="1634"/>
                  </a:lnTo>
                  <a:lnTo>
                    <a:pt x="549" y="1632"/>
                  </a:lnTo>
                  <a:lnTo>
                    <a:pt x="552" y="1631"/>
                  </a:lnTo>
                  <a:lnTo>
                    <a:pt x="557" y="1632"/>
                  </a:lnTo>
                  <a:lnTo>
                    <a:pt x="557" y="1632"/>
                  </a:lnTo>
                  <a:lnTo>
                    <a:pt x="563" y="1632"/>
                  </a:lnTo>
                  <a:lnTo>
                    <a:pt x="568" y="1629"/>
                  </a:lnTo>
                  <a:lnTo>
                    <a:pt x="580" y="1625"/>
                  </a:lnTo>
                  <a:lnTo>
                    <a:pt x="580" y="1625"/>
                  </a:lnTo>
                  <a:lnTo>
                    <a:pt x="585" y="1625"/>
                  </a:lnTo>
                  <a:lnTo>
                    <a:pt x="591" y="1625"/>
                  </a:lnTo>
                  <a:lnTo>
                    <a:pt x="595" y="1626"/>
                  </a:lnTo>
                  <a:lnTo>
                    <a:pt x="597" y="1628"/>
                  </a:lnTo>
                  <a:lnTo>
                    <a:pt x="598" y="1632"/>
                  </a:lnTo>
                  <a:lnTo>
                    <a:pt x="598" y="1632"/>
                  </a:lnTo>
                  <a:lnTo>
                    <a:pt x="601" y="1639"/>
                  </a:lnTo>
                  <a:lnTo>
                    <a:pt x="605" y="1648"/>
                  </a:lnTo>
                  <a:lnTo>
                    <a:pt x="610" y="1653"/>
                  </a:lnTo>
                  <a:lnTo>
                    <a:pt x="613" y="1656"/>
                  </a:lnTo>
                  <a:lnTo>
                    <a:pt x="617" y="1657"/>
                  </a:lnTo>
                  <a:lnTo>
                    <a:pt x="620" y="1657"/>
                  </a:lnTo>
                  <a:lnTo>
                    <a:pt x="620" y="1657"/>
                  </a:lnTo>
                  <a:lnTo>
                    <a:pt x="629" y="1656"/>
                  </a:lnTo>
                  <a:lnTo>
                    <a:pt x="638" y="1656"/>
                  </a:lnTo>
                  <a:lnTo>
                    <a:pt x="647" y="1656"/>
                  </a:lnTo>
                  <a:lnTo>
                    <a:pt x="654" y="1654"/>
                  </a:lnTo>
                  <a:lnTo>
                    <a:pt x="654" y="1654"/>
                  </a:lnTo>
                  <a:lnTo>
                    <a:pt x="662" y="1650"/>
                  </a:lnTo>
                  <a:lnTo>
                    <a:pt x="669" y="1644"/>
                  </a:lnTo>
                  <a:lnTo>
                    <a:pt x="677" y="1638"/>
                  </a:lnTo>
                  <a:lnTo>
                    <a:pt x="681" y="1634"/>
                  </a:lnTo>
                  <a:lnTo>
                    <a:pt x="681" y="1634"/>
                  </a:lnTo>
                  <a:lnTo>
                    <a:pt x="684" y="1629"/>
                  </a:lnTo>
                  <a:lnTo>
                    <a:pt x="688" y="1628"/>
                  </a:lnTo>
                  <a:lnTo>
                    <a:pt x="694" y="1626"/>
                  </a:lnTo>
                  <a:lnTo>
                    <a:pt x="697" y="1628"/>
                  </a:lnTo>
                  <a:lnTo>
                    <a:pt x="697" y="1628"/>
                  </a:lnTo>
                  <a:lnTo>
                    <a:pt x="702" y="1629"/>
                  </a:lnTo>
                  <a:lnTo>
                    <a:pt x="706" y="1631"/>
                  </a:lnTo>
                  <a:lnTo>
                    <a:pt x="712" y="1631"/>
                  </a:lnTo>
                  <a:lnTo>
                    <a:pt x="714" y="1629"/>
                  </a:lnTo>
                  <a:lnTo>
                    <a:pt x="715" y="1628"/>
                  </a:lnTo>
                  <a:lnTo>
                    <a:pt x="715" y="1628"/>
                  </a:lnTo>
                  <a:lnTo>
                    <a:pt x="721" y="1617"/>
                  </a:lnTo>
                  <a:lnTo>
                    <a:pt x="724" y="1611"/>
                  </a:lnTo>
                  <a:lnTo>
                    <a:pt x="725" y="1610"/>
                  </a:lnTo>
                  <a:lnTo>
                    <a:pt x="728" y="1610"/>
                  </a:lnTo>
                  <a:lnTo>
                    <a:pt x="728" y="1610"/>
                  </a:lnTo>
                  <a:lnTo>
                    <a:pt x="733" y="1608"/>
                  </a:lnTo>
                  <a:lnTo>
                    <a:pt x="736" y="1610"/>
                  </a:lnTo>
                  <a:lnTo>
                    <a:pt x="742" y="1614"/>
                  </a:lnTo>
                  <a:lnTo>
                    <a:pt x="742" y="1614"/>
                  </a:lnTo>
                  <a:lnTo>
                    <a:pt x="746" y="1619"/>
                  </a:lnTo>
                  <a:lnTo>
                    <a:pt x="748" y="1625"/>
                  </a:lnTo>
                  <a:lnTo>
                    <a:pt x="749" y="1631"/>
                  </a:lnTo>
                  <a:lnTo>
                    <a:pt x="749" y="1635"/>
                  </a:lnTo>
                  <a:lnTo>
                    <a:pt x="749" y="1635"/>
                  </a:lnTo>
                  <a:lnTo>
                    <a:pt x="742" y="1647"/>
                  </a:lnTo>
                  <a:lnTo>
                    <a:pt x="733" y="1659"/>
                  </a:lnTo>
                  <a:lnTo>
                    <a:pt x="725" y="1671"/>
                  </a:lnTo>
                  <a:lnTo>
                    <a:pt x="725" y="1671"/>
                  </a:lnTo>
                  <a:lnTo>
                    <a:pt x="731" y="1677"/>
                  </a:lnTo>
                  <a:lnTo>
                    <a:pt x="736" y="1685"/>
                  </a:lnTo>
                  <a:lnTo>
                    <a:pt x="743" y="1700"/>
                  </a:lnTo>
                  <a:lnTo>
                    <a:pt x="743" y="1700"/>
                  </a:lnTo>
                  <a:lnTo>
                    <a:pt x="746" y="1705"/>
                  </a:lnTo>
                  <a:lnTo>
                    <a:pt x="748" y="1706"/>
                  </a:lnTo>
                  <a:lnTo>
                    <a:pt x="754" y="1709"/>
                  </a:lnTo>
                  <a:lnTo>
                    <a:pt x="759" y="1709"/>
                  </a:lnTo>
                  <a:lnTo>
                    <a:pt x="762" y="1711"/>
                  </a:lnTo>
                  <a:lnTo>
                    <a:pt x="762" y="1711"/>
                  </a:lnTo>
                  <a:lnTo>
                    <a:pt x="764" y="1714"/>
                  </a:lnTo>
                  <a:lnTo>
                    <a:pt x="762" y="1719"/>
                  </a:lnTo>
                  <a:lnTo>
                    <a:pt x="752" y="1740"/>
                  </a:lnTo>
                  <a:lnTo>
                    <a:pt x="752" y="1740"/>
                  </a:lnTo>
                  <a:lnTo>
                    <a:pt x="748" y="1752"/>
                  </a:lnTo>
                  <a:lnTo>
                    <a:pt x="746" y="1762"/>
                  </a:lnTo>
                  <a:lnTo>
                    <a:pt x="748" y="1771"/>
                  </a:lnTo>
                  <a:lnTo>
                    <a:pt x="752" y="1783"/>
                  </a:lnTo>
                  <a:lnTo>
                    <a:pt x="752" y="1783"/>
                  </a:lnTo>
                  <a:lnTo>
                    <a:pt x="759" y="1798"/>
                  </a:lnTo>
                  <a:lnTo>
                    <a:pt x="762" y="1811"/>
                  </a:lnTo>
                  <a:lnTo>
                    <a:pt x="762" y="1811"/>
                  </a:lnTo>
                  <a:lnTo>
                    <a:pt x="765" y="1822"/>
                  </a:lnTo>
                  <a:lnTo>
                    <a:pt x="768" y="1826"/>
                  </a:lnTo>
                  <a:lnTo>
                    <a:pt x="771" y="1829"/>
                  </a:lnTo>
                  <a:lnTo>
                    <a:pt x="771" y="1835"/>
                  </a:lnTo>
                  <a:lnTo>
                    <a:pt x="771" y="1835"/>
                  </a:lnTo>
                  <a:lnTo>
                    <a:pt x="771" y="1842"/>
                  </a:lnTo>
                  <a:lnTo>
                    <a:pt x="770" y="1851"/>
                  </a:lnTo>
                  <a:lnTo>
                    <a:pt x="770" y="1851"/>
                  </a:lnTo>
                  <a:lnTo>
                    <a:pt x="782" y="1844"/>
                  </a:lnTo>
                  <a:lnTo>
                    <a:pt x="795" y="1835"/>
                  </a:lnTo>
                  <a:lnTo>
                    <a:pt x="795" y="1835"/>
                  </a:lnTo>
                  <a:lnTo>
                    <a:pt x="807" y="1825"/>
                  </a:lnTo>
                  <a:lnTo>
                    <a:pt x="813" y="1819"/>
                  </a:lnTo>
                  <a:lnTo>
                    <a:pt x="816" y="1813"/>
                  </a:lnTo>
                  <a:lnTo>
                    <a:pt x="816" y="1813"/>
                  </a:lnTo>
                  <a:lnTo>
                    <a:pt x="816" y="1811"/>
                  </a:lnTo>
                  <a:lnTo>
                    <a:pt x="816" y="1808"/>
                  </a:lnTo>
                  <a:lnTo>
                    <a:pt x="811" y="1801"/>
                  </a:lnTo>
                  <a:lnTo>
                    <a:pt x="808" y="1795"/>
                  </a:lnTo>
                  <a:lnTo>
                    <a:pt x="807" y="1792"/>
                  </a:lnTo>
                  <a:lnTo>
                    <a:pt x="807" y="1791"/>
                  </a:lnTo>
                  <a:lnTo>
                    <a:pt x="807" y="1791"/>
                  </a:lnTo>
                  <a:lnTo>
                    <a:pt x="807" y="1785"/>
                  </a:lnTo>
                  <a:lnTo>
                    <a:pt x="805" y="1777"/>
                  </a:lnTo>
                  <a:lnTo>
                    <a:pt x="805" y="1777"/>
                  </a:lnTo>
                  <a:lnTo>
                    <a:pt x="804" y="1771"/>
                  </a:lnTo>
                  <a:lnTo>
                    <a:pt x="804" y="1765"/>
                  </a:lnTo>
                  <a:lnTo>
                    <a:pt x="805" y="1759"/>
                  </a:lnTo>
                  <a:lnTo>
                    <a:pt x="807" y="1758"/>
                  </a:lnTo>
                  <a:lnTo>
                    <a:pt x="808" y="1758"/>
                  </a:lnTo>
                  <a:lnTo>
                    <a:pt x="808" y="1758"/>
                  </a:lnTo>
                  <a:lnTo>
                    <a:pt x="819" y="1759"/>
                  </a:lnTo>
                  <a:lnTo>
                    <a:pt x="823" y="1758"/>
                  </a:lnTo>
                  <a:lnTo>
                    <a:pt x="825" y="1755"/>
                  </a:lnTo>
                  <a:lnTo>
                    <a:pt x="825" y="1755"/>
                  </a:lnTo>
                  <a:lnTo>
                    <a:pt x="831" y="1742"/>
                  </a:lnTo>
                  <a:lnTo>
                    <a:pt x="834" y="1737"/>
                  </a:lnTo>
                  <a:lnTo>
                    <a:pt x="836" y="1737"/>
                  </a:lnTo>
                  <a:lnTo>
                    <a:pt x="838" y="1737"/>
                  </a:lnTo>
                  <a:lnTo>
                    <a:pt x="838" y="1737"/>
                  </a:lnTo>
                  <a:lnTo>
                    <a:pt x="848" y="1742"/>
                  </a:lnTo>
                  <a:lnTo>
                    <a:pt x="853" y="1745"/>
                  </a:lnTo>
                  <a:lnTo>
                    <a:pt x="854" y="1749"/>
                  </a:lnTo>
                  <a:lnTo>
                    <a:pt x="854" y="1749"/>
                  </a:lnTo>
                  <a:lnTo>
                    <a:pt x="856" y="1759"/>
                  </a:lnTo>
                  <a:lnTo>
                    <a:pt x="857" y="1762"/>
                  </a:lnTo>
                  <a:lnTo>
                    <a:pt x="859" y="1762"/>
                  </a:lnTo>
                  <a:lnTo>
                    <a:pt x="860" y="1762"/>
                  </a:lnTo>
                  <a:lnTo>
                    <a:pt x="860" y="1762"/>
                  </a:lnTo>
                  <a:lnTo>
                    <a:pt x="863" y="1761"/>
                  </a:lnTo>
                  <a:lnTo>
                    <a:pt x="866" y="1756"/>
                  </a:lnTo>
                  <a:lnTo>
                    <a:pt x="868" y="1754"/>
                  </a:lnTo>
                  <a:lnTo>
                    <a:pt x="872" y="1751"/>
                  </a:lnTo>
                  <a:lnTo>
                    <a:pt x="872" y="1751"/>
                  </a:lnTo>
                  <a:lnTo>
                    <a:pt x="876" y="1749"/>
                  </a:lnTo>
                  <a:lnTo>
                    <a:pt x="881" y="1751"/>
                  </a:lnTo>
                  <a:lnTo>
                    <a:pt x="885" y="1751"/>
                  </a:lnTo>
                  <a:lnTo>
                    <a:pt x="893" y="1748"/>
                  </a:lnTo>
                  <a:lnTo>
                    <a:pt x="893" y="1748"/>
                  </a:lnTo>
                  <a:lnTo>
                    <a:pt x="896" y="1746"/>
                  </a:lnTo>
                  <a:lnTo>
                    <a:pt x="897" y="1743"/>
                  </a:lnTo>
                  <a:lnTo>
                    <a:pt x="900" y="1740"/>
                  </a:lnTo>
                  <a:lnTo>
                    <a:pt x="903" y="1736"/>
                  </a:lnTo>
                  <a:lnTo>
                    <a:pt x="906" y="1736"/>
                  </a:lnTo>
                  <a:lnTo>
                    <a:pt x="911" y="1736"/>
                  </a:lnTo>
                  <a:lnTo>
                    <a:pt x="911" y="1736"/>
                  </a:lnTo>
                  <a:lnTo>
                    <a:pt x="927" y="1734"/>
                  </a:lnTo>
                  <a:lnTo>
                    <a:pt x="931" y="1733"/>
                  </a:lnTo>
                  <a:lnTo>
                    <a:pt x="934" y="1731"/>
                  </a:lnTo>
                  <a:lnTo>
                    <a:pt x="934" y="1731"/>
                  </a:lnTo>
                  <a:lnTo>
                    <a:pt x="933" y="1728"/>
                  </a:lnTo>
                  <a:lnTo>
                    <a:pt x="931" y="1724"/>
                  </a:lnTo>
                  <a:lnTo>
                    <a:pt x="930" y="1721"/>
                  </a:lnTo>
                  <a:lnTo>
                    <a:pt x="931" y="1719"/>
                  </a:lnTo>
                  <a:lnTo>
                    <a:pt x="933" y="1718"/>
                  </a:lnTo>
                  <a:lnTo>
                    <a:pt x="933" y="1718"/>
                  </a:lnTo>
                  <a:lnTo>
                    <a:pt x="942" y="1715"/>
                  </a:lnTo>
                  <a:lnTo>
                    <a:pt x="943" y="1714"/>
                  </a:lnTo>
                  <a:lnTo>
                    <a:pt x="945" y="1708"/>
                  </a:lnTo>
                  <a:lnTo>
                    <a:pt x="945" y="1708"/>
                  </a:lnTo>
                  <a:lnTo>
                    <a:pt x="946" y="1696"/>
                  </a:lnTo>
                  <a:lnTo>
                    <a:pt x="946" y="1693"/>
                  </a:lnTo>
                  <a:lnTo>
                    <a:pt x="945" y="1688"/>
                  </a:lnTo>
                  <a:lnTo>
                    <a:pt x="945" y="1688"/>
                  </a:lnTo>
                  <a:lnTo>
                    <a:pt x="940" y="1687"/>
                  </a:lnTo>
                  <a:lnTo>
                    <a:pt x="937" y="1685"/>
                  </a:lnTo>
                  <a:lnTo>
                    <a:pt x="936" y="1682"/>
                  </a:lnTo>
                  <a:lnTo>
                    <a:pt x="936" y="1679"/>
                  </a:lnTo>
                  <a:lnTo>
                    <a:pt x="936" y="1679"/>
                  </a:lnTo>
                  <a:lnTo>
                    <a:pt x="937" y="1674"/>
                  </a:lnTo>
                  <a:lnTo>
                    <a:pt x="936" y="1669"/>
                  </a:lnTo>
                  <a:lnTo>
                    <a:pt x="934" y="1665"/>
                  </a:lnTo>
                  <a:lnTo>
                    <a:pt x="934" y="1662"/>
                  </a:lnTo>
                  <a:lnTo>
                    <a:pt x="936" y="1660"/>
                  </a:lnTo>
                  <a:lnTo>
                    <a:pt x="936" y="1660"/>
                  </a:lnTo>
                  <a:lnTo>
                    <a:pt x="945" y="1651"/>
                  </a:lnTo>
                  <a:lnTo>
                    <a:pt x="949" y="1647"/>
                  </a:lnTo>
                  <a:lnTo>
                    <a:pt x="952" y="1645"/>
                  </a:lnTo>
                  <a:lnTo>
                    <a:pt x="955" y="1645"/>
                  </a:lnTo>
                  <a:lnTo>
                    <a:pt x="955" y="1645"/>
                  </a:lnTo>
                  <a:lnTo>
                    <a:pt x="965" y="1645"/>
                  </a:lnTo>
                  <a:lnTo>
                    <a:pt x="968" y="1644"/>
                  </a:lnTo>
                  <a:lnTo>
                    <a:pt x="970" y="1641"/>
                  </a:lnTo>
                  <a:lnTo>
                    <a:pt x="970" y="1641"/>
                  </a:lnTo>
                  <a:lnTo>
                    <a:pt x="973" y="1628"/>
                  </a:lnTo>
                  <a:lnTo>
                    <a:pt x="976" y="1622"/>
                  </a:lnTo>
                  <a:lnTo>
                    <a:pt x="977" y="1619"/>
                  </a:lnTo>
                  <a:lnTo>
                    <a:pt x="979" y="1619"/>
                  </a:lnTo>
                  <a:lnTo>
                    <a:pt x="979" y="1619"/>
                  </a:lnTo>
                  <a:lnTo>
                    <a:pt x="983" y="1617"/>
                  </a:lnTo>
                  <a:lnTo>
                    <a:pt x="988" y="1616"/>
                  </a:lnTo>
                  <a:lnTo>
                    <a:pt x="990" y="1613"/>
                  </a:lnTo>
                  <a:lnTo>
                    <a:pt x="993" y="1608"/>
                  </a:lnTo>
                  <a:lnTo>
                    <a:pt x="993" y="1608"/>
                  </a:lnTo>
                  <a:lnTo>
                    <a:pt x="995" y="1605"/>
                  </a:lnTo>
                  <a:lnTo>
                    <a:pt x="996" y="1602"/>
                  </a:lnTo>
                  <a:lnTo>
                    <a:pt x="998" y="1600"/>
                  </a:lnTo>
                  <a:lnTo>
                    <a:pt x="998" y="1597"/>
                  </a:lnTo>
                  <a:lnTo>
                    <a:pt x="998" y="1597"/>
                  </a:lnTo>
                  <a:lnTo>
                    <a:pt x="995" y="1595"/>
                  </a:lnTo>
                  <a:lnTo>
                    <a:pt x="992" y="1594"/>
                  </a:lnTo>
                  <a:lnTo>
                    <a:pt x="989" y="1594"/>
                  </a:lnTo>
                  <a:lnTo>
                    <a:pt x="988" y="1591"/>
                  </a:lnTo>
                  <a:lnTo>
                    <a:pt x="988" y="1591"/>
                  </a:lnTo>
                  <a:lnTo>
                    <a:pt x="986" y="1580"/>
                  </a:lnTo>
                  <a:lnTo>
                    <a:pt x="985" y="1576"/>
                  </a:lnTo>
                  <a:lnTo>
                    <a:pt x="983" y="1576"/>
                  </a:lnTo>
                  <a:lnTo>
                    <a:pt x="980" y="1576"/>
                  </a:lnTo>
                  <a:lnTo>
                    <a:pt x="980" y="1576"/>
                  </a:lnTo>
                  <a:lnTo>
                    <a:pt x="977" y="1579"/>
                  </a:lnTo>
                  <a:lnTo>
                    <a:pt x="976" y="1582"/>
                  </a:lnTo>
                  <a:lnTo>
                    <a:pt x="974" y="1585"/>
                  </a:lnTo>
                  <a:lnTo>
                    <a:pt x="970" y="1586"/>
                  </a:lnTo>
                  <a:lnTo>
                    <a:pt x="970" y="1586"/>
                  </a:lnTo>
                  <a:lnTo>
                    <a:pt x="959" y="1586"/>
                  </a:lnTo>
                  <a:lnTo>
                    <a:pt x="956" y="1586"/>
                  </a:lnTo>
                  <a:lnTo>
                    <a:pt x="953" y="1588"/>
                  </a:lnTo>
                  <a:lnTo>
                    <a:pt x="953" y="1588"/>
                  </a:lnTo>
                  <a:lnTo>
                    <a:pt x="942" y="1592"/>
                  </a:lnTo>
                  <a:lnTo>
                    <a:pt x="936" y="1594"/>
                  </a:lnTo>
                  <a:lnTo>
                    <a:pt x="934" y="1592"/>
                  </a:lnTo>
                  <a:lnTo>
                    <a:pt x="934" y="1592"/>
                  </a:lnTo>
                  <a:lnTo>
                    <a:pt x="934" y="1592"/>
                  </a:lnTo>
                  <a:lnTo>
                    <a:pt x="936" y="1588"/>
                  </a:lnTo>
                  <a:lnTo>
                    <a:pt x="939" y="1585"/>
                  </a:lnTo>
                  <a:lnTo>
                    <a:pt x="940" y="1582"/>
                  </a:lnTo>
                  <a:lnTo>
                    <a:pt x="940" y="1580"/>
                  </a:lnTo>
                  <a:lnTo>
                    <a:pt x="939" y="1580"/>
                  </a:lnTo>
                  <a:lnTo>
                    <a:pt x="939" y="1580"/>
                  </a:lnTo>
                  <a:lnTo>
                    <a:pt x="931" y="1580"/>
                  </a:lnTo>
                  <a:lnTo>
                    <a:pt x="924" y="1582"/>
                  </a:lnTo>
                  <a:lnTo>
                    <a:pt x="915" y="1582"/>
                  </a:lnTo>
                  <a:lnTo>
                    <a:pt x="913" y="1580"/>
                  </a:lnTo>
                  <a:lnTo>
                    <a:pt x="911" y="1579"/>
                  </a:lnTo>
                  <a:lnTo>
                    <a:pt x="911" y="1579"/>
                  </a:lnTo>
                  <a:lnTo>
                    <a:pt x="909" y="1570"/>
                  </a:lnTo>
                  <a:lnTo>
                    <a:pt x="909" y="1560"/>
                  </a:lnTo>
                  <a:lnTo>
                    <a:pt x="911" y="1551"/>
                  </a:lnTo>
                  <a:lnTo>
                    <a:pt x="912" y="1548"/>
                  </a:lnTo>
                  <a:lnTo>
                    <a:pt x="913" y="1546"/>
                  </a:lnTo>
                  <a:lnTo>
                    <a:pt x="913" y="1546"/>
                  </a:lnTo>
                  <a:lnTo>
                    <a:pt x="919" y="1545"/>
                  </a:lnTo>
                  <a:lnTo>
                    <a:pt x="927" y="1542"/>
                  </a:lnTo>
                  <a:lnTo>
                    <a:pt x="933" y="1539"/>
                  </a:lnTo>
                  <a:lnTo>
                    <a:pt x="939" y="1533"/>
                  </a:lnTo>
                  <a:lnTo>
                    <a:pt x="939" y="1533"/>
                  </a:lnTo>
                  <a:lnTo>
                    <a:pt x="948" y="1521"/>
                  </a:lnTo>
                  <a:lnTo>
                    <a:pt x="951" y="1517"/>
                  </a:lnTo>
                  <a:lnTo>
                    <a:pt x="951" y="1512"/>
                  </a:lnTo>
                  <a:lnTo>
                    <a:pt x="951" y="1512"/>
                  </a:lnTo>
                  <a:lnTo>
                    <a:pt x="946" y="1499"/>
                  </a:lnTo>
                  <a:lnTo>
                    <a:pt x="946" y="1493"/>
                  </a:lnTo>
                  <a:lnTo>
                    <a:pt x="948" y="1491"/>
                  </a:lnTo>
                  <a:lnTo>
                    <a:pt x="949" y="1491"/>
                  </a:lnTo>
                  <a:lnTo>
                    <a:pt x="949" y="1491"/>
                  </a:lnTo>
                  <a:lnTo>
                    <a:pt x="953" y="1494"/>
                  </a:lnTo>
                  <a:lnTo>
                    <a:pt x="958" y="1499"/>
                  </a:lnTo>
                  <a:lnTo>
                    <a:pt x="961" y="1502"/>
                  </a:lnTo>
                  <a:lnTo>
                    <a:pt x="965" y="1503"/>
                  </a:lnTo>
                  <a:lnTo>
                    <a:pt x="965" y="1503"/>
                  </a:lnTo>
                  <a:lnTo>
                    <a:pt x="970" y="1503"/>
                  </a:lnTo>
                  <a:lnTo>
                    <a:pt x="974" y="1502"/>
                  </a:lnTo>
                  <a:lnTo>
                    <a:pt x="979" y="1500"/>
                  </a:lnTo>
                  <a:lnTo>
                    <a:pt x="985" y="1500"/>
                  </a:lnTo>
                  <a:lnTo>
                    <a:pt x="985" y="1500"/>
                  </a:lnTo>
                  <a:lnTo>
                    <a:pt x="990" y="1503"/>
                  </a:lnTo>
                  <a:lnTo>
                    <a:pt x="993" y="1506"/>
                  </a:lnTo>
                  <a:lnTo>
                    <a:pt x="995" y="1509"/>
                  </a:lnTo>
                  <a:lnTo>
                    <a:pt x="995" y="1514"/>
                  </a:lnTo>
                  <a:lnTo>
                    <a:pt x="995" y="1514"/>
                  </a:lnTo>
                  <a:lnTo>
                    <a:pt x="993" y="1518"/>
                  </a:lnTo>
                  <a:lnTo>
                    <a:pt x="993" y="1522"/>
                  </a:lnTo>
                  <a:lnTo>
                    <a:pt x="995" y="1524"/>
                  </a:lnTo>
                  <a:lnTo>
                    <a:pt x="999" y="1525"/>
                  </a:lnTo>
                  <a:lnTo>
                    <a:pt x="999" y="1525"/>
                  </a:lnTo>
                  <a:lnTo>
                    <a:pt x="1013" y="1525"/>
                  </a:lnTo>
                  <a:lnTo>
                    <a:pt x="1019" y="1527"/>
                  </a:lnTo>
                  <a:lnTo>
                    <a:pt x="1020" y="1527"/>
                  </a:lnTo>
                  <a:lnTo>
                    <a:pt x="1022" y="1530"/>
                  </a:lnTo>
                  <a:lnTo>
                    <a:pt x="1022" y="1530"/>
                  </a:lnTo>
                  <a:lnTo>
                    <a:pt x="1023" y="1539"/>
                  </a:lnTo>
                  <a:lnTo>
                    <a:pt x="1022" y="1543"/>
                  </a:lnTo>
                  <a:lnTo>
                    <a:pt x="1020" y="1549"/>
                  </a:lnTo>
                  <a:lnTo>
                    <a:pt x="1020" y="1549"/>
                  </a:lnTo>
                  <a:lnTo>
                    <a:pt x="1016" y="1557"/>
                  </a:lnTo>
                  <a:lnTo>
                    <a:pt x="1016" y="1558"/>
                  </a:lnTo>
                  <a:lnTo>
                    <a:pt x="1017" y="1561"/>
                  </a:lnTo>
                  <a:lnTo>
                    <a:pt x="1017" y="1561"/>
                  </a:lnTo>
                  <a:lnTo>
                    <a:pt x="1022" y="1561"/>
                  </a:lnTo>
                  <a:lnTo>
                    <a:pt x="1025" y="1561"/>
                  </a:lnTo>
                  <a:lnTo>
                    <a:pt x="1026" y="1561"/>
                  </a:lnTo>
                  <a:lnTo>
                    <a:pt x="1029" y="1564"/>
                  </a:lnTo>
                  <a:lnTo>
                    <a:pt x="1029" y="1564"/>
                  </a:lnTo>
                  <a:lnTo>
                    <a:pt x="1030" y="1567"/>
                  </a:lnTo>
                  <a:lnTo>
                    <a:pt x="1033" y="1568"/>
                  </a:lnTo>
                  <a:lnTo>
                    <a:pt x="1036" y="1568"/>
                  </a:lnTo>
                  <a:lnTo>
                    <a:pt x="1038" y="1565"/>
                  </a:lnTo>
                  <a:lnTo>
                    <a:pt x="1038" y="1565"/>
                  </a:lnTo>
                  <a:lnTo>
                    <a:pt x="1042" y="1560"/>
                  </a:lnTo>
                  <a:lnTo>
                    <a:pt x="1044" y="1557"/>
                  </a:lnTo>
                  <a:lnTo>
                    <a:pt x="1047" y="1555"/>
                  </a:lnTo>
                  <a:lnTo>
                    <a:pt x="1050" y="1555"/>
                  </a:lnTo>
                  <a:lnTo>
                    <a:pt x="1050" y="1555"/>
                  </a:lnTo>
                  <a:lnTo>
                    <a:pt x="1050" y="1540"/>
                  </a:lnTo>
                  <a:lnTo>
                    <a:pt x="1050" y="1540"/>
                  </a:lnTo>
                  <a:lnTo>
                    <a:pt x="1047" y="1506"/>
                  </a:lnTo>
                  <a:lnTo>
                    <a:pt x="1042" y="1454"/>
                  </a:lnTo>
                  <a:lnTo>
                    <a:pt x="1042" y="1454"/>
                  </a:lnTo>
                  <a:lnTo>
                    <a:pt x="1041" y="1438"/>
                  </a:lnTo>
                  <a:lnTo>
                    <a:pt x="1042" y="1434"/>
                  </a:lnTo>
                  <a:lnTo>
                    <a:pt x="1042" y="1431"/>
                  </a:lnTo>
                  <a:lnTo>
                    <a:pt x="1047" y="1426"/>
                  </a:lnTo>
                  <a:lnTo>
                    <a:pt x="1048" y="1423"/>
                  </a:lnTo>
                  <a:lnTo>
                    <a:pt x="1050" y="1420"/>
                  </a:lnTo>
                  <a:lnTo>
                    <a:pt x="1050" y="1420"/>
                  </a:lnTo>
                  <a:lnTo>
                    <a:pt x="1051" y="1414"/>
                  </a:lnTo>
                  <a:lnTo>
                    <a:pt x="1051" y="1410"/>
                  </a:lnTo>
                  <a:lnTo>
                    <a:pt x="1048" y="1403"/>
                  </a:lnTo>
                  <a:lnTo>
                    <a:pt x="1041" y="1391"/>
                  </a:lnTo>
                  <a:lnTo>
                    <a:pt x="1041" y="1391"/>
                  </a:lnTo>
                  <a:lnTo>
                    <a:pt x="1039" y="1385"/>
                  </a:lnTo>
                  <a:lnTo>
                    <a:pt x="1038" y="1379"/>
                  </a:lnTo>
                  <a:lnTo>
                    <a:pt x="1035" y="1371"/>
                  </a:lnTo>
                  <a:lnTo>
                    <a:pt x="1032" y="1366"/>
                  </a:lnTo>
                  <a:lnTo>
                    <a:pt x="1032" y="1366"/>
                  </a:lnTo>
                  <a:lnTo>
                    <a:pt x="1028" y="1363"/>
                  </a:lnTo>
                  <a:lnTo>
                    <a:pt x="1023" y="1361"/>
                  </a:lnTo>
                  <a:lnTo>
                    <a:pt x="1017" y="1360"/>
                  </a:lnTo>
                  <a:lnTo>
                    <a:pt x="1010" y="1357"/>
                  </a:lnTo>
                  <a:lnTo>
                    <a:pt x="1010" y="1357"/>
                  </a:lnTo>
                  <a:lnTo>
                    <a:pt x="1007" y="1352"/>
                  </a:lnTo>
                  <a:lnTo>
                    <a:pt x="1005" y="1348"/>
                  </a:lnTo>
                  <a:lnTo>
                    <a:pt x="1005" y="1343"/>
                  </a:lnTo>
                  <a:lnTo>
                    <a:pt x="1005" y="1337"/>
                  </a:lnTo>
                  <a:lnTo>
                    <a:pt x="1007" y="1326"/>
                  </a:lnTo>
                  <a:lnTo>
                    <a:pt x="1007" y="1320"/>
                  </a:lnTo>
                  <a:lnTo>
                    <a:pt x="1007" y="1315"/>
                  </a:lnTo>
                  <a:lnTo>
                    <a:pt x="1007" y="1315"/>
                  </a:lnTo>
                  <a:lnTo>
                    <a:pt x="1004" y="1308"/>
                  </a:lnTo>
                  <a:lnTo>
                    <a:pt x="1002" y="1302"/>
                  </a:lnTo>
                  <a:lnTo>
                    <a:pt x="998" y="1296"/>
                  </a:lnTo>
                  <a:lnTo>
                    <a:pt x="992" y="1291"/>
                  </a:lnTo>
                  <a:lnTo>
                    <a:pt x="992" y="1291"/>
                  </a:lnTo>
                  <a:lnTo>
                    <a:pt x="988" y="1290"/>
                  </a:lnTo>
                  <a:lnTo>
                    <a:pt x="985" y="1287"/>
                  </a:lnTo>
                  <a:lnTo>
                    <a:pt x="980" y="1278"/>
                  </a:lnTo>
                  <a:lnTo>
                    <a:pt x="977" y="1269"/>
                  </a:lnTo>
                  <a:lnTo>
                    <a:pt x="977" y="1260"/>
                  </a:lnTo>
                  <a:lnTo>
                    <a:pt x="977" y="1260"/>
                  </a:lnTo>
                  <a:lnTo>
                    <a:pt x="976" y="1256"/>
                  </a:lnTo>
                  <a:lnTo>
                    <a:pt x="974" y="1253"/>
                  </a:lnTo>
                  <a:lnTo>
                    <a:pt x="970" y="1246"/>
                  </a:lnTo>
                  <a:lnTo>
                    <a:pt x="964" y="1241"/>
                  </a:lnTo>
                  <a:lnTo>
                    <a:pt x="958" y="1237"/>
                  </a:lnTo>
                  <a:lnTo>
                    <a:pt x="958" y="1237"/>
                  </a:lnTo>
                  <a:lnTo>
                    <a:pt x="943" y="1225"/>
                  </a:lnTo>
                  <a:lnTo>
                    <a:pt x="930" y="1213"/>
                  </a:lnTo>
                  <a:lnTo>
                    <a:pt x="930" y="1213"/>
                  </a:lnTo>
                  <a:lnTo>
                    <a:pt x="925" y="1207"/>
                  </a:lnTo>
                  <a:lnTo>
                    <a:pt x="921" y="1198"/>
                  </a:lnTo>
                  <a:lnTo>
                    <a:pt x="911" y="1177"/>
                  </a:lnTo>
                  <a:lnTo>
                    <a:pt x="911" y="1177"/>
                  </a:lnTo>
                  <a:lnTo>
                    <a:pt x="908" y="1171"/>
                  </a:lnTo>
                  <a:lnTo>
                    <a:pt x="905" y="1163"/>
                  </a:lnTo>
                  <a:lnTo>
                    <a:pt x="900" y="1143"/>
                  </a:lnTo>
                  <a:lnTo>
                    <a:pt x="893" y="1111"/>
                  </a:lnTo>
                  <a:lnTo>
                    <a:pt x="893" y="1111"/>
                  </a:lnTo>
                  <a:lnTo>
                    <a:pt x="888" y="1075"/>
                  </a:lnTo>
                  <a:lnTo>
                    <a:pt x="885" y="1053"/>
                  </a:lnTo>
                  <a:lnTo>
                    <a:pt x="884" y="1046"/>
                  </a:lnTo>
                  <a:lnTo>
                    <a:pt x="882" y="1040"/>
                  </a:lnTo>
                  <a:lnTo>
                    <a:pt x="882" y="1040"/>
                  </a:lnTo>
                  <a:lnTo>
                    <a:pt x="879" y="1037"/>
                  </a:lnTo>
                  <a:lnTo>
                    <a:pt x="876" y="1034"/>
                  </a:lnTo>
                  <a:lnTo>
                    <a:pt x="868" y="1029"/>
                  </a:lnTo>
                  <a:lnTo>
                    <a:pt x="860" y="1025"/>
                  </a:lnTo>
                  <a:lnTo>
                    <a:pt x="854" y="1022"/>
                  </a:lnTo>
                  <a:lnTo>
                    <a:pt x="854" y="1022"/>
                  </a:lnTo>
                  <a:lnTo>
                    <a:pt x="851" y="1016"/>
                  </a:lnTo>
                  <a:lnTo>
                    <a:pt x="847" y="1009"/>
                  </a:lnTo>
                  <a:lnTo>
                    <a:pt x="842" y="1000"/>
                  </a:lnTo>
                  <a:lnTo>
                    <a:pt x="839" y="994"/>
                  </a:lnTo>
                  <a:lnTo>
                    <a:pt x="839" y="994"/>
                  </a:lnTo>
                  <a:lnTo>
                    <a:pt x="834" y="989"/>
                  </a:lnTo>
                  <a:lnTo>
                    <a:pt x="828" y="986"/>
                  </a:lnTo>
                  <a:lnTo>
                    <a:pt x="814" y="983"/>
                  </a:lnTo>
                  <a:lnTo>
                    <a:pt x="814" y="983"/>
                  </a:lnTo>
                  <a:lnTo>
                    <a:pt x="813" y="982"/>
                  </a:lnTo>
                  <a:lnTo>
                    <a:pt x="811" y="980"/>
                  </a:lnTo>
                  <a:lnTo>
                    <a:pt x="813" y="976"/>
                  </a:lnTo>
                  <a:lnTo>
                    <a:pt x="816" y="970"/>
                  </a:lnTo>
                  <a:lnTo>
                    <a:pt x="817" y="963"/>
                  </a:lnTo>
                  <a:lnTo>
                    <a:pt x="817" y="963"/>
                  </a:lnTo>
                  <a:lnTo>
                    <a:pt x="817" y="960"/>
                  </a:lnTo>
                  <a:lnTo>
                    <a:pt x="816" y="955"/>
                  </a:lnTo>
                  <a:lnTo>
                    <a:pt x="810" y="946"/>
                  </a:lnTo>
                  <a:lnTo>
                    <a:pt x="802" y="937"/>
                  </a:lnTo>
                  <a:lnTo>
                    <a:pt x="797" y="930"/>
                  </a:lnTo>
                  <a:lnTo>
                    <a:pt x="797" y="930"/>
                  </a:lnTo>
                  <a:lnTo>
                    <a:pt x="791" y="929"/>
                  </a:lnTo>
                  <a:lnTo>
                    <a:pt x="783" y="927"/>
                  </a:lnTo>
                  <a:lnTo>
                    <a:pt x="762" y="927"/>
                  </a:lnTo>
                  <a:lnTo>
                    <a:pt x="740" y="929"/>
                  </a:lnTo>
                  <a:lnTo>
                    <a:pt x="724" y="927"/>
                  </a:lnTo>
                  <a:lnTo>
                    <a:pt x="724" y="927"/>
                  </a:lnTo>
                  <a:lnTo>
                    <a:pt x="714" y="923"/>
                  </a:lnTo>
                  <a:lnTo>
                    <a:pt x="702" y="918"/>
                  </a:lnTo>
                  <a:lnTo>
                    <a:pt x="688" y="912"/>
                  </a:lnTo>
                  <a:lnTo>
                    <a:pt x="677" y="906"/>
                  </a:lnTo>
                  <a:lnTo>
                    <a:pt x="677" y="906"/>
                  </a:lnTo>
                  <a:lnTo>
                    <a:pt x="666" y="905"/>
                  </a:lnTo>
                  <a:lnTo>
                    <a:pt x="656" y="905"/>
                  </a:lnTo>
                  <a:lnTo>
                    <a:pt x="647" y="906"/>
                  </a:lnTo>
                  <a:lnTo>
                    <a:pt x="641" y="908"/>
                  </a:lnTo>
                  <a:lnTo>
                    <a:pt x="641" y="908"/>
                  </a:lnTo>
                  <a:lnTo>
                    <a:pt x="640" y="909"/>
                  </a:lnTo>
                  <a:lnTo>
                    <a:pt x="637" y="911"/>
                  </a:lnTo>
                  <a:lnTo>
                    <a:pt x="632" y="920"/>
                  </a:lnTo>
                  <a:lnTo>
                    <a:pt x="628" y="927"/>
                  </a:lnTo>
                  <a:lnTo>
                    <a:pt x="625" y="930"/>
                  </a:lnTo>
                  <a:lnTo>
                    <a:pt x="620" y="932"/>
                  </a:lnTo>
                  <a:lnTo>
                    <a:pt x="620" y="932"/>
                  </a:lnTo>
                  <a:lnTo>
                    <a:pt x="605" y="933"/>
                  </a:lnTo>
                  <a:lnTo>
                    <a:pt x="601" y="936"/>
                  </a:lnTo>
                  <a:lnTo>
                    <a:pt x="600" y="937"/>
                  </a:lnTo>
                  <a:lnTo>
                    <a:pt x="600" y="940"/>
                  </a:lnTo>
                  <a:lnTo>
                    <a:pt x="600" y="940"/>
                  </a:lnTo>
                  <a:lnTo>
                    <a:pt x="600" y="943"/>
                  </a:lnTo>
                  <a:lnTo>
                    <a:pt x="603" y="948"/>
                  </a:lnTo>
                  <a:lnTo>
                    <a:pt x="610" y="960"/>
                  </a:lnTo>
                  <a:lnTo>
                    <a:pt x="628" y="980"/>
                  </a:lnTo>
                  <a:lnTo>
                    <a:pt x="628" y="980"/>
                  </a:lnTo>
                  <a:lnTo>
                    <a:pt x="629" y="985"/>
                  </a:lnTo>
                  <a:lnTo>
                    <a:pt x="631" y="989"/>
                  </a:lnTo>
                  <a:lnTo>
                    <a:pt x="632" y="1001"/>
                  </a:lnTo>
                  <a:lnTo>
                    <a:pt x="631" y="1013"/>
                  </a:lnTo>
                  <a:lnTo>
                    <a:pt x="629" y="1023"/>
                  </a:lnTo>
                  <a:lnTo>
                    <a:pt x="629" y="1023"/>
                  </a:lnTo>
                  <a:lnTo>
                    <a:pt x="628" y="1025"/>
                  </a:lnTo>
                  <a:lnTo>
                    <a:pt x="626" y="1023"/>
                  </a:lnTo>
                  <a:lnTo>
                    <a:pt x="623" y="1014"/>
                  </a:lnTo>
                  <a:lnTo>
                    <a:pt x="617" y="991"/>
                  </a:lnTo>
                  <a:lnTo>
                    <a:pt x="617" y="991"/>
                  </a:lnTo>
                  <a:lnTo>
                    <a:pt x="616" y="982"/>
                  </a:lnTo>
                  <a:lnTo>
                    <a:pt x="613" y="979"/>
                  </a:lnTo>
                  <a:lnTo>
                    <a:pt x="610" y="977"/>
                  </a:lnTo>
                  <a:lnTo>
                    <a:pt x="607" y="979"/>
                  </a:lnTo>
                  <a:lnTo>
                    <a:pt x="607" y="979"/>
                  </a:lnTo>
                  <a:lnTo>
                    <a:pt x="605" y="980"/>
                  </a:lnTo>
                  <a:lnTo>
                    <a:pt x="605" y="985"/>
                  </a:lnTo>
                  <a:lnTo>
                    <a:pt x="605" y="997"/>
                  </a:lnTo>
                  <a:lnTo>
                    <a:pt x="605" y="1010"/>
                  </a:lnTo>
                  <a:lnTo>
                    <a:pt x="605" y="1022"/>
                  </a:lnTo>
                  <a:lnTo>
                    <a:pt x="605" y="1022"/>
                  </a:lnTo>
                  <a:lnTo>
                    <a:pt x="604" y="1026"/>
                  </a:lnTo>
                  <a:lnTo>
                    <a:pt x="601" y="1032"/>
                  </a:lnTo>
                  <a:lnTo>
                    <a:pt x="594" y="1041"/>
                  </a:lnTo>
                  <a:lnTo>
                    <a:pt x="586" y="1050"/>
                  </a:lnTo>
                  <a:lnTo>
                    <a:pt x="580" y="1056"/>
                  </a:lnTo>
                  <a:lnTo>
                    <a:pt x="580" y="1056"/>
                  </a:lnTo>
                  <a:lnTo>
                    <a:pt x="577" y="1059"/>
                  </a:lnTo>
                  <a:lnTo>
                    <a:pt x="574" y="1060"/>
                  </a:lnTo>
                  <a:lnTo>
                    <a:pt x="570" y="1060"/>
                  </a:lnTo>
                  <a:lnTo>
                    <a:pt x="566" y="1059"/>
                  </a:lnTo>
                  <a:lnTo>
                    <a:pt x="564" y="1057"/>
                  </a:lnTo>
                  <a:lnTo>
                    <a:pt x="564" y="1056"/>
                  </a:lnTo>
                  <a:lnTo>
                    <a:pt x="564" y="1056"/>
                  </a:lnTo>
                  <a:lnTo>
                    <a:pt x="567" y="1049"/>
                  </a:lnTo>
                  <a:lnTo>
                    <a:pt x="568" y="1043"/>
                  </a:lnTo>
                  <a:lnTo>
                    <a:pt x="567" y="1038"/>
                  </a:lnTo>
                  <a:lnTo>
                    <a:pt x="567" y="1038"/>
                  </a:lnTo>
                  <a:lnTo>
                    <a:pt x="567" y="1034"/>
                  </a:lnTo>
                  <a:lnTo>
                    <a:pt x="567" y="1029"/>
                  </a:lnTo>
                  <a:lnTo>
                    <a:pt x="571" y="1017"/>
                  </a:lnTo>
                  <a:lnTo>
                    <a:pt x="571" y="1017"/>
                  </a:lnTo>
                  <a:lnTo>
                    <a:pt x="573" y="1010"/>
                  </a:lnTo>
                  <a:lnTo>
                    <a:pt x="571" y="1009"/>
                  </a:lnTo>
                  <a:lnTo>
                    <a:pt x="570" y="1006"/>
                  </a:lnTo>
                  <a:lnTo>
                    <a:pt x="566" y="1004"/>
                  </a:lnTo>
                  <a:lnTo>
                    <a:pt x="558" y="1006"/>
                  </a:lnTo>
                  <a:lnTo>
                    <a:pt x="558" y="1006"/>
                  </a:lnTo>
                  <a:lnTo>
                    <a:pt x="551" y="1007"/>
                  </a:lnTo>
                  <a:lnTo>
                    <a:pt x="546" y="1006"/>
                  </a:lnTo>
                  <a:lnTo>
                    <a:pt x="543" y="1003"/>
                  </a:lnTo>
                  <a:lnTo>
                    <a:pt x="542" y="995"/>
                  </a:lnTo>
                  <a:lnTo>
                    <a:pt x="542" y="995"/>
                  </a:lnTo>
                  <a:lnTo>
                    <a:pt x="540" y="988"/>
                  </a:lnTo>
                  <a:lnTo>
                    <a:pt x="539" y="985"/>
                  </a:lnTo>
                  <a:lnTo>
                    <a:pt x="534" y="985"/>
                  </a:lnTo>
                  <a:lnTo>
                    <a:pt x="526" y="989"/>
                  </a:lnTo>
                  <a:lnTo>
                    <a:pt x="526" y="989"/>
                  </a:lnTo>
                  <a:lnTo>
                    <a:pt x="521" y="992"/>
                  </a:lnTo>
                  <a:lnTo>
                    <a:pt x="520" y="995"/>
                  </a:lnTo>
                  <a:lnTo>
                    <a:pt x="518" y="998"/>
                  </a:lnTo>
                  <a:lnTo>
                    <a:pt x="517" y="1003"/>
                  </a:lnTo>
                  <a:lnTo>
                    <a:pt x="518" y="1009"/>
                  </a:lnTo>
                  <a:lnTo>
                    <a:pt x="520" y="1014"/>
                  </a:lnTo>
                  <a:lnTo>
                    <a:pt x="520" y="1014"/>
                  </a:lnTo>
                  <a:lnTo>
                    <a:pt x="523" y="1020"/>
                  </a:lnTo>
                  <a:lnTo>
                    <a:pt x="527" y="1025"/>
                  </a:lnTo>
                  <a:lnTo>
                    <a:pt x="531" y="1031"/>
                  </a:lnTo>
                  <a:lnTo>
                    <a:pt x="533" y="1034"/>
                  </a:lnTo>
                  <a:lnTo>
                    <a:pt x="533" y="1038"/>
                  </a:lnTo>
                  <a:lnTo>
                    <a:pt x="533" y="1038"/>
                  </a:lnTo>
                  <a:lnTo>
                    <a:pt x="531" y="1043"/>
                  </a:lnTo>
                  <a:lnTo>
                    <a:pt x="528" y="1046"/>
                  </a:lnTo>
                  <a:lnTo>
                    <a:pt x="524" y="1049"/>
                  </a:lnTo>
                  <a:lnTo>
                    <a:pt x="520" y="1050"/>
                  </a:lnTo>
                  <a:lnTo>
                    <a:pt x="520" y="1050"/>
                  </a:lnTo>
                  <a:lnTo>
                    <a:pt x="518" y="1050"/>
                  </a:lnTo>
                  <a:lnTo>
                    <a:pt x="517" y="1049"/>
                  </a:lnTo>
                  <a:lnTo>
                    <a:pt x="512" y="1043"/>
                  </a:lnTo>
                  <a:lnTo>
                    <a:pt x="503" y="1025"/>
                  </a:lnTo>
                  <a:lnTo>
                    <a:pt x="494" y="1003"/>
                  </a:lnTo>
                  <a:lnTo>
                    <a:pt x="487" y="985"/>
                  </a:lnTo>
                  <a:lnTo>
                    <a:pt x="487" y="985"/>
                  </a:lnTo>
                  <a:lnTo>
                    <a:pt x="484" y="980"/>
                  </a:lnTo>
                  <a:lnTo>
                    <a:pt x="481" y="977"/>
                  </a:lnTo>
                  <a:lnTo>
                    <a:pt x="478" y="977"/>
                  </a:lnTo>
                  <a:lnTo>
                    <a:pt x="474" y="979"/>
                  </a:lnTo>
                  <a:lnTo>
                    <a:pt x="466" y="985"/>
                  </a:lnTo>
                  <a:lnTo>
                    <a:pt x="456" y="995"/>
                  </a:lnTo>
                  <a:lnTo>
                    <a:pt x="456" y="995"/>
                  </a:lnTo>
                  <a:lnTo>
                    <a:pt x="450" y="1001"/>
                  </a:lnTo>
                  <a:lnTo>
                    <a:pt x="443" y="1006"/>
                  </a:lnTo>
                  <a:lnTo>
                    <a:pt x="426" y="1014"/>
                  </a:lnTo>
                  <a:lnTo>
                    <a:pt x="410" y="1019"/>
                  </a:lnTo>
                  <a:lnTo>
                    <a:pt x="403" y="1020"/>
                  </a:lnTo>
                  <a:lnTo>
                    <a:pt x="397" y="1020"/>
                  </a:lnTo>
                  <a:lnTo>
                    <a:pt x="397" y="1020"/>
                  </a:lnTo>
                  <a:lnTo>
                    <a:pt x="391" y="1019"/>
                  </a:lnTo>
                  <a:lnTo>
                    <a:pt x="386" y="1016"/>
                  </a:lnTo>
                  <a:lnTo>
                    <a:pt x="383" y="1013"/>
                  </a:lnTo>
                  <a:lnTo>
                    <a:pt x="380" y="1010"/>
                  </a:lnTo>
                  <a:lnTo>
                    <a:pt x="379" y="1003"/>
                  </a:lnTo>
                  <a:lnTo>
                    <a:pt x="377" y="997"/>
                  </a:lnTo>
                  <a:lnTo>
                    <a:pt x="377" y="997"/>
                  </a:lnTo>
                  <a:lnTo>
                    <a:pt x="382" y="982"/>
                  </a:lnTo>
                  <a:lnTo>
                    <a:pt x="391" y="958"/>
                  </a:lnTo>
                  <a:lnTo>
                    <a:pt x="404" y="918"/>
                  </a:lnTo>
                  <a:lnTo>
                    <a:pt x="404" y="918"/>
                  </a:lnTo>
                  <a:lnTo>
                    <a:pt x="409" y="903"/>
                  </a:lnTo>
                  <a:lnTo>
                    <a:pt x="410" y="883"/>
                  </a:lnTo>
                  <a:lnTo>
                    <a:pt x="410" y="883"/>
                  </a:lnTo>
                  <a:lnTo>
                    <a:pt x="412" y="869"/>
                  </a:lnTo>
                  <a:lnTo>
                    <a:pt x="414" y="860"/>
                  </a:lnTo>
                  <a:lnTo>
                    <a:pt x="420" y="846"/>
                  </a:lnTo>
                  <a:lnTo>
                    <a:pt x="420" y="846"/>
                  </a:lnTo>
                  <a:lnTo>
                    <a:pt x="428" y="829"/>
                  </a:lnTo>
                  <a:lnTo>
                    <a:pt x="429" y="820"/>
                  </a:lnTo>
                  <a:lnTo>
                    <a:pt x="429" y="816"/>
                  </a:lnTo>
                  <a:lnTo>
                    <a:pt x="429" y="813"/>
                  </a:lnTo>
                  <a:lnTo>
                    <a:pt x="429" y="813"/>
                  </a:lnTo>
                  <a:lnTo>
                    <a:pt x="428" y="807"/>
                  </a:lnTo>
                  <a:lnTo>
                    <a:pt x="428" y="800"/>
                  </a:lnTo>
                  <a:lnTo>
                    <a:pt x="428" y="778"/>
                  </a:lnTo>
                  <a:lnTo>
                    <a:pt x="429" y="754"/>
                  </a:lnTo>
                  <a:lnTo>
                    <a:pt x="429" y="739"/>
                  </a:lnTo>
                  <a:lnTo>
                    <a:pt x="429" y="739"/>
                  </a:lnTo>
                  <a:lnTo>
                    <a:pt x="428" y="712"/>
                  </a:lnTo>
                  <a:lnTo>
                    <a:pt x="429" y="699"/>
                  </a:lnTo>
                  <a:lnTo>
                    <a:pt x="429" y="690"/>
                  </a:lnTo>
                  <a:lnTo>
                    <a:pt x="429" y="690"/>
                  </a:lnTo>
                  <a:lnTo>
                    <a:pt x="443" y="659"/>
                  </a:lnTo>
                  <a:lnTo>
                    <a:pt x="443" y="659"/>
                  </a:lnTo>
                  <a:lnTo>
                    <a:pt x="444" y="650"/>
                  </a:lnTo>
                  <a:lnTo>
                    <a:pt x="446" y="634"/>
                  </a:lnTo>
                  <a:lnTo>
                    <a:pt x="449" y="604"/>
                  </a:lnTo>
                  <a:lnTo>
                    <a:pt x="449" y="604"/>
                  </a:lnTo>
                  <a:lnTo>
                    <a:pt x="451" y="589"/>
                  </a:lnTo>
                  <a:lnTo>
                    <a:pt x="459" y="573"/>
                  </a:lnTo>
                  <a:lnTo>
                    <a:pt x="459" y="573"/>
                  </a:lnTo>
                  <a:lnTo>
                    <a:pt x="463" y="564"/>
                  </a:lnTo>
                  <a:lnTo>
                    <a:pt x="465" y="557"/>
                  </a:lnTo>
                  <a:lnTo>
                    <a:pt x="463" y="551"/>
                  </a:lnTo>
                  <a:lnTo>
                    <a:pt x="462" y="542"/>
                  </a:lnTo>
                  <a:lnTo>
                    <a:pt x="462" y="542"/>
                  </a:lnTo>
                  <a:lnTo>
                    <a:pt x="457" y="527"/>
                  </a:lnTo>
                  <a:lnTo>
                    <a:pt x="451" y="509"/>
                  </a:lnTo>
                  <a:lnTo>
                    <a:pt x="451" y="509"/>
                  </a:lnTo>
                  <a:lnTo>
                    <a:pt x="450" y="505"/>
                  </a:lnTo>
                  <a:lnTo>
                    <a:pt x="450" y="499"/>
                  </a:lnTo>
                  <a:lnTo>
                    <a:pt x="450" y="492"/>
                  </a:lnTo>
                  <a:lnTo>
                    <a:pt x="457" y="477"/>
                  </a:lnTo>
                  <a:lnTo>
                    <a:pt x="457" y="477"/>
                  </a:lnTo>
                  <a:lnTo>
                    <a:pt x="459" y="468"/>
                  </a:lnTo>
                  <a:lnTo>
                    <a:pt x="460" y="459"/>
                  </a:lnTo>
                  <a:lnTo>
                    <a:pt x="460" y="441"/>
                  </a:lnTo>
                  <a:lnTo>
                    <a:pt x="460" y="441"/>
                  </a:lnTo>
                  <a:lnTo>
                    <a:pt x="459" y="398"/>
                  </a:lnTo>
                  <a:lnTo>
                    <a:pt x="459" y="398"/>
                  </a:lnTo>
                  <a:lnTo>
                    <a:pt x="462" y="378"/>
                  </a:lnTo>
                  <a:lnTo>
                    <a:pt x="466" y="357"/>
                  </a:lnTo>
                  <a:lnTo>
                    <a:pt x="466" y="357"/>
                  </a:lnTo>
                  <a:lnTo>
                    <a:pt x="471" y="350"/>
                  </a:lnTo>
                  <a:lnTo>
                    <a:pt x="478" y="339"/>
                  </a:lnTo>
                  <a:lnTo>
                    <a:pt x="489" y="323"/>
                  </a:lnTo>
                  <a:lnTo>
                    <a:pt x="489" y="323"/>
                  </a:lnTo>
                  <a:lnTo>
                    <a:pt x="496" y="315"/>
                  </a:lnTo>
                  <a:lnTo>
                    <a:pt x="509" y="305"/>
                  </a:lnTo>
                  <a:lnTo>
                    <a:pt x="533" y="287"/>
                  </a:lnTo>
                  <a:lnTo>
                    <a:pt x="533" y="287"/>
                  </a:lnTo>
                  <a:lnTo>
                    <a:pt x="548" y="277"/>
                  </a:lnTo>
                  <a:lnTo>
                    <a:pt x="557" y="270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4" y="259"/>
                  </a:lnTo>
                  <a:lnTo>
                    <a:pt x="564" y="255"/>
                  </a:lnTo>
                  <a:lnTo>
                    <a:pt x="564" y="255"/>
                  </a:lnTo>
                  <a:lnTo>
                    <a:pt x="571" y="247"/>
                  </a:lnTo>
                  <a:lnTo>
                    <a:pt x="580" y="240"/>
                  </a:lnTo>
                  <a:lnTo>
                    <a:pt x="580" y="240"/>
                  </a:lnTo>
                  <a:lnTo>
                    <a:pt x="583" y="237"/>
                  </a:lnTo>
                  <a:lnTo>
                    <a:pt x="586" y="237"/>
                  </a:lnTo>
                  <a:lnTo>
                    <a:pt x="591" y="237"/>
                  </a:lnTo>
                  <a:lnTo>
                    <a:pt x="597" y="238"/>
                  </a:lnTo>
                  <a:lnTo>
                    <a:pt x="597" y="238"/>
                  </a:lnTo>
                  <a:lnTo>
                    <a:pt x="601" y="243"/>
                  </a:lnTo>
                  <a:lnTo>
                    <a:pt x="603" y="247"/>
                  </a:lnTo>
                  <a:lnTo>
                    <a:pt x="605" y="252"/>
                  </a:lnTo>
                  <a:lnTo>
                    <a:pt x="605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16" y="247"/>
                  </a:lnTo>
                  <a:lnTo>
                    <a:pt x="622" y="243"/>
                  </a:lnTo>
                  <a:lnTo>
                    <a:pt x="626" y="238"/>
                  </a:lnTo>
                  <a:lnTo>
                    <a:pt x="626" y="238"/>
                  </a:lnTo>
                  <a:lnTo>
                    <a:pt x="628" y="235"/>
                  </a:lnTo>
                  <a:lnTo>
                    <a:pt x="628" y="234"/>
                  </a:lnTo>
                  <a:lnTo>
                    <a:pt x="626" y="230"/>
                  </a:lnTo>
                  <a:lnTo>
                    <a:pt x="619" y="222"/>
                  </a:lnTo>
                  <a:lnTo>
                    <a:pt x="619" y="222"/>
                  </a:lnTo>
                  <a:lnTo>
                    <a:pt x="617" y="218"/>
                  </a:lnTo>
                  <a:lnTo>
                    <a:pt x="617" y="213"/>
                  </a:lnTo>
                  <a:lnTo>
                    <a:pt x="619" y="204"/>
                  </a:lnTo>
                  <a:lnTo>
                    <a:pt x="619" y="204"/>
                  </a:lnTo>
                  <a:lnTo>
                    <a:pt x="622" y="201"/>
                  </a:lnTo>
                  <a:lnTo>
                    <a:pt x="629" y="198"/>
                  </a:lnTo>
                  <a:lnTo>
                    <a:pt x="637" y="195"/>
                  </a:lnTo>
                  <a:lnTo>
                    <a:pt x="643" y="194"/>
                  </a:lnTo>
                  <a:lnTo>
                    <a:pt x="643" y="194"/>
                  </a:lnTo>
                  <a:lnTo>
                    <a:pt x="659" y="193"/>
                  </a:lnTo>
                  <a:lnTo>
                    <a:pt x="659" y="193"/>
                  </a:lnTo>
                  <a:lnTo>
                    <a:pt x="654" y="184"/>
                  </a:lnTo>
                  <a:lnTo>
                    <a:pt x="651" y="178"/>
                  </a:lnTo>
                  <a:lnTo>
                    <a:pt x="647" y="173"/>
                  </a:lnTo>
                  <a:lnTo>
                    <a:pt x="647" y="173"/>
                  </a:lnTo>
                  <a:lnTo>
                    <a:pt x="643" y="170"/>
                  </a:lnTo>
                  <a:lnTo>
                    <a:pt x="640" y="166"/>
                  </a:lnTo>
                  <a:lnTo>
                    <a:pt x="635" y="157"/>
                  </a:lnTo>
                  <a:lnTo>
                    <a:pt x="635" y="157"/>
                  </a:lnTo>
                  <a:lnTo>
                    <a:pt x="632" y="151"/>
                  </a:lnTo>
                  <a:lnTo>
                    <a:pt x="628" y="147"/>
                  </a:lnTo>
                  <a:lnTo>
                    <a:pt x="625" y="144"/>
                  </a:lnTo>
                  <a:lnTo>
                    <a:pt x="620" y="142"/>
                  </a:lnTo>
                  <a:lnTo>
                    <a:pt x="620" y="142"/>
                  </a:lnTo>
                  <a:lnTo>
                    <a:pt x="617" y="142"/>
                  </a:lnTo>
                  <a:lnTo>
                    <a:pt x="616" y="144"/>
                  </a:lnTo>
                  <a:lnTo>
                    <a:pt x="614" y="145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04" y="145"/>
                  </a:lnTo>
                  <a:lnTo>
                    <a:pt x="598" y="142"/>
                  </a:lnTo>
                  <a:lnTo>
                    <a:pt x="586" y="135"/>
                  </a:lnTo>
                  <a:lnTo>
                    <a:pt x="586" y="135"/>
                  </a:lnTo>
                  <a:lnTo>
                    <a:pt x="579" y="132"/>
                  </a:lnTo>
                  <a:lnTo>
                    <a:pt x="573" y="133"/>
                  </a:lnTo>
                  <a:lnTo>
                    <a:pt x="566" y="135"/>
                  </a:lnTo>
                  <a:lnTo>
                    <a:pt x="561" y="138"/>
                  </a:lnTo>
                  <a:lnTo>
                    <a:pt x="561" y="138"/>
                  </a:lnTo>
                  <a:lnTo>
                    <a:pt x="555" y="141"/>
                  </a:lnTo>
                  <a:lnTo>
                    <a:pt x="551" y="145"/>
                  </a:lnTo>
                  <a:lnTo>
                    <a:pt x="543" y="154"/>
                  </a:lnTo>
                  <a:lnTo>
                    <a:pt x="543" y="154"/>
                  </a:lnTo>
                  <a:lnTo>
                    <a:pt x="537" y="156"/>
                  </a:lnTo>
                  <a:lnTo>
                    <a:pt x="530" y="156"/>
                  </a:lnTo>
                  <a:lnTo>
                    <a:pt x="523" y="154"/>
                  </a:lnTo>
                  <a:lnTo>
                    <a:pt x="517" y="151"/>
                  </a:lnTo>
                  <a:lnTo>
                    <a:pt x="517" y="151"/>
                  </a:lnTo>
                  <a:lnTo>
                    <a:pt x="506" y="145"/>
                  </a:lnTo>
                  <a:lnTo>
                    <a:pt x="505" y="142"/>
                  </a:lnTo>
                  <a:lnTo>
                    <a:pt x="503" y="141"/>
                  </a:lnTo>
                  <a:lnTo>
                    <a:pt x="503" y="141"/>
                  </a:lnTo>
                  <a:lnTo>
                    <a:pt x="503" y="126"/>
                  </a:lnTo>
                  <a:lnTo>
                    <a:pt x="503" y="117"/>
                  </a:lnTo>
                  <a:lnTo>
                    <a:pt x="505" y="110"/>
                  </a:lnTo>
                  <a:lnTo>
                    <a:pt x="505" y="110"/>
                  </a:lnTo>
                  <a:lnTo>
                    <a:pt x="509" y="105"/>
                  </a:lnTo>
                  <a:lnTo>
                    <a:pt x="515" y="99"/>
                  </a:lnTo>
                  <a:lnTo>
                    <a:pt x="526" y="93"/>
                  </a:lnTo>
                  <a:lnTo>
                    <a:pt x="526" y="93"/>
                  </a:lnTo>
                  <a:lnTo>
                    <a:pt x="527" y="92"/>
                  </a:lnTo>
                  <a:lnTo>
                    <a:pt x="527" y="90"/>
                  </a:lnTo>
                  <a:lnTo>
                    <a:pt x="523" y="83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4" y="67"/>
                  </a:lnTo>
                  <a:lnTo>
                    <a:pt x="514" y="61"/>
                  </a:lnTo>
                  <a:lnTo>
                    <a:pt x="515" y="55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7"/>
                  </a:lnTo>
                  <a:lnTo>
                    <a:pt x="512" y="44"/>
                  </a:lnTo>
                  <a:lnTo>
                    <a:pt x="506" y="37"/>
                  </a:lnTo>
                  <a:lnTo>
                    <a:pt x="497" y="31"/>
                  </a:lnTo>
                  <a:lnTo>
                    <a:pt x="487" y="25"/>
                  </a:lnTo>
                  <a:lnTo>
                    <a:pt x="487" y="25"/>
                  </a:lnTo>
                  <a:lnTo>
                    <a:pt x="480" y="19"/>
                  </a:lnTo>
                  <a:lnTo>
                    <a:pt x="472" y="13"/>
                  </a:lnTo>
                  <a:lnTo>
                    <a:pt x="465" y="7"/>
                  </a:lnTo>
                  <a:lnTo>
                    <a:pt x="459" y="6"/>
                  </a:lnTo>
                  <a:lnTo>
                    <a:pt x="453" y="4"/>
                  </a:lnTo>
                  <a:lnTo>
                    <a:pt x="453" y="4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0" y="3"/>
                  </a:lnTo>
                  <a:lnTo>
                    <a:pt x="406" y="7"/>
                  </a:lnTo>
                  <a:lnTo>
                    <a:pt x="398" y="18"/>
                  </a:lnTo>
                  <a:lnTo>
                    <a:pt x="398" y="18"/>
                  </a:lnTo>
                  <a:lnTo>
                    <a:pt x="395" y="21"/>
                  </a:lnTo>
                  <a:lnTo>
                    <a:pt x="392" y="22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74" y="27"/>
                  </a:lnTo>
                  <a:lnTo>
                    <a:pt x="364" y="27"/>
                  </a:lnTo>
                  <a:lnTo>
                    <a:pt x="364" y="27"/>
                  </a:lnTo>
                  <a:lnTo>
                    <a:pt x="366" y="47"/>
                  </a:lnTo>
                  <a:lnTo>
                    <a:pt x="366" y="70"/>
                  </a:lnTo>
                  <a:lnTo>
                    <a:pt x="366" y="70"/>
                  </a:lnTo>
                  <a:lnTo>
                    <a:pt x="364" y="76"/>
                  </a:lnTo>
                  <a:lnTo>
                    <a:pt x="364" y="83"/>
                  </a:lnTo>
                  <a:lnTo>
                    <a:pt x="364" y="83"/>
                  </a:lnTo>
                  <a:lnTo>
                    <a:pt x="363" y="87"/>
                  </a:lnTo>
                  <a:lnTo>
                    <a:pt x="361" y="87"/>
                  </a:lnTo>
                  <a:lnTo>
                    <a:pt x="357" y="87"/>
                  </a:lnTo>
                  <a:lnTo>
                    <a:pt x="352" y="87"/>
                  </a:lnTo>
                  <a:lnTo>
                    <a:pt x="352" y="87"/>
                  </a:lnTo>
                  <a:lnTo>
                    <a:pt x="351" y="87"/>
                  </a:lnTo>
                  <a:lnTo>
                    <a:pt x="349" y="87"/>
                  </a:lnTo>
                  <a:lnTo>
                    <a:pt x="349" y="83"/>
                  </a:lnTo>
                  <a:lnTo>
                    <a:pt x="351" y="78"/>
                  </a:lnTo>
                  <a:lnTo>
                    <a:pt x="349" y="74"/>
                  </a:lnTo>
                  <a:lnTo>
                    <a:pt x="349" y="74"/>
                  </a:lnTo>
                  <a:lnTo>
                    <a:pt x="348" y="73"/>
                  </a:lnTo>
                  <a:lnTo>
                    <a:pt x="346" y="73"/>
                  </a:lnTo>
                  <a:lnTo>
                    <a:pt x="342" y="73"/>
                  </a:lnTo>
                  <a:lnTo>
                    <a:pt x="337" y="76"/>
                  </a:lnTo>
                  <a:lnTo>
                    <a:pt x="335" y="78"/>
                  </a:lnTo>
                  <a:lnTo>
                    <a:pt x="335" y="78"/>
                  </a:lnTo>
                  <a:lnTo>
                    <a:pt x="333" y="81"/>
                  </a:lnTo>
                  <a:lnTo>
                    <a:pt x="333" y="84"/>
                  </a:lnTo>
                  <a:lnTo>
                    <a:pt x="333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26" y="83"/>
                  </a:lnTo>
                  <a:lnTo>
                    <a:pt x="321" y="81"/>
                  </a:lnTo>
                  <a:lnTo>
                    <a:pt x="317" y="80"/>
                  </a:lnTo>
                  <a:lnTo>
                    <a:pt x="317" y="80"/>
                  </a:lnTo>
                  <a:lnTo>
                    <a:pt x="314" y="81"/>
                  </a:lnTo>
                  <a:lnTo>
                    <a:pt x="312" y="83"/>
                  </a:lnTo>
                  <a:lnTo>
                    <a:pt x="311" y="84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06" y="83"/>
                  </a:lnTo>
                  <a:lnTo>
                    <a:pt x="303" y="86"/>
                  </a:lnTo>
                  <a:lnTo>
                    <a:pt x="300" y="89"/>
                  </a:lnTo>
                  <a:lnTo>
                    <a:pt x="300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9" y="102"/>
                  </a:lnTo>
                  <a:lnTo>
                    <a:pt x="296" y="105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87" y="111"/>
                  </a:lnTo>
                  <a:lnTo>
                    <a:pt x="284" y="116"/>
                  </a:lnTo>
                  <a:lnTo>
                    <a:pt x="283" y="121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78" y="124"/>
                  </a:lnTo>
                  <a:lnTo>
                    <a:pt x="275" y="124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62" y="118"/>
                  </a:lnTo>
                  <a:lnTo>
                    <a:pt x="259" y="118"/>
                  </a:lnTo>
                  <a:lnTo>
                    <a:pt x="256" y="120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41" y="129"/>
                  </a:lnTo>
                  <a:lnTo>
                    <a:pt x="241" y="129"/>
                  </a:lnTo>
                  <a:lnTo>
                    <a:pt x="234" y="129"/>
                  </a:lnTo>
                  <a:lnTo>
                    <a:pt x="222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82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6" y="121"/>
                  </a:lnTo>
                  <a:lnTo>
                    <a:pt x="166" y="124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72" y="156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8" y="172"/>
                  </a:lnTo>
                  <a:lnTo>
                    <a:pt x="179" y="179"/>
                  </a:lnTo>
                  <a:lnTo>
                    <a:pt x="179" y="187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204"/>
                  </a:lnTo>
                  <a:lnTo>
                    <a:pt x="178" y="215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81" y="243"/>
                  </a:lnTo>
                  <a:lnTo>
                    <a:pt x="183" y="249"/>
                  </a:lnTo>
                  <a:lnTo>
                    <a:pt x="183" y="249"/>
                  </a:lnTo>
                  <a:lnTo>
                    <a:pt x="183" y="253"/>
                  </a:lnTo>
                  <a:lnTo>
                    <a:pt x="183" y="255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3" y="271"/>
                  </a:lnTo>
                  <a:lnTo>
                    <a:pt x="172" y="275"/>
                  </a:lnTo>
                  <a:lnTo>
                    <a:pt x="172" y="278"/>
                  </a:lnTo>
                  <a:lnTo>
                    <a:pt x="172" y="281"/>
                  </a:lnTo>
                  <a:lnTo>
                    <a:pt x="172" y="281"/>
                  </a:lnTo>
                  <a:lnTo>
                    <a:pt x="169" y="295"/>
                  </a:lnTo>
                  <a:lnTo>
                    <a:pt x="167" y="304"/>
                  </a:lnTo>
                  <a:lnTo>
                    <a:pt x="167" y="310"/>
                  </a:lnTo>
                  <a:lnTo>
                    <a:pt x="167" y="310"/>
                  </a:lnTo>
                  <a:lnTo>
                    <a:pt x="167" y="314"/>
                  </a:lnTo>
                  <a:lnTo>
                    <a:pt x="166" y="318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0" y="333"/>
                  </a:lnTo>
                  <a:lnTo>
                    <a:pt x="160" y="338"/>
                  </a:lnTo>
                  <a:lnTo>
                    <a:pt x="161" y="344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70" y="358"/>
                  </a:lnTo>
                  <a:lnTo>
                    <a:pt x="173" y="361"/>
                  </a:lnTo>
                  <a:lnTo>
                    <a:pt x="179" y="364"/>
                  </a:lnTo>
                  <a:lnTo>
                    <a:pt x="179" y="364"/>
                  </a:lnTo>
                  <a:lnTo>
                    <a:pt x="185" y="366"/>
                  </a:lnTo>
                  <a:lnTo>
                    <a:pt x="192" y="370"/>
                  </a:lnTo>
                  <a:lnTo>
                    <a:pt x="197" y="375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6" y="387"/>
                  </a:lnTo>
                  <a:lnTo>
                    <a:pt x="207" y="397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10" y="422"/>
                  </a:lnTo>
                  <a:lnTo>
                    <a:pt x="215" y="428"/>
                  </a:lnTo>
                  <a:lnTo>
                    <a:pt x="219" y="434"/>
                  </a:lnTo>
                  <a:lnTo>
                    <a:pt x="225" y="441"/>
                  </a:lnTo>
                  <a:lnTo>
                    <a:pt x="225" y="441"/>
                  </a:lnTo>
                  <a:lnTo>
                    <a:pt x="231" y="449"/>
                  </a:lnTo>
                  <a:lnTo>
                    <a:pt x="240" y="456"/>
                  </a:lnTo>
                  <a:lnTo>
                    <a:pt x="247" y="461"/>
                  </a:lnTo>
                  <a:lnTo>
                    <a:pt x="252" y="465"/>
                  </a:lnTo>
                  <a:lnTo>
                    <a:pt x="252" y="465"/>
                  </a:lnTo>
                  <a:lnTo>
                    <a:pt x="252" y="468"/>
                  </a:lnTo>
                  <a:lnTo>
                    <a:pt x="252" y="469"/>
                  </a:lnTo>
                  <a:lnTo>
                    <a:pt x="244" y="472"/>
                  </a:lnTo>
                  <a:lnTo>
                    <a:pt x="244" y="472"/>
                  </a:lnTo>
                  <a:lnTo>
                    <a:pt x="241" y="471"/>
                  </a:lnTo>
                  <a:lnTo>
                    <a:pt x="238" y="469"/>
                  </a:lnTo>
                  <a:lnTo>
                    <a:pt x="234" y="462"/>
                  </a:lnTo>
                  <a:lnTo>
                    <a:pt x="234" y="462"/>
                  </a:lnTo>
                  <a:lnTo>
                    <a:pt x="232" y="461"/>
                  </a:lnTo>
                  <a:lnTo>
                    <a:pt x="228" y="461"/>
                  </a:lnTo>
                  <a:lnTo>
                    <a:pt x="225" y="462"/>
                  </a:lnTo>
                  <a:lnTo>
                    <a:pt x="223" y="465"/>
                  </a:lnTo>
                  <a:lnTo>
                    <a:pt x="223" y="465"/>
                  </a:lnTo>
                  <a:lnTo>
                    <a:pt x="220" y="471"/>
                  </a:lnTo>
                  <a:lnTo>
                    <a:pt x="218" y="480"/>
                  </a:lnTo>
                  <a:lnTo>
                    <a:pt x="218" y="480"/>
                  </a:lnTo>
                  <a:lnTo>
                    <a:pt x="215" y="484"/>
                  </a:lnTo>
                  <a:lnTo>
                    <a:pt x="213" y="487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09" y="517"/>
                  </a:lnTo>
                  <a:lnTo>
                    <a:pt x="209" y="517"/>
                  </a:lnTo>
                  <a:lnTo>
                    <a:pt x="207" y="526"/>
                  </a:lnTo>
                  <a:lnTo>
                    <a:pt x="203" y="530"/>
                  </a:lnTo>
                  <a:lnTo>
                    <a:pt x="197" y="533"/>
                  </a:lnTo>
                  <a:lnTo>
                    <a:pt x="191" y="539"/>
                  </a:lnTo>
                  <a:lnTo>
                    <a:pt x="191" y="539"/>
                  </a:lnTo>
                  <a:lnTo>
                    <a:pt x="188" y="544"/>
                  </a:lnTo>
                  <a:lnTo>
                    <a:pt x="185" y="545"/>
                  </a:lnTo>
                  <a:lnTo>
                    <a:pt x="179" y="546"/>
                  </a:lnTo>
                  <a:lnTo>
                    <a:pt x="172" y="548"/>
                  </a:lnTo>
                  <a:lnTo>
                    <a:pt x="163" y="551"/>
                  </a:lnTo>
                  <a:lnTo>
                    <a:pt x="163" y="551"/>
                  </a:lnTo>
                  <a:lnTo>
                    <a:pt x="154" y="554"/>
                  </a:lnTo>
                  <a:lnTo>
                    <a:pt x="145" y="555"/>
                  </a:lnTo>
                  <a:lnTo>
                    <a:pt x="139" y="557"/>
                  </a:lnTo>
                  <a:lnTo>
                    <a:pt x="136" y="558"/>
                  </a:lnTo>
                  <a:lnTo>
                    <a:pt x="136" y="558"/>
                  </a:lnTo>
                  <a:lnTo>
                    <a:pt x="133" y="567"/>
                  </a:lnTo>
                  <a:lnTo>
                    <a:pt x="130" y="579"/>
                  </a:lnTo>
                  <a:lnTo>
                    <a:pt x="126" y="600"/>
                  </a:lnTo>
                  <a:lnTo>
                    <a:pt x="126" y="600"/>
                  </a:lnTo>
                  <a:lnTo>
                    <a:pt x="126" y="606"/>
                  </a:lnTo>
                  <a:lnTo>
                    <a:pt x="124" y="609"/>
                  </a:lnTo>
                  <a:lnTo>
                    <a:pt x="121" y="613"/>
                  </a:lnTo>
                  <a:lnTo>
                    <a:pt x="121" y="613"/>
                  </a:lnTo>
                  <a:lnTo>
                    <a:pt x="118" y="616"/>
                  </a:lnTo>
                  <a:lnTo>
                    <a:pt x="112" y="618"/>
                  </a:lnTo>
                  <a:lnTo>
                    <a:pt x="102" y="622"/>
                  </a:lnTo>
                  <a:lnTo>
                    <a:pt x="102" y="622"/>
                  </a:lnTo>
                  <a:lnTo>
                    <a:pt x="98" y="625"/>
                  </a:lnTo>
                  <a:lnTo>
                    <a:pt x="95" y="628"/>
                  </a:lnTo>
                  <a:lnTo>
                    <a:pt x="92" y="631"/>
                  </a:lnTo>
                  <a:lnTo>
                    <a:pt x="89" y="634"/>
                  </a:lnTo>
                  <a:lnTo>
                    <a:pt x="89" y="634"/>
                  </a:lnTo>
                  <a:lnTo>
                    <a:pt x="83" y="635"/>
                  </a:lnTo>
                  <a:lnTo>
                    <a:pt x="77" y="635"/>
                  </a:lnTo>
                  <a:lnTo>
                    <a:pt x="71" y="637"/>
                  </a:lnTo>
                  <a:lnTo>
                    <a:pt x="62" y="640"/>
                  </a:lnTo>
                  <a:lnTo>
                    <a:pt x="62" y="640"/>
                  </a:lnTo>
                  <a:lnTo>
                    <a:pt x="52" y="644"/>
                  </a:lnTo>
                  <a:lnTo>
                    <a:pt x="41" y="652"/>
                  </a:lnTo>
                  <a:lnTo>
                    <a:pt x="32" y="659"/>
                  </a:lnTo>
                  <a:lnTo>
                    <a:pt x="29" y="662"/>
                  </a:lnTo>
                  <a:lnTo>
                    <a:pt x="28" y="665"/>
                  </a:lnTo>
                  <a:lnTo>
                    <a:pt x="28" y="665"/>
                  </a:lnTo>
                  <a:lnTo>
                    <a:pt x="24" y="677"/>
                  </a:lnTo>
                  <a:lnTo>
                    <a:pt x="21" y="683"/>
                  </a:lnTo>
                  <a:lnTo>
                    <a:pt x="19" y="692"/>
                  </a:lnTo>
                  <a:lnTo>
                    <a:pt x="19" y="692"/>
                  </a:lnTo>
                  <a:lnTo>
                    <a:pt x="18" y="706"/>
                  </a:lnTo>
                  <a:lnTo>
                    <a:pt x="18" y="718"/>
                  </a:lnTo>
                  <a:lnTo>
                    <a:pt x="18" y="718"/>
                  </a:lnTo>
                  <a:lnTo>
                    <a:pt x="19" y="724"/>
                  </a:lnTo>
                  <a:lnTo>
                    <a:pt x="22" y="732"/>
                  </a:lnTo>
                  <a:lnTo>
                    <a:pt x="25" y="743"/>
                  </a:lnTo>
                  <a:lnTo>
                    <a:pt x="25" y="743"/>
                  </a:lnTo>
                  <a:lnTo>
                    <a:pt x="25" y="748"/>
                  </a:lnTo>
                  <a:lnTo>
                    <a:pt x="24" y="752"/>
                  </a:lnTo>
                  <a:lnTo>
                    <a:pt x="21" y="758"/>
                  </a:lnTo>
                  <a:lnTo>
                    <a:pt x="18" y="764"/>
                  </a:lnTo>
                  <a:lnTo>
                    <a:pt x="18" y="764"/>
                  </a:lnTo>
                  <a:lnTo>
                    <a:pt x="16" y="766"/>
                  </a:lnTo>
                  <a:lnTo>
                    <a:pt x="16" y="769"/>
                  </a:lnTo>
                  <a:lnTo>
                    <a:pt x="18" y="772"/>
                  </a:lnTo>
                  <a:lnTo>
                    <a:pt x="22" y="775"/>
                  </a:lnTo>
                  <a:lnTo>
                    <a:pt x="25" y="780"/>
                  </a:lnTo>
                  <a:lnTo>
                    <a:pt x="25" y="780"/>
                  </a:lnTo>
                  <a:lnTo>
                    <a:pt x="27" y="785"/>
                  </a:lnTo>
                  <a:lnTo>
                    <a:pt x="27" y="789"/>
                  </a:lnTo>
                  <a:lnTo>
                    <a:pt x="27" y="792"/>
                  </a:lnTo>
                  <a:lnTo>
                    <a:pt x="27" y="795"/>
                  </a:lnTo>
                  <a:lnTo>
                    <a:pt x="27" y="795"/>
                  </a:lnTo>
                  <a:lnTo>
                    <a:pt x="27" y="803"/>
                  </a:lnTo>
                  <a:lnTo>
                    <a:pt x="27" y="806"/>
                  </a:lnTo>
                  <a:lnTo>
                    <a:pt x="25" y="810"/>
                  </a:lnTo>
                  <a:lnTo>
                    <a:pt x="25" y="810"/>
                  </a:lnTo>
                  <a:lnTo>
                    <a:pt x="24" y="812"/>
                  </a:lnTo>
                  <a:lnTo>
                    <a:pt x="21" y="812"/>
                  </a:lnTo>
                  <a:lnTo>
                    <a:pt x="15" y="812"/>
                  </a:lnTo>
                  <a:lnTo>
                    <a:pt x="7" y="810"/>
                  </a:lnTo>
                  <a:lnTo>
                    <a:pt x="1" y="809"/>
                  </a:lnTo>
                  <a:lnTo>
                    <a:pt x="1" y="809"/>
                  </a:lnTo>
                  <a:lnTo>
                    <a:pt x="0" y="810"/>
                  </a:lnTo>
                  <a:lnTo>
                    <a:pt x="0" y="812"/>
                  </a:lnTo>
                  <a:lnTo>
                    <a:pt x="3" y="818"/>
                  </a:lnTo>
                  <a:lnTo>
                    <a:pt x="9" y="823"/>
                  </a:lnTo>
                  <a:lnTo>
                    <a:pt x="13" y="828"/>
                  </a:lnTo>
                  <a:lnTo>
                    <a:pt x="13" y="828"/>
                  </a:lnTo>
                  <a:lnTo>
                    <a:pt x="31" y="835"/>
                  </a:lnTo>
                  <a:lnTo>
                    <a:pt x="47" y="844"/>
                  </a:lnTo>
                  <a:lnTo>
                    <a:pt x="47" y="844"/>
                  </a:lnTo>
                  <a:lnTo>
                    <a:pt x="50" y="846"/>
                  </a:lnTo>
                  <a:lnTo>
                    <a:pt x="50" y="847"/>
                  </a:lnTo>
                  <a:lnTo>
                    <a:pt x="49" y="850"/>
                  </a:lnTo>
                  <a:lnTo>
                    <a:pt x="46" y="853"/>
                  </a:lnTo>
                  <a:lnTo>
                    <a:pt x="41" y="855"/>
                  </a:lnTo>
                  <a:lnTo>
                    <a:pt x="41" y="855"/>
                  </a:lnTo>
                  <a:lnTo>
                    <a:pt x="38" y="858"/>
                  </a:lnTo>
                  <a:lnTo>
                    <a:pt x="38" y="862"/>
                  </a:lnTo>
                  <a:lnTo>
                    <a:pt x="40" y="872"/>
                  </a:lnTo>
                  <a:lnTo>
                    <a:pt x="40" y="872"/>
                  </a:lnTo>
                  <a:lnTo>
                    <a:pt x="40" y="883"/>
                  </a:lnTo>
                  <a:lnTo>
                    <a:pt x="38" y="887"/>
                  </a:lnTo>
                  <a:lnTo>
                    <a:pt x="37" y="890"/>
                  </a:lnTo>
                  <a:lnTo>
                    <a:pt x="37" y="890"/>
                  </a:lnTo>
                  <a:lnTo>
                    <a:pt x="32" y="893"/>
                  </a:lnTo>
                  <a:lnTo>
                    <a:pt x="27" y="899"/>
                  </a:lnTo>
                  <a:lnTo>
                    <a:pt x="27" y="899"/>
                  </a:lnTo>
                  <a:lnTo>
                    <a:pt x="27" y="900"/>
                  </a:lnTo>
                  <a:lnTo>
                    <a:pt x="28" y="902"/>
                  </a:lnTo>
                  <a:lnTo>
                    <a:pt x="34" y="906"/>
                  </a:lnTo>
                  <a:lnTo>
                    <a:pt x="47" y="912"/>
                  </a:lnTo>
                  <a:lnTo>
                    <a:pt x="68" y="917"/>
                  </a:lnTo>
                  <a:lnTo>
                    <a:pt x="68" y="917"/>
                  </a:lnTo>
                  <a:lnTo>
                    <a:pt x="78" y="920"/>
                  </a:lnTo>
                  <a:lnTo>
                    <a:pt x="86" y="924"/>
                  </a:lnTo>
                  <a:lnTo>
                    <a:pt x="90" y="929"/>
                  </a:lnTo>
                  <a:lnTo>
                    <a:pt x="93" y="933"/>
                  </a:lnTo>
                  <a:lnTo>
                    <a:pt x="95" y="937"/>
                  </a:lnTo>
                  <a:lnTo>
                    <a:pt x="96" y="942"/>
                  </a:lnTo>
                  <a:lnTo>
                    <a:pt x="96" y="949"/>
                  </a:lnTo>
                  <a:lnTo>
                    <a:pt x="96" y="949"/>
                  </a:lnTo>
                  <a:lnTo>
                    <a:pt x="99" y="952"/>
                  </a:lnTo>
                  <a:lnTo>
                    <a:pt x="101" y="954"/>
                  </a:lnTo>
                  <a:lnTo>
                    <a:pt x="104" y="957"/>
                  </a:lnTo>
                  <a:lnTo>
                    <a:pt x="106" y="960"/>
                  </a:lnTo>
                  <a:lnTo>
                    <a:pt x="106" y="960"/>
                  </a:lnTo>
                  <a:lnTo>
                    <a:pt x="106" y="964"/>
                  </a:lnTo>
                  <a:lnTo>
                    <a:pt x="105" y="967"/>
                  </a:lnTo>
                  <a:lnTo>
                    <a:pt x="95" y="975"/>
                  </a:lnTo>
                  <a:lnTo>
                    <a:pt x="95" y="975"/>
                  </a:lnTo>
                  <a:lnTo>
                    <a:pt x="90" y="980"/>
                  </a:lnTo>
                  <a:lnTo>
                    <a:pt x="86" y="986"/>
                  </a:lnTo>
                  <a:lnTo>
                    <a:pt x="84" y="992"/>
                  </a:lnTo>
                  <a:lnTo>
                    <a:pt x="83" y="998"/>
                  </a:lnTo>
                  <a:lnTo>
                    <a:pt x="83" y="998"/>
                  </a:lnTo>
                  <a:lnTo>
                    <a:pt x="83" y="1012"/>
                  </a:lnTo>
                  <a:lnTo>
                    <a:pt x="81" y="1016"/>
                  </a:lnTo>
                  <a:lnTo>
                    <a:pt x="78" y="1019"/>
                  </a:lnTo>
                  <a:lnTo>
                    <a:pt x="78" y="1019"/>
                  </a:lnTo>
                  <a:lnTo>
                    <a:pt x="77" y="1020"/>
                  </a:lnTo>
                  <a:lnTo>
                    <a:pt x="77" y="1023"/>
                  </a:lnTo>
                  <a:lnTo>
                    <a:pt x="78" y="1032"/>
                  </a:lnTo>
                  <a:lnTo>
                    <a:pt x="81" y="1040"/>
                  </a:lnTo>
                  <a:lnTo>
                    <a:pt x="86" y="1046"/>
                  </a:lnTo>
                  <a:lnTo>
                    <a:pt x="86" y="1046"/>
                  </a:lnTo>
                  <a:lnTo>
                    <a:pt x="87" y="1050"/>
                  </a:lnTo>
                  <a:lnTo>
                    <a:pt x="89" y="1053"/>
                  </a:lnTo>
                  <a:lnTo>
                    <a:pt x="90" y="1057"/>
                  </a:lnTo>
                  <a:lnTo>
                    <a:pt x="92" y="1062"/>
                  </a:lnTo>
                  <a:lnTo>
                    <a:pt x="92" y="1062"/>
                  </a:lnTo>
                  <a:lnTo>
                    <a:pt x="98" y="1072"/>
                  </a:lnTo>
                  <a:lnTo>
                    <a:pt x="99" y="1077"/>
                  </a:lnTo>
                  <a:lnTo>
                    <a:pt x="99" y="1077"/>
                  </a:lnTo>
                  <a:lnTo>
                    <a:pt x="104" y="1078"/>
                  </a:lnTo>
                  <a:lnTo>
                    <a:pt x="108" y="1077"/>
                  </a:lnTo>
                  <a:lnTo>
                    <a:pt x="114" y="1075"/>
                  </a:lnTo>
                  <a:lnTo>
                    <a:pt x="121" y="1071"/>
                  </a:lnTo>
                  <a:lnTo>
                    <a:pt x="121" y="1071"/>
                  </a:lnTo>
                  <a:lnTo>
                    <a:pt x="143" y="1056"/>
                  </a:lnTo>
                  <a:lnTo>
                    <a:pt x="160" y="1044"/>
                  </a:lnTo>
                  <a:lnTo>
                    <a:pt x="160" y="1044"/>
                  </a:lnTo>
                  <a:lnTo>
                    <a:pt x="166" y="1038"/>
                  </a:lnTo>
                  <a:lnTo>
                    <a:pt x="170" y="1032"/>
                  </a:lnTo>
                  <a:lnTo>
                    <a:pt x="175" y="1028"/>
                  </a:lnTo>
                  <a:lnTo>
                    <a:pt x="178" y="1026"/>
                  </a:lnTo>
                  <a:lnTo>
                    <a:pt x="181" y="1025"/>
                  </a:lnTo>
                  <a:lnTo>
                    <a:pt x="181" y="1025"/>
                  </a:lnTo>
                  <a:lnTo>
                    <a:pt x="186" y="1025"/>
                  </a:lnTo>
                  <a:lnTo>
                    <a:pt x="191" y="1025"/>
                  </a:lnTo>
                  <a:lnTo>
                    <a:pt x="194" y="1028"/>
                  </a:lnTo>
                  <a:lnTo>
                    <a:pt x="200" y="1031"/>
                  </a:lnTo>
                  <a:lnTo>
                    <a:pt x="200" y="1031"/>
                  </a:lnTo>
                  <a:lnTo>
                    <a:pt x="209" y="1038"/>
                  </a:lnTo>
                  <a:lnTo>
                    <a:pt x="215" y="1040"/>
                  </a:lnTo>
                  <a:lnTo>
                    <a:pt x="219" y="1038"/>
                  </a:lnTo>
                  <a:lnTo>
                    <a:pt x="219" y="1038"/>
                  </a:lnTo>
                  <a:lnTo>
                    <a:pt x="231" y="1038"/>
                  </a:lnTo>
                  <a:lnTo>
                    <a:pt x="235" y="1038"/>
                  </a:lnTo>
                  <a:lnTo>
                    <a:pt x="235" y="1038"/>
                  </a:lnTo>
                  <a:lnTo>
                    <a:pt x="220" y="1050"/>
                  </a:lnTo>
                  <a:lnTo>
                    <a:pt x="209" y="1060"/>
                  </a:lnTo>
                  <a:lnTo>
                    <a:pt x="204" y="1065"/>
                  </a:lnTo>
                  <a:lnTo>
                    <a:pt x="203" y="1066"/>
                  </a:lnTo>
                  <a:lnTo>
                    <a:pt x="203" y="1066"/>
                  </a:lnTo>
                  <a:lnTo>
                    <a:pt x="203" y="1071"/>
                  </a:lnTo>
                  <a:lnTo>
                    <a:pt x="206" y="1075"/>
                  </a:lnTo>
                  <a:lnTo>
                    <a:pt x="207" y="1080"/>
                  </a:lnTo>
                  <a:lnTo>
                    <a:pt x="210" y="1084"/>
                  </a:lnTo>
                  <a:lnTo>
                    <a:pt x="210" y="1084"/>
                  </a:lnTo>
                  <a:lnTo>
                    <a:pt x="209" y="1087"/>
                  </a:lnTo>
                  <a:lnTo>
                    <a:pt x="207" y="1090"/>
                  </a:lnTo>
                  <a:lnTo>
                    <a:pt x="203" y="1094"/>
                  </a:lnTo>
                  <a:lnTo>
                    <a:pt x="200" y="1099"/>
                  </a:lnTo>
                  <a:lnTo>
                    <a:pt x="200" y="1099"/>
                  </a:lnTo>
                  <a:lnTo>
                    <a:pt x="200" y="1103"/>
                  </a:lnTo>
                  <a:lnTo>
                    <a:pt x="200" y="1108"/>
                  </a:lnTo>
                  <a:lnTo>
                    <a:pt x="203" y="1112"/>
                  </a:lnTo>
                  <a:lnTo>
                    <a:pt x="203" y="1115"/>
                  </a:lnTo>
                  <a:lnTo>
                    <a:pt x="203" y="1115"/>
                  </a:lnTo>
                  <a:lnTo>
                    <a:pt x="197" y="1123"/>
                  </a:lnTo>
                  <a:lnTo>
                    <a:pt x="186" y="1137"/>
                  </a:lnTo>
                  <a:lnTo>
                    <a:pt x="181" y="1145"/>
                  </a:lnTo>
                  <a:lnTo>
                    <a:pt x="176" y="1152"/>
                  </a:lnTo>
                  <a:lnTo>
                    <a:pt x="175" y="1158"/>
                  </a:lnTo>
                  <a:lnTo>
                    <a:pt x="175" y="1164"/>
                  </a:lnTo>
                  <a:lnTo>
                    <a:pt x="175" y="1164"/>
                  </a:lnTo>
                  <a:lnTo>
                    <a:pt x="179" y="1173"/>
                  </a:lnTo>
                  <a:lnTo>
                    <a:pt x="183" y="1180"/>
                  </a:lnTo>
                  <a:lnTo>
                    <a:pt x="186" y="1186"/>
                  </a:lnTo>
                  <a:lnTo>
                    <a:pt x="188" y="1191"/>
                  </a:lnTo>
                  <a:lnTo>
                    <a:pt x="188" y="1191"/>
                  </a:lnTo>
                  <a:lnTo>
                    <a:pt x="188" y="1201"/>
                  </a:lnTo>
                  <a:lnTo>
                    <a:pt x="186" y="1206"/>
                  </a:lnTo>
                  <a:lnTo>
                    <a:pt x="185" y="1207"/>
                  </a:lnTo>
                  <a:lnTo>
                    <a:pt x="182" y="1209"/>
                  </a:lnTo>
                  <a:lnTo>
                    <a:pt x="182" y="1209"/>
                  </a:lnTo>
                  <a:lnTo>
                    <a:pt x="175" y="1210"/>
                  </a:lnTo>
                  <a:lnTo>
                    <a:pt x="170" y="1211"/>
                  </a:lnTo>
                  <a:lnTo>
                    <a:pt x="166" y="1216"/>
                  </a:lnTo>
                  <a:lnTo>
                    <a:pt x="164" y="1219"/>
                  </a:lnTo>
                  <a:lnTo>
                    <a:pt x="164" y="1222"/>
                  </a:lnTo>
                  <a:lnTo>
                    <a:pt x="164" y="1222"/>
                  </a:lnTo>
                  <a:lnTo>
                    <a:pt x="164" y="1229"/>
                  </a:lnTo>
                  <a:lnTo>
                    <a:pt x="164" y="1234"/>
                  </a:lnTo>
                  <a:lnTo>
                    <a:pt x="163" y="1240"/>
                  </a:lnTo>
                  <a:lnTo>
                    <a:pt x="164" y="1244"/>
                  </a:lnTo>
                  <a:lnTo>
                    <a:pt x="164" y="1244"/>
                  </a:lnTo>
                  <a:lnTo>
                    <a:pt x="164" y="1250"/>
                  </a:lnTo>
                  <a:lnTo>
                    <a:pt x="164" y="1256"/>
                  </a:lnTo>
                  <a:lnTo>
                    <a:pt x="164" y="1262"/>
                  </a:lnTo>
                  <a:lnTo>
                    <a:pt x="166" y="1263"/>
                  </a:lnTo>
                  <a:lnTo>
                    <a:pt x="167" y="1263"/>
                  </a:lnTo>
                  <a:lnTo>
                    <a:pt x="167" y="1263"/>
                  </a:lnTo>
                  <a:lnTo>
                    <a:pt x="181" y="1265"/>
                  </a:lnTo>
                  <a:lnTo>
                    <a:pt x="192" y="1263"/>
                  </a:lnTo>
                  <a:lnTo>
                    <a:pt x="192" y="1263"/>
                  </a:lnTo>
                  <a:lnTo>
                    <a:pt x="197" y="1263"/>
                  </a:lnTo>
                  <a:lnTo>
                    <a:pt x="201" y="1262"/>
                  </a:lnTo>
                  <a:lnTo>
                    <a:pt x="213" y="1257"/>
                  </a:lnTo>
                  <a:lnTo>
                    <a:pt x="213" y="1257"/>
                  </a:lnTo>
                  <a:lnTo>
                    <a:pt x="219" y="1256"/>
                  </a:lnTo>
                  <a:lnTo>
                    <a:pt x="223" y="1256"/>
                  </a:lnTo>
                  <a:lnTo>
                    <a:pt x="235" y="1257"/>
                  </a:lnTo>
                  <a:lnTo>
                    <a:pt x="240" y="1259"/>
                  </a:lnTo>
                  <a:lnTo>
                    <a:pt x="244" y="1262"/>
                  </a:lnTo>
                  <a:lnTo>
                    <a:pt x="247" y="1265"/>
                  </a:lnTo>
                  <a:lnTo>
                    <a:pt x="250" y="1269"/>
                  </a:lnTo>
                  <a:lnTo>
                    <a:pt x="250" y="1269"/>
                  </a:lnTo>
                  <a:lnTo>
                    <a:pt x="255" y="1283"/>
                  </a:lnTo>
                  <a:lnTo>
                    <a:pt x="258" y="1291"/>
                  </a:lnTo>
                  <a:lnTo>
                    <a:pt x="258" y="1291"/>
                  </a:lnTo>
                  <a:lnTo>
                    <a:pt x="260" y="1294"/>
                  </a:lnTo>
                  <a:lnTo>
                    <a:pt x="265" y="1296"/>
                  </a:lnTo>
                  <a:lnTo>
                    <a:pt x="269" y="1296"/>
                  </a:lnTo>
                  <a:lnTo>
                    <a:pt x="272" y="1296"/>
                  </a:lnTo>
                  <a:lnTo>
                    <a:pt x="274" y="1294"/>
                  </a:lnTo>
                  <a:lnTo>
                    <a:pt x="274" y="1294"/>
                  </a:lnTo>
                  <a:lnTo>
                    <a:pt x="280" y="1286"/>
                  </a:lnTo>
                  <a:lnTo>
                    <a:pt x="283" y="1283"/>
                  </a:lnTo>
                  <a:lnTo>
                    <a:pt x="284" y="1281"/>
                  </a:lnTo>
                  <a:lnTo>
                    <a:pt x="286" y="1283"/>
                  </a:lnTo>
                  <a:lnTo>
                    <a:pt x="286" y="1283"/>
                  </a:lnTo>
                  <a:lnTo>
                    <a:pt x="286" y="1286"/>
                  </a:lnTo>
                  <a:lnTo>
                    <a:pt x="286" y="1290"/>
                  </a:lnTo>
                  <a:lnTo>
                    <a:pt x="286" y="1293"/>
                  </a:lnTo>
                  <a:lnTo>
                    <a:pt x="286" y="1294"/>
                  </a:lnTo>
                  <a:lnTo>
                    <a:pt x="287" y="1294"/>
                  </a:lnTo>
                  <a:lnTo>
                    <a:pt x="287" y="1294"/>
                  </a:lnTo>
                  <a:lnTo>
                    <a:pt x="292" y="1294"/>
                  </a:lnTo>
                  <a:lnTo>
                    <a:pt x="296" y="1294"/>
                  </a:lnTo>
                  <a:lnTo>
                    <a:pt x="300" y="1291"/>
                  </a:lnTo>
                  <a:lnTo>
                    <a:pt x="302" y="1290"/>
                  </a:lnTo>
                  <a:lnTo>
                    <a:pt x="302" y="1288"/>
                  </a:lnTo>
                  <a:lnTo>
                    <a:pt x="302" y="1288"/>
                  </a:lnTo>
                  <a:lnTo>
                    <a:pt x="303" y="1280"/>
                  </a:lnTo>
                  <a:lnTo>
                    <a:pt x="305" y="1277"/>
                  </a:lnTo>
                  <a:lnTo>
                    <a:pt x="309" y="1274"/>
                  </a:lnTo>
                  <a:lnTo>
                    <a:pt x="309" y="1274"/>
                  </a:lnTo>
                  <a:lnTo>
                    <a:pt x="323" y="1266"/>
                  </a:lnTo>
                  <a:lnTo>
                    <a:pt x="333" y="1257"/>
                  </a:lnTo>
                  <a:lnTo>
                    <a:pt x="333" y="1257"/>
                  </a:lnTo>
                  <a:lnTo>
                    <a:pt x="337" y="1251"/>
                  </a:lnTo>
                  <a:lnTo>
                    <a:pt x="340" y="1246"/>
                  </a:lnTo>
                  <a:lnTo>
                    <a:pt x="340" y="1246"/>
                  </a:lnTo>
                  <a:lnTo>
                    <a:pt x="346" y="1241"/>
                  </a:lnTo>
                  <a:lnTo>
                    <a:pt x="354" y="1234"/>
                  </a:lnTo>
                  <a:lnTo>
                    <a:pt x="354" y="1234"/>
                  </a:lnTo>
                  <a:lnTo>
                    <a:pt x="355" y="1229"/>
                  </a:lnTo>
                  <a:lnTo>
                    <a:pt x="357" y="1222"/>
                  </a:lnTo>
                  <a:lnTo>
                    <a:pt x="358" y="1216"/>
                  </a:lnTo>
                  <a:lnTo>
                    <a:pt x="361" y="1210"/>
                  </a:lnTo>
                  <a:lnTo>
                    <a:pt x="361" y="1210"/>
                  </a:lnTo>
                  <a:lnTo>
                    <a:pt x="369" y="1201"/>
                  </a:lnTo>
                  <a:lnTo>
                    <a:pt x="374" y="1198"/>
                  </a:lnTo>
                  <a:lnTo>
                    <a:pt x="380" y="1197"/>
                  </a:lnTo>
                  <a:lnTo>
                    <a:pt x="380" y="1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4" name="Freeform 13">
              <a:extLst>
                <a:ext uri="{FF2B5EF4-FFF2-40B4-BE49-F238E27FC236}">
                  <a16:creationId xmlns:a16="http://schemas.microsoft.com/office/drawing/2014/main" id="{D1B196C3-8EE1-014C-B0AB-3C46C3423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5457825"/>
              <a:ext cx="473075" cy="365125"/>
            </a:xfrm>
            <a:custGeom>
              <a:avLst/>
              <a:gdLst>
                <a:gd name="T0" fmla="*/ 231 w 298"/>
                <a:gd name="T1" fmla="*/ 100 h 230"/>
                <a:gd name="T2" fmla="*/ 224 w 298"/>
                <a:gd name="T3" fmla="*/ 82 h 230"/>
                <a:gd name="T4" fmla="*/ 212 w 298"/>
                <a:gd name="T5" fmla="*/ 68 h 230"/>
                <a:gd name="T6" fmla="*/ 189 w 298"/>
                <a:gd name="T7" fmla="*/ 60 h 230"/>
                <a:gd name="T8" fmla="*/ 176 w 298"/>
                <a:gd name="T9" fmla="*/ 55 h 230"/>
                <a:gd name="T10" fmla="*/ 170 w 298"/>
                <a:gd name="T11" fmla="*/ 40 h 230"/>
                <a:gd name="T12" fmla="*/ 148 w 298"/>
                <a:gd name="T13" fmla="*/ 21 h 230"/>
                <a:gd name="T14" fmla="*/ 144 w 298"/>
                <a:gd name="T15" fmla="*/ 0 h 230"/>
                <a:gd name="T16" fmla="*/ 124 w 298"/>
                <a:gd name="T17" fmla="*/ 28 h 230"/>
                <a:gd name="T18" fmla="*/ 111 w 298"/>
                <a:gd name="T19" fmla="*/ 39 h 230"/>
                <a:gd name="T20" fmla="*/ 84 w 298"/>
                <a:gd name="T21" fmla="*/ 31 h 230"/>
                <a:gd name="T22" fmla="*/ 64 w 298"/>
                <a:gd name="T23" fmla="*/ 28 h 230"/>
                <a:gd name="T24" fmla="*/ 71 w 298"/>
                <a:gd name="T25" fmla="*/ 39 h 230"/>
                <a:gd name="T26" fmla="*/ 64 w 298"/>
                <a:gd name="T27" fmla="*/ 46 h 230"/>
                <a:gd name="T28" fmla="*/ 59 w 298"/>
                <a:gd name="T29" fmla="*/ 61 h 230"/>
                <a:gd name="T30" fmla="*/ 52 w 298"/>
                <a:gd name="T31" fmla="*/ 80 h 230"/>
                <a:gd name="T32" fmla="*/ 50 w 298"/>
                <a:gd name="T33" fmla="*/ 111 h 230"/>
                <a:gd name="T34" fmla="*/ 56 w 298"/>
                <a:gd name="T35" fmla="*/ 128 h 230"/>
                <a:gd name="T36" fmla="*/ 53 w 298"/>
                <a:gd name="T37" fmla="*/ 137 h 230"/>
                <a:gd name="T38" fmla="*/ 41 w 298"/>
                <a:gd name="T39" fmla="*/ 153 h 230"/>
                <a:gd name="T40" fmla="*/ 24 w 298"/>
                <a:gd name="T41" fmla="*/ 160 h 230"/>
                <a:gd name="T42" fmla="*/ 19 w 298"/>
                <a:gd name="T43" fmla="*/ 169 h 230"/>
                <a:gd name="T44" fmla="*/ 4 w 298"/>
                <a:gd name="T45" fmla="*/ 175 h 230"/>
                <a:gd name="T46" fmla="*/ 4 w 298"/>
                <a:gd name="T47" fmla="*/ 191 h 230"/>
                <a:gd name="T48" fmla="*/ 25 w 298"/>
                <a:gd name="T49" fmla="*/ 209 h 230"/>
                <a:gd name="T50" fmla="*/ 41 w 298"/>
                <a:gd name="T51" fmla="*/ 212 h 230"/>
                <a:gd name="T52" fmla="*/ 53 w 298"/>
                <a:gd name="T53" fmla="*/ 208 h 230"/>
                <a:gd name="T54" fmla="*/ 62 w 298"/>
                <a:gd name="T55" fmla="*/ 223 h 230"/>
                <a:gd name="T56" fmla="*/ 78 w 298"/>
                <a:gd name="T57" fmla="*/ 230 h 230"/>
                <a:gd name="T58" fmla="*/ 84 w 298"/>
                <a:gd name="T59" fmla="*/ 225 h 230"/>
                <a:gd name="T60" fmla="*/ 80 w 298"/>
                <a:gd name="T61" fmla="*/ 211 h 230"/>
                <a:gd name="T62" fmla="*/ 89 w 298"/>
                <a:gd name="T63" fmla="*/ 196 h 230"/>
                <a:gd name="T64" fmla="*/ 104 w 298"/>
                <a:gd name="T65" fmla="*/ 174 h 230"/>
                <a:gd name="T66" fmla="*/ 115 w 298"/>
                <a:gd name="T67" fmla="*/ 174 h 230"/>
                <a:gd name="T68" fmla="*/ 149 w 298"/>
                <a:gd name="T69" fmla="*/ 171 h 230"/>
                <a:gd name="T70" fmla="*/ 158 w 298"/>
                <a:gd name="T71" fmla="*/ 159 h 230"/>
                <a:gd name="T72" fmla="*/ 166 w 298"/>
                <a:gd name="T73" fmla="*/ 160 h 230"/>
                <a:gd name="T74" fmla="*/ 176 w 298"/>
                <a:gd name="T75" fmla="*/ 178 h 230"/>
                <a:gd name="T76" fmla="*/ 192 w 298"/>
                <a:gd name="T77" fmla="*/ 184 h 230"/>
                <a:gd name="T78" fmla="*/ 204 w 298"/>
                <a:gd name="T79" fmla="*/ 194 h 230"/>
                <a:gd name="T80" fmla="*/ 216 w 298"/>
                <a:gd name="T81" fmla="*/ 214 h 230"/>
                <a:gd name="T82" fmla="*/ 221 w 298"/>
                <a:gd name="T83" fmla="*/ 225 h 230"/>
                <a:gd name="T84" fmla="*/ 228 w 298"/>
                <a:gd name="T85" fmla="*/ 230 h 230"/>
                <a:gd name="T86" fmla="*/ 238 w 298"/>
                <a:gd name="T87" fmla="*/ 223 h 230"/>
                <a:gd name="T88" fmla="*/ 250 w 298"/>
                <a:gd name="T89" fmla="*/ 228 h 230"/>
                <a:gd name="T90" fmla="*/ 272 w 298"/>
                <a:gd name="T91" fmla="*/ 211 h 230"/>
                <a:gd name="T92" fmla="*/ 283 w 298"/>
                <a:gd name="T93" fmla="*/ 205 h 230"/>
                <a:gd name="T94" fmla="*/ 296 w 298"/>
                <a:gd name="T95" fmla="*/ 185 h 230"/>
                <a:gd name="T96" fmla="*/ 296 w 298"/>
                <a:gd name="T97" fmla="*/ 177 h 230"/>
                <a:gd name="T98" fmla="*/ 286 w 298"/>
                <a:gd name="T99" fmla="*/ 163 h 230"/>
                <a:gd name="T100" fmla="*/ 280 w 298"/>
                <a:gd name="T101" fmla="*/ 144 h 230"/>
                <a:gd name="T102" fmla="*/ 293 w 298"/>
                <a:gd name="T103" fmla="*/ 131 h 230"/>
                <a:gd name="T104" fmla="*/ 289 w 298"/>
                <a:gd name="T105" fmla="*/ 123 h 230"/>
                <a:gd name="T106" fmla="*/ 266 w 298"/>
                <a:gd name="T107" fmla="*/ 108 h 230"/>
                <a:gd name="T108" fmla="*/ 249 w 298"/>
                <a:gd name="T109" fmla="*/ 10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8" h="230">
                  <a:moveTo>
                    <a:pt x="249" y="106"/>
                  </a:moveTo>
                  <a:lnTo>
                    <a:pt x="249" y="106"/>
                  </a:lnTo>
                  <a:lnTo>
                    <a:pt x="235" y="101"/>
                  </a:lnTo>
                  <a:lnTo>
                    <a:pt x="231" y="100"/>
                  </a:lnTo>
                  <a:lnTo>
                    <a:pt x="229" y="97"/>
                  </a:lnTo>
                  <a:lnTo>
                    <a:pt x="229" y="97"/>
                  </a:lnTo>
                  <a:lnTo>
                    <a:pt x="226" y="91"/>
                  </a:lnTo>
                  <a:lnTo>
                    <a:pt x="224" y="82"/>
                  </a:lnTo>
                  <a:lnTo>
                    <a:pt x="218" y="74"/>
                  </a:lnTo>
                  <a:lnTo>
                    <a:pt x="215" y="71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198" y="63"/>
                  </a:lnTo>
                  <a:lnTo>
                    <a:pt x="194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1" y="60"/>
                  </a:lnTo>
                  <a:lnTo>
                    <a:pt x="178" y="58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75" y="48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0" y="40"/>
                  </a:lnTo>
                  <a:lnTo>
                    <a:pt x="164" y="36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48" y="21"/>
                  </a:lnTo>
                  <a:lnTo>
                    <a:pt x="147" y="18"/>
                  </a:lnTo>
                  <a:lnTo>
                    <a:pt x="144" y="11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35" y="9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4" y="28"/>
                  </a:lnTo>
                  <a:lnTo>
                    <a:pt x="121" y="33"/>
                  </a:lnTo>
                  <a:lnTo>
                    <a:pt x="117" y="37"/>
                  </a:lnTo>
                  <a:lnTo>
                    <a:pt x="117" y="37"/>
                  </a:lnTo>
                  <a:lnTo>
                    <a:pt x="111" y="39"/>
                  </a:lnTo>
                  <a:lnTo>
                    <a:pt x="102" y="37"/>
                  </a:lnTo>
                  <a:lnTo>
                    <a:pt x="92" y="36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1" y="30"/>
                  </a:lnTo>
                  <a:lnTo>
                    <a:pt x="78" y="28"/>
                  </a:lnTo>
                  <a:lnTo>
                    <a:pt x="71" y="27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40"/>
                  </a:lnTo>
                  <a:lnTo>
                    <a:pt x="68" y="42"/>
                  </a:lnTo>
                  <a:lnTo>
                    <a:pt x="64" y="46"/>
                  </a:lnTo>
                  <a:lnTo>
                    <a:pt x="59" y="51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9" y="61"/>
                  </a:lnTo>
                  <a:lnTo>
                    <a:pt x="59" y="66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2" y="80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104"/>
                  </a:lnTo>
                  <a:lnTo>
                    <a:pt x="50" y="111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5" y="122"/>
                  </a:lnTo>
                  <a:lnTo>
                    <a:pt x="56" y="128"/>
                  </a:lnTo>
                  <a:lnTo>
                    <a:pt x="55" y="134"/>
                  </a:lnTo>
                  <a:lnTo>
                    <a:pt x="55" y="135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0" y="140"/>
                  </a:lnTo>
                  <a:lnTo>
                    <a:pt x="47" y="144"/>
                  </a:lnTo>
                  <a:lnTo>
                    <a:pt x="44" y="148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35" y="156"/>
                  </a:lnTo>
                  <a:lnTo>
                    <a:pt x="30" y="157"/>
                  </a:lnTo>
                  <a:lnTo>
                    <a:pt x="24" y="160"/>
                  </a:lnTo>
                  <a:lnTo>
                    <a:pt x="22" y="162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19" y="169"/>
                  </a:lnTo>
                  <a:lnTo>
                    <a:pt x="15" y="174"/>
                  </a:lnTo>
                  <a:lnTo>
                    <a:pt x="12" y="175"/>
                  </a:lnTo>
                  <a:lnTo>
                    <a:pt x="9" y="175"/>
                  </a:lnTo>
                  <a:lnTo>
                    <a:pt x="4" y="175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1" y="184"/>
                  </a:lnTo>
                  <a:lnTo>
                    <a:pt x="4" y="191"/>
                  </a:lnTo>
                  <a:lnTo>
                    <a:pt x="6" y="194"/>
                  </a:lnTo>
                  <a:lnTo>
                    <a:pt x="9" y="197"/>
                  </a:lnTo>
                  <a:lnTo>
                    <a:pt x="9" y="197"/>
                  </a:lnTo>
                  <a:lnTo>
                    <a:pt x="25" y="209"/>
                  </a:lnTo>
                  <a:lnTo>
                    <a:pt x="34" y="214"/>
                  </a:lnTo>
                  <a:lnTo>
                    <a:pt x="38" y="215"/>
                  </a:lnTo>
                  <a:lnTo>
                    <a:pt x="38" y="215"/>
                  </a:lnTo>
                  <a:lnTo>
                    <a:pt x="41" y="212"/>
                  </a:lnTo>
                  <a:lnTo>
                    <a:pt x="46" y="209"/>
                  </a:lnTo>
                  <a:lnTo>
                    <a:pt x="49" y="206"/>
                  </a:lnTo>
                  <a:lnTo>
                    <a:pt x="52" y="206"/>
                  </a:lnTo>
                  <a:lnTo>
                    <a:pt x="53" y="208"/>
                  </a:lnTo>
                  <a:lnTo>
                    <a:pt x="53" y="208"/>
                  </a:lnTo>
                  <a:lnTo>
                    <a:pt x="56" y="212"/>
                  </a:lnTo>
                  <a:lnTo>
                    <a:pt x="59" y="218"/>
                  </a:lnTo>
                  <a:lnTo>
                    <a:pt x="62" y="223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81" y="230"/>
                  </a:lnTo>
                  <a:lnTo>
                    <a:pt x="83" y="230"/>
                  </a:lnTo>
                  <a:lnTo>
                    <a:pt x="84" y="228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3" y="220"/>
                  </a:lnTo>
                  <a:lnTo>
                    <a:pt x="81" y="215"/>
                  </a:lnTo>
                  <a:lnTo>
                    <a:pt x="80" y="211"/>
                  </a:lnTo>
                  <a:lnTo>
                    <a:pt x="81" y="208"/>
                  </a:lnTo>
                  <a:lnTo>
                    <a:pt x="81" y="208"/>
                  </a:lnTo>
                  <a:lnTo>
                    <a:pt x="86" y="203"/>
                  </a:lnTo>
                  <a:lnTo>
                    <a:pt x="89" y="196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9" y="178"/>
                  </a:lnTo>
                  <a:lnTo>
                    <a:pt x="104" y="174"/>
                  </a:lnTo>
                  <a:lnTo>
                    <a:pt x="109" y="172"/>
                  </a:lnTo>
                  <a:lnTo>
                    <a:pt x="112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24" y="177"/>
                  </a:lnTo>
                  <a:lnTo>
                    <a:pt x="133" y="177"/>
                  </a:lnTo>
                  <a:lnTo>
                    <a:pt x="142" y="174"/>
                  </a:lnTo>
                  <a:lnTo>
                    <a:pt x="149" y="171"/>
                  </a:lnTo>
                  <a:lnTo>
                    <a:pt x="149" y="171"/>
                  </a:lnTo>
                  <a:lnTo>
                    <a:pt x="152" y="166"/>
                  </a:lnTo>
                  <a:lnTo>
                    <a:pt x="157" y="160"/>
                  </a:lnTo>
                  <a:lnTo>
                    <a:pt x="158" y="159"/>
                  </a:lnTo>
                  <a:lnTo>
                    <a:pt x="161" y="157"/>
                  </a:lnTo>
                  <a:lnTo>
                    <a:pt x="163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9" y="165"/>
                  </a:lnTo>
                  <a:lnTo>
                    <a:pt x="169" y="169"/>
                  </a:lnTo>
                  <a:lnTo>
                    <a:pt x="170" y="174"/>
                  </a:lnTo>
                  <a:lnTo>
                    <a:pt x="176" y="178"/>
                  </a:lnTo>
                  <a:lnTo>
                    <a:pt x="176" y="178"/>
                  </a:lnTo>
                  <a:lnTo>
                    <a:pt x="181" y="181"/>
                  </a:lnTo>
                  <a:lnTo>
                    <a:pt x="185" y="183"/>
                  </a:lnTo>
                  <a:lnTo>
                    <a:pt x="192" y="184"/>
                  </a:lnTo>
                  <a:lnTo>
                    <a:pt x="197" y="185"/>
                  </a:lnTo>
                  <a:lnTo>
                    <a:pt x="200" y="187"/>
                  </a:lnTo>
                  <a:lnTo>
                    <a:pt x="201" y="190"/>
                  </a:lnTo>
                  <a:lnTo>
                    <a:pt x="204" y="194"/>
                  </a:lnTo>
                  <a:lnTo>
                    <a:pt x="204" y="194"/>
                  </a:lnTo>
                  <a:lnTo>
                    <a:pt x="207" y="203"/>
                  </a:lnTo>
                  <a:lnTo>
                    <a:pt x="212" y="209"/>
                  </a:lnTo>
                  <a:lnTo>
                    <a:pt x="216" y="214"/>
                  </a:lnTo>
                  <a:lnTo>
                    <a:pt x="219" y="218"/>
                  </a:lnTo>
                  <a:lnTo>
                    <a:pt x="219" y="218"/>
                  </a:lnTo>
                  <a:lnTo>
                    <a:pt x="221" y="223"/>
                  </a:lnTo>
                  <a:lnTo>
                    <a:pt x="221" y="225"/>
                  </a:lnTo>
                  <a:lnTo>
                    <a:pt x="221" y="228"/>
                  </a:lnTo>
                  <a:lnTo>
                    <a:pt x="224" y="230"/>
                  </a:lnTo>
                  <a:lnTo>
                    <a:pt x="224" y="230"/>
                  </a:lnTo>
                  <a:lnTo>
                    <a:pt x="228" y="230"/>
                  </a:lnTo>
                  <a:lnTo>
                    <a:pt x="232" y="228"/>
                  </a:lnTo>
                  <a:lnTo>
                    <a:pt x="237" y="223"/>
                  </a:lnTo>
                  <a:lnTo>
                    <a:pt x="237" y="223"/>
                  </a:lnTo>
                  <a:lnTo>
                    <a:pt x="238" y="223"/>
                  </a:lnTo>
                  <a:lnTo>
                    <a:pt x="241" y="225"/>
                  </a:lnTo>
                  <a:lnTo>
                    <a:pt x="246" y="227"/>
                  </a:lnTo>
                  <a:lnTo>
                    <a:pt x="250" y="228"/>
                  </a:lnTo>
                  <a:lnTo>
                    <a:pt x="250" y="228"/>
                  </a:lnTo>
                  <a:lnTo>
                    <a:pt x="253" y="227"/>
                  </a:lnTo>
                  <a:lnTo>
                    <a:pt x="256" y="225"/>
                  </a:lnTo>
                  <a:lnTo>
                    <a:pt x="262" y="22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7" y="208"/>
                  </a:lnTo>
                  <a:lnTo>
                    <a:pt x="280" y="206"/>
                  </a:lnTo>
                  <a:lnTo>
                    <a:pt x="283" y="205"/>
                  </a:lnTo>
                  <a:lnTo>
                    <a:pt x="286" y="202"/>
                  </a:lnTo>
                  <a:lnTo>
                    <a:pt x="286" y="202"/>
                  </a:lnTo>
                  <a:lnTo>
                    <a:pt x="292" y="191"/>
                  </a:lnTo>
                  <a:lnTo>
                    <a:pt x="296" y="185"/>
                  </a:lnTo>
                  <a:lnTo>
                    <a:pt x="296" y="185"/>
                  </a:lnTo>
                  <a:lnTo>
                    <a:pt x="298" y="181"/>
                  </a:lnTo>
                  <a:lnTo>
                    <a:pt x="296" y="177"/>
                  </a:lnTo>
                  <a:lnTo>
                    <a:pt x="296" y="177"/>
                  </a:lnTo>
                  <a:lnTo>
                    <a:pt x="293" y="172"/>
                  </a:lnTo>
                  <a:lnTo>
                    <a:pt x="290" y="168"/>
                  </a:lnTo>
                  <a:lnTo>
                    <a:pt x="290" y="168"/>
                  </a:lnTo>
                  <a:lnTo>
                    <a:pt x="286" y="163"/>
                  </a:lnTo>
                  <a:lnTo>
                    <a:pt x="281" y="157"/>
                  </a:lnTo>
                  <a:lnTo>
                    <a:pt x="280" y="150"/>
                  </a:lnTo>
                  <a:lnTo>
                    <a:pt x="280" y="144"/>
                  </a:lnTo>
                  <a:lnTo>
                    <a:pt x="280" y="144"/>
                  </a:lnTo>
                  <a:lnTo>
                    <a:pt x="281" y="141"/>
                  </a:lnTo>
                  <a:lnTo>
                    <a:pt x="283" y="140"/>
                  </a:lnTo>
                  <a:lnTo>
                    <a:pt x="289" y="135"/>
                  </a:lnTo>
                  <a:lnTo>
                    <a:pt x="293" y="131"/>
                  </a:lnTo>
                  <a:lnTo>
                    <a:pt x="295" y="129"/>
                  </a:lnTo>
                  <a:lnTo>
                    <a:pt x="293" y="128"/>
                  </a:lnTo>
                  <a:lnTo>
                    <a:pt x="293" y="128"/>
                  </a:lnTo>
                  <a:lnTo>
                    <a:pt x="289" y="123"/>
                  </a:lnTo>
                  <a:lnTo>
                    <a:pt x="281" y="117"/>
                  </a:lnTo>
                  <a:lnTo>
                    <a:pt x="269" y="108"/>
                  </a:lnTo>
                  <a:lnTo>
                    <a:pt x="269" y="108"/>
                  </a:lnTo>
                  <a:lnTo>
                    <a:pt x="266" y="108"/>
                  </a:lnTo>
                  <a:lnTo>
                    <a:pt x="262" y="108"/>
                  </a:lnTo>
                  <a:lnTo>
                    <a:pt x="256" y="107"/>
                  </a:lnTo>
                  <a:lnTo>
                    <a:pt x="249" y="106"/>
                  </a:lnTo>
                  <a:lnTo>
                    <a:pt x="249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5" name="Freeform 14">
              <a:extLst>
                <a:ext uri="{FF2B5EF4-FFF2-40B4-BE49-F238E27FC236}">
                  <a16:creationId xmlns:a16="http://schemas.microsoft.com/office/drawing/2014/main" id="{8EAD231E-F935-934F-9B49-DF37C70ED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288" y="5353050"/>
              <a:ext cx="455613" cy="441325"/>
            </a:xfrm>
            <a:custGeom>
              <a:avLst/>
              <a:gdLst>
                <a:gd name="T0" fmla="*/ 222 w 287"/>
                <a:gd name="T1" fmla="*/ 216 h 278"/>
                <a:gd name="T2" fmla="*/ 224 w 287"/>
                <a:gd name="T3" fmla="*/ 194 h 278"/>
                <a:gd name="T4" fmla="*/ 222 w 287"/>
                <a:gd name="T5" fmla="*/ 180 h 278"/>
                <a:gd name="T6" fmla="*/ 243 w 287"/>
                <a:gd name="T7" fmla="*/ 173 h 278"/>
                <a:gd name="T8" fmla="*/ 247 w 287"/>
                <a:gd name="T9" fmla="*/ 158 h 278"/>
                <a:gd name="T10" fmla="*/ 272 w 287"/>
                <a:gd name="T11" fmla="*/ 124 h 278"/>
                <a:gd name="T12" fmla="*/ 281 w 287"/>
                <a:gd name="T13" fmla="*/ 94 h 278"/>
                <a:gd name="T14" fmla="*/ 281 w 287"/>
                <a:gd name="T15" fmla="*/ 77 h 278"/>
                <a:gd name="T16" fmla="*/ 271 w 287"/>
                <a:gd name="T17" fmla="*/ 60 h 278"/>
                <a:gd name="T18" fmla="*/ 258 w 287"/>
                <a:gd name="T19" fmla="*/ 63 h 278"/>
                <a:gd name="T20" fmla="*/ 256 w 287"/>
                <a:gd name="T21" fmla="*/ 43 h 278"/>
                <a:gd name="T22" fmla="*/ 255 w 287"/>
                <a:gd name="T23" fmla="*/ 29 h 278"/>
                <a:gd name="T24" fmla="*/ 237 w 287"/>
                <a:gd name="T25" fmla="*/ 31 h 278"/>
                <a:gd name="T26" fmla="*/ 231 w 287"/>
                <a:gd name="T27" fmla="*/ 19 h 278"/>
                <a:gd name="T28" fmla="*/ 218 w 287"/>
                <a:gd name="T29" fmla="*/ 9 h 278"/>
                <a:gd name="T30" fmla="*/ 207 w 287"/>
                <a:gd name="T31" fmla="*/ 0 h 278"/>
                <a:gd name="T32" fmla="*/ 188 w 287"/>
                <a:gd name="T33" fmla="*/ 15 h 278"/>
                <a:gd name="T34" fmla="*/ 172 w 287"/>
                <a:gd name="T35" fmla="*/ 16 h 278"/>
                <a:gd name="T36" fmla="*/ 170 w 287"/>
                <a:gd name="T37" fmla="*/ 32 h 278"/>
                <a:gd name="T38" fmla="*/ 155 w 287"/>
                <a:gd name="T39" fmla="*/ 43 h 278"/>
                <a:gd name="T40" fmla="*/ 151 w 287"/>
                <a:gd name="T41" fmla="*/ 60 h 278"/>
                <a:gd name="T42" fmla="*/ 141 w 287"/>
                <a:gd name="T43" fmla="*/ 63 h 278"/>
                <a:gd name="T44" fmla="*/ 120 w 287"/>
                <a:gd name="T45" fmla="*/ 77 h 278"/>
                <a:gd name="T46" fmla="*/ 104 w 287"/>
                <a:gd name="T47" fmla="*/ 60 h 278"/>
                <a:gd name="T48" fmla="*/ 93 w 287"/>
                <a:gd name="T49" fmla="*/ 59 h 278"/>
                <a:gd name="T50" fmla="*/ 75 w 287"/>
                <a:gd name="T51" fmla="*/ 83 h 278"/>
                <a:gd name="T52" fmla="*/ 61 w 287"/>
                <a:gd name="T53" fmla="*/ 115 h 278"/>
                <a:gd name="T54" fmla="*/ 40 w 287"/>
                <a:gd name="T55" fmla="*/ 123 h 278"/>
                <a:gd name="T56" fmla="*/ 28 w 287"/>
                <a:gd name="T57" fmla="*/ 139 h 278"/>
                <a:gd name="T58" fmla="*/ 18 w 287"/>
                <a:gd name="T59" fmla="*/ 152 h 278"/>
                <a:gd name="T60" fmla="*/ 18 w 287"/>
                <a:gd name="T61" fmla="*/ 173 h 278"/>
                <a:gd name="T62" fmla="*/ 9 w 287"/>
                <a:gd name="T63" fmla="*/ 183 h 278"/>
                <a:gd name="T64" fmla="*/ 1 w 287"/>
                <a:gd name="T65" fmla="*/ 197 h 278"/>
                <a:gd name="T66" fmla="*/ 15 w 287"/>
                <a:gd name="T67" fmla="*/ 209 h 278"/>
                <a:gd name="T68" fmla="*/ 24 w 287"/>
                <a:gd name="T69" fmla="*/ 220 h 278"/>
                <a:gd name="T70" fmla="*/ 46 w 287"/>
                <a:gd name="T71" fmla="*/ 222 h 278"/>
                <a:gd name="T72" fmla="*/ 74 w 287"/>
                <a:gd name="T73" fmla="*/ 222 h 278"/>
                <a:gd name="T74" fmla="*/ 72 w 287"/>
                <a:gd name="T75" fmla="*/ 214 h 278"/>
                <a:gd name="T76" fmla="*/ 83 w 287"/>
                <a:gd name="T77" fmla="*/ 207 h 278"/>
                <a:gd name="T78" fmla="*/ 102 w 287"/>
                <a:gd name="T79" fmla="*/ 209 h 278"/>
                <a:gd name="T80" fmla="*/ 112 w 287"/>
                <a:gd name="T81" fmla="*/ 214 h 278"/>
                <a:gd name="T82" fmla="*/ 96 w 287"/>
                <a:gd name="T83" fmla="*/ 229 h 278"/>
                <a:gd name="T84" fmla="*/ 93 w 287"/>
                <a:gd name="T85" fmla="*/ 244 h 278"/>
                <a:gd name="T86" fmla="*/ 105 w 287"/>
                <a:gd name="T87" fmla="*/ 260 h 278"/>
                <a:gd name="T88" fmla="*/ 115 w 287"/>
                <a:gd name="T89" fmla="*/ 246 h 278"/>
                <a:gd name="T90" fmla="*/ 121 w 287"/>
                <a:gd name="T91" fmla="*/ 265 h 278"/>
                <a:gd name="T92" fmla="*/ 138 w 287"/>
                <a:gd name="T93" fmla="*/ 272 h 278"/>
                <a:gd name="T94" fmla="*/ 170 w 287"/>
                <a:gd name="T95" fmla="*/ 277 h 278"/>
                <a:gd name="T96" fmla="*/ 170 w 287"/>
                <a:gd name="T97" fmla="*/ 238 h 278"/>
                <a:gd name="T98" fmla="*/ 169 w 287"/>
                <a:gd name="T99" fmla="*/ 217 h 278"/>
                <a:gd name="T100" fmla="*/ 176 w 287"/>
                <a:gd name="T101" fmla="*/ 220 h 278"/>
                <a:gd name="T102" fmla="*/ 195 w 287"/>
                <a:gd name="T103" fmla="*/ 2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7" h="278">
                  <a:moveTo>
                    <a:pt x="195" y="219"/>
                  </a:moveTo>
                  <a:lnTo>
                    <a:pt x="195" y="219"/>
                  </a:lnTo>
                  <a:lnTo>
                    <a:pt x="203" y="217"/>
                  </a:lnTo>
                  <a:lnTo>
                    <a:pt x="210" y="217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4" y="213"/>
                  </a:lnTo>
                  <a:lnTo>
                    <a:pt x="225" y="207"/>
                  </a:lnTo>
                  <a:lnTo>
                    <a:pt x="224" y="194"/>
                  </a:lnTo>
                  <a:lnTo>
                    <a:pt x="224" y="194"/>
                  </a:lnTo>
                  <a:lnTo>
                    <a:pt x="222" y="186"/>
                  </a:lnTo>
                  <a:lnTo>
                    <a:pt x="221" y="183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5" y="179"/>
                  </a:lnTo>
                  <a:lnTo>
                    <a:pt x="232" y="177"/>
                  </a:lnTo>
                  <a:lnTo>
                    <a:pt x="238" y="176"/>
                  </a:lnTo>
                  <a:lnTo>
                    <a:pt x="241" y="174"/>
                  </a:lnTo>
                  <a:lnTo>
                    <a:pt x="243" y="173"/>
                  </a:lnTo>
                  <a:lnTo>
                    <a:pt x="243" y="173"/>
                  </a:lnTo>
                  <a:lnTo>
                    <a:pt x="244" y="166"/>
                  </a:lnTo>
                  <a:lnTo>
                    <a:pt x="246" y="163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58" y="149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71" y="130"/>
                  </a:lnTo>
                  <a:lnTo>
                    <a:pt x="272" y="124"/>
                  </a:lnTo>
                  <a:lnTo>
                    <a:pt x="272" y="111"/>
                  </a:lnTo>
                  <a:lnTo>
                    <a:pt x="272" y="111"/>
                  </a:lnTo>
                  <a:lnTo>
                    <a:pt x="274" y="105"/>
                  </a:lnTo>
                  <a:lnTo>
                    <a:pt x="277" y="100"/>
                  </a:lnTo>
                  <a:lnTo>
                    <a:pt x="281" y="94"/>
                  </a:lnTo>
                  <a:lnTo>
                    <a:pt x="286" y="90"/>
                  </a:lnTo>
                  <a:lnTo>
                    <a:pt x="286" y="90"/>
                  </a:lnTo>
                  <a:lnTo>
                    <a:pt x="287" y="86"/>
                  </a:lnTo>
                  <a:lnTo>
                    <a:pt x="286" y="83"/>
                  </a:lnTo>
                  <a:lnTo>
                    <a:pt x="281" y="77"/>
                  </a:lnTo>
                  <a:lnTo>
                    <a:pt x="281" y="77"/>
                  </a:lnTo>
                  <a:lnTo>
                    <a:pt x="278" y="71"/>
                  </a:lnTo>
                  <a:lnTo>
                    <a:pt x="272" y="62"/>
                  </a:lnTo>
                  <a:lnTo>
                    <a:pt x="272" y="62"/>
                  </a:lnTo>
                  <a:lnTo>
                    <a:pt x="271" y="60"/>
                  </a:lnTo>
                  <a:lnTo>
                    <a:pt x="269" y="60"/>
                  </a:lnTo>
                  <a:lnTo>
                    <a:pt x="266" y="60"/>
                  </a:lnTo>
                  <a:lnTo>
                    <a:pt x="262" y="62"/>
                  </a:lnTo>
                  <a:lnTo>
                    <a:pt x="258" y="63"/>
                  </a:lnTo>
                  <a:lnTo>
                    <a:pt x="258" y="63"/>
                  </a:lnTo>
                  <a:lnTo>
                    <a:pt x="256" y="62"/>
                  </a:lnTo>
                  <a:lnTo>
                    <a:pt x="255" y="60"/>
                  </a:lnTo>
                  <a:lnTo>
                    <a:pt x="255" y="56"/>
                  </a:lnTo>
                  <a:lnTo>
                    <a:pt x="256" y="43"/>
                  </a:lnTo>
                  <a:lnTo>
                    <a:pt x="256" y="43"/>
                  </a:lnTo>
                  <a:lnTo>
                    <a:pt x="259" y="34"/>
                  </a:lnTo>
                  <a:lnTo>
                    <a:pt x="258" y="32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5" y="29"/>
                  </a:lnTo>
                  <a:lnTo>
                    <a:pt x="252" y="28"/>
                  </a:lnTo>
                  <a:lnTo>
                    <a:pt x="247" y="29"/>
                  </a:lnTo>
                  <a:lnTo>
                    <a:pt x="237" y="32"/>
                  </a:lnTo>
                  <a:lnTo>
                    <a:pt x="237" y="32"/>
                  </a:lnTo>
                  <a:lnTo>
                    <a:pt x="237" y="31"/>
                  </a:lnTo>
                  <a:lnTo>
                    <a:pt x="237" y="29"/>
                  </a:lnTo>
                  <a:lnTo>
                    <a:pt x="235" y="25"/>
                  </a:lnTo>
                  <a:lnTo>
                    <a:pt x="234" y="22"/>
                  </a:lnTo>
                  <a:lnTo>
                    <a:pt x="234" y="22"/>
                  </a:lnTo>
                  <a:lnTo>
                    <a:pt x="231" y="19"/>
                  </a:lnTo>
                  <a:lnTo>
                    <a:pt x="226" y="17"/>
                  </a:lnTo>
                  <a:lnTo>
                    <a:pt x="224" y="16"/>
                  </a:lnTo>
                  <a:lnTo>
                    <a:pt x="221" y="13"/>
                  </a:lnTo>
                  <a:lnTo>
                    <a:pt x="221" y="13"/>
                  </a:lnTo>
                  <a:lnTo>
                    <a:pt x="218" y="9"/>
                  </a:lnTo>
                  <a:lnTo>
                    <a:pt x="216" y="4"/>
                  </a:lnTo>
                  <a:lnTo>
                    <a:pt x="215" y="1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7" y="0"/>
                  </a:lnTo>
                  <a:lnTo>
                    <a:pt x="206" y="0"/>
                  </a:lnTo>
                  <a:lnTo>
                    <a:pt x="200" y="4"/>
                  </a:lnTo>
                  <a:lnTo>
                    <a:pt x="191" y="12"/>
                  </a:lnTo>
                  <a:lnTo>
                    <a:pt x="191" y="12"/>
                  </a:lnTo>
                  <a:lnTo>
                    <a:pt x="188" y="15"/>
                  </a:lnTo>
                  <a:lnTo>
                    <a:pt x="185" y="15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3" y="15"/>
                  </a:lnTo>
                  <a:lnTo>
                    <a:pt x="172" y="16"/>
                  </a:lnTo>
                  <a:lnTo>
                    <a:pt x="170" y="19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2" y="28"/>
                  </a:lnTo>
                  <a:lnTo>
                    <a:pt x="170" y="32"/>
                  </a:lnTo>
                  <a:lnTo>
                    <a:pt x="167" y="37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57" y="41"/>
                  </a:lnTo>
                  <a:lnTo>
                    <a:pt x="155" y="43"/>
                  </a:lnTo>
                  <a:lnTo>
                    <a:pt x="155" y="46"/>
                  </a:lnTo>
                  <a:lnTo>
                    <a:pt x="155" y="46"/>
                  </a:lnTo>
                  <a:lnTo>
                    <a:pt x="154" y="52"/>
                  </a:lnTo>
                  <a:lnTo>
                    <a:pt x="151" y="60"/>
                  </a:lnTo>
                  <a:lnTo>
                    <a:pt x="151" y="60"/>
                  </a:lnTo>
                  <a:lnTo>
                    <a:pt x="148" y="65"/>
                  </a:lnTo>
                  <a:lnTo>
                    <a:pt x="147" y="63"/>
                  </a:lnTo>
                  <a:lnTo>
                    <a:pt x="144" y="62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36" y="66"/>
                  </a:lnTo>
                  <a:lnTo>
                    <a:pt x="132" y="71"/>
                  </a:lnTo>
                  <a:lnTo>
                    <a:pt x="126" y="74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17" y="77"/>
                  </a:lnTo>
                  <a:lnTo>
                    <a:pt x="114" y="75"/>
                  </a:lnTo>
                  <a:lnTo>
                    <a:pt x="109" y="71"/>
                  </a:lnTo>
                  <a:lnTo>
                    <a:pt x="105" y="6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59"/>
                  </a:lnTo>
                  <a:lnTo>
                    <a:pt x="102" y="57"/>
                  </a:lnTo>
                  <a:lnTo>
                    <a:pt x="98" y="57"/>
                  </a:lnTo>
                  <a:lnTo>
                    <a:pt x="93" y="59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6" y="66"/>
                  </a:lnTo>
                  <a:lnTo>
                    <a:pt x="80" y="74"/>
                  </a:lnTo>
                  <a:lnTo>
                    <a:pt x="75" y="83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0" y="100"/>
                  </a:lnTo>
                  <a:lnTo>
                    <a:pt x="65" y="109"/>
                  </a:lnTo>
                  <a:lnTo>
                    <a:pt x="61" y="115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50" y="121"/>
                  </a:lnTo>
                  <a:lnTo>
                    <a:pt x="40" y="123"/>
                  </a:lnTo>
                  <a:lnTo>
                    <a:pt x="40" y="123"/>
                  </a:lnTo>
                  <a:lnTo>
                    <a:pt x="37" y="126"/>
                  </a:lnTo>
                  <a:lnTo>
                    <a:pt x="32" y="129"/>
                  </a:lnTo>
                  <a:lnTo>
                    <a:pt x="30" y="134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42"/>
                  </a:lnTo>
                  <a:lnTo>
                    <a:pt x="27" y="14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18" y="152"/>
                  </a:lnTo>
                  <a:lnTo>
                    <a:pt x="16" y="155"/>
                  </a:lnTo>
                  <a:lnTo>
                    <a:pt x="15" y="161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6" y="183"/>
                  </a:lnTo>
                  <a:lnTo>
                    <a:pt x="13" y="185"/>
                  </a:lnTo>
                  <a:lnTo>
                    <a:pt x="9" y="183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1" y="185"/>
                  </a:lnTo>
                  <a:lnTo>
                    <a:pt x="0" y="188"/>
                  </a:lnTo>
                  <a:lnTo>
                    <a:pt x="1" y="197"/>
                  </a:lnTo>
                  <a:lnTo>
                    <a:pt x="1" y="197"/>
                  </a:lnTo>
                  <a:lnTo>
                    <a:pt x="1" y="198"/>
                  </a:lnTo>
                  <a:lnTo>
                    <a:pt x="3" y="201"/>
                  </a:lnTo>
                  <a:lnTo>
                    <a:pt x="9" y="204"/>
                  </a:lnTo>
                  <a:lnTo>
                    <a:pt x="15" y="209"/>
                  </a:lnTo>
                  <a:lnTo>
                    <a:pt x="18" y="210"/>
                  </a:lnTo>
                  <a:lnTo>
                    <a:pt x="19" y="213"/>
                  </a:lnTo>
                  <a:lnTo>
                    <a:pt x="19" y="213"/>
                  </a:lnTo>
                  <a:lnTo>
                    <a:pt x="21" y="217"/>
                  </a:lnTo>
                  <a:lnTo>
                    <a:pt x="24" y="220"/>
                  </a:lnTo>
                  <a:lnTo>
                    <a:pt x="28" y="222"/>
                  </a:lnTo>
                  <a:lnTo>
                    <a:pt x="34" y="222"/>
                  </a:lnTo>
                  <a:lnTo>
                    <a:pt x="34" y="222"/>
                  </a:lnTo>
                  <a:lnTo>
                    <a:pt x="41" y="222"/>
                  </a:lnTo>
                  <a:lnTo>
                    <a:pt x="46" y="222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64" y="228"/>
                  </a:lnTo>
                  <a:lnTo>
                    <a:pt x="70" y="225"/>
                  </a:lnTo>
                  <a:lnTo>
                    <a:pt x="74" y="222"/>
                  </a:lnTo>
                  <a:lnTo>
                    <a:pt x="74" y="220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1" y="217"/>
                  </a:lnTo>
                  <a:lnTo>
                    <a:pt x="72" y="214"/>
                  </a:lnTo>
                  <a:lnTo>
                    <a:pt x="77" y="207"/>
                  </a:lnTo>
                  <a:lnTo>
                    <a:pt x="77" y="207"/>
                  </a:lnTo>
                  <a:lnTo>
                    <a:pt x="78" y="206"/>
                  </a:lnTo>
                  <a:lnTo>
                    <a:pt x="80" y="206"/>
                  </a:lnTo>
                  <a:lnTo>
                    <a:pt x="83" y="207"/>
                  </a:lnTo>
                  <a:lnTo>
                    <a:pt x="87" y="209"/>
                  </a:lnTo>
                  <a:lnTo>
                    <a:pt x="92" y="211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102" y="209"/>
                  </a:lnTo>
                  <a:lnTo>
                    <a:pt x="109" y="204"/>
                  </a:lnTo>
                  <a:lnTo>
                    <a:pt x="109" y="204"/>
                  </a:lnTo>
                  <a:lnTo>
                    <a:pt x="112" y="204"/>
                  </a:lnTo>
                  <a:lnTo>
                    <a:pt x="114" y="206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1" y="219"/>
                  </a:lnTo>
                  <a:lnTo>
                    <a:pt x="108" y="220"/>
                  </a:lnTo>
                  <a:lnTo>
                    <a:pt x="104" y="225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5" y="234"/>
                  </a:lnTo>
                  <a:lnTo>
                    <a:pt x="93" y="237"/>
                  </a:lnTo>
                  <a:lnTo>
                    <a:pt x="93" y="241"/>
                  </a:lnTo>
                  <a:lnTo>
                    <a:pt x="93" y="244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99" y="260"/>
                  </a:lnTo>
                  <a:lnTo>
                    <a:pt x="101" y="262"/>
                  </a:lnTo>
                  <a:lnTo>
                    <a:pt x="105" y="260"/>
                  </a:lnTo>
                  <a:lnTo>
                    <a:pt x="109" y="257"/>
                  </a:lnTo>
                  <a:lnTo>
                    <a:pt x="112" y="254"/>
                  </a:lnTo>
                  <a:lnTo>
                    <a:pt x="112" y="254"/>
                  </a:lnTo>
                  <a:lnTo>
                    <a:pt x="114" y="249"/>
                  </a:lnTo>
                  <a:lnTo>
                    <a:pt x="115" y="246"/>
                  </a:lnTo>
                  <a:lnTo>
                    <a:pt x="117" y="246"/>
                  </a:lnTo>
                  <a:lnTo>
                    <a:pt x="117" y="246"/>
                  </a:lnTo>
                  <a:lnTo>
                    <a:pt x="120" y="254"/>
                  </a:lnTo>
                  <a:lnTo>
                    <a:pt x="121" y="262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6"/>
                  </a:lnTo>
                  <a:lnTo>
                    <a:pt x="121" y="268"/>
                  </a:lnTo>
                  <a:lnTo>
                    <a:pt x="127" y="269"/>
                  </a:lnTo>
                  <a:lnTo>
                    <a:pt x="138" y="272"/>
                  </a:lnTo>
                  <a:lnTo>
                    <a:pt x="138" y="272"/>
                  </a:lnTo>
                  <a:lnTo>
                    <a:pt x="139" y="272"/>
                  </a:lnTo>
                  <a:lnTo>
                    <a:pt x="141" y="274"/>
                  </a:lnTo>
                  <a:lnTo>
                    <a:pt x="142" y="278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69" y="266"/>
                  </a:lnTo>
                  <a:lnTo>
                    <a:pt x="170" y="249"/>
                  </a:lnTo>
                  <a:lnTo>
                    <a:pt x="170" y="249"/>
                  </a:lnTo>
                  <a:lnTo>
                    <a:pt x="170" y="238"/>
                  </a:lnTo>
                  <a:lnTo>
                    <a:pt x="169" y="231"/>
                  </a:lnTo>
                  <a:lnTo>
                    <a:pt x="167" y="223"/>
                  </a:lnTo>
                  <a:lnTo>
                    <a:pt x="167" y="220"/>
                  </a:lnTo>
                  <a:lnTo>
                    <a:pt x="169" y="217"/>
                  </a:lnTo>
                  <a:lnTo>
                    <a:pt x="169" y="217"/>
                  </a:lnTo>
                  <a:lnTo>
                    <a:pt x="172" y="214"/>
                  </a:lnTo>
                  <a:lnTo>
                    <a:pt x="175" y="214"/>
                  </a:lnTo>
                  <a:lnTo>
                    <a:pt x="175" y="217"/>
                  </a:lnTo>
                  <a:lnTo>
                    <a:pt x="176" y="220"/>
                  </a:lnTo>
                  <a:lnTo>
                    <a:pt x="176" y="220"/>
                  </a:lnTo>
                  <a:lnTo>
                    <a:pt x="176" y="222"/>
                  </a:lnTo>
                  <a:lnTo>
                    <a:pt x="178" y="223"/>
                  </a:lnTo>
                  <a:lnTo>
                    <a:pt x="184" y="223"/>
                  </a:lnTo>
                  <a:lnTo>
                    <a:pt x="195" y="219"/>
                  </a:lnTo>
                  <a:lnTo>
                    <a:pt x="195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6" name="Freeform 15">
              <a:extLst>
                <a:ext uri="{FF2B5EF4-FFF2-40B4-BE49-F238E27FC236}">
                  <a16:creationId xmlns:a16="http://schemas.microsoft.com/office/drawing/2014/main" id="{876D7AC7-48A2-0242-9479-E6A6C1D13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4950" y="6048375"/>
              <a:ext cx="1027113" cy="806450"/>
            </a:xfrm>
            <a:custGeom>
              <a:avLst/>
              <a:gdLst>
                <a:gd name="T0" fmla="*/ 302 w 647"/>
                <a:gd name="T1" fmla="*/ 400 h 508"/>
                <a:gd name="T2" fmla="*/ 314 w 647"/>
                <a:gd name="T3" fmla="*/ 385 h 508"/>
                <a:gd name="T4" fmla="*/ 327 w 647"/>
                <a:gd name="T5" fmla="*/ 369 h 508"/>
                <a:gd name="T6" fmla="*/ 351 w 647"/>
                <a:gd name="T7" fmla="*/ 385 h 508"/>
                <a:gd name="T8" fmla="*/ 369 w 647"/>
                <a:gd name="T9" fmla="*/ 363 h 508"/>
                <a:gd name="T10" fmla="*/ 366 w 647"/>
                <a:gd name="T11" fmla="*/ 320 h 508"/>
                <a:gd name="T12" fmla="*/ 352 w 647"/>
                <a:gd name="T13" fmla="*/ 302 h 508"/>
                <a:gd name="T14" fmla="*/ 336 w 647"/>
                <a:gd name="T15" fmla="*/ 313 h 508"/>
                <a:gd name="T16" fmla="*/ 324 w 647"/>
                <a:gd name="T17" fmla="*/ 293 h 508"/>
                <a:gd name="T18" fmla="*/ 336 w 647"/>
                <a:gd name="T19" fmla="*/ 283 h 508"/>
                <a:gd name="T20" fmla="*/ 349 w 647"/>
                <a:gd name="T21" fmla="*/ 240 h 508"/>
                <a:gd name="T22" fmla="*/ 403 w 647"/>
                <a:gd name="T23" fmla="*/ 182 h 508"/>
                <a:gd name="T24" fmla="*/ 419 w 647"/>
                <a:gd name="T25" fmla="*/ 188 h 508"/>
                <a:gd name="T26" fmla="*/ 413 w 647"/>
                <a:gd name="T27" fmla="*/ 224 h 508"/>
                <a:gd name="T28" fmla="*/ 451 w 647"/>
                <a:gd name="T29" fmla="*/ 239 h 508"/>
                <a:gd name="T30" fmla="*/ 462 w 647"/>
                <a:gd name="T31" fmla="*/ 267 h 508"/>
                <a:gd name="T32" fmla="*/ 512 w 647"/>
                <a:gd name="T33" fmla="*/ 268 h 508"/>
                <a:gd name="T34" fmla="*/ 549 w 647"/>
                <a:gd name="T35" fmla="*/ 286 h 508"/>
                <a:gd name="T36" fmla="*/ 598 w 647"/>
                <a:gd name="T37" fmla="*/ 292 h 508"/>
                <a:gd name="T38" fmla="*/ 629 w 647"/>
                <a:gd name="T39" fmla="*/ 290 h 508"/>
                <a:gd name="T40" fmla="*/ 644 w 647"/>
                <a:gd name="T41" fmla="*/ 271 h 508"/>
                <a:gd name="T42" fmla="*/ 620 w 647"/>
                <a:gd name="T43" fmla="*/ 241 h 508"/>
                <a:gd name="T44" fmla="*/ 582 w 647"/>
                <a:gd name="T45" fmla="*/ 215 h 508"/>
                <a:gd name="T46" fmla="*/ 551 w 647"/>
                <a:gd name="T47" fmla="*/ 207 h 508"/>
                <a:gd name="T48" fmla="*/ 548 w 647"/>
                <a:gd name="T49" fmla="*/ 182 h 508"/>
                <a:gd name="T50" fmla="*/ 551 w 647"/>
                <a:gd name="T51" fmla="*/ 166 h 508"/>
                <a:gd name="T52" fmla="*/ 533 w 647"/>
                <a:gd name="T53" fmla="*/ 151 h 508"/>
                <a:gd name="T54" fmla="*/ 523 w 647"/>
                <a:gd name="T55" fmla="*/ 111 h 508"/>
                <a:gd name="T56" fmla="*/ 496 w 647"/>
                <a:gd name="T57" fmla="*/ 73 h 508"/>
                <a:gd name="T58" fmla="*/ 493 w 647"/>
                <a:gd name="T59" fmla="*/ 42 h 508"/>
                <a:gd name="T60" fmla="*/ 453 w 647"/>
                <a:gd name="T61" fmla="*/ 27 h 508"/>
                <a:gd name="T62" fmla="*/ 404 w 647"/>
                <a:gd name="T63" fmla="*/ 0 h 508"/>
                <a:gd name="T64" fmla="*/ 367 w 647"/>
                <a:gd name="T65" fmla="*/ 18 h 508"/>
                <a:gd name="T66" fmla="*/ 327 w 647"/>
                <a:gd name="T67" fmla="*/ 31 h 508"/>
                <a:gd name="T68" fmla="*/ 293 w 647"/>
                <a:gd name="T69" fmla="*/ 25 h 508"/>
                <a:gd name="T70" fmla="*/ 243 w 647"/>
                <a:gd name="T71" fmla="*/ 40 h 508"/>
                <a:gd name="T72" fmla="*/ 222 w 647"/>
                <a:gd name="T73" fmla="*/ 43 h 508"/>
                <a:gd name="T74" fmla="*/ 182 w 647"/>
                <a:gd name="T75" fmla="*/ 45 h 508"/>
                <a:gd name="T76" fmla="*/ 154 w 647"/>
                <a:gd name="T77" fmla="*/ 58 h 508"/>
                <a:gd name="T78" fmla="*/ 130 w 647"/>
                <a:gd name="T79" fmla="*/ 101 h 508"/>
                <a:gd name="T80" fmla="*/ 92 w 647"/>
                <a:gd name="T81" fmla="*/ 101 h 508"/>
                <a:gd name="T82" fmla="*/ 59 w 647"/>
                <a:gd name="T83" fmla="*/ 104 h 508"/>
                <a:gd name="T84" fmla="*/ 43 w 647"/>
                <a:gd name="T85" fmla="*/ 138 h 508"/>
                <a:gd name="T86" fmla="*/ 15 w 647"/>
                <a:gd name="T87" fmla="*/ 181 h 508"/>
                <a:gd name="T88" fmla="*/ 0 w 647"/>
                <a:gd name="T89" fmla="*/ 233 h 508"/>
                <a:gd name="T90" fmla="*/ 21 w 647"/>
                <a:gd name="T91" fmla="*/ 255 h 508"/>
                <a:gd name="T92" fmla="*/ 26 w 647"/>
                <a:gd name="T93" fmla="*/ 289 h 508"/>
                <a:gd name="T94" fmla="*/ 87 w 647"/>
                <a:gd name="T95" fmla="*/ 345 h 508"/>
                <a:gd name="T96" fmla="*/ 96 w 647"/>
                <a:gd name="T97" fmla="*/ 372 h 508"/>
                <a:gd name="T98" fmla="*/ 114 w 647"/>
                <a:gd name="T99" fmla="*/ 384 h 508"/>
                <a:gd name="T100" fmla="*/ 120 w 647"/>
                <a:gd name="T101" fmla="*/ 406 h 508"/>
                <a:gd name="T102" fmla="*/ 135 w 647"/>
                <a:gd name="T103" fmla="*/ 438 h 508"/>
                <a:gd name="T104" fmla="*/ 146 w 647"/>
                <a:gd name="T105" fmla="*/ 458 h 508"/>
                <a:gd name="T106" fmla="*/ 197 w 647"/>
                <a:gd name="T107" fmla="*/ 498 h 508"/>
                <a:gd name="T108" fmla="*/ 235 w 647"/>
                <a:gd name="T109" fmla="*/ 487 h 508"/>
                <a:gd name="T110" fmla="*/ 256 w 647"/>
                <a:gd name="T111" fmla="*/ 478 h 508"/>
                <a:gd name="T112" fmla="*/ 249 w 647"/>
                <a:gd name="T113" fmla="*/ 462 h 508"/>
                <a:gd name="T114" fmla="*/ 269 w 647"/>
                <a:gd name="T115" fmla="*/ 45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7" h="508">
                  <a:moveTo>
                    <a:pt x="284" y="433"/>
                  </a:moveTo>
                  <a:lnTo>
                    <a:pt x="284" y="433"/>
                  </a:lnTo>
                  <a:lnTo>
                    <a:pt x="293" y="421"/>
                  </a:lnTo>
                  <a:lnTo>
                    <a:pt x="296" y="412"/>
                  </a:lnTo>
                  <a:lnTo>
                    <a:pt x="296" y="412"/>
                  </a:lnTo>
                  <a:lnTo>
                    <a:pt x="299" y="403"/>
                  </a:lnTo>
                  <a:lnTo>
                    <a:pt x="300" y="400"/>
                  </a:lnTo>
                  <a:lnTo>
                    <a:pt x="302" y="400"/>
                  </a:lnTo>
                  <a:lnTo>
                    <a:pt x="303" y="400"/>
                  </a:lnTo>
                  <a:lnTo>
                    <a:pt x="303" y="400"/>
                  </a:lnTo>
                  <a:lnTo>
                    <a:pt x="305" y="401"/>
                  </a:lnTo>
                  <a:lnTo>
                    <a:pt x="308" y="400"/>
                  </a:lnTo>
                  <a:lnTo>
                    <a:pt x="311" y="394"/>
                  </a:lnTo>
                  <a:lnTo>
                    <a:pt x="311" y="394"/>
                  </a:lnTo>
                  <a:lnTo>
                    <a:pt x="312" y="388"/>
                  </a:lnTo>
                  <a:lnTo>
                    <a:pt x="314" y="385"/>
                  </a:lnTo>
                  <a:lnTo>
                    <a:pt x="315" y="385"/>
                  </a:lnTo>
                  <a:lnTo>
                    <a:pt x="315" y="385"/>
                  </a:lnTo>
                  <a:lnTo>
                    <a:pt x="317" y="382"/>
                  </a:lnTo>
                  <a:lnTo>
                    <a:pt x="320" y="376"/>
                  </a:lnTo>
                  <a:lnTo>
                    <a:pt x="323" y="370"/>
                  </a:lnTo>
                  <a:lnTo>
                    <a:pt x="326" y="369"/>
                  </a:lnTo>
                  <a:lnTo>
                    <a:pt x="327" y="369"/>
                  </a:lnTo>
                  <a:lnTo>
                    <a:pt x="327" y="369"/>
                  </a:lnTo>
                  <a:lnTo>
                    <a:pt x="332" y="370"/>
                  </a:lnTo>
                  <a:lnTo>
                    <a:pt x="333" y="372"/>
                  </a:lnTo>
                  <a:lnTo>
                    <a:pt x="339" y="375"/>
                  </a:lnTo>
                  <a:lnTo>
                    <a:pt x="339" y="375"/>
                  </a:lnTo>
                  <a:lnTo>
                    <a:pt x="342" y="378"/>
                  </a:lnTo>
                  <a:lnTo>
                    <a:pt x="345" y="381"/>
                  </a:lnTo>
                  <a:lnTo>
                    <a:pt x="348" y="384"/>
                  </a:lnTo>
                  <a:lnTo>
                    <a:pt x="351" y="385"/>
                  </a:lnTo>
                  <a:lnTo>
                    <a:pt x="351" y="385"/>
                  </a:lnTo>
                  <a:lnTo>
                    <a:pt x="354" y="385"/>
                  </a:lnTo>
                  <a:lnTo>
                    <a:pt x="357" y="384"/>
                  </a:lnTo>
                  <a:lnTo>
                    <a:pt x="361" y="381"/>
                  </a:lnTo>
                  <a:lnTo>
                    <a:pt x="361" y="381"/>
                  </a:lnTo>
                  <a:lnTo>
                    <a:pt x="366" y="376"/>
                  </a:lnTo>
                  <a:lnTo>
                    <a:pt x="367" y="370"/>
                  </a:lnTo>
                  <a:lnTo>
                    <a:pt x="369" y="363"/>
                  </a:lnTo>
                  <a:lnTo>
                    <a:pt x="369" y="357"/>
                  </a:lnTo>
                  <a:lnTo>
                    <a:pt x="369" y="357"/>
                  </a:lnTo>
                  <a:lnTo>
                    <a:pt x="369" y="350"/>
                  </a:lnTo>
                  <a:lnTo>
                    <a:pt x="366" y="342"/>
                  </a:lnTo>
                  <a:lnTo>
                    <a:pt x="364" y="333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6" y="320"/>
                  </a:lnTo>
                  <a:lnTo>
                    <a:pt x="367" y="316"/>
                  </a:lnTo>
                  <a:lnTo>
                    <a:pt x="369" y="313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4" y="305"/>
                  </a:lnTo>
                  <a:lnTo>
                    <a:pt x="361" y="302"/>
                  </a:lnTo>
                  <a:lnTo>
                    <a:pt x="357" y="301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48" y="307"/>
                  </a:lnTo>
                  <a:lnTo>
                    <a:pt x="345" y="311"/>
                  </a:lnTo>
                  <a:lnTo>
                    <a:pt x="342" y="314"/>
                  </a:lnTo>
                  <a:lnTo>
                    <a:pt x="340" y="316"/>
                  </a:lnTo>
                  <a:lnTo>
                    <a:pt x="337" y="314"/>
                  </a:lnTo>
                  <a:lnTo>
                    <a:pt x="337" y="314"/>
                  </a:lnTo>
                  <a:lnTo>
                    <a:pt x="336" y="313"/>
                  </a:lnTo>
                  <a:lnTo>
                    <a:pt x="334" y="310"/>
                  </a:lnTo>
                  <a:lnTo>
                    <a:pt x="333" y="305"/>
                  </a:lnTo>
                  <a:lnTo>
                    <a:pt x="332" y="302"/>
                  </a:lnTo>
                  <a:lnTo>
                    <a:pt x="332" y="302"/>
                  </a:lnTo>
                  <a:lnTo>
                    <a:pt x="327" y="301"/>
                  </a:lnTo>
                  <a:lnTo>
                    <a:pt x="324" y="299"/>
                  </a:lnTo>
                  <a:lnTo>
                    <a:pt x="323" y="298"/>
                  </a:lnTo>
                  <a:lnTo>
                    <a:pt x="324" y="293"/>
                  </a:lnTo>
                  <a:lnTo>
                    <a:pt x="324" y="293"/>
                  </a:lnTo>
                  <a:lnTo>
                    <a:pt x="324" y="289"/>
                  </a:lnTo>
                  <a:lnTo>
                    <a:pt x="324" y="284"/>
                  </a:lnTo>
                  <a:lnTo>
                    <a:pt x="324" y="283"/>
                  </a:lnTo>
                  <a:lnTo>
                    <a:pt x="326" y="283"/>
                  </a:lnTo>
                  <a:lnTo>
                    <a:pt x="332" y="283"/>
                  </a:lnTo>
                  <a:lnTo>
                    <a:pt x="332" y="283"/>
                  </a:lnTo>
                  <a:lnTo>
                    <a:pt x="336" y="283"/>
                  </a:lnTo>
                  <a:lnTo>
                    <a:pt x="340" y="281"/>
                  </a:lnTo>
                  <a:lnTo>
                    <a:pt x="343" y="279"/>
                  </a:lnTo>
                  <a:lnTo>
                    <a:pt x="346" y="276"/>
                  </a:lnTo>
                  <a:lnTo>
                    <a:pt x="351" y="268"/>
                  </a:lnTo>
                  <a:lnTo>
                    <a:pt x="352" y="264"/>
                  </a:lnTo>
                  <a:lnTo>
                    <a:pt x="352" y="264"/>
                  </a:lnTo>
                  <a:lnTo>
                    <a:pt x="349" y="249"/>
                  </a:lnTo>
                  <a:lnTo>
                    <a:pt x="349" y="240"/>
                  </a:lnTo>
                  <a:lnTo>
                    <a:pt x="349" y="237"/>
                  </a:lnTo>
                  <a:lnTo>
                    <a:pt x="351" y="234"/>
                  </a:lnTo>
                  <a:lnTo>
                    <a:pt x="351" y="234"/>
                  </a:lnTo>
                  <a:lnTo>
                    <a:pt x="360" y="224"/>
                  </a:lnTo>
                  <a:lnTo>
                    <a:pt x="373" y="212"/>
                  </a:lnTo>
                  <a:lnTo>
                    <a:pt x="373" y="212"/>
                  </a:lnTo>
                  <a:lnTo>
                    <a:pt x="392" y="191"/>
                  </a:lnTo>
                  <a:lnTo>
                    <a:pt x="403" y="182"/>
                  </a:lnTo>
                  <a:lnTo>
                    <a:pt x="407" y="179"/>
                  </a:lnTo>
                  <a:lnTo>
                    <a:pt x="411" y="178"/>
                  </a:lnTo>
                  <a:lnTo>
                    <a:pt x="411" y="178"/>
                  </a:lnTo>
                  <a:lnTo>
                    <a:pt x="414" y="181"/>
                  </a:lnTo>
                  <a:lnTo>
                    <a:pt x="416" y="182"/>
                  </a:lnTo>
                  <a:lnTo>
                    <a:pt x="416" y="185"/>
                  </a:lnTo>
                  <a:lnTo>
                    <a:pt x="419" y="188"/>
                  </a:lnTo>
                  <a:lnTo>
                    <a:pt x="419" y="188"/>
                  </a:lnTo>
                  <a:lnTo>
                    <a:pt x="422" y="191"/>
                  </a:lnTo>
                  <a:lnTo>
                    <a:pt x="425" y="196"/>
                  </a:lnTo>
                  <a:lnTo>
                    <a:pt x="426" y="197"/>
                  </a:lnTo>
                  <a:lnTo>
                    <a:pt x="426" y="200"/>
                  </a:lnTo>
                  <a:lnTo>
                    <a:pt x="423" y="206"/>
                  </a:lnTo>
                  <a:lnTo>
                    <a:pt x="423" y="206"/>
                  </a:lnTo>
                  <a:lnTo>
                    <a:pt x="414" y="219"/>
                  </a:lnTo>
                  <a:lnTo>
                    <a:pt x="413" y="224"/>
                  </a:lnTo>
                  <a:lnTo>
                    <a:pt x="416" y="227"/>
                  </a:lnTo>
                  <a:lnTo>
                    <a:pt x="416" y="227"/>
                  </a:lnTo>
                  <a:lnTo>
                    <a:pt x="422" y="230"/>
                  </a:lnTo>
                  <a:lnTo>
                    <a:pt x="429" y="233"/>
                  </a:lnTo>
                  <a:lnTo>
                    <a:pt x="443" y="237"/>
                  </a:lnTo>
                  <a:lnTo>
                    <a:pt x="443" y="237"/>
                  </a:lnTo>
                  <a:lnTo>
                    <a:pt x="447" y="239"/>
                  </a:lnTo>
                  <a:lnTo>
                    <a:pt x="451" y="239"/>
                  </a:lnTo>
                  <a:lnTo>
                    <a:pt x="453" y="240"/>
                  </a:lnTo>
                  <a:lnTo>
                    <a:pt x="453" y="244"/>
                  </a:lnTo>
                  <a:lnTo>
                    <a:pt x="453" y="244"/>
                  </a:lnTo>
                  <a:lnTo>
                    <a:pt x="453" y="252"/>
                  </a:lnTo>
                  <a:lnTo>
                    <a:pt x="453" y="256"/>
                  </a:lnTo>
                  <a:lnTo>
                    <a:pt x="456" y="262"/>
                  </a:lnTo>
                  <a:lnTo>
                    <a:pt x="462" y="267"/>
                  </a:lnTo>
                  <a:lnTo>
                    <a:pt x="462" y="267"/>
                  </a:lnTo>
                  <a:lnTo>
                    <a:pt x="478" y="279"/>
                  </a:lnTo>
                  <a:lnTo>
                    <a:pt x="486" y="281"/>
                  </a:lnTo>
                  <a:lnTo>
                    <a:pt x="488" y="283"/>
                  </a:lnTo>
                  <a:lnTo>
                    <a:pt x="491" y="281"/>
                  </a:lnTo>
                  <a:lnTo>
                    <a:pt x="491" y="281"/>
                  </a:lnTo>
                  <a:lnTo>
                    <a:pt x="502" y="273"/>
                  </a:lnTo>
                  <a:lnTo>
                    <a:pt x="509" y="270"/>
                  </a:lnTo>
                  <a:lnTo>
                    <a:pt x="512" y="268"/>
                  </a:lnTo>
                  <a:lnTo>
                    <a:pt x="515" y="270"/>
                  </a:lnTo>
                  <a:lnTo>
                    <a:pt x="515" y="270"/>
                  </a:lnTo>
                  <a:lnTo>
                    <a:pt x="521" y="271"/>
                  </a:lnTo>
                  <a:lnTo>
                    <a:pt x="527" y="276"/>
                  </a:lnTo>
                  <a:lnTo>
                    <a:pt x="534" y="279"/>
                  </a:lnTo>
                  <a:lnTo>
                    <a:pt x="542" y="283"/>
                  </a:lnTo>
                  <a:lnTo>
                    <a:pt x="542" y="283"/>
                  </a:lnTo>
                  <a:lnTo>
                    <a:pt x="549" y="286"/>
                  </a:lnTo>
                  <a:lnTo>
                    <a:pt x="557" y="292"/>
                  </a:lnTo>
                  <a:lnTo>
                    <a:pt x="564" y="298"/>
                  </a:lnTo>
                  <a:lnTo>
                    <a:pt x="567" y="299"/>
                  </a:lnTo>
                  <a:lnTo>
                    <a:pt x="570" y="301"/>
                  </a:lnTo>
                  <a:lnTo>
                    <a:pt x="570" y="301"/>
                  </a:lnTo>
                  <a:lnTo>
                    <a:pt x="577" y="299"/>
                  </a:lnTo>
                  <a:lnTo>
                    <a:pt x="585" y="296"/>
                  </a:lnTo>
                  <a:lnTo>
                    <a:pt x="598" y="292"/>
                  </a:lnTo>
                  <a:lnTo>
                    <a:pt x="598" y="292"/>
                  </a:lnTo>
                  <a:lnTo>
                    <a:pt x="608" y="290"/>
                  </a:lnTo>
                  <a:lnTo>
                    <a:pt x="613" y="290"/>
                  </a:lnTo>
                  <a:lnTo>
                    <a:pt x="617" y="292"/>
                  </a:lnTo>
                  <a:lnTo>
                    <a:pt x="617" y="292"/>
                  </a:lnTo>
                  <a:lnTo>
                    <a:pt x="623" y="293"/>
                  </a:lnTo>
                  <a:lnTo>
                    <a:pt x="628" y="293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41" y="281"/>
                  </a:lnTo>
                  <a:lnTo>
                    <a:pt x="641" y="281"/>
                  </a:lnTo>
                  <a:lnTo>
                    <a:pt x="645" y="279"/>
                  </a:lnTo>
                  <a:lnTo>
                    <a:pt x="647" y="276"/>
                  </a:lnTo>
                  <a:lnTo>
                    <a:pt x="647" y="276"/>
                  </a:lnTo>
                  <a:lnTo>
                    <a:pt x="644" y="271"/>
                  </a:lnTo>
                  <a:lnTo>
                    <a:pt x="644" y="271"/>
                  </a:lnTo>
                  <a:lnTo>
                    <a:pt x="634" y="261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5" y="249"/>
                  </a:lnTo>
                  <a:lnTo>
                    <a:pt x="626" y="246"/>
                  </a:lnTo>
                  <a:lnTo>
                    <a:pt x="625" y="244"/>
                  </a:lnTo>
                  <a:lnTo>
                    <a:pt x="620" y="241"/>
                  </a:lnTo>
                  <a:lnTo>
                    <a:pt x="620" y="241"/>
                  </a:lnTo>
                  <a:lnTo>
                    <a:pt x="607" y="240"/>
                  </a:lnTo>
                  <a:lnTo>
                    <a:pt x="601" y="237"/>
                  </a:lnTo>
                  <a:lnTo>
                    <a:pt x="594" y="231"/>
                  </a:lnTo>
                  <a:lnTo>
                    <a:pt x="594" y="231"/>
                  </a:lnTo>
                  <a:lnTo>
                    <a:pt x="589" y="225"/>
                  </a:lnTo>
                  <a:lnTo>
                    <a:pt x="586" y="221"/>
                  </a:lnTo>
                  <a:lnTo>
                    <a:pt x="585" y="216"/>
                  </a:lnTo>
                  <a:lnTo>
                    <a:pt x="582" y="215"/>
                  </a:lnTo>
                  <a:lnTo>
                    <a:pt x="582" y="215"/>
                  </a:lnTo>
                  <a:lnTo>
                    <a:pt x="577" y="215"/>
                  </a:lnTo>
                  <a:lnTo>
                    <a:pt x="570" y="216"/>
                  </a:lnTo>
                  <a:lnTo>
                    <a:pt x="564" y="216"/>
                  </a:lnTo>
                  <a:lnTo>
                    <a:pt x="560" y="215"/>
                  </a:lnTo>
                  <a:lnTo>
                    <a:pt x="557" y="212"/>
                  </a:lnTo>
                  <a:lnTo>
                    <a:pt x="557" y="212"/>
                  </a:lnTo>
                  <a:lnTo>
                    <a:pt x="551" y="207"/>
                  </a:lnTo>
                  <a:lnTo>
                    <a:pt x="545" y="203"/>
                  </a:lnTo>
                  <a:lnTo>
                    <a:pt x="543" y="202"/>
                  </a:lnTo>
                  <a:lnTo>
                    <a:pt x="542" y="200"/>
                  </a:lnTo>
                  <a:lnTo>
                    <a:pt x="542" y="197"/>
                  </a:lnTo>
                  <a:lnTo>
                    <a:pt x="545" y="194"/>
                  </a:lnTo>
                  <a:lnTo>
                    <a:pt x="545" y="194"/>
                  </a:lnTo>
                  <a:lnTo>
                    <a:pt x="548" y="188"/>
                  </a:lnTo>
                  <a:lnTo>
                    <a:pt x="548" y="182"/>
                  </a:lnTo>
                  <a:lnTo>
                    <a:pt x="546" y="178"/>
                  </a:lnTo>
                  <a:lnTo>
                    <a:pt x="543" y="173"/>
                  </a:lnTo>
                  <a:lnTo>
                    <a:pt x="543" y="173"/>
                  </a:lnTo>
                  <a:lnTo>
                    <a:pt x="543" y="172"/>
                  </a:lnTo>
                  <a:lnTo>
                    <a:pt x="545" y="170"/>
                  </a:lnTo>
                  <a:lnTo>
                    <a:pt x="548" y="169"/>
                  </a:lnTo>
                  <a:lnTo>
                    <a:pt x="551" y="167"/>
                  </a:lnTo>
                  <a:lnTo>
                    <a:pt x="551" y="166"/>
                  </a:lnTo>
                  <a:lnTo>
                    <a:pt x="549" y="163"/>
                  </a:lnTo>
                  <a:lnTo>
                    <a:pt x="549" y="163"/>
                  </a:lnTo>
                  <a:lnTo>
                    <a:pt x="548" y="160"/>
                  </a:lnTo>
                  <a:lnTo>
                    <a:pt x="546" y="159"/>
                  </a:lnTo>
                  <a:lnTo>
                    <a:pt x="540" y="157"/>
                  </a:lnTo>
                  <a:lnTo>
                    <a:pt x="536" y="156"/>
                  </a:lnTo>
                  <a:lnTo>
                    <a:pt x="534" y="154"/>
                  </a:lnTo>
                  <a:lnTo>
                    <a:pt x="533" y="151"/>
                  </a:lnTo>
                  <a:lnTo>
                    <a:pt x="533" y="151"/>
                  </a:lnTo>
                  <a:lnTo>
                    <a:pt x="531" y="144"/>
                  </a:lnTo>
                  <a:lnTo>
                    <a:pt x="533" y="136"/>
                  </a:lnTo>
                  <a:lnTo>
                    <a:pt x="533" y="127"/>
                  </a:lnTo>
                  <a:lnTo>
                    <a:pt x="531" y="123"/>
                  </a:lnTo>
                  <a:lnTo>
                    <a:pt x="530" y="119"/>
                  </a:lnTo>
                  <a:lnTo>
                    <a:pt x="530" y="119"/>
                  </a:lnTo>
                  <a:lnTo>
                    <a:pt x="523" y="111"/>
                  </a:lnTo>
                  <a:lnTo>
                    <a:pt x="518" y="105"/>
                  </a:lnTo>
                  <a:lnTo>
                    <a:pt x="512" y="99"/>
                  </a:lnTo>
                  <a:lnTo>
                    <a:pt x="509" y="93"/>
                  </a:lnTo>
                  <a:lnTo>
                    <a:pt x="509" y="93"/>
                  </a:lnTo>
                  <a:lnTo>
                    <a:pt x="508" y="89"/>
                  </a:lnTo>
                  <a:lnTo>
                    <a:pt x="506" y="86"/>
                  </a:lnTo>
                  <a:lnTo>
                    <a:pt x="500" y="79"/>
                  </a:lnTo>
                  <a:lnTo>
                    <a:pt x="496" y="73"/>
                  </a:lnTo>
                  <a:lnTo>
                    <a:pt x="493" y="68"/>
                  </a:lnTo>
                  <a:lnTo>
                    <a:pt x="493" y="62"/>
                  </a:lnTo>
                  <a:lnTo>
                    <a:pt x="493" y="62"/>
                  </a:lnTo>
                  <a:lnTo>
                    <a:pt x="493" y="53"/>
                  </a:lnTo>
                  <a:lnTo>
                    <a:pt x="494" y="46"/>
                  </a:lnTo>
                  <a:lnTo>
                    <a:pt x="494" y="43"/>
                  </a:lnTo>
                  <a:lnTo>
                    <a:pt x="494" y="42"/>
                  </a:lnTo>
                  <a:lnTo>
                    <a:pt x="493" y="42"/>
                  </a:lnTo>
                  <a:lnTo>
                    <a:pt x="488" y="42"/>
                  </a:lnTo>
                  <a:lnTo>
                    <a:pt x="488" y="42"/>
                  </a:lnTo>
                  <a:lnTo>
                    <a:pt x="480" y="43"/>
                  </a:lnTo>
                  <a:lnTo>
                    <a:pt x="472" y="42"/>
                  </a:lnTo>
                  <a:lnTo>
                    <a:pt x="466" y="39"/>
                  </a:lnTo>
                  <a:lnTo>
                    <a:pt x="462" y="36"/>
                  </a:lnTo>
                  <a:lnTo>
                    <a:pt x="462" y="36"/>
                  </a:lnTo>
                  <a:lnTo>
                    <a:pt x="453" y="27"/>
                  </a:lnTo>
                  <a:lnTo>
                    <a:pt x="444" y="22"/>
                  </a:lnTo>
                  <a:lnTo>
                    <a:pt x="435" y="18"/>
                  </a:lnTo>
                  <a:lnTo>
                    <a:pt x="435" y="18"/>
                  </a:lnTo>
                  <a:lnTo>
                    <a:pt x="426" y="13"/>
                  </a:lnTo>
                  <a:lnTo>
                    <a:pt x="417" y="7"/>
                  </a:lnTo>
                  <a:lnTo>
                    <a:pt x="409" y="2"/>
                  </a:lnTo>
                  <a:lnTo>
                    <a:pt x="406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1" y="2"/>
                  </a:lnTo>
                  <a:lnTo>
                    <a:pt x="400" y="6"/>
                  </a:lnTo>
                  <a:lnTo>
                    <a:pt x="397" y="10"/>
                  </a:lnTo>
                  <a:lnTo>
                    <a:pt x="394" y="12"/>
                  </a:lnTo>
                  <a:lnTo>
                    <a:pt x="389" y="13"/>
                  </a:lnTo>
                  <a:lnTo>
                    <a:pt x="389" y="13"/>
                  </a:lnTo>
                  <a:lnTo>
                    <a:pt x="367" y="18"/>
                  </a:lnTo>
                  <a:lnTo>
                    <a:pt x="357" y="19"/>
                  </a:lnTo>
                  <a:lnTo>
                    <a:pt x="349" y="19"/>
                  </a:lnTo>
                  <a:lnTo>
                    <a:pt x="349" y="19"/>
                  </a:lnTo>
                  <a:lnTo>
                    <a:pt x="345" y="21"/>
                  </a:lnTo>
                  <a:lnTo>
                    <a:pt x="342" y="22"/>
                  </a:lnTo>
                  <a:lnTo>
                    <a:pt x="336" y="27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15" y="36"/>
                  </a:lnTo>
                  <a:lnTo>
                    <a:pt x="305" y="37"/>
                  </a:lnTo>
                  <a:lnTo>
                    <a:pt x="297" y="36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0"/>
                  </a:lnTo>
                  <a:lnTo>
                    <a:pt x="293" y="27"/>
                  </a:lnTo>
                  <a:lnTo>
                    <a:pt x="293" y="25"/>
                  </a:lnTo>
                  <a:lnTo>
                    <a:pt x="292" y="25"/>
                  </a:lnTo>
                  <a:lnTo>
                    <a:pt x="284" y="28"/>
                  </a:lnTo>
                  <a:lnTo>
                    <a:pt x="284" y="28"/>
                  </a:lnTo>
                  <a:lnTo>
                    <a:pt x="260" y="37"/>
                  </a:lnTo>
                  <a:lnTo>
                    <a:pt x="250" y="40"/>
                  </a:lnTo>
                  <a:lnTo>
                    <a:pt x="246" y="40"/>
                  </a:lnTo>
                  <a:lnTo>
                    <a:pt x="243" y="40"/>
                  </a:lnTo>
                  <a:lnTo>
                    <a:pt x="243" y="40"/>
                  </a:lnTo>
                  <a:lnTo>
                    <a:pt x="234" y="33"/>
                  </a:lnTo>
                  <a:lnTo>
                    <a:pt x="229" y="31"/>
                  </a:lnTo>
                  <a:lnTo>
                    <a:pt x="228" y="31"/>
                  </a:lnTo>
                  <a:lnTo>
                    <a:pt x="228" y="31"/>
                  </a:lnTo>
                  <a:lnTo>
                    <a:pt x="226" y="33"/>
                  </a:lnTo>
                  <a:lnTo>
                    <a:pt x="226" y="39"/>
                  </a:lnTo>
                  <a:lnTo>
                    <a:pt x="225" y="40"/>
                  </a:lnTo>
                  <a:lnTo>
                    <a:pt x="222" y="43"/>
                  </a:lnTo>
                  <a:lnTo>
                    <a:pt x="219" y="46"/>
                  </a:lnTo>
                  <a:lnTo>
                    <a:pt x="215" y="49"/>
                  </a:lnTo>
                  <a:lnTo>
                    <a:pt x="215" y="49"/>
                  </a:lnTo>
                  <a:lnTo>
                    <a:pt x="203" y="52"/>
                  </a:lnTo>
                  <a:lnTo>
                    <a:pt x="194" y="50"/>
                  </a:lnTo>
                  <a:lnTo>
                    <a:pt x="186" y="49"/>
                  </a:lnTo>
                  <a:lnTo>
                    <a:pt x="182" y="45"/>
                  </a:lnTo>
                  <a:lnTo>
                    <a:pt x="182" y="45"/>
                  </a:lnTo>
                  <a:lnTo>
                    <a:pt x="176" y="40"/>
                  </a:lnTo>
                  <a:lnTo>
                    <a:pt x="169" y="37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40"/>
                  </a:lnTo>
                  <a:lnTo>
                    <a:pt x="158" y="46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2" y="65"/>
                  </a:lnTo>
                  <a:lnTo>
                    <a:pt x="151" y="74"/>
                  </a:lnTo>
                  <a:lnTo>
                    <a:pt x="148" y="83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42" y="93"/>
                  </a:lnTo>
                  <a:lnTo>
                    <a:pt x="139" y="96"/>
                  </a:lnTo>
                  <a:lnTo>
                    <a:pt x="130" y="101"/>
                  </a:lnTo>
                  <a:lnTo>
                    <a:pt x="118" y="104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95" y="105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98"/>
                  </a:lnTo>
                  <a:lnTo>
                    <a:pt x="89" y="96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2" y="95"/>
                  </a:lnTo>
                  <a:lnTo>
                    <a:pt x="66" y="98"/>
                  </a:lnTo>
                  <a:lnTo>
                    <a:pt x="62" y="99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8" y="110"/>
                  </a:lnTo>
                  <a:lnTo>
                    <a:pt x="55" y="113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47" y="119"/>
                  </a:lnTo>
                  <a:lnTo>
                    <a:pt x="46" y="124"/>
                  </a:lnTo>
                  <a:lnTo>
                    <a:pt x="43" y="138"/>
                  </a:lnTo>
                  <a:lnTo>
                    <a:pt x="43" y="138"/>
                  </a:lnTo>
                  <a:lnTo>
                    <a:pt x="41" y="144"/>
                  </a:lnTo>
                  <a:lnTo>
                    <a:pt x="38" y="148"/>
                  </a:lnTo>
                  <a:lnTo>
                    <a:pt x="32" y="154"/>
                  </a:lnTo>
                  <a:lnTo>
                    <a:pt x="32" y="154"/>
                  </a:lnTo>
                  <a:lnTo>
                    <a:pt x="24" y="167"/>
                  </a:lnTo>
                  <a:lnTo>
                    <a:pt x="19" y="176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3" y="188"/>
                  </a:lnTo>
                  <a:lnTo>
                    <a:pt x="12" y="194"/>
                  </a:lnTo>
                  <a:lnTo>
                    <a:pt x="6" y="207"/>
                  </a:lnTo>
                  <a:lnTo>
                    <a:pt x="6" y="207"/>
                  </a:lnTo>
                  <a:lnTo>
                    <a:pt x="1" y="216"/>
                  </a:lnTo>
                  <a:lnTo>
                    <a:pt x="0" y="225"/>
                  </a:lnTo>
                  <a:lnTo>
                    <a:pt x="0" y="233"/>
                  </a:lnTo>
                  <a:lnTo>
                    <a:pt x="1" y="239"/>
                  </a:lnTo>
                  <a:lnTo>
                    <a:pt x="1" y="239"/>
                  </a:lnTo>
                  <a:lnTo>
                    <a:pt x="3" y="241"/>
                  </a:lnTo>
                  <a:lnTo>
                    <a:pt x="7" y="244"/>
                  </a:lnTo>
                  <a:lnTo>
                    <a:pt x="16" y="249"/>
                  </a:lnTo>
                  <a:lnTo>
                    <a:pt x="16" y="249"/>
                  </a:lnTo>
                  <a:lnTo>
                    <a:pt x="19" y="250"/>
                  </a:lnTo>
                  <a:lnTo>
                    <a:pt x="21" y="255"/>
                  </a:lnTo>
                  <a:lnTo>
                    <a:pt x="22" y="259"/>
                  </a:lnTo>
                  <a:lnTo>
                    <a:pt x="22" y="267"/>
                  </a:lnTo>
                  <a:lnTo>
                    <a:pt x="22" y="267"/>
                  </a:lnTo>
                  <a:lnTo>
                    <a:pt x="21" y="273"/>
                  </a:lnTo>
                  <a:lnTo>
                    <a:pt x="19" y="277"/>
                  </a:lnTo>
                  <a:lnTo>
                    <a:pt x="19" y="279"/>
                  </a:lnTo>
                  <a:lnTo>
                    <a:pt x="21" y="281"/>
                  </a:lnTo>
                  <a:lnTo>
                    <a:pt x="26" y="289"/>
                  </a:lnTo>
                  <a:lnTo>
                    <a:pt x="26" y="289"/>
                  </a:lnTo>
                  <a:lnTo>
                    <a:pt x="40" y="298"/>
                  </a:lnTo>
                  <a:lnTo>
                    <a:pt x="58" y="308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83" y="324"/>
                  </a:lnTo>
                  <a:lnTo>
                    <a:pt x="84" y="330"/>
                  </a:lnTo>
                  <a:lnTo>
                    <a:pt x="87" y="345"/>
                  </a:lnTo>
                  <a:lnTo>
                    <a:pt x="87" y="345"/>
                  </a:lnTo>
                  <a:lnTo>
                    <a:pt x="89" y="353"/>
                  </a:lnTo>
                  <a:lnTo>
                    <a:pt x="89" y="353"/>
                  </a:lnTo>
                  <a:lnTo>
                    <a:pt x="90" y="361"/>
                  </a:lnTo>
                  <a:lnTo>
                    <a:pt x="96" y="370"/>
                  </a:lnTo>
                  <a:lnTo>
                    <a:pt x="96" y="370"/>
                  </a:lnTo>
                  <a:lnTo>
                    <a:pt x="96" y="372"/>
                  </a:lnTo>
                  <a:lnTo>
                    <a:pt x="96" y="372"/>
                  </a:lnTo>
                  <a:lnTo>
                    <a:pt x="102" y="379"/>
                  </a:lnTo>
                  <a:lnTo>
                    <a:pt x="105" y="384"/>
                  </a:lnTo>
                  <a:lnTo>
                    <a:pt x="105" y="384"/>
                  </a:lnTo>
                  <a:lnTo>
                    <a:pt x="106" y="385"/>
                  </a:lnTo>
                  <a:lnTo>
                    <a:pt x="108" y="385"/>
                  </a:lnTo>
                  <a:lnTo>
                    <a:pt x="109" y="384"/>
                  </a:lnTo>
                  <a:lnTo>
                    <a:pt x="114" y="384"/>
                  </a:lnTo>
                  <a:lnTo>
                    <a:pt x="114" y="384"/>
                  </a:lnTo>
                  <a:lnTo>
                    <a:pt x="120" y="382"/>
                  </a:lnTo>
                  <a:lnTo>
                    <a:pt x="121" y="382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0" y="400"/>
                  </a:lnTo>
                  <a:lnTo>
                    <a:pt x="120" y="406"/>
                  </a:lnTo>
                  <a:lnTo>
                    <a:pt x="120" y="406"/>
                  </a:lnTo>
                  <a:lnTo>
                    <a:pt x="123" y="421"/>
                  </a:lnTo>
                  <a:lnTo>
                    <a:pt x="124" y="425"/>
                  </a:lnTo>
                  <a:lnTo>
                    <a:pt x="127" y="430"/>
                  </a:lnTo>
                  <a:lnTo>
                    <a:pt x="127" y="430"/>
                  </a:lnTo>
                  <a:lnTo>
                    <a:pt x="132" y="433"/>
                  </a:lnTo>
                  <a:lnTo>
                    <a:pt x="133" y="436"/>
                  </a:lnTo>
                  <a:lnTo>
                    <a:pt x="135" y="438"/>
                  </a:lnTo>
                  <a:lnTo>
                    <a:pt x="135" y="443"/>
                  </a:lnTo>
                  <a:lnTo>
                    <a:pt x="135" y="443"/>
                  </a:lnTo>
                  <a:lnTo>
                    <a:pt x="136" y="447"/>
                  </a:lnTo>
                  <a:lnTo>
                    <a:pt x="138" y="452"/>
                  </a:lnTo>
                  <a:lnTo>
                    <a:pt x="139" y="456"/>
                  </a:lnTo>
                  <a:lnTo>
                    <a:pt x="139" y="456"/>
                  </a:lnTo>
                  <a:lnTo>
                    <a:pt x="146" y="458"/>
                  </a:lnTo>
                  <a:lnTo>
                    <a:pt x="146" y="458"/>
                  </a:lnTo>
                  <a:lnTo>
                    <a:pt x="164" y="465"/>
                  </a:lnTo>
                  <a:lnTo>
                    <a:pt x="173" y="468"/>
                  </a:lnTo>
                  <a:lnTo>
                    <a:pt x="180" y="473"/>
                  </a:lnTo>
                  <a:lnTo>
                    <a:pt x="180" y="473"/>
                  </a:lnTo>
                  <a:lnTo>
                    <a:pt x="185" y="477"/>
                  </a:lnTo>
                  <a:lnTo>
                    <a:pt x="188" y="480"/>
                  </a:lnTo>
                  <a:lnTo>
                    <a:pt x="192" y="489"/>
                  </a:lnTo>
                  <a:lnTo>
                    <a:pt x="197" y="498"/>
                  </a:lnTo>
                  <a:lnTo>
                    <a:pt x="200" y="502"/>
                  </a:lnTo>
                  <a:lnTo>
                    <a:pt x="203" y="504"/>
                  </a:lnTo>
                  <a:lnTo>
                    <a:pt x="203" y="504"/>
                  </a:lnTo>
                  <a:lnTo>
                    <a:pt x="209" y="507"/>
                  </a:lnTo>
                  <a:lnTo>
                    <a:pt x="215" y="507"/>
                  </a:lnTo>
                  <a:lnTo>
                    <a:pt x="226" y="508"/>
                  </a:lnTo>
                  <a:lnTo>
                    <a:pt x="226" y="508"/>
                  </a:lnTo>
                  <a:lnTo>
                    <a:pt x="235" y="487"/>
                  </a:lnTo>
                  <a:lnTo>
                    <a:pt x="235" y="487"/>
                  </a:lnTo>
                  <a:lnTo>
                    <a:pt x="235" y="483"/>
                  </a:lnTo>
                  <a:lnTo>
                    <a:pt x="235" y="481"/>
                  </a:lnTo>
                  <a:lnTo>
                    <a:pt x="237" y="478"/>
                  </a:lnTo>
                  <a:lnTo>
                    <a:pt x="241" y="478"/>
                  </a:lnTo>
                  <a:lnTo>
                    <a:pt x="241" y="478"/>
                  </a:lnTo>
                  <a:lnTo>
                    <a:pt x="253" y="480"/>
                  </a:lnTo>
                  <a:lnTo>
                    <a:pt x="256" y="478"/>
                  </a:lnTo>
                  <a:lnTo>
                    <a:pt x="257" y="477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3" y="470"/>
                  </a:lnTo>
                  <a:lnTo>
                    <a:pt x="250" y="467"/>
                  </a:lnTo>
                  <a:lnTo>
                    <a:pt x="249" y="465"/>
                  </a:lnTo>
                  <a:lnTo>
                    <a:pt x="249" y="462"/>
                  </a:lnTo>
                  <a:lnTo>
                    <a:pt x="249" y="462"/>
                  </a:lnTo>
                  <a:lnTo>
                    <a:pt x="249" y="459"/>
                  </a:lnTo>
                  <a:lnTo>
                    <a:pt x="252" y="456"/>
                  </a:lnTo>
                  <a:lnTo>
                    <a:pt x="255" y="455"/>
                  </a:lnTo>
                  <a:lnTo>
                    <a:pt x="257" y="455"/>
                  </a:lnTo>
                  <a:lnTo>
                    <a:pt x="257" y="455"/>
                  </a:lnTo>
                  <a:lnTo>
                    <a:pt x="262" y="456"/>
                  </a:lnTo>
                  <a:lnTo>
                    <a:pt x="265" y="456"/>
                  </a:lnTo>
                  <a:lnTo>
                    <a:pt x="269" y="455"/>
                  </a:lnTo>
                  <a:lnTo>
                    <a:pt x="271" y="452"/>
                  </a:lnTo>
                  <a:lnTo>
                    <a:pt x="271" y="452"/>
                  </a:lnTo>
                  <a:lnTo>
                    <a:pt x="277" y="443"/>
                  </a:lnTo>
                  <a:lnTo>
                    <a:pt x="284" y="433"/>
                  </a:lnTo>
                  <a:lnTo>
                    <a:pt x="284" y="4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7" name="Freeform 16">
              <a:extLst>
                <a:ext uri="{FF2B5EF4-FFF2-40B4-BE49-F238E27FC236}">
                  <a16:creationId xmlns:a16="http://schemas.microsoft.com/office/drawing/2014/main" id="{4B44AF71-CF08-D840-BB1A-AC210D38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4700588"/>
              <a:ext cx="292100" cy="311150"/>
            </a:xfrm>
            <a:custGeom>
              <a:avLst/>
              <a:gdLst>
                <a:gd name="T0" fmla="*/ 6 w 184"/>
                <a:gd name="T1" fmla="*/ 43 h 196"/>
                <a:gd name="T2" fmla="*/ 0 w 184"/>
                <a:gd name="T3" fmla="*/ 63 h 196"/>
                <a:gd name="T4" fmla="*/ 2 w 184"/>
                <a:gd name="T5" fmla="*/ 69 h 196"/>
                <a:gd name="T6" fmla="*/ 8 w 184"/>
                <a:gd name="T7" fmla="*/ 76 h 196"/>
                <a:gd name="T8" fmla="*/ 6 w 184"/>
                <a:gd name="T9" fmla="*/ 92 h 196"/>
                <a:gd name="T10" fmla="*/ 11 w 184"/>
                <a:gd name="T11" fmla="*/ 104 h 196"/>
                <a:gd name="T12" fmla="*/ 27 w 184"/>
                <a:gd name="T13" fmla="*/ 119 h 196"/>
                <a:gd name="T14" fmla="*/ 36 w 184"/>
                <a:gd name="T15" fmla="*/ 128 h 196"/>
                <a:gd name="T16" fmla="*/ 30 w 184"/>
                <a:gd name="T17" fmla="*/ 132 h 196"/>
                <a:gd name="T18" fmla="*/ 20 w 184"/>
                <a:gd name="T19" fmla="*/ 134 h 196"/>
                <a:gd name="T20" fmla="*/ 23 w 184"/>
                <a:gd name="T21" fmla="*/ 143 h 196"/>
                <a:gd name="T22" fmla="*/ 24 w 184"/>
                <a:gd name="T23" fmla="*/ 156 h 196"/>
                <a:gd name="T24" fmla="*/ 30 w 184"/>
                <a:gd name="T25" fmla="*/ 160 h 196"/>
                <a:gd name="T26" fmla="*/ 37 w 184"/>
                <a:gd name="T27" fmla="*/ 168 h 196"/>
                <a:gd name="T28" fmla="*/ 46 w 184"/>
                <a:gd name="T29" fmla="*/ 187 h 196"/>
                <a:gd name="T30" fmla="*/ 52 w 184"/>
                <a:gd name="T31" fmla="*/ 194 h 196"/>
                <a:gd name="T32" fmla="*/ 60 w 184"/>
                <a:gd name="T33" fmla="*/ 196 h 196"/>
                <a:gd name="T34" fmla="*/ 71 w 184"/>
                <a:gd name="T35" fmla="*/ 187 h 196"/>
                <a:gd name="T36" fmla="*/ 85 w 184"/>
                <a:gd name="T37" fmla="*/ 172 h 196"/>
                <a:gd name="T38" fmla="*/ 92 w 184"/>
                <a:gd name="T39" fmla="*/ 169 h 196"/>
                <a:gd name="T40" fmla="*/ 111 w 184"/>
                <a:gd name="T41" fmla="*/ 172 h 196"/>
                <a:gd name="T42" fmla="*/ 117 w 184"/>
                <a:gd name="T43" fmla="*/ 175 h 196"/>
                <a:gd name="T44" fmla="*/ 128 w 184"/>
                <a:gd name="T45" fmla="*/ 172 h 196"/>
                <a:gd name="T46" fmla="*/ 151 w 184"/>
                <a:gd name="T47" fmla="*/ 141 h 196"/>
                <a:gd name="T48" fmla="*/ 166 w 184"/>
                <a:gd name="T49" fmla="*/ 129 h 196"/>
                <a:gd name="T50" fmla="*/ 169 w 184"/>
                <a:gd name="T51" fmla="*/ 123 h 196"/>
                <a:gd name="T52" fmla="*/ 169 w 184"/>
                <a:gd name="T53" fmla="*/ 109 h 196"/>
                <a:gd name="T54" fmla="*/ 171 w 184"/>
                <a:gd name="T55" fmla="*/ 86 h 196"/>
                <a:gd name="T56" fmla="*/ 183 w 184"/>
                <a:gd name="T57" fmla="*/ 79 h 196"/>
                <a:gd name="T58" fmla="*/ 184 w 184"/>
                <a:gd name="T59" fmla="*/ 55 h 196"/>
                <a:gd name="T60" fmla="*/ 183 w 184"/>
                <a:gd name="T61" fmla="*/ 46 h 196"/>
                <a:gd name="T62" fmla="*/ 169 w 184"/>
                <a:gd name="T63" fmla="*/ 27 h 196"/>
                <a:gd name="T64" fmla="*/ 169 w 184"/>
                <a:gd name="T65" fmla="*/ 12 h 196"/>
                <a:gd name="T66" fmla="*/ 156 w 184"/>
                <a:gd name="T67" fmla="*/ 12 h 196"/>
                <a:gd name="T68" fmla="*/ 140 w 184"/>
                <a:gd name="T69" fmla="*/ 18 h 196"/>
                <a:gd name="T70" fmla="*/ 129 w 184"/>
                <a:gd name="T71" fmla="*/ 18 h 196"/>
                <a:gd name="T72" fmla="*/ 120 w 184"/>
                <a:gd name="T73" fmla="*/ 12 h 196"/>
                <a:gd name="T74" fmla="*/ 114 w 184"/>
                <a:gd name="T75" fmla="*/ 14 h 196"/>
                <a:gd name="T76" fmla="*/ 107 w 184"/>
                <a:gd name="T77" fmla="*/ 27 h 196"/>
                <a:gd name="T78" fmla="*/ 103 w 184"/>
                <a:gd name="T79" fmla="*/ 27 h 196"/>
                <a:gd name="T80" fmla="*/ 92 w 184"/>
                <a:gd name="T81" fmla="*/ 11 h 196"/>
                <a:gd name="T82" fmla="*/ 88 w 184"/>
                <a:gd name="T83" fmla="*/ 6 h 196"/>
                <a:gd name="T84" fmla="*/ 67 w 184"/>
                <a:gd name="T85" fmla="*/ 2 h 196"/>
                <a:gd name="T86" fmla="*/ 55 w 184"/>
                <a:gd name="T87" fmla="*/ 2 h 196"/>
                <a:gd name="T88" fmla="*/ 48 w 184"/>
                <a:gd name="T89" fmla="*/ 5 h 196"/>
                <a:gd name="T90" fmla="*/ 33 w 184"/>
                <a:gd name="T91" fmla="*/ 6 h 196"/>
                <a:gd name="T92" fmla="*/ 24 w 184"/>
                <a:gd name="T93" fmla="*/ 3 h 196"/>
                <a:gd name="T94" fmla="*/ 20 w 184"/>
                <a:gd name="T95" fmla="*/ 18 h 196"/>
                <a:gd name="T96" fmla="*/ 18 w 184"/>
                <a:gd name="T97" fmla="*/ 2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4" h="196">
                  <a:moveTo>
                    <a:pt x="8" y="27"/>
                  </a:moveTo>
                  <a:lnTo>
                    <a:pt x="8" y="27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3" y="54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8" y="76"/>
                  </a:lnTo>
                  <a:lnTo>
                    <a:pt x="8" y="80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5"/>
                  </a:lnTo>
                  <a:lnTo>
                    <a:pt x="6" y="98"/>
                  </a:lnTo>
                  <a:lnTo>
                    <a:pt x="11" y="104"/>
                  </a:lnTo>
                  <a:lnTo>
                    <a:pt x="18" y="110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33" y="122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4" y="131"/>
                  </a:lnTo>
                  <a:lnTo>
                    <a:pt x="33" y="132"/>
                  </a:lnTo>
                  <a:lnTo>
                    <a:pt x="30" y="13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0" y="134"/>
                  </a:lnTo>
                  <a:lnTo>
                    <a:pt x="20" y="137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4" y="146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23" y="159"/>
                  </a:lnTo>
                  <a:lnTo>
                    <a:pt x="23" y="159"/>
                  </a:lnTo>
                  <a:lnTo>
                    <a:pt x="30" y="160"/>
                  </a:lnTo>
                  <a:lnTo>
                    <a:pt x="34" y="163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40" y="178"/>
                  </a:lnTo>
                  <a:lnTo>
                    <a:pt x="43" y="184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51" y="192"/>
                  </a:lnTo>
                  <a:lnTo>
                    <a:pt x="52" y="194"/>
                  </a:lnTo>
                  <a:lnTo>
                    <a:pt x="55" y="196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3" y="196"/>
                  </a:lnTo>
                  <a:lnTo>
                    <a:pt x="66" y="193"/>
                  </a:lnTo>
                  <a:lnTo>
                    <a:pt x="71" y="187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5" y="172"/>
                  </a:lnTo>
                  <a:lnTo>
                    <a:pt x="88" y="171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103" y="169"/>
                  </a:lnTo>
                  <a:lnTo>
                    <a:pt x="107" y="169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4" y="174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23" y="175"/>
                  </a:lnTo>
                  <a:lnTo>
                    <a:pt x="128" y="172"/>
                  </a:lnTo>
                  <a:lnTo>
                    <a:pt x="128" y="172"/>
                  </a:lnTo>
                  <a:lnTo>
                    <a:pt x="151" y="141"/>
                  </a:lnTo>
                  <a:lnTo>
                    <a:pt x="151" y="141"/>
                  </a:lnTo>
                  <a:lnTo>
                    <a:pt x="156" y="137"/>
                  </a:lnTo>
                  <a:lnTo>
                    <a:pt x="162" y="132"/>
                  </a:lnTo>
                  <a:lnTo>
                    <a:pt x="166" y="129"/>
                  </a:lnTo>
                  <a:lnTo>
                    <a:pt x="168" y="126"/>
                  </a:lnTo>
                  <a:lnTo>
                    <a:pt x="169" y="123"/>
                  </a:lnTo>
                  <a:lnTo>
                    <a:pt x="169" y="123"/>
                  </a:lnTo>
                  <a:lnTo>
                    <a:pt x="168" y="115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8" y="95"/>
                  </a:lnTo>
                  <a:lnTo>
                    <a:pt x="168" y="91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80" y="82"/>
                  </a:lnTo>
                  <a:lnTo>
                    <a:pt x="183" y="79"/>
                  </a:lnTo>
                  <a:lnTo>
                    <a:pt x="183" y="70"/>
                  </a:lnTo>
                  <a:lnTo>
                    <a:pt x="183" y="70"/>
                  </a:lnTo>
                  <a:lnTo>
                    <a:pt x="184" y="55"/>
                  </a:lnTo>
                  <a:lnTo>
                    <a:pt x="184" y="52"/>
                  </a:lnTo>
                  <a:lnTo>
                    <a:pt x="183" y="46"/>
                  </a:lnTo>
                  <a:lnTo>
                    <a:pt x="183" y="46"/>
                  </a:lnTo>
                  <a:lnTo>
                    <a:pt x="178" y="40"/>
                  </a:lnTo>
                  <a:lnTo>
                    <a:pt x="172" y="32"/>
                  </a:lnTo>
                  <a:lnTo>
                    <a:pt x="169" y="27"/>
                  </a:lnTo>
                  <a:lnTo>
                    <a:pt x="168" y="23"/>
                  </a:lnTo>
                  <a:lnTo>
                    <a:pt x="168" y="18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5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47" y="17"/>
                  </a:lnTo>
                  <a:lnTo>
                    <a:pt x="140" y="18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29" y="18"/>
                  </a:lnTo>
                  <a:lnTo>
                    <a:pt x="126" y="17"/>
                  </a:lnTo>
                  <a:lnTo>
                    <a:pt x="123" y="14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17" y="12"/>
                  </a:lnTo>
                  <a:lnTo>
                    <a:pt x="114" y="14"/>
                  </a:lnTo>
                  <a:lnTo>
                    <a:pt x="113" y="17"/>
                  </a:lnTo>
                  <a:lnTo>
                    <a:pt x="110" y="23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3" y="27"/>
                  </a:lnTo>
                  <a:lnTo>
                    <a:pt x="98" y="24"/>
                  </a:lnTo>
                  <a:lnTo>
                    <a:pt x="94" y="17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8"/>
                  </a:lnTo>
                  <a:lnTo>
                    <a:pt x="88" y="6"/>
                  </a:lnTo>
                  <a:lnTo>
                    <a:pt x="82" y="5"/>
                  </a:lnTo>
                  <a:lnTo>
                    <a:pt x="74" y="3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1" y="0"/>
                  </a:lnTo>
                  <a:lnTo>
                    <a:pt x="55" y="2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6"/>
                  </a:lnTo>
                  <a:lnTo>
                    <a:pt x="39" y="6"/>
                  </a:lnTo>
                  <a:lnTo>
                    <a:pt x="33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3"/>
                  </a:lnTo>
                  <a:lnTo>
                    <a:pt x="23" y="5"/>
                  </a:lnTo>
                  <a:lnTo>
                    <a:pt x="20" y="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1"/>
                  </a:lnTo>
                  <a:lnTo>
                    <a:pt x="18" y="23"/>
                  </a:lnTo>
                  <a:lnTo>
                    <a:pt x="14" y="24"/>
                  </a:ln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C61E0E0C-A326-774B-B27F-7D2C996CC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9200" y="6175375"/>
              <a:ext cx="1244600" cy="1050925"/>
            </a:xfrm>
            <a:custGeom>
              <a:avLst/>
              <a:gdLst>
                <a:gd name="T0" fmla="*/ 779 w 784"/>
                <a:gd name="T1" fmla="*/ 369 h 662"/>
                <a:gd name="T2" fmla="*/ 778 w 784"/>
                <a:gd name="T3" fmla="*/ 332 h 662"/>
                <a:gd name="T4" fmla="*/ 738 w 784"/>
                <a:gd name="T5" fmla="*/ 321 h 662"/>
                <a:gd name="T6" fmla="*/ 707 w 784"/>
                <a:gd name="T7" fmla="*/ 280 h 662"/>
                <a:gd name="T8" fmla="*/ 687 w 784"/>
                <a:gd name="T9" fmla="*/ 252 h 662"/>
                <a:gd name="T10" fmla="*/ 576 w 784"/>
                <a:gd name="T11" fmla="*/ 222 h 662"/>
                <a:gd name="T12" fmla="*/ 576 w 784"/>
                <a:gd name="T13" fmla="*/ 184 h 662"/>
                <a:gd name="T14" fmla="*/ 596 w 784"/>
                <a:gd name="T15" fmla="*/ 154 h 662"/>
                <a:gd name="T16" fmla="*/ 590 w 784"/>
                <a:gd name="T17" fmla="*/ 123 h 662"/>
                <a:gd name="T18" fmla="*/ 551 w 784"/>
                <a:gd name="T19" fmla="*/ 87 h 662"/>
                <a:gd name="T20" fmla="*/ 480 w 784"/>
                <a:gd name="T21" fmla="*/ 108 h 662"/>
                <a:gd name="T22" fmla="*/ 444 w 784"/>
                <a:gd name="T23" fmla="*/ 101 h 662"/>
                <a:gd name="T24" fmla="*/ 402 w 784"/>
                <a:gd name="T25" fmla="*/ 73 h 662"/>
                <a:gd name="T26" fmla="*/ 317 w 784"/>
                <a:gd name="T27" fmla="*/ 55 h 662"/>
                <a:gd name="T28" fmla="*/ 307 w 784"/>
                <a:gd name="T29" fmla="*/ 34 h 662"/>
                <a:gd name="T30" fmla="*/ 273 w 784"/>
                <a:gd name="T31" fmla="*/ 24 h 662"/>
                <a:gd name="T32" fmla="*/ 221 w 784"/>
                <a:gd name="T33" fmla="*/ 0 h 662"/>
                <a:gd name="T34" fmla="*/ 193 w 784"/>
                <a:gd name="T35" fmla="*/ 25 h 662"/>
                <a:gd name="T36" fmla="*/ 169 w 784"/>
                <a:gd name="T37" fmla="*/ 58 h 662"/>
                <a:gd name="T38" fmla="*/ 163 w 784"/>
                <a:gd name="T39" fmla="*/ 77 h 662"/>
                <a:gd name="T40" fmla="*/ 145 w 784"/>
                <a:gd name="T41" fmla="*/ 107 h 662"/>
                <a:gd name="T42" fmla="*/ 116 w 784"/>
                <a:gd name="T43" fmla="*/ 117 h 662"/>
                <a:gd name="T44" fmla="*/ 85 w 784"/>
                <a:gd name="T45" fmla="*/ 127 h 662"/>
                <a:gd name="T46" fmla="*/ 57 w 784"/>
                <a:gd name="T47" fmla="*/ 175 h 662"/>
                <a:gd name="T48" fmla="*/ 24 w 784"/>
                <a:gd name="T49" fmla="*/ 191 h 662"/>
                <a:gd name="T50" fmla="*/ 25 w 784"/>
                <a:gd name="T51" fmla="*/ 212 h 662"/>
                <a:gd name="T52" fmla="*/ 0 w 784"/>
                <a:gd name="T53" fmla="*/ 239 h 662"/>
                <a:gd name="T54" fmla="*/ 8 w 784"/>
                <a:gd name="T55" fmla="*/ 281 h 662"/>
                <a:gd name="T56" fmla="*/ 11 w 784"/>
                <a:gd name="T57" fmla="*/ 310 h 662"/>
                <a:gd name="T58" fmla="*/ 17 w 784"/>
                <a:gd name="T59" fmla="*/ 341 h 662"/>
                <a:gd name="T60" fmla="*/ 54 w 784"/>
                <a:gd name="T61" fmla="*/ 376 h 662"/>
                <a:gd name="T62" fmla="*/ 131 w 784"/>
                <a:gd name="T63" fmla="*/ 409 h 662"/>
                <a:gd name="T64" fmla="*/ 154 w 784"/>
                <a:gd name="T65" fmla="*/ 434 h 662"/>
                <a:gd name="T66" fmla="*/ 211 w 784"/>
                <a:gd name="T67" fmla="*/ 514 h 662"/>
                <a:gd name="T68" fmla="*/ 279 w 784"/>
                <a:gd name="T69" fmla="*/ 532 h 662"/>
                <a:gd name="T70" fmla="*/ 298 w 784"/>
                <a:gd name="T71" fmla="*/ 567 h 662"/>
                <a:gd name="T72" fmla="*/ 365 w 784"/>
                <a:gd name="T73" fmla="*/ 573 h 662"/>
                <a:gd name="T74" fmla="*/ 382 w 784"/>
                <a:gd name="T75" fmla="*/ 558 h 662"/>
                <a:gd name="T76" fmla="*/ 399 w 784"/>
                <a:gd name="T77" fmla="*/ 590 h 662"/>
                <a:gd name="T78" fmla="*/ 390 w 784"/>
                <a:gd name="T79" fmla="*/ 635 h 662"/>
                <a:gd name="T80" fmla="*/ 387 w 784"/>
                <a:gd name="T81" fmla="*/ 661 h 662"/>
                <a:gd name="T82" fmla="*/ 415 w 784"/>
                <a:gd name="T83" fmla="*/ 644 h 662"/>
                <a:gd name="T84" fmla="*/ 447 w 784"/>
                <a:gd name="T85" fmla="*/ 635 h 662"/>
                <a:gd name="T86" fmla="*/ 501 w 784"/>
                <a:gd name="T87" fmla="*/ 637 h 662"/>
                <a:gd name="T88" fmla="*/ 541 w 784"/>
                <a:gd name="T89" fmla="*/ 635 h 662"/>
                <a:gd name="T90" fmla="*/ 557 w 784"/>
                <a:gd name="T91" fmla="*/ 622 h 662"/>
                <a:gd name="T92" fmla="*/ 582 w 784"/>
                <a:gd name="T93" fmla="*/ 609 h 662"/>
                <a:gd name="T94" fmla="*/ 587 w 784"/>
                <a:gd name="T95" fmla="*/ 613 h 662"/>
                <a:gd name="T96" fmla="*/ 624 w 784"/>
                <a:gd name="T97" fmla="*/ 624 h 662"/>
                <a:gd name="T98" fmla="*/ 662 w 784"/>
                <a:gd name="T99" fmla="*/ 619 h 662"/>
                <a:gd name="T100" fmla="*/ 684 w 784"/>
                <a:gd name="T101" fmla="*/ 618 h 662"/>
                <a:gd name="T102" fmla="*/ 708 w 784"/>
                <a:gd name="T103" fmla="*/ 616 h 662"/>
                <a:gd name="T104" fmla="*/ 733 w 784"/>
                <a:gd name="T105" fmla="*/ 595 h 662"/>
                <a:gd name="T106" fmla="*/ 757 w 784"/>
                <a:gd name="T107" fmla="*/ 542 h 662"/>
                <a:gd name="T108" fmla="*/ 782 w 784"/>
                <a:gd name="T109" fmla="*/ 507 h 662"/>
                <a:gd name="T110" fmla="*/ 751 w 784"/>
                <a:gd name="T111" fmla="*/ 473 h 662"/>
                <a:gd name="T112" fmla="*/ 720 w 784"/>
                <a:gd name="T113" fmla="*/ 421 h 662"/>
                <a:gd name="T114" fmla="*/ 744 w 784"/>
                <a:gd name="T115" fmla="*/ 387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4" h="662">
                  <a:moveTo>
                    <a:pt x="757" y="379"/>
                  </a:moveTo>
                  <a:lnTo>
                    <a:pt x="757" y="379"/>
                  </a:lnTo>
                  <a:lnTo>
                    <a:pt x="776" y="379"/>
                  </a:lnTo>
                  <a:lnTo>
                    <a:pt x="782" y="378"/>
                  </a:lnTo>
                  <a:lnTo>
                    <a:pt x="784" y="378"/>
                  </a:lnTo>
                  <a:lnTo>
                    <a:pt x="784" y="376"/>
                  </a:lnTo>
                  <a:lnTo>
                    <a:pt x="784" y="376"/>
                  </a:lnTo>
                  <a:lnTo>
                    <a:pt x="784" y="373"/>
                  </a:lnTo>
                  <a:lnTo>
                    <a:pt x="779" y="369"/>
                  </a:lnTo>
                  <a:lnTo>
                    <a:pt x="776" y="364"/>
                  </a:lnTo>
                  <a:lnTo>
                    <a:pt x="776" y="361"/>
                  </a:lnTo>
                  <a:lnTo>
                    <a:pt x="776" y="358"/>
                  </a:lnTo>
                  <a:lnTo>
                    <a:pt x="776" y="358"/>
                  </a:lnTo>
                  <a:lnTo>
                    <a:pt x="778" y="348"/>
                  </a:lnTo>
                  <a:lnTo>
                    <a:pt x="779" y="338"/>
                  </a:lnTo>
                  <a:lnTo>
                    <a:pt x="779" y="338"/>
                  </a:lnTo>
                  <a:lnTo>
                    <a:pt x="779" y="333"/>
                  </a:lnTo>
                  <a:lnTo>
                    <a:pt x="778" y="332"/>
                  </a:lnTo>
                  <a:lnTo>
                    <a:pt x="773" y="330"/>
                  </a:lnTo>
                  <a:lnTo>
                    <a:pt x="763" y="330"/>
                  </a:lnTo>
                  <a:lnTo>
                    <a:pt x="763" y="330"/>
                  </a:lnTo>
                  <a:lnTo>
                    <a:pt x="752" y="330"/>
                  </a:lnTo>
                  <a:lnTo>
                    <a:pt x="745" y="330"/>
                  </a:lnTo>
                  <a:lnTo>
                    <a:pt x="742" y="329"/>
                  </a:lnTo>
                  <a:lnTo>
                    <a:pt x="739" y="327"/>
                  </a:lnTo>
                  <a:lnTo>
                    <a:pt x="738" y="321"/>
                  </a:lnTo>
                  <a:lnTo>
                    <a:pt x="738" y="321"/>
                  </a:lnTo>
                  <a:lnTo>
                    <a:pt x="733" y="298"/>
                  </a:lnTo>
                  <a:lnTo>
                    <a:pt x="732" y="287"/>
                  </a:lnTo>
                  <a:lnTo>
                    <a:pt x="729" y="283"/>
                  </a:lnTo>
                  <a:lnTo>
                    <a:pt x="726" y="281"/>
                  </a:lnTo>
                  <a:lnTo>
                    <a:pt x="726" y="281"/>
                  </a:lnTo>
                  <a:lnTo>
                    <a:pt x="718" y="281"/>
                  </a:lnTo>
                  <a:lnTo>
                    <a:pt x="713" y="281"/>
                  </a:lnTo>
                  <a:lnTo>
                    <a:pt x="708" y="281"/>
                  </a:lnTo>
                  <a:lnTo>
                    <a:pt x="707" y="280"/>
                  </a:lnTo>
                  <a:lnTo>
                    <a:pt x="707" y="277"/>
                  </a:lnTo>
                  <a:lnTo>
                    <a:pt x="707" y="277"/>
                  </a:lnTo>
                  <a:lnTo>
                    <a:pt x="707" y="273"/>
                  </a:lnTo>
                  <a:lnTo>
                    <a:pt x="708" y="268"/>
                  </a:lnTo>
                  <a:lnTo>
                    <a:pt x="707" y="265"/>
                  </a:lnTo>
                  <a:lnTo>
                    <a:pt x="705" y="262"/>
                  </a:lnTo>
                  <a:lnTo>
                    <a:pt x="696" y="256"/>
                  </a:lnTo>
                  <a:lnTo>
                    <a:pt x="696" y="256"/>
                  </a:lnTo>
                  <a:lnTo>
                    <a:pt x="687" y="252"/>
                  </a:lnTo>
                  <a:lnTo>
                    <a:pt x="674" y="247"/>
                  </a:lnTo>
                  <a:lnTo>
                    <a:pt x="643" y="241"/>
                  </a:lnTo>
                  <a:lnTo>
                    <a:pt x="600" y="234"/>
                  </a:lnTo>
                  <a:lnTo>
                    <a:pt x="600" y="234"/>
                  </a:lnTo>
                  <a:lnTo>
                    <a:pt x="585" y="230"/>
                  </a:lnTo>
                  <a:lnTo>
                    <a:pt x="578" y="227"/>
                  </a:lnTo>
                  <a:lnTo>
                    <a:pt x="576" y="225"/>
                  </a:lnTo>
                  <a:lnTo>
                    <a:pt x="576" y="222"/>
                  </a:lnTo>
                  <a:lnTo>
                    <a:pt x="576" y="222"/>
                  </a:lnTo>
                  <a:lnTo>
                    <a:pt x="579" y="213"/>
                  </a:lnTo>
                  <a:lnTo>
                    <a:pt x="579" y="209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3" y="191"/>
                  </a:lnTo>
                  <a:lnTo>
                    <a:pt x="573" y="187"/>
                  </a:lnTo>
                  <a:lnTo>
                    <a:pt x="573" y="185"/>
                  </a:lnTo>
                  <a:lnTo>
                    <a:pt x="576" y="184"/>
                  </a:lnTo>
                  <a:lnTo>
                    <a:pt x="576" y="184"/>
                  </a:lnTo>
                  <a:lnTo>
                    <a:pt x="579" y="182"/>
                  </a:lnTo>
                  <a:lnTo>
                    <a:pt x="581" y="181"/>
                  </a:lnTo>
                  <a:lnTo>
                    <a:pt x="582" y="175"/>
                  </a:lnTo>
                  <a:lnTo>
                    <a:pt x="585" y="164"/>
                  </a:lnTo>
                  <a:lnTo>
                    <a:pt x="585" y="164"/>
                  </a:lnTo>
                  <a:lnTo>
                    <a:pt x="587" y="161"/>
                  </a:lnTo>
                  <a:lnTo>
                    <a:pt x="591" y="159"/>
                  </a:lnTo>
                  <a:lnTo>
                    <a:pt x="594" y="157"/>
                  </a:lnTo>
                  <a:lnTo>
                    <a:pt x="596" y="154"/>
                  </a:lnTo>
                  <a:lnTo>
                    <a:pt x="596" y="154"/>
                  </a:lnTo>
                  <a:lnTo>
                    <a:pt x="596" y="150"/>
                  </a:lnTo>
                  <a:lnTo>
                    <a:pt x="594" y="145"/>
                  </a:lnTo>
                  <a:lnTo>
                    <a:pt x="591" y="136"/>
                  </a:lnTo>
                  <a:lnTo>
                    <a:pt x="591" y="136"/>
                  </a:lnTo>
                  <a:lnTo>
                    <a:pt x="591" y="133"/>
                  </a:lnTo>
                  <a:lnTo>
                    <a:pt x="593" y="129"/>
                  </a:lnTo>
                  <a:lnTo>
                    <a:pt x="591" y="124"/>
                  </a:lnTo>
                  <a:lnTo>
                    <a:pt x="590" y="123"/>
                  </a:lnTo>
                  <a:lnTo>
                    <a:pt x="588" y="122"/>
                  </a:lnTo>
                  <a:lnTo>
                    <a:pt x="588" y="122"/>
                  </a:lnTo>
                  <a:lnTo>
                    <a:pt x="576" y="119"/>
                  </a:lnTo>
                  <a:lnTo>
                    <a:pt x="572" y="117"/>
                  </a:lnTo>
                  <a:lnTo>
                    <a:pt x="569" y="116"/>
                  </a:lnTo>
                  <a:lnTo>
                    <a:pt x="569" y="116"/>
                  </a:lnTo>
                  <a:lnTo>
                    <a:pt x="560" y="101"/>
                  </a:lnTo>
                  <a:lnTo>
                    <a:pt x="554" y="90"/>
                  </a:lnTo>
                  <a:lnTo>
                    <a:pt x="551" y="87"/>
                  </a:lnTo>
                  <a:lnTo>
                    <a:pt x="547" y="84"/>
                  </a:lnTo>
                  <a:lnTo>
                    <a:pt x="547" y="84"/>
                  </a:lnTo>
                  <a:lnTo>
                    <a:pt x="544" y="83"/>
                  </a:lnTo>
                  <a:lnTo>
                    <a:pt x="539" y="83"/>
                  </a:lnTo>
                  <a:lnTo>
                    <a:pt x="527" y="86"/>
                  </a:lnTo>
                  <a:lnTo>
                    <a:pt x="499" y="98"/>
                  </a:lnTo>
                  <a:lnTo>
                    <a:pt x="499" y="98"/>
                  </a:lnTo>
                  <a:lnTo>
                    <a:pt x="489" y="104"/>
                  </a:lnTo>
                  <a:lnTo>
                    <a:pt x="480" y="108"/>
                  </a:lnTo>
                  <a:lnTo>
                    <a:pt x="474" y="113"/>
                  </a:lnTo>
                  <a:lnTo>
                    <a:pt x="470" y="116"/>
                  </a:lnTo>
                  <a:lnTo>
                    <a:pt x="470" y="116"/>
                  </a:lnTo>
                  <a:lnTo>
                    <a:pt x="465" y="114"/>
                  </a:lnTo>
                  <a:lnTo>
                    <a:pt x="461" y="111"/>
                  </a:lnTo>
                  <a:lnTo>
                    <a:pt x="452" y="104"/>
                  </a:lnTo>
                  <a:lnTo>
                    <a:pt x="452" y="104"/>
                  </a:lnTo>
                  <a:lnTo>
                    <a:pt x="449" y="102"/>
                  </a:lnTo>
                  <a:lnTo>
                    <a:pt x="444" y="101"/>
                  </a:lnTo>
                  <a:lnTo>
                    <a:pt x="433" y="98"/>
                  </a:lnTo>
                  <a:lnTo>
                    <a:pt x="422" y="96"/>
                  </a:lnTo>
                  <a:lnTo>
                    <a:pt x="418" y="96"/>
                  </a:lnTo>
                  <a:lnTo>
                    <a:pt x="416" y="95"/>
                  </a:lnTo>
                  <a:lnTo>
                    <a:pt x="416" y="95"/>
                  </a:lnTo>
                  <a:lnTo>
                    <a:pt x="412" y="89"/>
                  </a:lnTo>
                  <a:lnTo>
                    <a:pt x="406" y="79"/>
                  </a:lnTo>
                  <a:lnTo>
                    <a:pt x="406" y="79"/>
                  </a:lnTo>
                  <a:lnTo>
                    <a:pt x="402" y="73"/>
                  </a:lnTo>
                  <a:lnTo>
                    <a:pt x="396" y="70"/>
                  </a:lnTo>
                  <a:lnTo>
                    <a:pt x="385" y="67"/>
                  </a:lnTo>
                  <a:lnTo>
                    <a:pt x="370" y="65"/>
                  </a:lnTo>
                  <a:lnTo>
                    <a:pt x="370" y="65"/>
                  </a:lnTo>
                  <a:lnTo>
                    <a:pt x="354" y="64"/>
                  </a:lnTo>
                  <a:lnTo>
                    <a:pt x="336" y="62"/>
                  </a:lnTo>
                  <a:lnTo>
                    <a:pt x="323" y="58"/>
                  </a:lnTo>
                  <a:lnTo>
                    <a:pt x="319" y="56"/>
                  </a:lnTo>
                  <a:lnTo>
                    <a:pt x="317" y="55"/>
                  </a:lnTo>
                  <a:lnTo>
                    <a:pt x="317" y="55"/>
                  </a:lnTo>
                  <a:lnTo>
                    <a:pt x="319" y="50"/>
                  </a:lnTo>
                  <a:lnTo>
                    <a:pt x="320" y="46"/>
                  </a:lnTo>
                  <a:lnTo>
                    <a:pt x="322" y="40"/>
                  </a:lnTo>
                  <a:lnTo>
                    <a:pt x="320" y="37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3" y="34"/>
                  </a:lnTo>
                  <a:lnTo>
                    <a:pt x="307" y="34"/>
                  </a:lnTo>
                  <a:lnTo>
                    <a:pt x="302" y="34"/>
                  </a:lnTo>
                  <a:lnTo>
                    <a:pt x="298" y="34"/>
                  </a:lnTo>
                  <a:lnTo>
                    <a:pt x="298" y="34"/>
                  </a:lnTo>
                  <a:lnTo>
                    <a:pt x="293" y="33"/>
                  </a:lnTo>
                  <a:lnTo>
                    <a:pt x="288" y="31"/>
                  </a:lnTo>
                  <a:lnTo>
                    <a:pt x="282" y="30"/>
                  </a:lnTo>
                  <a:lnTo>
                    <a:pt x="276" y="27"/>
                  </a:lnTo>
                  <a:lnTo>
                    <a:pt x="276" y="27"/>
                  </a:lnTo>
                  <a:lnTo>
                    <a:pt x="273" y="24"/>
                  </a:lnTo>
                  <a:lnTo>
                    <a:pt x="270" y="24"/>
                  </a:lnTo>
                  <a:lnTo>
                    <a:pt x="264" y="22"/>
                  </a:lnTo>
                  <a:lnTo>
                    <a:pt x="256" y="21"/>
                  </a:lnTo>
                  <a:lnTo>
                    <a:pt x="253" y="19"/>
                  </a:lnTo>
                  <a:lnTo>
                    <a:pt x="249" y="16"/>
                  </a:lnTo>
                  <a:lnTo>
                    <a:pt x="249" y="16"/>
                  </a:lnTo>
                  <a:lnTo>
                    <a:pt x="240" y="7"/>
                  </a:lnTo>
                  <a:lnTo>
                    <a:pt x="227" y="2"/>
                  </a:lnTo>
                  <a:lnTo>
                    <a:pt x="221" y="0"/>
                  </a:lnTo>
                  <a:lnTo>
                    <a:pt x="215" y="0"/>
                  </a:lnTo>
                  <a:lnTo>
                    <a:pt x="209" y="0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0" y="10"/>
                  </a:lnTo>
                  <a:lnTo>
                    <a:pt x="197" y="16"/>
                  </a:lnTo>
                  <a:lnTo>
                    <a:pt x="196" y="25"/>
                  </a:lnTo>
                  <a:lnTo>
                    <a:pt x="196" y="25"/>
                  </a:lnTo>
                  <a:lnTo>
                    <a:pt x="193" y="25"/>
                  </a:lnTo>
                  <a:lnTo>
                    <a:pt x="185" y="25"/>
                  </a:lnTo>
                  <a:lnTo>
                    <a:pt x="178" y="27"/>
                  </a:lnTo>
                  <a:lnTo>
                    <a:pt x="175" y="28"/>
                  </a:lnTo>
                  <a:lnTo>
                    <a:pt x="174" y="33"/>
                  </a:lnTo>
                  <a:lnTo>
                    <a:pt x="174" y="33"/>
                  </a:lnTo>
                  <a:lnTo>
                    <a:pt x="172" y="40"/>
                  </a:lnTo>
                  <a:lnTo>
                    <a:pt x="171" y="47"/>
                  </a:lnTo>
                  <a:lnTo>
                    <a:pt x="171" y="53"/>
                  </a:lnTo>
                  <a:lnTo>
                    <a:pt x="169" y="58"/>
                  </a:lnTo>
                  <a:lnTo>
                    <a:pt x="169" y="58"/>
                  </a:lnTo>
                  <a:lnTo>
                    <a:pt x="166" y="61"/>
                  </a:lnTo>
                  <a:lnTo>
                    <a:pt x="160" y="62"/>
                  </a:lnTo>
                  <a:lnTo>
                    <a:pt x="157" y="64"/>
                  </a:lnTo>
                  <a:lnTo>
                    <a:pt x="156" y="65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63" y="74"/>
                  </a:lnTo>
                  <a:lnTo>
                    <a:pt x="163" y="77"/>
                  </a:lnTo>
                  <a:lnTo>
                    <a:pt x="163" y="82"/>
                  </a:lnTo>
                  <a:lnTo>
                    <a:pt x="163" y="82"/>
                  </a:lnTo>
                  <a:lnTo>
                    <a:pt x="162" y="89"/>
                  </a:lnTo>
                  <a:lnTo>
                    <a:pt x="159" y="96"/>
                  </a:lnTo>
                  <a:lnTo>
                    <a:pt x="154" y="102"/>
                  </a:lnTo>
                  <a:lnTo>
                    <a:pt x="151" y="104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5" y="107"/>
                  </a:lnTo>
                  <a:lnTo>
                    <a:pt x="144" y="108"/>
                  </a:lnTo>
                  <a:lnTo>
                    <a:pt x="141" y="114"/>
                  </a:lnTo>
                  <a:lnTo>
                    <a:pt x="138" y="119"/>
                  </a:lnTo>
                  <a:lnTo>
                    <a:pt x="136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25" y="116"/>
                  </a:lnTo>
                  <a:lnTo>
                    <a:pt x="120" y="114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104" y="123"/>
                  </a:lnTo>
                  <a:lnTo>
                    <a:pt x="99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1" y="124"/>
                  </a:lnTo>
                  <a:lnTo>
                    <a:pt x="88" y="126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2" y="130"/>
                  </a:lnTo>
                  <a:lnTo>
                    <a:pt x="77" y="132"/>
                  </a:lnTo>
                  <a:lnTo>
                    <a:pt x="74" y="133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64" y="161"/>
                  </a:lnTo>
                  <a:lnTo>
                    <a:pt x="64" y="161"/>
                  </a:lnTo>
                  <a:lnTo>
                    <a:pt x="61" y="170"/>
                  </a:lnTo>
                  <a:lnTo>
                    <a:pt x="57" y="175"/>
                  </a:lnTo>
                  <a:lnTo>
                    <a:pt x="55" y="176"/>
                  </a:lnTo>
                  <a:lnTo>
                    <a:pt x="51" y="178"/>
                  </a:lnTo>
                  <a:lnTo>
                    <a:pt x="51" y="178"/>
                  </a:lnTo>
                  <a:lnTo>
                    <a:pt x="39" y="179"/>
                  </a:lnTo>
                  <a:lnTo>
                    <a:pt x="34" y="181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27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7" y="196"/>
                  </a:lnTo>
                  <a:lnTo>
                    <a:pt x="27" y="196"/>
                  </a:lnTo>
                  <a:lnTo>
                    <a:pt x="25" y="199"/>
                  </a:lnTo>
                  <a:lnTo>
                    <a:pt x="21" y="201"/>
                  </a:lnTo>
                  <a:lnTo>
                    <a:pt x="21" y="201"/>
                  </a:lnTo>
                  <a:lnTo>
                    <a:pt x="27" y="207"/>
                  </a:lnTo>
                  <a:lnTo>
                    <a:pt x="28" y="209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15" y="213"/>
                  </a:lnTo>
                  <a:lnTo>
                    <a:pt x="12" y="216"/>
                  </a:lnTo>
                  <a:lnTo>
                    <a:pt x="9" y="221"/>
                  </a:lnTo>
                  <a:lnTo>
                    <a:pt x="9" y="221"/>
                  </a:lnTo>
                  <a:lnTo>
                    <a:pt x="6" y="227"/>
                  </a:lnTo>
                  <a:lnTo>
                    <a:pt x="3" y="231"/>
                  </a:lnTo>
                  <a:lnTo>
                    <a:pt x="0" y="236"/>
                  </a:lnTo>
                  <a:lnTo>
                    <a:pt x="0" y="239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2" y="247"/>
                  </a:lnTo>
                  <a:lnTo>
                    <a:pt x="5" y="253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70"/>
                  </a:lnTo>
                  <a:lnTo>
                    <a:pt x="11" y="274"/>
                  </a:lnTo>
                  <a:lnTo>
                    <a:pt x="8" y="281"/>
                  </a:lnTo>
                  <a:lnTo>
                    <a:pt x="5" y="289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8"/>
                  </a:lnTo>
                  <a:lnTo>
                    <a:pt x="3" y="299"/>
                  </a:lnTo>
                  <a:lnTo>
                    <a:pt x="6" y="302"/>
                  </a:lnTo>
                  <a:lnTo>
                    <a:pt x="9" y="305"/>
                  </a:lnTo>
                  <a:lnTo>
                    <a:pt x="11" y="308"/>
                  </a:lnTo>
                  <a:lnTo>
                    <a:pt x="11" y="310"/>
                  </a:lnTo>
                  <a:lnTo>
                    <a:pt x="11" y="310"/>
                  </a:lnTo>
                  <a:lnTo>
                    <a:pt x="5" y="323"/>
                  </a:lnTo>
                  <a:lnTo>
                    <a:pt x="3" y="330"/>
                  </a:lnTo>
                  <a:lnTo>
                    <a:pt x="5" y="333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12" y="338"/>
                  </a:lnTo>
                  <a:lnTo>
                    <a:pt x="15" y="339"/>
                  </a:lnTo>
                  <a:lnTo>
                    <a:pt x="17" y="341"/>
                  </a:lnTo>
                  <a:lnTo>
                    <a:pt x="17" y="342"/>
                  </a:lnTo>
                  <a:lnTo>
                    <a:pt x="15" y="350"/>
                  </a:lnTo>
                  <a:lnTo>
                    <a:pt x="15" y="353"/>
                  </a:lnTo>
                  <a:lnTo>
                    <a:pt x="15" y="353"/>
                  </a:lnTo>
                  <a:lnTo>
                    <a:pt x="24" y="357"/>
                  </a:lnTo>
                  <a:lnTo>
                    <a:pt x="31" y="361"/>
                  </a:lnTo>
                  <a:lnTo>
                    <a:pt x="37" y="366"/>
                  </a:lnTo>
                  <a:lnTo>
                    <a:pt x="37" y="366"/>
                  </a:lnTo>
                  <a:lnTo>
                    <a:pt x="54" y="376"/>
                  </a:lnTo>
                  <a:lnTo>
                    <a:pt x="62" y="382"/>
                  </a:lnTo>
                  <a:lnTo>
                    <a:pt x="71" y="387"/>
                  </a:lnTo>
                  <a:lnTo>
                    <a:pt x="71" y="387"/>
                  </a:lnTo>
                  <a:lnTo>
                    <a:pt x="91" y="395"/>
                  </a:lnTo>
                  <a:lnTo>
                    <a:pt x="99" y="400"/>
                  </a:lnTo>
                  <a:lnTo>
                    <a:pt x="108" y="403"/>
                  </a:lnTo>
                  <a:lnTo>
                    <a:pt x="108" y="403"/>
                  </a:lnTo>
                  <a:lnTo>
                    <a:pt x="125" y="407"/>
                  </a:lnTo>
                  <a:lnTo>
                    <a:pt x="131" y="409"/>
                  </a:lnTo>
                  <a:lnTo>
                    <a:pt x="135" y="412"/>
                  </a:lnTo>
                  <a:lnTo>
                    <a:pt x="135" y="412"/>
                  </a:lnTo>
                  <a:lnTo>
                    <a:pt x="135" y="415"/>
                  </a:lnTo>
                  <a:lnTo>
                    <a:pt x="136" y="421"/>
                  </a:lnTo>
                  <a:lnTo>
                    <a:pt x="139" y="425"/>
                  </a:lnTo>
                  <a:lnTo>
                    <a:pt x="141" y="428"/>
                  </a:lnTo>
                  <a:lnTo>
                    <a:pt x="145" y="430"/>
                  </a:lnTo>
                  <a:lnTo>
                    <a:pt x="145" y="430"/>
                  </a:lnTo>
                  <a:lnTo>
                    <a:pt x="154" y="434"/>
                  </a:lnTo>
                  <a:lnTo>
                    <a:pt x="163" y="440"/>
                  </a:lnTo>
                  <a:lnTo>
                    <a:pt x="181" y="453"/>
                  </a:lnTo>
                  <a:lnTo>
                    <a:pt x="181" y="453"/>
                  </a:lnTo>
                  <a:lnTo>
                    <a:pt x="193" y="464"/>
                  </a:lnTo>
                  <a:lnTo>
                    <a:pt x="199" y="468"/>
                  </a:lnTo>
                  <a:lnTo>
                    <a:pt x="202" y="475"/>
                  </a:lnTo>
                  <a:lnTo>
                    <a:pt x="202" y="475"/>
                  </a:lnTo>
                  <a:lnTo>
                    <a:pt x="206" y="495"/>
                  </a:lnTo>
                  <a:lnTo>
                    <a:pt x="211" y="514"/>
                  </a:lnTo>
                  <a:lnTo>
                    <a:pt x="211" y="514"/>
                  </a:lnTo>
                  <a:lnTo>
                    <a:pt x="212" y="521"/>
                  </a:lnTo>
                  <a:lnTo>
                    <a:pt x="215" y="526"/>
                  </a:lnTo>
                  <a:lnTo>
                    <a:pt x="219" y="529"/>
                  </a:lnTo>
                  <a:lnTo>
                    <a:pt x="227" y="530"/>
                  </a:lnTo>
                  <a:lnTo>
                    <a:pt x="227" y="530"/>
                  </a:lnTo>
                  <a:lnTo>
                    <a:pt x="255" y="530"/>
                  </a:lnTo>
                  <a:lnTo>
                    <a:pt x="270" y="532"/>
                  </a:lnTo>
                  <a:lnTo>
                    <a:pt x="279" y="532"/>
                  </a:lnTo>
                  <a:lnTo>
                    <a:pt x="279" y="532"/>
                  </a:lnTo>
                  <a:lnTo>
                    <a:pt x="280" y="533"/>
                  </a:lnTo>
                  <a:lnTo>
                    <a:pt x="282" y="536"/>
                  </a:lnTo>
                  <a:lnTo>
                    <a:pt x="283" y="544"/>
                  </a:lnTo>
                  <a:lnTo>
                    <a:pt x="288" y="560"/>
                  </a:lnTo>
                  <a:lnTo>
                    <a:pt x="288" y="560"/>
                  </a:lnTo>
                  <a:lnTo>
                    <a:pt x="289" y="563"/>
                  </a:lnTo>
                  <a:lnTo>
                    <a:pt x="292" y="566"/>
                  </a:lnTo>
                  <a:lnTo>
                    <a:pt x="298" y="567"/>
                  </a:lnTo>
                  <a:lnTo>
                    <a:pt x="305" y="567"/>
                  </a:lnTo>
                  <a:lnTo>
                    <a:pt x="313" y="567"/>
                  </a:lnTo>
                  <a:lnTo>
                    <a:pt x="313" y="567"/>
                  </a:lnTo>
                  <a:lnTo>
                    <a:pt x="319" y="567"/>
                  </a:lnTo>
                  <a:lnTo>
                    <a:pt x="326" y="567"/>
                  </a:lnTo>
                  <a:lnTo>
                    <a:pt x="341" y="570"/>
                  </a:lnTo>
                  <a:lnTo>
                    <a:pt x="341" y="570"/>
                  </a:lnTo>
                  <a:lnTo>
                    <a:pt x="357" y="572"/>
                  </a:lnTo>
                  <a:lnTo>
                    <a:pt x="365" y="573"/>
                  </a:lnTo>
                  <a:lnTo>
                    <a:pt x="369" y="573"/>
                  </a:lnTo>
                  <a:lnTo>
                    <a:pt x="369" y="573"/>
                  </a:lnTo>
                  <a:lnTo>
                    <a:pt x="369" y="570"/>
                  </a:lnTo>
                  <a:lnTo>
                    <a:pt x="369" y="566"/>
                  </a:lnTo>
                  <a:lnTo>
                    <a:pt x="370" y="561"/>
                  </a:lnTo>
                  <a:lnTo>
                    <a:pt x="372" y="560"/>
                  </a:lnTo>
                  <a:lnTo>
                    <a:pt x="375" y="558"/>
                  </a:lnTo>
                  <a:lnTo>
                    <a:pt x="375" y="558"/>
                  </a:lnTo>
                  <a:lnTo>
                    <a:pt x="382" y="558"/>
                  </a:lnTo>
                  <a:lnTo>
                    <a:pt x="387" y="560"/>
                  </a:lnTo>
                  <a:lnTo>
                    <a:pt x="391" y="563"/>
                  </a:lnTo>
                  <a:lnTo>
                    <a:pt x="394" y="567"/>
                  </a:lnTo>
                  <a:lnTo>
                    <a:pt x="394" y="567"/>
                  </a:lnTo>
                  <a:lnTo>
                    <a:pt x="397" y="572"/>
                  </a:lnTo>
                  <a:lnTo>
                    <a:pt x="400" y="579"/>
                  </a:lnTo>
                  <a:lnTo>
                    <a:pt x="402" y="585"/>
                  </a:lnTo>
                  <a:lnTo>
                    <a:pt x="400" y="588"/>
                  </a:lnTo>
                  <a:lnTo>
                    <a:pt x="399" y="590"/>
                  </a:lnTo>
                  <a:lnTo>
                    <a:pt x="399" y="590"/>
                  </a:lnTo>
                  <a:lnTo>
                    <a:pt x="393" y="590"/>
                  </a:lnTo>
                  <a:lnTo>
                    <a:pt x="390" y="590"/>
                  </a:lnTo>
                  <a:lnTo>
                    <a:pt x="388" y="590"/>
                  </a:lnTo>
                  <a:lnTo>
                    <a:pt x="388" y="591"/>
                  </a:lnTo>
                  <a:lnTo>
                    <a:pt x="388" y="598"/>
                  </a:lnTo>
                  <a:lnTo>
                    <a:pt x="388" y="598"/>
                  </a:lnTo>
                  <a:lnTo>
                    <a:pt x="390" y="624"/>
                  </a:lnTo>
                  <a:lnTo>
                    <a:pt x="390" y="635"/>
                  </a:lnTo>
                  <a:lnTo>
                    <a:pt x="388" y="640"/>
                  </a:lnTo>
                  <a:lnTo>
                    <a:pt x="387" y="643"/>
                  </a:lnTo>
                  <a:lnTo>
                    <a:pt x="387" y="643"/>
                  </a:lnTo>
                  <a:lnTo>
                    <a:pt x="378" y="652"/>
                  </a:lnTo>
                  <a:lnTo>
                    <a:pt x="375" y="655"/>
                  </a:lnTo>
                  <a:lnTo>
                    <a:pt x="373" y="656"/>
                  </a:lnTo>
                  <a:lnTo>
                    <a:pt x="373" y="658"/>
                  </a:lnTo>
                  <a:lnTo>
                    <a:pt x="373" y="658"/>
                  </a:lnTo>
                  <a:lnTo>
                    <a:pt x="387" y="661"/>
                  </a:lnTo>
                  <a:lnTo>
                    <a:pt x="394" y="662"/>
                  </a:lnTo>
                  <a:lnTo>
                    <a:pt x="400" y="661"/>
                  </a:lnTo>
                  <a:lnTo>
                    <a:pt x="400" y="661"/>
                  </a:lnTo>
                  <a:lnTo>
                    <a:pt x="403" y="658"/>
                  </a:lnTo>
                  <a:lnTo>
                    <a:pt x="406" y="652"/>
                  </a:lnTo>
                  <a:lnTo>
                    <a:pt x="409" y="646"/>
                  </a:lnTo>
                  <a:lnTo>
                    <a:pt x="412" y="644"/>
                  </a:lnTo>
                  <a:lnTo>
                    <a:pt x="415" y="644"/>
                  </a:lnTo>
                  <a:lnTo>
                    <a:pt x="415" y="644"/>
                  </a:lnTo>
                  <a:lnTo>
                    <a:pt x="425" y="644"/>
                  </a:lnTo>
                  <a:lnTo>
                    <a:pt x="428" y="644"/>
                  </a:lnTo>
                  <a:lnTo>
                    <a:pt x="431" y="641"/>
                  </a:lnTo>
                  <a:lnTo>
                    <a:pt x="431" y="641"/>
                  </a:lnTo>
                  <a:lnTo>
                    <a:pt x="434" y="637"/>
                  </a:lnTo>
                  <a:lnTo>
                    <a:pt x="437" y="635"/>
                  </a:lnTo>
                  <a:lnTo>
                    <a:pt x="442" y="634"/>
                  </a:lnTo>
                  <a:lnTo>
                    <a:pt x="447" y="635"/>
                  </a:lnTo>
                  <a:lnTo>
                    <a:pt x="447" y="635"/>
                  </a:lnTo>
                  <a:lnTo>
                    <a:pt x="456" y="640"/>
                  </a:lnTo>
                  <a:lnTo>
                    <a:pt x="461" y="641"/>
                  </a:lnTo>
                  <a:lnTo>
                    <a:pt x="465" y="643"/>
                  </a:lnTo>
                  <a:lnTo>
                    <a:pt x="465" y="643"/>
                  </a:lnTo>
                  <a:lnTo>
                    <a:pt x="470" y="643"/>
                  </a:lnTo>
                  <a:lnTo>
                    <a:pt x="470" y="643"/>
                  </a:lnTo>
                  <a:lnTo>
                    <a:pt x="487" y="641"/>
                  </a:lnTo>
                  <a:lnTo>
                    <a:pt x="496" y="640"/>
                  </a:lnTo>
                  <a:lnTo>
                    <a:pt x="501" y="637"/>
                  </a:lnTo>
                  <a:lnTo>
                    <a:pt x="501" y="637"/>
                  </a:lnTo>
                  <a:lnTo>
                    <a:pt x="507" y="630"/>
                  </a:lnTo>
                  <a:lnTo>
                    <a:pt x="510" y="628"/>
                  </a:lnTo>
                  <a:lnTo>
                    <a:pt x="514" y="630"/>
                  </a:lnTo>
                  <a:lnTo>
                    <a:pt x="514" y="630"/>
                  </a:lnTo>
                  <a:lnTo>
                    <a:pt x="521" y="634"/>
                  </a:lnTo>
                  <a:lnTo>
                    <a:pt x="530" y="635"/>
                  </a:lnTo>
                  <a:lnTo>
                    <a:pt x="538" y="635"/>
                  </a:lnTo>
                  <a:lnTo>
                    <a:pt x="541" y="635"/>
                  </a:lnTo>
                  <a:lnTo>
                    <a:pt x="541" y="632"/>
                  </a:lnTo>
                  <a:lnTo>
                    <a:pt x="541" y="632"/>
                  </a:lnTo>
                  <a:lnTo>
                    <a:pt x="542" y="628"/>
                  </a:lnTo>
                  <a:lnTo>
                    <a:pt x="545" y="624"/>
                  </a:lnTo>
                  <a:lnTo>
                    <a:pt x="550" y="621"/>
                  </a:lnTo>
                  <a:lnTo>
                    <a:pt x="551" y="619"/>
                  </a:lnTo>
                  <a:lnTo>
                    <a:pt x="553" y="621"/>
                  </a:lnTo>
                  <a:lnTo>
                    <a:pt x="553" y="621"/>
                  </a:lnTo>
                  <a:lnTo>
                    <a:pt x="557" y="622"/>
                  </a:lnTo>
                  <a:lnTo>
                    <a:pt x="560" y="625"/>
                  </a:lnTo>
                  <a:lnTo>
                    <a:pt x="563" y="627"/>
                  </a:lnTo>
                  <a:lnTo>
                    <a:pt x="566" y="627"/>
                  </a:lnTo>
                  <a:lnTo>
                    <a:pt x="566" y="627"/>
                  </a:lnTo>
                  <a:lnTo>
                    <a:pt x="570" y="624"/>
                  </a:lnTo>
                  <a:lnTo>
                    <a:pt x="578" y="619"/>
                  </a:lnTo>
                  <a:lnTo>
                    <a:pt x="578" y="619"/>
                  </a:lnTo>
                  <a:lnTo>
                    <a:pt x="581" y="615"/>
                  </a:lnTo>
                  <a:lnTo>
                    <a:pt x="582" y="609"/>
                  </a:lnTo>
                  <a:lnTo>
                    <a:pt x="584" y="604"/>
                  </a:lnTo>
                  <a:lnTo>
                    <a:pt x="585" y="603"/>
                  </a:lnTo>
                  <a:lnTo>
                    <a:pt x="585" y="603"/>
                  </a:lnTo>
                  <a:lnTo>
                    <a:pt x="587" y="603"/>
                  </a:lnTo>
                  <a:lnTo>
                    <a:pt x="585" y="604"/>
                  </a:lnTo>
                  <a:lnTo>
                    <a:pt x="584" y="607"/>
                  </a:lnTo>
                  <a:lnTo>
                    <a:pt x="584" y="609"/>
                  </a:lnTo>
                  <a:lnTo>
                    <a:pt x="585" y="612"/>
                  </a:lnTo>
                  <a:lnTo>
                    <a:pt x="587" y="613"/>
                  </a:lnTo>
                  <a:lnTo>
                    <a:pt x="591" y="613"/>
                  </a:lnTo>
                  <a:lnTo>
                    <a:pt x="591" y="613"/>
                  </a:lnTo>
                  <a:lnTo>
                    <a:pt x="612" y="615"/>
                  </a:lnTo>
                  <a:lnTo>
                    <a:pt x="621" y="613"/>
                  </a:lnTo>
                  <a:lnTo>
                    <a:pt x="621" y="613"/>
                  </a:lnTo>
                  <a:lnTo>
                    <a:pt x="621" y="619"/>
                  </a:lnTo>
                  <a:lnTo>
                    <a:pt x="621" y="622"/>
                  </a:lnTo>
                  <a:lnTo>
                    <a:pt x="622" y="624"/>
                  </a:lnTo>
                  <a:lnTo>
                    <a:pt x="624" y="624"/>
                  </a:lnTo>
                  <a:lnTo>
                    <a:pt x="624" y="624"/>
                  </a:lnTo>
                  <a:lnTo>
                    <a:pt x="630" y="624"/>
                  </a:lnTo>
                  <a:lnTo>
                    <a:pt x="634" y="622"/>
                  </a:lnTo>
                  <a:lnTo>
                    <a:pt x="644" y="619"/>
                  </a:lnTo>
                  <a:lnTo>
                    <a:pt x="644" y="619"/>
                  </a:lnTo>
                  <a:lnTo>
                    <a:pt x="655" y="616"/>
                  </a:lnTo>
                  <a:lnTo>
                    <a:pt x="659" y="616"/>
                  </a:lnTo>
                  <a:lnTo>
                    <a:pt x="661" y="618"/>
                  </a:lnTo>
                  <a:lnTo>
                    <a:pt x="662" y="619"/>
                  </a:lnTo>
                  <a:lnTo>
                    <a:pt x="662" y="619"/>
                  </a:lnTo>
                  <a:lnTo>
                    <a:pt x="665" y="622"/>
                  </a:lnTo>
                  <a:lnTo>
                    <a:pt x="668" y="625"/>
                  </a:lnTo>
                  <a:lnTo>
                    <a:pt x="671" y="627"/>
                  </a:lnTo>
                  <a:lnTo>
                    <a:pt x="674" y="625"/>
                  </a:lnTo>
                  <a:lnTo>
                    <a:pt x="674" y="625"/>
                  </a:lnTo>
                  <a:lnTo>
                    <a:pt x="678" y="622"/>
                  </a:lnTo>
                  <a:lnTo>
                    <a:pt x="681" y="619"/>
                  </a:lnTo>
                  <a:lnTo>
                    <a:pt x="684" y="618"/>
                  </a:lnTo>
                  <a:lnTo>
                    <a:pt x="684" y="618"/>
                  </a:lnTo>
                  <a:lnTo>
                    <a:pt x="689" y="618"/>
                  </a:lnTo>
                  <a:lnTo>
                    <a:pt x="690" y="619"/>
                  </a:lnTo>
                  <a:lnTo>
                    <a:pt x="692" y="621"/>
                  </a:lnTo>
                  <a:lnTo>
                    <a:pt x="696" y="622"/>
                  </a:lnTo>
                  <a:lnTo>
                    <a:pt x="696" y="622"/>
                  </a:lnTo>
                  <a:lnTo>
                    <a:pt x="701" y="621"/>
                  </a:lnTo>
                  <a:lnTo>
                    <a:pt x="705" y="619"/>
                  </a:lnTo>
                  <a:lnTo>
                    <a:pt x="708" y="616"/>
                  </a:lnTo>
                  <a:lnTo>
                    <a:pt x="713" y="616"/>
                  </a:lnTo>
                  <a:lnTo>
                    <a:pt x="713" y="616"/>
                  </a:lnTo>
                  <a:lnTo>
                    <a:pt x="721" y="618"/>
                  </a:lnTo>
                  <a:lnTo>
                    <a:pt x="729" y="619"/>
                  </a:lnTo>
                  <a:lnTo>
                    <a:pt x="729" y="619"/>
                  </a:lnTo>
                  <a:lnTo>
                    <a:pt x="730" y="616"/>
                  </a:lnTo>
                  <a:lnTo>
                    <a:pt x="732" y="609"/>
                  </a:lnTo>
                  <a:lnTo>
                    <a:pt x="733" y="595"/>
                  </a:lnTo>
                  <a:lnTo>
                    <a:pt x="733" y="595"/>
                  </a:lnTo>
                  <a:lnTo>
                    <a:pt x="732" y="585"/>
                  </a:lnTo>
                  <a:lnTo>
                    <a:pt x="732" y="576"/>
                  </a:lnTo>
                  <a:lnTo>
                    <a:pt x="732" y="576"/>
                  </a:lnTo>
                  <a:lnTo>
                    <a:pt x="732" y="575"/>
                  </a:lnTo>
                  <a:lnTo>
                    <a:pt x="733" y="572"/>
                  </a:lnTo>
                  <a:lnTo>
                    <a:pt x="739" y="564"/>
                  </a:lnTo>
                  <a:lnTo>
                    <a:pt x="739" y="564"/>
                  </a:lnTo>
                  <a:lnTo>
                    <a:pt x="745" y="554"/>
                  </a:lnTo>
                  <a:lnTo>
                    <a:pt x="757" y="542"/>
                  </a:lnTo>
                  <a:lnTo>
                    <a:pt x="757" y="542"/>
                  </a:lnTo>
                  <a:lnTo>
                    <a:pt x="767" y="533"/>
                  </a:lnTo>
                  <a:lnTo>
                    <a:pt x="775" y="526"/>
                  </a:lnTo>
                  <a:lnTo>
                    <a:pt x="775" y="526"/>
                  </a:lnTo>
                  <a:lnTo>
                    <a:pt x="779" y="521"/>
                  </a:lnTo>
                  <a:lnTo>
                    <a:pt x="782" y="517"/>
                  </a:lnTo>
                  <a:lnTo>
                    <a:pt x="782" y="512"/>
                  </a:lnTo>
                  <a:lnTo>
                    <a:pt x="782" y="507"/>
                  </a:lnTo>
                  <a:lnTo>
                    <a:pt x="782" y="507"/>
                  </a:lnTo>
                  <a:lnTo>
                    <a:pt x="779" y="501"/>
                  </a:lnTo>
                  <a:lnTo>
                    <a:pt x="776" y="499"/>
                  </a:lnTo>
                  <a:lnTo>
                    <a:pt x="773" y="496"/>
                  </a:lnTo>
                  <a:lnTo>
                    <a:pt x="769" y="492"/>
                  </a:lnTo>
                  <a:lnTo>
                    <a:pt x="769" y="492"/>
                  </a:lnTo>
                  <a:lnTo>
                    <a:pt x="764" y="486"/>
                  </a:lnTo>
                  <a:lnTo>
                    <a:pt x="760" y="480"/>
                  </a:lnTo>
                  <a:lnTo>
                    <a:pt x="755" y="474"/>
                  </a:lnTo>
                  <a:lnTo>
                    <a:pt x="751" y="473"/>
                  </a:lnTo>
                  <a:lnTo>
                    <a:pt x="747" y="471"/>
                  </a:lnTo>
                  <a:lnTo>
                    <a:pt x="747" y="471"/>
                  </a:lnTo>
                  <a:lnTo>
                    <a:pt x="726" y="465"/>
                  </a:lnTo>
                  <a:lnTo>
                    <a:pt x="718" y="462"/>
                  </a:lnTo>
                  <a:lnTo>
                    <a:pt x="715" y="459"/>
                  </a:lnTo>
                  <a:lnTo>
                    <a:pt x="715" y="456"/>
                  </a:lnTo>
                  <a:lnTo>
                    <a:pt x="715" y="456"/>
                  </a:lnTo>
                  <a:lnTo>
                    <a:pt x="717" y="434"/>
                  </a:lnTo>
                  <a:lnTo>
                    <a:pt x="720" y="421"/>
                  </a:lnTo>
                  <a:lnTo>
                    <a:pt x="721" y="413"/>
                  </a:lnTo>
                  <a:lnTo>
                    <a:pt x="721" y="413"/>
                  </a:lnTo>
                  <a:lnTo>
                    <a:pt x="726" y="410"/>
                  </a:lnTo>
                  <a:lnTo>
                    <a:pt x="729" y="407"/>
                  </a:lnTo>
                  <a:lnTo>
                    <a:pt x="735" y="403"/>
                  </a:lnTo>
                  <a:lnTo>
                    <a:pt x="739" y="398"/>
                  </a:lnTo>
                  <a:lnTo>
                    <a:pt x="739" y="398"/>
                  </a:lnTo>
                  <a:lnTo>
                    <a:pt x="742" y="393"/>
                  </a:lnTo>
                  <a:lnTo>
                    <a:pt x="744" y="387"/>
                  </a:lnTo>
                  <a:lnTo>
                    <a:pt x="745" y="384"/>
                  </a:lnTo>
                  <a:lnTo>
                    <a:pt x="748" y="382"/>
                  </a:lnTo>
                  <a:lnTo>
                    <a:pt x="751" y="381"/>
                  </a:lnTo>
                  <a:lnTo>
                    <a:pt x="757" y="379"/>
                  </a:lnTo>
                  <a:lnTo>
                    <a:pt x="757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9" name="Freeform 18">
              <a:extLst>
                <a:ext uri="{FF2B5EF4-FFF2-40B4-BE49-F238E27FC236}">
                  <a16:creationId xmlns:a16="http://schemas.microsoft.com/office/drawing/2014/main" id="{66F0A24C-311D-054F-BB86-B1E6F39E0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3998913"/>
              <a:ext cx="747713" cy="598487"/>
            </a:xfrm>
            <a:custGeom>
              <a:avLst/>
              <a:gdLst>
                <a:gd name="T0" fmla="*/ 123 w 471"/>
                <a:gd name="T1" fmla="*/ 247 h 377"/>
                <a:gd name="T2" fmla="*/ 138 w 471"/>
                <a:gd name="T3" fmla="*/ 256 h 377"/>
                <a:gd name="T4" fmla="*/ 145 w 471"/>
                <a:gd name="T5" fmla="*/ 272 h 377"/>
                <a:gd name="T6" fmla="*/ 180 w 471"/>
                <a:gd name="T7" fmla="*/ 269 h 377"/>
                <a:gd name="T8" fmla="*/ 210 w 471"/>
                <a:gd name="T9" fmla="*/ 259 h 377"/>
                <a:gd name="T10" fmla="*/ 203 w 471"/>
                <a:gd name="T11" fmla="*/ 269 h 377"/>
                <a:gd name="T12" fmla="*/ 219 w 471"/>
                <a:gd name="T13" fmla="*/ 288 h 377"/>
                <a:gd name="T14" fmla="*/ 255 w 471"/>
                <a:gd name="T15" fmla="*/ 312 h 377"/>
                <a:gd name="T16" fmla="*/ 266 w 471"/>
                <a:gd name="T17" fmla="*/ 331 h 377"/>
                <a:gd name="T18" fmla="*/ 281 w 471"/>
                <a:gd name="T19" fmla="*/ 325 h 377"/>
                <a:gd name="T20" fmla="*/ 300 w 471"/>
                <a:gd name="T21" fmla="*/ 333 h 377"/>
                <a:gd name="T22" fmla="*/ 315 w 471"/>
                <a:gd name="T23" fmla="*/ 331 h 377"/>
                <a:gd name="T24" fmla="*/ 330 w 471"/>
                <a:gd name="T25" fmla="*/ 337 h 377"/>
                <a:gd name="T26" fmla="*/ 327 w 471"/>
                <a:gd name="T27" fmla="*/ 354 h 377"/>
                <a:gd name="T28" fmla="*/ 333 w 471"/>
                <a:gd name="T29" fmla="*/ 370 h 377"/>
                <a:gd name="T30" fmla="*/ 346 w 471"/>
                <a:gd name="T31" fmla="*/ 370 h 377"/>
                <a:gd name="T32" fmla="*/ 361 w 471"/>
                <a:gd name="T33" fmla="*/ 354 h 377"/>
                <a:gd name="T34" fmla="*/ 374 w 471"/>
                <a:gd name="T35" fmla="*/ 339 h 377"/>
                <a:gd name="T36" fmla="*/ 380 w 471"/>
                <a:gd name="T37" fmla="*/ 314 h 377"/>
                <a:gd name="T38" fmla="*/ 386 w 471"/>
                <a:gd name="T39" fmla="*/ 283 h 377"/>
                <a:gd name="T40" fmla="*/ 392 w 471"/>
                <a:gd name="T41" fmla="*/ 259 h 377"/>
                <a:gd name="T42" fmla="*/ 406 w 471"/>
                <a:gd name="T43" fmla="*/ 247 h 377"/>
                <a:gd name="T44" fmla="*/ 426 w 471"/>
                <a:gd name="T45" fmla="*/ 257 h 377"/>
                <a:gd name="T46" fmla="*/ 432 w 471"/>
                <a:gd name="T47" fmla="*/ 235 h 377"/>
                <a:gd name="T48" fmla="*/ 462 w 471"/>
                <a:gd name="T49" fmla="*/ 226 h 377"/>
                <a:gd name="T50" fmla="*/ 468 w 471"/>
                <a:gd name="T51" fmla="*/ 200 h 377"/>
                <a:gd name="T52" fmla="*/ 469 w 471"/>
                <a:gd name="T53" fmla="*/ 180 h 377"/>
                <a:gd name="T54" fmla="*/ 437 w 471"/>
                <a:gd name="T55" fmla="*/ 166 h 377"/>
                <a:gd name="T56" fmla="*/ 422 w 471"/>
                <a:gd name="T57" fmla="*/ 158 h 377"/>
                <a:gd name="T58" fmla="*/ 404 w 471"/>
                <a:gd name="T59" fmla="*/ 149 h 377"/>
                <a:gd name="T60" fmla="*/ 394 w 471"/>
                <a:gd name="T61" fmla="*/ 134 h 377"/>
                <a:gd name="T62" fmla="*/ 374 w 471"/>
                <a:gd name="T63" fmla="*/ 127 h 377"/>
                <a:gd name="T64" fmla="*/ 354 w 471"/>
                <a:gd name="T65" fmla="*/ 127 h 377"/>
                <a:gd name="T66" fmla="*/ 348 w 471"/>
                <a:gd name="T67" fmla="*/ 109 h 377"/>
                <a:gd name="T68" fmla="*/ 326 w 471"/>
                <a:gd name="T69" fmla="*/ 103 h 377"/>
                <a:gd name="T70" fmla="*/ 317 w 471"/>
                <a:gd name="T71" fmla="*/ 65 h 377"/>
                <a:gd name="T72" fmla="*/ 294 w 471"/>
                <a:gd name="T73" fmla="*/ 57 h 377"/>
                <a:gd name="T74" fmla="*/ 283 w 471"/>
                <a:gd name="T75" fmla="*/ 69 h 377"/>
                <a:gd name="T76" fmla="*/ 253 w 471"/>
                <a:gd name="T77" fmla="*/ 75 h 377"/>
                <a:gd name="T78" fmla="*/ 231 w 471"/>
                <a:gd name="T79" fmla="*/ 71 h 377"/>
                <a:gd name="T80" fmla="*/ 217 w 471"/>
                <a:gd name="T81" fmla="*/ 77 h 377"/>
                <a:gd name="T82" fmla="*/ 213 w 471"/>
                <a:gd name="T83" fmla="*/ 69 h 377"/>
                <a:gd name="T84" fmla="*/ 206 w 471"/>
                <a:gd name="T85" fmla="*/ 57 h 377"/>
                <a:gd name="T86" fmla="*/ 188 w 471"/>
                <a:gd name="T87" fmla="*/ 53 h 377"/>
                <a:gd name="T88" fmla="*/ 172 w 471"/>
                <a:gd name="T89" fmla="*/ 41 h 377"/>
                <a:gd name="T90" fmla="*/ 146 w 471"/>
                <a:gd name="T91" fmla="*/ 37 h 377"/>
                <a:gd name="T92" fmla="*/ 129 w 471"/>
                <a:gd name="T93" fmla="*/ 28 h 377"/>
                <a:gd name="T94" fmla="*/ 109 w 471"/>
                <a:gd name="T95" fmla="*/ 4 h 377"/>
                <a:gd name="T96" fmla="*/ 77 w 471"/>
                <a:gd name="T97" fmla="*/ 3 h 377"/>
                <a:gd name="T98" fmla="*/ 59 w 471"/>
                <a:gd name="T99" fmla="*/ 29 h 377"/>
                <a:gd name="T100" fmla="*/ 63 w 471"/>
                <a:gd name="T101" fmla="*/ 54 h 377"/>
                <a:gd name="T102" fmla="*/ 32 w 471"/>
                <a:gd name="T103" fmla="*/ 72 h 377"/>
                <a:gd name="T104" fmla="*/ 0 w 471"/>
                <a:gd name="T105" fmla="*/ 91 h 377"/>
                <a:gd name="T106" fmla="*/ 3 w 471"/>
                <a:gd name="T107" fmla="*/ 102 h 377"/>
                <a:gd name="T108" fmla="*/ 18 w 471"/>
                <a:gd name="T109" fmla="*/ 117 h 377"/>
                <a:gd name="T110" fmla="*/ 10 w 471"/>
                <a:gd name="T111" fmla="*/ 131 h 377"/>
                <a:gd name="T112" fmla="*/ 21 w 471"/>
                <a:gd name="T113" fmla="*/ 145 h 377"/>
                <a:gd name="T114" fmla="*/ 31 w 471"/>
                <a:gd name="T115" fmla="*/ 154 h 377"/>
                <a:gd name="T116" fmla="*/ 56 w 471"/>
                <a:gd name="T117" fmla="*/ 185 h 377"/>
                <a:gd name="T118" fmla="*/ 92 w 471"/>
                <a:gd name="T119" fmla="*/ 192 h 377"/>
                <a:gd name="T120" fmla="*/ 117 w 471"/>
                <a:gd name="T121" fmla="*/ 20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1" h="377">
                  <a:moveTo>
                    <a:pt x="123" y="222"/>
                  </a:moveTo>
                  <a:lnTo>
                    <a:pt x="123" y="222"/>
                  </a:lnTo>
                  <a:lnTo>
                    <a:pt x="123" y="232"/>
                  </a:lnTo>
                  <a:lnTo>
                    <a:pt x="121" y="241"/>
                  </a:lnTo>
                  <a:lnTo>
                    <a:pt x="123" y="247"/>
                  </a:lnTo>
                  <a:lnTo>
                    <a:pt x="124" y="248"/>
                  </a:lnTo>
                  <a:lnTo>
                    <a:pt x="127" y="250"/>
                  </a:lnTo>
                  <a:lnTo>
                    <a:pt x="127" y="250"/>
                  </a:lnTo>
                  <a:lnTo>
                    <a:pt x="133" y="253"/>
                  </a:lnTo>
                  <a:lnTo>
                    <a:pt x="138" y="256"/>
                  </a:lnTo>
                  <a:lnTo>
                    <a:pt x="142" y="259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8" y="272"/>
                  </a:lnTo>
                  <a:lnTo>
                    <a:pt x="160" y="272"/>
                  </a:lnTo>
                  <a:lnTo>
                    <a:pt x="160" y="272"/>
                  </a:lnTo>
                  <a:lnTo>
                    <a:pt x="175" y="271"/>
                  </a:lnTo>
                  <a:lnTo>
                    <a:pt x="180" y="269"/>
                  </a:lnTo>
                  <a:lnTo>
                    <a:pt x="189" y="266"/>
                  </a:lnTo>
                  <a:lnTo>
                    <a:pt x="189" y="266"/>
                  </a:lnTo>
                  <a:lnTo>
                    <a:pt x="204" y="259"/>
                  </a:lnTo>
                  <a:lnTo>
                    <a:pt x="209" y="257"/>
                  </a:lnTo>
                  <a:lnTo>
                    <a:pt x="210" y="259"/>
                  </a:lnTo>
                  <a:lnTo>
                    <a:pt x="210" y="260"/>
                  </a:lnTo>
                  <a:lnTo>
                    <a:pt x="210" y="260"/>
                  </a:lnTo>
                  <a:lnTo>
                    <a:pt x="207" y="263"/>
                  </a:lnTo>
                  <a:lnTo>
                    <a:pt x="204" y="268"/>
                  </a:lnTo>
                  <a:lnTo>
                    <a:pt x="203" y="269"/>
                  </a:lnTo>
                  <a:lnTo>
                    <a:pt x="201" y="271"/>
                  </a:lnTo>
                  <a:lnTo>
                    <a:pt x="203" y="274"/>
                  </a:lnTo>
                  <a:lnTo>
                    <a:pt x="204" y="277"/>
                  </a:lnTo>
                  <a:lnTo>
                    <a:pt x="204" y="277"/>
                  </a:lnTo>
                  <a:lnTo>
                    <a:pt x="219" y="288"/>
                  </a:lnTo>
                  <a:lnTo>
                    <a:pt x="235" y="300"/>
                  </a:lnTo>
                  <a:lnTo>
                    <a:pt x="235" y="300"/>
                  </a:lnTo>
                  <a:lnTo>
                    <a:pt x="241" y="305"/>
                  </a:lnTo>
                  <a:lnTo>
                    <a:pt x="249" y="308"/>
                  </a:lnTo>
                  <a:lnTo>
                    <a:pt x="255" y="312"/>
                  </a:lnTo>
                  <a:lnTo>
                    <a:pt x="257" y="317"/>
                  </a:lnTo>
                  <a:lnTo>
                    <a:pt x="257" y="317"/>
                  </a:lnTo>
                  <a:lnTo>
                    <a:pt x="260" y="327"/>
                  </a:lnTo>
                  <a:lnTo>
                    <a:pt x="262" y="330"/>
                  </a:lnTo>
                  <a:lnTo>
                    <a:pt x="266" y="331"/>
                  </a:lnTo>
                  <a:lnTo>
                    <a:pt x="266" y="331"/>
                  </a:lnTo>
                  <a:lnTo>
                    <a:pt x="272" y="330"/>
                  </a:lnTo>
                  <a:lnTo>
                    <a:pt x="275" y="328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89" y="323"/>
                  </a:lnTo>
                  <a:lnTo>
                    <a:pt x="292" y="324"/>
                  </a:lnTo>
                  <a:lnTo>
                    <a:pt x="294" y="325"/>
                  </a:lnTo>
                  <a:lnTo>
                    <a:pt x="294" y="325"/>
                  </a:lnTo>
                  <a:lnTo>
                    <a:pt x="300" y="333"/>
                  </a:lnTo>
                  <a:lnTo>
                    <a:pt x="303" y="334"/>
                  </a:lnTo>
                  <a:lnTo>
                    <a:pt x="306" y="336"/>
                  </a:lnTo>
                  <a:lnTo>
                    <a:pt x="306" y="336"/>
                  </a:lnTo>
                  <a:lnTo>
                    <a:pt x="309" y="334"/>
                  </a:lnTo>
                  <a:lnTo>
                    <a:pt x="315" y="331"/>
                  </a:lnTo>
                  <a:lnTo>
                    <a:pt x="320" y="330"/>
                  </a:lnTo>
                  <a:lnTo>
                    <a:pt x="324" y="330"/>
                  </a:lnTo>
                  <a:lnTo>
                    <a:pt x="324" y="330"/>
                  </a:lnTo>
                  <a:lnTo>
                    <a:pt x="327" y="331"/>
                  </a:lnTo>
                  <a:lnTo>
                    <a:pt x="330" y="337"/>
                  </a:lnTo>
                  <a:lnTo>
                    <a:pt x="332" y="345"/>
                  </a:lnTo>
                  <a:lnTo>
                    <a:pt x="332" y="348"/>
                  </a:lnTo>
                  <a:lnTo>
                    <a:pt x="330" y="349"/>
                  </a:lnTo>
                  <a:lnTo>
                    <a:pt x="330" y="349"/>
                  </a:lnTo>
                  <a:lnTo>
                    <a:pt x="327" y="354"/>
                  </a:lnTo>
                  <a:lnTo>
                    <a:pt x="324" y="357"/>
                  </a:lnTo>
                  <a:lnTo>
                    <a:pt x="324" y="360"/>
                  </a:lnTo>
                  <a:lnTo>
                    <a:pt x="326" y="362"/>
                  </a:lnTo>
                  <a:lnTo>
                    <a:pt x="326" y="362"/>
                  </a:lnTo>
                  <a:lnTo>
                    <a:pt x="333" y="370"/>
                  </a:lnTo>
                  <a:lnTo>
                    <a:pt x="334" y="374"/>
                  </a:lnTo>
                  <a:lnTo>
                    <a:pt x="334" y="377"/>
                  </a:lnTo>
                  <a:lnTo>
                    <a:pt x="334" y="377"/>
                  </a:lnTo>
                  <a:lnTo>
                    <a:pt x="340" y="373"/>
                  </a:lnTo>
                  <a:lnTo>
                    <a:pt x="346" y="370"/>
                  </a:lnTo>
                  <a:lnTo>
                    <a:pt x="346" y="370"/>
                  </a:lnTo>
                  <a:lnTo>
                    <a:pt x="352" y="367"/>
                  </a:lnTo>
                  <a:lnTo>
                    <a:pt x="355" y="364"/>
                  </a:lnTo>
                  <a:lnTo>
                    <a:pt x="358" y="360"/>
                  </a:lnTo>
                  <a:lnTo>
                    <a:pt x="361" y="354"/>
                  </a:lnTo>
                  <a:lnTo>
                    <a:pt x="361" y="354"/>
                  </a:lnTo>
                  <a:lnTo>
                    <a:pt x="363" y="351"/>
                  </a:lnTo>
                  <a:lnTo>
                    <a:pt x="364" y="348"/>
                  </a:lnTo>
                  <a:lnTo>
                    <a:pt x="370" y="343"/>
                  </a:lnTo>
                  <a:lnTo>
                    <a:pt x="374" y="339"/>
                  </a:lnTo>
                  <a:lnTo>
                    <a:pt x="376" y="337"/>
                  </a:lnTo>
                  <a:lnTo>
                    <a:pt x="377" y="336"/>
                  </a:lnTo>
                  <a:lnTo>
                    <a:pt x="377" y="336"/>
                  </a:lnTo>
                  <a:lnTo>
                    <a:pt x="379" y="321"/>
                  </a:lnTo>
                  <a:lnTo>
                    <a:pt x="380" y="314"/>
                  </a:lnTo>
                  <a:lnTo>
                    <a:pt x="382" y="309"/>
                  </a:lnTo>
                  <a:lnTo>
                    <a:pt x="382" y="309"/>
                  </a:lnTo>
                  <a:lnTo>
                    <a:pt x="383" y="303"/>
                  </a:lnTo>
                  <a:lnTo>
                    <a:pt x="386" y="293"/>
                  </a:lnTo>
                  <a:lnTo>
                    <a:pt x="386" y="283"/>
                  </a:lnTo>
                  <a:lnTo>
                    <a:pt x="386" y="274"/>
                  </a:lnTo>
                  <a:lnTo>
                    <a:pt x="386" y="274"/>
                  </a:lnTo>
                  <a:lnTo>
                    <a:pt x="386" y="269"/>
                  </a:lnTo>
                  <a:lnTo>
                    <a:pt x="388" y="266"/>
                  </a:lnTo>
                  <a:lnTo>
                    <a:pt x="392" y="259"/>
                  </a:lnTo>
                  <a:lnTo>
                    <a:pt x="397" y="251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4" y="247"/>
                  </a:lnTo>
                  <a:lnTo>
                    <a:pt x="406" y="247"/>
                  </a:lnTo>
                  <a:lnTo>
                    <a:pt x="410" y="250"/>
                  </a:lnTo>
                  <a:lnTo>
                    <a:pt x="420" y="257"/>
                  </a:lnTo>
                  <a:lnTo>
                    <a:pt x="420" y="257"/>
                  </a:lnTo>
                  <a:lnTo>
                    <a:pt x="423" y="259"/>
                  </a:lnTo>
                  <a:lnTo>
                    <a:pt x="426" y="257"/>
                  </a:lnTo>
                  <a:lnTo>
                    <a:pt x="428" y="253"/>
                  </a:lnTo>
                  <a:lnTo>
                    <a:pt x="431" y="247"/>
                  </a:lnTo>
                  <a:lnTo>
                    <a:pt x="431" y="240"/>
                  </a:lnTo>
                  <a:lnTo>
                    <a:pt x="431" y="240"/>
                  </a:lnTo>
                  <a:lnTo>
                    <a:pt x="432" y="235"/>
                  </a:lnTo>
                  <a:lnTo>
                    <a:pt x="437" y="232"/>
                  </a:lnTo>
                  <a:lnTo>
                    <a:pt x="440" y="231"/>
                  </a:lnTo>
                  <a:lnTo>
                    <a:pt x="441" y="229"/>
                  </a:lnTo>
                  <a:lnTo>
                    <a:pt x="441" y="229"/>
                  </a:lnTo>
                  <a:lnTo>
                    <a:pt x="462" y="226"/>
                  </a:lnTo>
                  <a:lnTo>
                    <a:pt x="462" y="226"/>
                  </a:lnTo>
                  <a:lnTo>
                    <a:pt x="460" y="225"/>
                  </a:lnTo>
                  <a:lnTo>
                    <a:pt x="460" y="223"/>
                  </a:lnTo>
                  <a:lnTo>
                    <a:pt x="460" y="216"/>
                  </a:lnTo>
                  <a:lnTo>
                    <a:pt x="468" y="200"/>
                  </a:lnTo>
                  <a:lnTo>
                    <a:pt x="468" y="200"/>
                  </a:lnTo>
                  <a:lnTo>
                    <a:pt x="469" y="192"/>
                  </a:lnTo>
                  <a:lnTo>
                    <a:pt x="471" y="186"/>
                  </a:lnTo>
                  <a:lnTo>
                    <a:pt x="471" y="182"/>
                  </a:lnTo>
                  <a:lnTo>
                    <a:pt x="469" y="180"/>
                  </a:lnTo>
                  <a:lnTo>
                    <a:pt x="469" y="180"/>
                  </a:lnTo>
                  <a:lnTo>
                    <a:pt x="446" y="167"/>
                  </a:lnTo>
                  <a:lnTo>
                    <a:pt x="446" y="167"/>
                  </a:lnTo>
                  <a:lnTo>
                    <a:pt x="441" y="166"/>
                  </a:lnTo>
                  <a:lnTo>
                    <a:pt x="437" y="166"/>
                  </a:lnTo>
                  <a:lnTo>
                    <a:pt x="432" y="166"/>
                  </a:lnTo>
                  <a:lnTo>
                    <a:pt x="428" y="166"/>
                  </a:lnTo>
                  <a:lnTo>
                    <a:pt x="428" y="166"/>
                  </a:lnTo>
                  <a:lnTo>
                    <a:pt x="425" y="163"/>
                  </a:lnTo>
                  <a:lnTo>
                    <a:pt x="422" y="158"/>
                  </a:lnTo>
                  <a:lnTo>
                    <a:pt x="417" y="151"/>
                  </a:lnTo>
                  <a:lnTo>
                    <a:pt x="417" y="151"/>
                  </a:lnTo>
                  <a:lnTo>
                    <a:pt x="411" y="151"/>
                  </a:lnTo>
                  <a:lnTo>
                    <a:pt x="411" y="151"/>
                  </a:lnTo>
                  <a:lnTo>
                    <a:pt x="404" y="149"/>
                  </a:lnTo>
                  <a:lnTo>
                    <a:pt x="401" y="148"/>
                  </a:lnTo>
                  <a:lnTo>
                    <a:pt x="401" y="145"/>
                  </a:lnTo>
                  <a:lnTo>
                    <a:pt x="401" y="145"/>
                  </a:lnTo>
                  <a:lnTo>
                    <a:pt x="397" y="139"/>
                  </a:lnTo>
                  <a:lnTo>
                    <a:pt x="394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385" y="128"/>
                  </a:lnTo>
                  <a:lnTo>
                    <a:pt x="382" y="127"/>
                  </a:lnTo>
                  <a:lnTo>
                    <a:pt x="374" y="127"/>
                  </a:lnTo>
                  <a:lnTo>
                    <a:pt x="367" y="127"/>
                  </a:lnTo>
                  <a:lnTo>
                    <a:pt x="360" y="128"/>
                  </a:lnTo>
                  <a:lnTo>
                    <a:pt x="360" y="128"/>
                  </a:lnTo>
                  <a:lnTo>
                    <a:pt x="355" y="128"/>
                  </a:lnTo>
                  <a:lnTo>
                    <a:pt x="354" y="127"/>
                  </a:lnTo>
                  <a:lnTo>
                    <a:pt x="351" y="123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49" y="111"/>
                  </a:lnTo>
                  <a:lnTo>
                    <a:pt x="348" y="109"/>
                  </a:lnTo>
                  <a:lnTo>
                    <a:pt x="343" y="108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27" y="105"/>
                  </a:lnTo>
                  <a:lnTo>
                    <a:pt x="326" y="103"/>
                  </a:lnTo>
                  <a:lnTo>
                    <a:pt x="323" y="97"/>
                  </a:lnTo>
                  <a:lnTo>
                    <a:pt x="321" y="77"/>
                  </a:lnTo>
                  <a:lnTo>
                    <a:pt x="321" y="77"/>
                  </a:lnTo>
                  <a:lnTo>
                    <a:pt x="318" y="66"/>
                  </a:lnTo>
                  <a:lnTo>
                    <a:pt x="317" y="65"/>
                  </a:lnTo>
                  <a:lnTo>
                    <a:pt x="315" y="63"/>
                  </a:lnTo>
                  <a:lnTo>
                    <a:pt x="309" y="62"/>
                  </a:lnTo>
                  <a:lnTo>
                    <a:pt x="302" y="59"/>
                  </a:lnTo>
                  <a:lnTo>
                    <a:pt x="302" y="59"/>
                  </a:lnTo>
                  <a:lnTo>
                    <a:pt x="294" y="57"/>
                  </a:lnTo>
                  <a:lnTo>
                    <a:pt x="290" y="59"/>
                  </a:lnTo>
                  <a:lnTo>
                    <a:pt x="287" y="62"/>
                  </a:lnTo>
                  <a:lnTo>
                    <a:pt x="286" y="66"/>
                  </a:lnTo>
                  <a:lnTo>
                    <a:pt x="286" y="66"/>
                  </a:lnTo>
                  <a:lnTo>
                    <a:pt x="283" y="69"/>
                  </a:lnTo>
                  <a:lnTo>
                    <a:pt x="277" y="74"/>
                  </a:lnTo>
                  <a:lnTo>
                    <a:pt x="268" y="77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3" y="75"/>
                  </a:lnTo>
                  <a:lnTo>
                    <a:pt x="249" y="74"/>
                  </a:lnTo>
                  <a:lnTo>
                    <a:pt x="243" y="72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31" y="71"/>
                  </a:lnTo>
                  <a:lnTo>
                    <a:pt x="228" y="72"/>
                  </a:lnTo>
                  <a:lnTo>
                    <a:pt x="223" y="75"/>
                  </a:lnTo>
                  <a:lnTo>
                    <a:pt x="220" y="77"/>
                  </a:lnTo>
                  <a:lnTo>
                    <a:pt x="219" y="78"/>
                  </a:lnTo>
                  <a:lnTo>
                    <a:pt x="217" y="77"/>
                  </a:lnTo>
                  <a:lnTo>
                    <a:pt x="217" y="77"/>
                  </a:lnTo>
                  <a:lnTo>
                    <a:pt x="215" y="75"/>
                  </a:lnTo>
                  <a:lnTo>
                    <a:pt x="215" y="72"/>
                  </a:lnTo>
                  <a:lnTo>
                    <a:pt x="215" y="71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9" y="63"/>
                  </a:lnTo>
                  <a:lnTo>
                    <a:pt x="206" y="57"/>
                  </a:lnTo>
                  <a:lnTo>
                    <a:pt x="206" y="57"/>
                  </a:lnTo>
                  <a:lnTo>
                    <a:pt x="203" y="54"/>
                  </a:lnTo>
                  <a:lnTo>
                    <a:pt x="198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88" y="53"/>
                  </a:lnTo>
                  <a:lnTo>
                    <a:pt x="185" y="50"/>
                  </a:lnTo>
                  <a:lnTo>
                    <a:pt x="182" y="46"/>
                  </a:lnTo>
                  <a:lnTo>
                    <a:pt x="178" y="43"/>
                  </a:lnTo>
                  <a:lnTo>
                    <a:pt x="178" y="43"/>
                  </a:lnTo>
                  <a:lnTo>
                    <a:pt x="172" y="41"/>
                  </a:lnTo>
                  <a:lnTo>
                    <a:pt x="164" y="41"/>
                  </a:lnTo>
                  <a:lnTo>
                    <a:pt x="155" y="41"/>
                  </a:lnTo>
                  <a:lnTo>
                    <a:pt x="149" y="40"/>
                  </a:lnTo>
                  <a:lnTo>
                    <a:pt x="149" y="40"/>
                  </a:lnTo>
                  <a:lnTo>
                    <a:pt x="146" y="37"/>
                  </a:lnTo>
                  <a:lnTo>
                    <a:pt x="145" y="35"/>
                  </a:lnTo>
                  <a:lnTo>
                    <a:pt x="142" y="32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29" y="28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5" y="17"/>
                  </a:lnTo>
                  <a:lnTo>
                    <a:pt x="112" y="13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95" y="1"/>
                  </a:lnTo>
                  <a:lnTo>
                    <a:pt x="83" y="0"/>
                  </a:lnTo>
                  <a:lnTo>
                    <a:pt x="80" y="1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66" y="16"/>
                  </a:lnTo>
                  <a:lnTo>
                    <a:pt x="62" y="23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35"/>
                  </a:lnTo>
                  <a:lnTo>
                    <a:pt x="61" y="43"/>
                  </a:lnTo>
                  <a:lnTo>
                    <a:pt x="63" y="49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1" y="57"/>
                  </a:lnTo>
                  <a:lnTo>
                    <a:pt x="56" y="62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32" y="72"/>
                  </a:lnTo>
                  <a:lnTo>
                    <a:pt x="25" y="74"/>
                  </a:lnTo>
                  <a:lnTo>
                    <a:pt x="16" y="77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7"/>
                  </a:lnTo>
                  <a:lnTo>
                    <a:pt x="3" y="102"/>
                  </a:lnTo>
                  <a:lnTo>
                    <a:pt x="3" y="102"/>
                  </a:lnTo>
                  <a:lnTo>
                    <a:pt x="7" y="106"/>
                  </a:lnTo>
                  <a:lnTo>
                    <a:pt x="12" y="109"/>
                  </a:lnTo>
                  <a:lnTo>
                    <a:pt x="15" y="112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5" y="127"/>
                  </a:lnTo>
                  <a:lnTo>
                    <a:pt x="12" y="130"/>
                  </a:lnTo>
                  <a:lnTo>
                    <a:pt x="10" y="131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13" y="139"/>
                  </a:lnTo>
                  <a:lnTo>
                    <a:pt x="16" y="142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8" y="146"/>
                  </a:lnTo>
                  <a:lnTo>
                    <a:pt x="29" y="148"/>
                  </a:lnTo>
                  <a:lnTo>
                    <a:pt x="31" y="154"/>
                  </a:lnTo>
                  <a:lnTo>
                    <a:pt x="31" y="154"/>
                  </a:lnTo>
                  <a:lnTo>
                    <a:pt x="34" y="163"/>
                  </a:lnTo>
                  <a:lnTo>
                    <a:pt x="40" y="170"/>
                  </a:lnTo>
                  <a:lnTo>
                    <a:pt x="47" y="179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68" y="189"/>
                  </a:lnTo>
                  <a:lnTo>
                    <a:pt x="77" y="191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101" y="194"/>
                  </a:lnTo>
                  <a:lnTo>
                    <a:pt x="108" y="197"/>
                  </a:lnTo>
                  <a:lnTo>
                    <a:pt x="108" y="197"/>
                  </a:lnTo>
                  <a:lnTo>
                    <a:pt x="112" y="200"/>
                  </a:lnTo>
                  <a:lnTo>
                    <a:pt x="117" y="204"/>
                  </a:lnTo>
                  <a:lnTo>
                    <a:pt x="120" y="211"/>
                  </a:lnTo>
                  <a:lnTo>
                    <a:pt x="123" y="222"/>
                  </a:lnTo>
                  <a:lnTo>
                    <a:pt x="123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0" name="Freeform 19">
              <a:extLst>
                <a:ext uri="{FF2B5EF4-FFF2-40B4-BE49-F238E27FC236}">
                  <a16:creationId xmlns:a16="http://schemas.microsoft.com/office/drawing/2014/main" id="{5C158FF5-FFE7-7446-95AC-0F9A94D61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5" y="5119688"/>
              <a:ext cx="360363" cy="392112"/>
            </a:xfrm>
            <a:custGeom>
              <a:avLst/>
              <a:gdLst>
                <a:gd name="T0" fmla="*/ 148 w 227"/>
                <a:gd name="T1" fmla="*/ 216 h 247"/>
                <a:gd name="T2" fmla="*/ 160 w 227"/>
                <a:gd name="T3" fmla="*/ 209 h 247"/>
                <a:gd name="T4" fmla="*/ 165 w 227"/>
                <a:gd name="T5" fmla="*/ 209 h 247"/>
                <a:gd name="T6" fmla="*/ 175 w 227"/>
                <a:gd name="T7" fmla="*/ 203 h 247"/>
                <a:gd name="T8" fmla="*/ 182 w 227"/>
                <a:gd name="T9" fmla="*/ 190 h 247"/>
                <a:gd name="T10" fmla="*/ 197 w 227"/>
                <a:gd name="T11" fmla="*/ 153 h 247"/>
                <a:gd name="T12" fmla="*/ 200 w 227"/>
                <a:gd name="T13" fmla="*/ 145 h 247"/>
                <a:gd name="T14" fmla="*/ 194 w 227"/>
                <a:gd name="T15" fmla="*/ 120 h 247"/>
                <a:gd name="T16" fmla="*/ 185 w 227"/>
                <a:gd name="T17" fmla="*/ 108 h 247"/>
                <a:gd name="T18" fmla="*/ 187 w 227"/>
                <a:gd name="T19" fmla="*/ 105 h 247"/>
                <a:gd name="T20" fmla="*/ 200 w 227"/>
                <a:gd name="T21" fmla="*/ 99 h 247"/>
                <a:gd name="T22" fmla="*/ 200 w 227"/>
                <a:gd name="T23" fmla="*/ 92 h 247"/>
                <a:gd name="T24" fmla="*/ 211 w 227"/>
                <a:gd name="T25" fmla="*/ 85 h 247"/>
                <a:gd name="T26" fmla="*/ 221 w 227"/>
                <a:gd name="T27" fmla="*/ 76 h 247"/>
                <a:gd name="T28" fmla="*/ 215 w 227"/>
                <a:gd name="T29" fmla="*/ 49 h 247"/>
                <a:gd name="T30" fmla="*/ 199 w 227"/>
                <a:gd name="T31" fmla="*/ 33 h 247"/>
                <a:gd name="T32" fmla="*/ 184 w 227"/>
                <a:gd name="T33" fmla="*/ 45 h 247"/>
                <a:gd name="T34" fmla="*/ 168 w 227"/>
                <a:gd name="T35" fmla="*/ 55 h 247"/>
                <a:gd name="T36" fmla="*/ 153 w 227"/>
                <a:gd name="T37" fmla="*/ 52 h 247"/>
                <a:gd name="T38" fmla="*/ 151 w 227"/>
                <a:gd name="T39" fmla="*/ 49 h 247"/>
                <a:gd name="T40" fmla="*/ 148 w 227"/>
                <a:gd name="T41" fmla="*/ 33 h 247"/>
                <a:gd name="T42" fmla="*/ 147 w 227"/>
                <a:gd name="T43" fmla="*/ 27 h 247"/>
                <a:gd name="T44" fmla="*/ 148 w 227"/>
                <a:gd name="T45" fmla="*/ 15 h 247"/>
                <a:gd name="T46" fmla="*/ 141 w 227"/>
                <a:gd name="T47" fmla="*/ 7 h 247"/>
                <a:gd name="T48" fmla="*/ 135 w 227"/>
                <a:gd name="T49" fmla="*/ 5 h 247"/>
                <a:gd name="T50" fmla="*/ 129 w 227"/>
                <a:gd name="T51" fmla="*/ 0 h 247"/>
                <a:gd name="T52" fmla="*/ 113 w 227"/>
                <a:gd name="T53" fmla="*/ 5 h 247"/>
                <a:gd name="T54" fmla="*/ 107 w 227"/>
                <a:gd name="T55" fmla="*/ 2 h 247"/>
                <a:gd name="T56" fmla="*/ 97 w 227"/>
                <a:gd name="T57" fmla="*/ 0 h 247"/>
                <a:gd name="T58" fmla="*/ 95 w 227"/>
                <a:gd name="T59" fmla="*/ 0 h 247"/>
                <a:gd name="T60" fmla="*/ 71 w 227"/>
                <a:gd name="T61" fmla="*/ 21 h 247"/>
                <a:gd name="T62" fmla="*/ 48 w 227"/>
                <a:gd name="T63" fmla="*/ 37 h 247"/>
                <a:gd name="T64" fmla="*/ 27 w 227"/>
                <a:gd name="T65" fmla="*/ 47 h 247"/>
                <a:gd name="T66" fmla="*/ 27 w 227"/>
                <a:gd name="T67" fmla="*/ 52 h 247"/>
                <a:gd name="T68" fmla="*/ 31 w 227"/>
                <a:gd name="T69" fmla="*/ 79 h 247"/>
                <a:gd name="T70" fmla="*/ 36 w 227"/>
                <a:gd name="T71" fmla="*/ 92 h 247"/>
                <a:gd name="T72" fmla="*/ 42 w 227"/>
                <a:gd name="T73" fmla="*/ 96 h 247"/>
                <a:gd name="T74" fmla="*/ 36 w 227"/>
                <a:gd name="T75" fmla="*/ 102 h 247"/>
                <a:gd name="T76" fmla="*/ 26 w 227"/>
                <a:gd name="T77" fmla="*/ 107 h 247"/>
                <a:gd name="T78" fmla="*/ 20 w 227"/>
                <a:gd name="T79" fmla="*/ 111 h 247"/>
                <a:gd name="T80" fmla="*/ 8 w 227"/>
                <a:gd name="T81" fmla="*/ 113 h 247"/>
                <a:gd name="T82" fmla="*/ 14 w 227"/>
                <a:gd name="T83" fmla="*/ 124 h 247"/>
                <a:gd name="T84" fmla="*/ 11 w 227"/>
                <a:gd name="T85" fmla="*/ 138 h 247"/>
                <a:gd name="T86" fmla="*/ 2 w 227"/>
                <a:gd name="T87" fmla="*/ 147 h 247"/>
                <a:gd name="T88" fmla="*/ 2 w 227"/>
                <a:gd name="T89" fmla="*/ 153 h 247"/>
                <a:gd name="T90" fmla="*/ 18 w 227"/>
                <a:gd name="T91" fmla="*/ 166 h 247"/>
                <a:gd name="T92" fmla="*/ 23 w 227"/>
                <a:gd name="T93" fmla="*/ 176 h 247"/>
                <a:gd name="T94" fmla="*/ 27 w 227"/>
                <a:gd name="T95" fmla="*/ 184 h 247"/>
                <a:gd name="T96" fmla="*/ 30 w 227"/>
                <a:gd name="T97" fmla="*/ 197 h 247"/>
                <a:gd name="T98" fmla="*/ 42 w 227"/>
                <a:gd name="T99" fmla="*/ 216 h 247"/>
                <a:gd name="T100" fmla="*/ 51 w 227"/>
                <a:gd name="T101" fmla="*/ 224 h 247"/>
                <a:gd name="T102" fmla="*/ 48 w 227"/>
                <a:gd name="T103" fmla="*/ 230 h 247"/>
                <a:gd name="T104" fmla="*/ 51 w 227"/>
                <a:gd name="T105" fmla="*/ 236 h 247"/>
                <a:gd name="T106" fmla="*/ 60 w 227"/>
                <a:gd name="T107" fmla="*/ 247 h 247"/>
                <a:gd name="T108" fmla="*/ 70 w 227"/>
                <a:gd name="T109" fmla="*/ 233 h 247"/>
                <a:gd name="T110" fmla="*/ 76 w 227"/>
                <a:gd name="T111" fmla="*/ 230 h 247"/>
                <a:gd name="T112" fmla="*/ 103 w 227"/>
                <a:gd name="T113" fmla="*/ 227 h 247"/>
                <a:gd name="T114" fmla="*/ 111 w 227"/>
                <a:gd name="T115" fmla="*/ 219 h 247"/>
                <a:gd name="T116" fmla="*/ 122 w 227"/>
                <a:gd name="T117" fmla="*/ 219 h 247"/>
                <a:gd name="T118" fmla="*/ 137 w 227"/>
                <a:gd name="T119" fmla="*/ 21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47">
                  <a:moveTo>
                    <a:pt x="144" y="216"/>
                  </a:moveTo>
                  <a:lnTo>
                    <a:pt x="144" y="216"/>
                  </a:lnTo>
                  <a:lnTo>
                    <a:pt x="148" y="216"/>
                  </a:lnTo>
                  <a:lnTo>
                    <a:pt x="151" y="215"/>
                  </a:lnTo>
                  <a:lnTo>
                    <a:pt x="156" y="212"/>
                  </a:lnTo>
                  <a:lnTo>
                    <a:pt x="160" y="209"/>
                  </a:lnTo>
                  <a:lnTo>
                    <a:pt x="162" y="209"/>
                  </a:lnTo>
                  <a:lnTo>
                    <a:pt x="165" y="209"/>
                  </a:lnTo>
                  <a:lnTo>
                    <a:pt x="165" y="209"/>
                  </a:lnTo>
                  <a:lnTo>
                    <a:pt x="168" y="209"/>
                  </a:lnTo>
                  <a:lnTo>
                    <a:pt x="171" y="207"/>
                  </a:lnTo>
                  <a:lnTo>
                    <a:pt x="175" y="203"/>
                  </a:lnTo>
                  <a:lnTo>
                    <a:pt x="180" y="19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90" y="170"/>
                  </a:lnTo>
                  <a:lnTo>
                    <a:pt x="193" y="160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9" y="150"/>
                  </a:lnTo>
                  <a:lnTo>
                    <a:pt x="200" y="145"/>
                  </a:lnTo>
                  <a:lnTo>
                    <a:pt x="199" y="136"/>
                  </a:lnTo>
                  <a:lnTo>
                    <a:pt x="197" y="127"/>
                  </a:lnTo>
                  <a:lnTo>
                    <a:pt x="194" y="120"/>
                  </a:lnTo>
                  <a:lnTo>
                    <a:pt x="194" y="120"/>
                  </a:lnTo>
                  <a:lnTo>
                    <a:pt x="187" y="111"/>
                  </a:lnTo>
                  <a:lnTo>
                    <a:pt x="185" y="108"/>
                  </a:lnTo>
                  <a:lnTo>
                    <a:pt x="185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96" y="104"/>
                  </a:lnTo>
                  <a:lnTo>
                    <a:pt x="199" y="101"/>
                  </a:lnTo>
                  <a:lnTo>
                    <a:pt x="200" y="99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2"/>
                  </a:lnTo>
                  <a:lnTo>
                    <a:pt x="203" y="89"/>
                  </a:lnTo>
                  <a:lnTo>
                    <a:pt x="206" y="87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17" y="82"/>
                  </a:lnTo>
                  <a:lnTo>
                    <a:pt x="221" y="76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15" y="49"/>
                  </a:lnTo>
                  <a:lnTo>
                    <a:pt x="206" y="37"/>
                  </a:lnTo>
                  <a:lnTo>
                    <a:pt x="202" y="34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1" y="37"/>
                  </a:lnTo>
                  <a:lnTo>
                    <a:pt x="184" y="45"/>
                  </a:lnTo>
                  <a:lnTo>
                    <a:pt x="175" y="52"/>
                  </a:lnTo>
                  <a:lnTo>
                    <a:pt x="171" y="53"/>
                  </a:lnTo>
                  <a:lnTo>
                    <a:pt x="168" y="55"/>
                  </a:lnTo>
                  <a:lnTo>
                    <a:pt x="168" y="55"/>
                  </a:lnTo>
                  <a:lnTo>
                    <a:pt x="156" y="55"/>
                  </a:lnTo>
                  <a:lnTo>
                    <a:pt x="153" y="52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3"/>
                  </a:lnTo>
                  <a:lnTo>
                    <a:pt x="151" y="39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48" y="19"/>
                  </a:lnTo>
                  <a:lnTo>
                    <a:pt x="148" y="19"/>
                  </a:lnTo>
                  <a:lnTo>
                    <a:pt x="148" y="15"/>
                  </a:lnTo>
                  <a:lnTo>
                    <a:pt x="147" y="10"/>
                  </a:lnTo>
                  <a:lnTo>
                    <a:pt x="144" y="9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37" y="6"/>
                  </a:lnTo>
                  <a:lnTo>
                    <a:pt x="135" y="5"/>
                  </a:lnTo>
                  <a:lnTo>
                    <a:pt x="132" y="2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5" y="2"/>
                  </a:lnTo>
                  <a:lnTo>
                    <a:pt x="119" y="3"/>
                  </a:lnTo>
                  <a:lnTo>
                    <a:pt x="113" y="5"/>
                  </a:lnTo>
                  <a:lnTo>
                    <a:pt x="110" y="5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1" y="5"/>
                  </a:lnTo>
                  <a:lnTo>
                    <a:pt x="83" y="9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60" y="30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36" y="43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9"/>
                  </a:lnTo>
                  <a:lnTo>
                    <a:pt x="27" y="52"/>
                  </a:lnTo>
                  <a:lnTo>
                    <a:pt x="28" y="61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85"/>
                  </a:lnTo>
                  <a:lnTo>
                    <a:pt x="34" y="89"/>
                  </a:lnTo>
                  <a:lnTo>
                    <a:pt x="36" y="92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2" y="96"/>
                  </a:lnTo>
                  <a:lnTo>
                    <a:pt x="43" y="96"/>
                  </a:lnTo>
                  <a:lnTo>
                    <a:pt x="42" y="99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0" y="105"/>
                  </a:lnTo>
                  <a:lnTo>
                    <a:pt x="26" y="107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0" y="111"/>
                  </a:lnTo>
                  <a:lnTo>
                    <a:pt x="17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4" y="124"/>
                  </a:lnTo>
                  <a:lnTo>
                    <a:pt x="14" y="127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9" y="141"/>
                  </a:lnTo>
                  <a:lnTo>
                    <a:pt x="5" y="145"/>
                  </a:lnTo>
                  <a:lnTo>
                    <a:pt x="2" y="147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53"/>
                  </a:lnTo>
                  <a:lnTo>
                    <a:pt x="6" y="157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23" y="169"/>
                  </a:lnTo>
                  <a:lnTo>
                    <a:pt x="23" y="172"/>
                  </a:lnTo>
                  <a:lnTo>
                    <a:pt x="23" y="176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7" y="184"/>
                  </a:lnTo>
                  <a:lnTo>
                    <a:pt x="28" y="190"/>
                  </a:lnTo>
                  <a:lnTo>
                    <a:pt x="30" y="197"/>
                  </a:lnTo>
                  <a:lnTo>
                    <a:pt x="30" y="197"/>
                  </a:lnTo>
                  <a:lnTo>
                    <a:pt x="31" y="202"/>
                  </a:lnTo>
                  <a:lnTo>
                    <a:pt x="36" y="209"/>
                  </a:lnTo>
                  <a:lnTo>
                    <a:pt x="42" y="216"/>
                  </a:lnTo>
                  <a:lnTo>
                    <a:pt x="48" y="221"/>
                  </a:lnTo>
                  <a:lnTo>
                    <a:pt x="48" y="221"/>
                  </a:lnTo>
                  <a:lnTo>
                    <a:pt x="51" y="224"/>
                  </a:lnTo>
                  <a:lnTo>
                    <a:pt x="49" y="227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3"/>
                  </a:lnTo>
                  <a:lnTo>
                    <a:pt x="48" y="233"/>
                  </a:lnTo>
                  <a:lnTo>
                    <a:pt x="51" y="236"/>
                  </a:lnTo>
                  <a:lnTo>
                    <a:pt x="54" y="239"/>
                  </a:lnTo>
                  <a:lnTo>
                    <a:pt x="57" y="243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39"/>
                  </a:lnTo>
                  <a:lnTo>
                    <a:pt x="70" y="233"/>
                  </a:lnTo>
                  <a:lnTo>
                    <a:pt x="73" y="231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89" y="230"/>
                  </a:lnTo>
                  <a:lnTo>
                    <a:pt x="97" y="230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7" y="222"/>
                  </a:lnTo>
                  <a:lnTo>
                    <a:pt x="111" y="219"/>
                  </a:lnTo>
                  <a:lnTo>
                    <a:pt x="117" y="218"/>
                  </a:lnTo>
                  <a:lnTo>
                    <a:pt x="122" y="219"/>
                  </a:lnTo>
                  <a:lnTo>
                    <a:pt x="122" y="219"/>
                  </a:lnTo>
                  <a:lnTo>
                    <a:pt x="126" y="219"/>
                  </a:lnTo>
                  <a:lnTo>
                    <a:pt x="131" y="218"/>
                  </a:lnTo>
                  <a:lnTo>
                    <a:pt x="137" y="216"/>
                  </a:lnTo>
                  <a:lnTo>
                    <a:pt x="144" y="216"/>
                  </a:lnTo>
                  <a:lnTo>
                    <a:pt x="144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1" name="Freeform 20">
              <a:extLst>
                <a:ext uri="{FF2B5EF4-FFF2-40B4-BE49-F238E27FC236}">
                  <a16:creationId xmlns:a16="http://schemas.microsoft.com/office/drawing/2014/main" id="{F8709B6A-55D5-BA44-8655-0027C7414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88" y="6003925"/>
              <a:ext cx="392113" cy="658812"/>
            </a:xfrm>
            <a:custGeom>
              <a:avLst/>
              <a:gdLst>
                <a:gd name="T0" fmla="*/ 247 w 247"/>
                <a:gd name="T1" fmla="*/ 333 h 415"/>
                <a:gd name="T2" fmla="*/ 238 w 247"/>
                <a:gd name="T3" fmla="*/ 280 h 415"/>
                <a:gd name="T4" fmla="*/ 230 w 247"/>
                <a:gd name="T5" fmla="*/ 240 h 415"/>
                <a:gd name="T6" fmla="*/ 232 w 247"/>
                <a:gd name="T7" fmla="*/ 209 h 415"/>
                <a:gd name="T8" fmla="*/ 244 w 247"/>
                <a:gd name="T9" fmla="*/ 188 h 415"/>
                <a:gd name="T10" fmla="*/ 237 w 247"/>
                <a:gd name="T11" fmla="*/ 167 h 415"/>
                <a:gd name="T12" fmla="*/ 222 w 247"/>
                <a:gd name="T13" fmla="*/ 120 h 415"/>
                <a:gd name="T14" fmla="*/ 209 w 247"/>
                <a:gd name="T15" fmla="*/ 99 h 415"/>
                <a:gd name="T16" fmla="*/ 190 w 247"/>
                <a:gd name="T17" fmla="*/ 95 h 415"/>
                <a:gd name="T18" fmla="*/ 163 w 247"/>
                <a:gd name="T19" fmla="*/ 87 h 415"/>
                <a:gd name="T20" fmla="*/ 169 w 247"/>
                <a:gd name="T21" fmla="*/ 75 h 415"/>
                <a:gd name="T22" fmla="*/ 170 w 247"/>
                <a:gd name="T23" fmla="*/ 64 h 415"/>
                <a:gd name="T24" fmla="*/ 157 w 247"/>
                <a:gd name="T25" fmla="*/ 64 h 415"/>
                <a:gd name="T26" fmla="*/ 144 w 247"/>
                <a:gd name="T27" fmla="*/ 68 h 415"/>
                <a:gd name="T28" fmla="*/ 133 w 247"/>
                <a:gd name="T29" fmla="*/ 47 h 415"/>
                <a:gd name="T30" fmla="*/ 121 w 247"/>
                <a:gd name="T31" fmla="*/ 28 h 415"/>
                <a:gd name="T32" fmla="*/ 80 w 247"/>
                <a:gd name="T33" fmla="*/ 13 h 415"/>
                <a:gd name="T34" fmla="*/ 71 w 247"/>
                <a:gd name="T35" fmla="*/ 12 h 415"/>
                <a:gd name="T36" fmla="*/ 59 w 247"/>
                <a:gd name="T37" fmla="*/ 0 h 415"/>
                <a:gd name="T38" fmla="*/ 44 w 247"/>
                <a:gd name="T39" fmla="*/ 10 h 415"/>
                <a:gd name="T40" fmla="*/ 47 w 247"/>
                <a:gd name="T41" fmla="*/ 33 h 415"/>
                <a:gd name="T42" fmla="*/ 47 w 247"/>
                <a:gd name="T43" fmla="*/ 59 h 415"/>
                <a:gd name="T44" fmla="*/ 47 w 247"/>
                <a:gd name="T45" fmla="*/ 68 h 415"/>
                <a:gd name="T46" fmla="*/ 33 w 247"/>
                <a:gd name="T47" fmla="*/ 95 h 415"/>
                <a:gd name="T48" fmla="*/ 34 w 247"/>
                <a:gd name="T49" fmla="*/ 104 h 415"/>
                <a:gd name="T50" fmla="*/ 22 w 247"/>
                <a:gd name="T51" fmla="*/ 115 h 415"/>
                <a:gd name="T52" fmla="*/ 7 w 247"/>
                <a:gd name="T53" fmla="*/ 124 h 415"/>
                <a:gd name="T54" fmla="*/ 0 w 247"/>
                <a:gd name="T55" fmla="*/ 138 h 415"/>
                <a:gd name="T56" fmla="*/ 15 w 247"/>
                <a:gd name="T57" fmla="*/ 166 h 415"/>
                <a:gd name="T58" fmla="*/ 15 w 247"/>
                <a:gd name="T59" fmla="*/ 175 h 415"/>
                <a:gd name="T60" fmla="*/ 37 w 247"/>
                <a:gd name="T61" fmla="*/ 201 h 415"/>
                <a:gd name="T62" fmla="*/ 36 w 247"/>
                <a:gd name="T63" fmla="*/ 212 h 415"/>
                <a:gd name="T64" fmla="*/ 15 w 247"/>
                <a:gd name="T65" fmla="*/ 218 h 415"/>
                <a:gd name="T66" fmla="*/ 6 w 247"/>
                <a:gd name="T67" fmla="*/ 228 h 415"/>
                <a:gd name="T68" fmla="*/ 16 w 247"/>
                <a:gd name="T69" fmla="*/ 240 h 415"/>
                <a:gd name="T70" fmla="*/ 15 w 247"/>
                <a:gd name="T71" fmla="*/ 249 h 415"/>
                <a:gd name="T72" fmla="*/ 3 w 247"/>
                <a:gd name="T73" fmla="*/ 264 h 415"/>
                <a:gd name="T74" fmla="*/ 10 w 247"/>
                <a:gd name="T75" fmla="*/ 267 h 415"/>
                <a:gd name="T76" fmla="*/ 30 w 247"/>
                <a:gd name="T77" fmla="*/ 267 h 415"/>
                <a:gd name="T78" fmla="*/ 33 w 247"/>
                <a:gd name="T79" fmla="*/ 284 h 415"/>
                <a:gd name="T80" fmla="*/ 41 w 247"/>
                <a:gd name="T81" fmla="*/ 301 h 415"/>
                <a:gd name="T82" fmla="*/ 58 w 247"/>
                <a:gd name="T83" fmla="*/ 307 h 415"/>
                <a:gd name="T84" fmla="*/ 81 w 247"/>
                <a:gd name="T85" fmla="*/ 326 h 415"/>
                <a:gd name="T86" fmla="*/ 95 w 247"/>
                <a:gd name="T87" fmla="*/ 336 h 415"/>
                <a:gd name="T88" fmla="*/ 90 w 247"/>
                <a:gd name="T89" fmla="*/ 347 h 415"/>
                <a:gd name="T90" fmla="*/ 96 w 247"/>
                <a:gd name="T91" fmla="*/ 363 h 415"/>
                <a:gd name="T92" fmla="*/ 108 w 247"/>
                <a:gd name="T93" fmla="*/ 378 h 415"/>
                <a:gd name="T94" fmla="*/ 107 w 247"/>
                <a:gd name="T95" fmla="*/ 392 h 415"/>
                <a:gd name="T96" fmla="*/ 127 w 247"/>
                <a:gd name="T97" fmla="*/ 392 h 415"/>
                <a:gd name="T98" fmla="*/ 132 w 247"/>
                <a:gd name="T99" fmla="*/ 398 h 415"/>
                <a:gd name="T100" fmla="*/ 130 w 247"/>
                <a:gd name="T101" fmla="*/ 415 h 415"/>
                <a:gd name="T102" fmla="*/ 157 w 247"/>
                <a:gd name="T103" fmla="*/ 404 h 415"/>
                <a:gd name="T104" fmla="*/ 158 w 247"/>
                <a:gd name="T105" fmla="*/ 394 h 415"/>
                <a:gd name="T106" fmla="*/ 153 w 247"/>
                <a:gd name="T107" fmla="*/ 389 h 415"/>
                <a:gd name="T108" fmla="*/ 154 w 247"/>
                <a:gd name="T109" fmla="*/ 369 h 415"/>
                <a:gd name="T110" fmla="*/ 167 w 247"/>
                <a:gd name="T111" fmla="*/ 378 h 415"/>
                <a:gd name="T112" fmla="*/ 184 w 247"/>
                <a:gd name="T113" fmla="*/ 379 h 415"/>
                <a:gd name="T114" fmla="*/ 185 w 247"/>
                <a:gd name="T115" fmla="*/ 369 h 415"/>
                <a:gd name="T116" fmla="*/ 194 w 247"/>
                <a:gd name="T117" fmla="*/ 357 h 415"/>
                <a:gd name="T118" fmla="*/ 210 w 247"/>
                <a:gd name="T119" fmla="*/ 364 h 415"/>
                <a:gd name="T120" fmla="*/ 225 w 247"/>
                <a:gd name="T121" fmla="*/ 367 h 415"/>
                <a:gd name="T122" fmla="*/ 246 w 247"/>
                <a:gd name="T123" fmla="*/ 35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7" h="415">
                  <a:moveTo>
                    <a:pt x="246" y="355"/>
                  </a:moveTo>
                  <a:lnTo>
                    <a:pt x="246" y="355"/>
                  </a:lnTo>
                  <a:lnTo>
                    <a:pt x="247" y="344"/>
                  </a:lnTo>
                  <a:lnTo>
                    <a:pt x="247" y="333"/>
                  </a:lnTo>
                  <a:lnTo>
                    <a:pt x="247" y="323"/>
                  </a:lnTo>
                  <a:lnTo>
                    <a:pt x="247" y="323"/>
                  </a:lnTo>
                  <a:lnTo>
                    <a:pt x="243" y="301"/>
                  </a:lnTo>
                  <a:lnTo>
                    <a:pt x="238" y="280"/>
                  </a:lnTo>
                  <a:lnTo>
                    <a:pt x="238" y="280"/>
                  </a:lnTo>
                  <a:lnTo>
                    <a:pt x="234" y="261"/>
                  </a:lnTo>
                  <a:lnTo>
                    <a:pt x="231" y="249"/>
                  </a:lnTo>
                  <a:lnTo>
                    <a:pt x="230" y="240"/>
                  </a:lnTo>
                  <a:lnTo>
                    <a:pt x="230" y="240"/>
                  </a:lnTo>
                  <a:lnTo>
                    <a:pt x="230" y="225"/>
                  </a:lnTo>
                  <a:lnTo>
                    <a:pt x="230" y="218"/>
                  </a:lnTo>
                  <a:lnTo>
                    <a:pt x="232" y="209"/>
                  </a:lnTo>
                  <a:lnTo>
                    <a:pt x="232" y="209"/>
                  </a:lnTo>
                  <a:lnTo>
                    <a:pt x="237" y="201"/>
                  </a:lnTo>
                  <a:lnTo>
                    <a:pt x="241" y="194"/>
                  </a:lnTo>
                  <a:lnTo>
                    <a:pt x="244" y="188"/>
                  </a:lnTo>
                  <a:lnTo>
                    <a:pt x="244" y="185"/>
                  </a:lnTo>
                  <a:lnTo>
                    <a:pt x="244" y="182"/>
                  </a:lnTo>
                  <a:lnTo>
                    <a:pt x="244" y="182"/>
                  </a:lnTo>
                  <a:lnTo>
                    <a:pt x="237" y="167"/>
                  </a:lnTo>
                  <a:lnTo>
                    <a:pt x="234" y="158"/>
                  </a:lnTo>
                  <a:lnTo>
                    <a:pt x="230" y="148"/>
                  </a:lnTo>
                  <a:lnTo>
                    <a:pt x="230" y="148"/>
                  </a:lnTo>
                  <a:lnTo>
                    <a:pt x="222" y="120"/>
                  </a:lnTo>
                  <a:lnTo>
                    <a:pt x="216" y="108"/>
                  </a:lnTo>
                  <a:lnTo>
                    <a:pt x="212" y="101"/>
                  </a:lnTo>
                  <a:lnTo>
                    <a:pt x="212" y="101"/>
                  </a:lnTo>
                  <a:lnTo>
                    <a:pt x="209" y="99"/>
                  </a:lnTo>
                  <a:lnTo>
                    <a:pt x="203" y="99"/>
                  </a:lnTo>
                  <a:lnTo>
                    <a:pt x="197" y="98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79" y="92"/>
                  </a:lnTo>
                  <a:lnTo>
                    <a:pt x="169" y="90"/>
                  </a:lnTo>
                  <a:lnTo>
                    <a:pt x="166" y="89"/>
                  </a:lnTo>
                  <a:lnTo>
                    <a:pt x="163" y="87"/>
                  </a:lnTo>
                  <a:lnTo>
                    <a:pt x="163" y="84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9" y="75"/>
                  </a:lnTo>
                  <a:lnTo>
                    <a:pt x="172" y="70"/>
                  </a:lnTo>
                  <a:lnTo>
                    <a:pt x="172" y="65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6" y="61"/>
                  </a:lnTo>
                  <a:lnTo>
                    <a:pt x="163" y="61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0" y="70"/>
                  </a:lnTo>
                  <a:lnTo>
                    <a:pt x="147" y="71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1" y="64"/>
                  </a:lnTo>
                  <a:lnTo>
                    <a:pt x="136" y="58"/>
                  </a:lnTo>
                  <a:lnTo>
                    <a:pt x="135" y="52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21" y="28"/>
                  </a:lnTo>
                  <a:lnTo>
                    <a:pt x="111" y="18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77" y="15"/>
                  </a:lnTo>
                  <a:lnTo>
                    <a:pt x="74" y="15"/>
                  </a:lnTo>
                  <a:lnTo>
                    <a:pt x="71" y="12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5" y="1"/>
                  </a:lnTo>
                  <a:lnTo>
                    <a:pt x="49" y="4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1" y="15"/>
                  </a:lnTo>
                  <a:lnTo>
                    <a:pt x="41" y="19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9" y="38"/>
                  </a:lnTo>
                  <a:lnTo>
                    <a:pt x="49" y="43"/>
                  </a:lnTo>
                  <a:lnTo>
                    <a:pt x="49" y="52"/>
                  </a:lnTo>
                  <a:lnTo>
                    <a:pt x="47" y="59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9" y="67"/>
                  </a:lnTo>
                  <a:lnTo>
                    <a:pt x="47" y="68"/>
                  </a:lnTo>
                  <a:lnTo>
                    <a:pt x="44" y="74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3" y="95"/>
                  </a:lnTo>
                  <a:lnTo>
                    <a:pt x="33" y="98"/>
                  </a:lnTo>
                  <a:lnTo>
                    <a:pt x="34" y="101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3" y="108"/>
                  </a:lnTo>
                  <a:lnTo>
                    <a:pt x="30" y="113"/>
                  </a:lnTo>
                  <a:lnTo>
                    <a:pt x="27" y="114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18" y="117"/>
                  </a:lnTo>
                  <a:lnTo>
                    <a:pt x="12" y="120"/>
                  </a:lnTo>
                  <a:lnTo>
                    <a:pt x="7" y="124"/>
                  </a:lnTo>
                  <a:lnTo>
                    <a:pt x="6" y="129"/>
                  </a:lnTo>
                  <a:lnTo>
                    <a:pt x="6" y="129"/>
                  </a:lnTo>
                  <a:lnTo>
                    <a:pt x="3" y="133"/>
                  </a:lnTo>
                  <a:lnTo>
                    <a:pt x="0" y="138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18" y="161"/>
                  </a:lnTo>
                  <a:lnTo>
                    <a:pt x="15" y="166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5"/>
                  </a:lnTo>
                  <a:lnTo>
                    <a:pt x="21" y="182"/>
                  </a:lnTo>
                  <a:lnTo>
                    <a:pt x="21" y="182"/>
                  </a:lnTo>
                  <a:lnTo>
                    <a:pt x="33" y="195"/>
                  </a:lnTo>
                  <a:lnTo>
                    <a:pt x="37" y="201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7" y="209"/>
                  </a:lnTo>
                  <a:lnTo>
                    <a:pt x="36" y="212"/>
                  </a:lnTo>
                  <a:lnTo>
                    <a:pt x="31" y="215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15" y="218"/>
                  </a:lnTo>
                  <a:lnTo>
                    <a:pt x="9" y="221"/>
                  </a:lnTo>
                  <a:lnTo>
                    <a:pt x="7" y="224"/>
                  </a:lnTo>
                  <a:lnTo>
                    <a:pt x="6" y="227"/>
                  </a:lnTo>
                  <a:lnTo>
                    <a:pt x="6" y="228"/>
                  </a:lnTo>
                  <a:lnTo>
                    <a:pt x="7" y="231"/>
                  </a:lnTo>
                  <a:lnTo>
                    <a:pt x="7" y="231"/>
                  </a:lnTo>
                  <a:lnTo>
                    <a:pt x="13" y="235"/>
                  </a:lnTo>
                  <a:lnTo>
                    <a:pt x="16" y="240"/>
                  </a:lnTo>
                  <a:lnTo>
                    <a:pt x="18" y="246"/>
                  </a:lnTo>
                  <a:lnTo>
                    <a:pt x="16" y="247"/>
                  </a:lnTo>
                  <a:lnTo>
                    <a:pt x="15" y="249"/>
                  </a:lnTo>
                  <a:lnTo>
                    <a:pt x="15" y="249"/>
                  </a:lnTo>
                  <a:lnTo>
                    <a:pt x="7" y="253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64"/>
                  </a:lnTo>
                  <a:lnTo>
                    <a:pt x="6" y="267"/>
                  </a:lnTo>
                  <a:lnTo>
                    <a:pt x="7" y="268"/>
                  </a:lnTo>
                  <a:lnTo>
                    <a:pt x="10" y="267"/>
                  </a:lnTo>
                  <a:lnTo>
                    <a:pt x="10" y="267"/>
                  </a:lnTo>
                  <a:lnTo>
                    <a:pt x="16" y="264"/>
                  </a:lnTo>
                  <a:lnTo>
                    <a:pt x="21" y="264"/>
                  </a:lnTo>
                  <a:lnTo>
                    <a:pt x="25" y="264"/>
                  </a:lnTo>
                  <a:lnTo>
                    <a:pt x="30" y="267"/>
                  </a:lnTo>
                  <a:lnTo>
                    <a:pt x="30" y="267"/>
                  </a:lnTo>
                  <a:lnTo>
                    <a:pt x="33" y="269"/>
                  </a:lnTo>
                  <a:lnTo>
                    <a:pt x="34" y="27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4" y="290"/>
                  </a:lnTo>
                  <a:lnTo>
                    <a:pt x="37" y="296"/>
                  </a:lnTo>
                  <a:lnTo>
                    <a:pt x="41" y="301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52" y="305"/>
                  </a:lnTo>
                  <a:lnTo>
                    <a:pt x="58" y="307"/>
                  </a:lnTo>
                  <a:lnTo>
                    <a:pt x="65" y="309"/>
                  </a:lnTo>
                  <a:lnTo>
                    <a:pt x="71" y="314"/>
                  </a:lnTo>
                  <a:lnTo>
                    <a:pt x="71" y="314"/>
                  </a:lnTo>
                  <a:lnTo>
                    <a:pt x="81" y="326"/>
                  </a:lnTo>
                  <a:lnTo>
                    <a:pt x="87" y="330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5" y="336"/>
                  </a:lnTo>
                  <a:lnTo>
                    <a:pt x="96" y="339"/>
                  </a:lnTo>
                  <a:lnTo>
                    <a:pt x="96" y="342"/>
                  </a:lnTo>
                  <a:lnTo>
                    <a:pt x="90" y="347"/>
                  </a:lnTo>
                  <a:lnTo>
                    <a:pt x="90" y="347"/>
                  </a:lnTo>
                  <a:lnTo>
                    <a:pt x="86" y="349"/>
                  </a:lnTo>
                  <a:lnTo>
                    <a:pt x="83" y="354"/>
                  </a:lnTo>
                  <a:lnTo>
                    <a:pt x="83" y="354"/>
                  </a:lnTo>
                  <a:lnTo>
                    <a:pt x="96" y="363"/>
                  </a:lnTo>
                  <a:lnTo>
                    <a:pt x="105" y="372"/>
                  </a:lnTo>
                  <a:lnTo>
                    <a:pt x="107" y="375"/>
                  </a:lnTo>
                  <a:lnTo>
                    <a:pt x="108" y="378"/>
                  </a:lnTo>
                  <a:lnTo>
                    <a:pt x="108" y="378"/>
                  </a:lnTo>
                  <a:lnTo>
                    <a:pt x="105" y="384"/>
                  </a:lnTo>
                  <a:lnTo>
                    <a:pt x="102" y="389"/>
                  </a:lnTo>
                  <a:lnTo>
                    <a:pt x="102" y="389"/>
                  </a:lnTo>
                  <a:lnTo>
                    <a:pt x="107" y="392"/>
                  </a:lnTo>
                  <a:lnTo>
                    <a:pt x="113" y="394"/>
                  </a:lnTo>
                  <a:lnTo>
                    <a:pt x="113" y="394"/>
                  </a:lnTo>
                  <a:lnTo>
                    <a:pt x="121" y="392"/>
                  </a:lnTo>
                  <a:lnTo>
                    <a:pt x="127" y="392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32" y="395"/>
                  </a:lnTo>
                  <a:lnTo>
                    <a:pt x="132" y="398"/>
                  </a:lnTo>
                  <a:lnTo>
                    <a:pt x="130" y="404"/>
                  </a:lnTo>
                  <a:lnTo>
                    <a:pt x="130" y="404"/>
                  </a:lnTo>
                  <a:lnTo>
                    <a:pt x="130" y="409"/>
                  </a:lnTo>
                  <a:lnTo>
                    <a:pt x="130" y="415"/>
                  </a:lnTo>
                  <a:lnTo>
                    <a:pt x="130" y="415"/>
                  </a:lnTo>
                  <a:lnTo>
                    <a:pt x="150" y="409"/>
                  </a:lnTo>
                  <a:lnTo>
                    <a:pt x="150" y="409"/>
                  </a:lnTo>
                  <a:lnTo>
                    <a:pt x="157" y="404"/>
                  </a:lnTo>
                  <a:lnTo>
                    <a:pt x="160" y="401"/>
                  </a:lnTo>
                  <a:lnTo>
                    <a:pt x="160" y="397"/>
                  </a:lnTo>
                  <a:lnTo>
                    <a:pt x="160" y="397"/>
                  </a:lnTo>
                  <a:lnTo>
                    <a:pt x="158" y="394"/>
                  </a:lnTo>
                  <a:lnTo>
                    <a:pt x="157" y="394"/>
                  </a:lnTo>
                  <a:lnTo>
                    <a:pt x="154" y="392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76"/>
                  </a:lnTo>
                  <a:lnTo>
                    <a:pt x="150" y="370"/>
                  </a:lnTo>
                  <a:lnTo>
                    <a:pt x="151" y="370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58" y="372"/>
                  </a:lnTo>
                  <a:lnTo>
                    <a:pt x="164" y="375"/>
                  </a:lnTo>
                  <a:lnTo>
                    <a:pt x="167" y="378"/>
                  </a:lnTo>
                  <a:lnTo>
                    <a:pt x="172" y="379"/>
                  </a:lnTo>
                  <a:lnTo>
                    <a:pt x="172" y="379"/>
                  </a:lnTo>
                  <a:lnTo>
                    <a:pt x="179" y="381"/>
                  </a:lnTo>
                  <a:lnTo>
                    <a:pt x="184" y="379"/>
                  </a:lnTo>
                  <a:lnTo>
                    <a:pt x="184" y="378"/>
                  </a:lnTo>
                  <a:lnTo>
                    <a:pt x="185" y="375"/>
                  </a:lnTo>
                  <a:lnTo>
                    <a:pt x="185" y="375"/>
                  </a:lnTo>
                  <a:lnTo>
                    <a:pt x="185" y="369"/>
                  </a:lnTo>
                  <a:lnTo>
                    <a:pt x="187" y="363"/>
                  </a:lnTo>
                  <a:lnTo>
                    <a:pt x="190" y="358"/>
                  </a:lnTo>
                  <a:lnTo>
                    <a:pt x="191" y="357"/>
                  </a:lnTo>
                  <a:lnTo>
                    <a:pt x="194" y="357"/>
                  </a:lnTo>
                  <a:lnTo>
                    <a:pt x="194" y="357"/>
                  </a:lnTo>
                  <a:lnTo>
                    <a:pt x="198" y="357"/>
                  </a:lnTo>
                  <a:lnTo>
                    <a:pt x="203" y="360"/>
                  </a:lnTo>
                  <a:lnTo>
                    <a:pt x="210" y="364"/>
                  </a:lnTo>
                  <a:lnTo>
                    <a:pt x="210" y="364"/>
                  </a:lnTo>
                  <a:lnTo>
                    <a:pt x="215" y="366"/>
                  </a:lnTo>
                  <a:lnTo>
                    <a:pt x="219" y="367"/>
                  </a:lnTo>
                  <a:lnTo>
                    <a:pt x="225" y="367"/>
                  </a:lnTo>
                  <a:lnTo>
                    <a:pt x="231" y="366"/>
                  </a:lnTo>
                  <a:lnTo>
                    <a:pt x="231" y="366"/>
                  </a:lnTo>
                  <a:lnTo>
                    <a:pt x="241" y="358"/>
                  </a:lnTo>
                  <a:lnTo>
                    <a:pt x="246" y="355"/>
                  </a:lnTo>
                  <a:lnTo>
                    <a:pt x="246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2" name="Freeform 21">
              <a:extLst>
                <a:ext uri="{FF2B5EF4-FFF2-40B4-BE49-F238E27FC236}">
                  <a16:creationId xmlns:a16="http://schemas.microsoft.com/office/drawing/2014/main" id="{B33C9BEF-4BBA-034F-997D-A53CAE9B8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013" y="4083050"/>
              <a:ext cx="523875" cy="450850"/>
            </a:xfrm>
            <a:custGeom>
              <a:avLst/>
              <a:gdLst>
                <a:gd name="T0" fmla="*/ 308 w 330"/>
                <a:gd name="T1" fmla="*/ 194 h 284"/>
                <a:gd name="T2" fmla="*/ 308 w 330"/>
                <a:gd name="T3" fmla="*/ 169 h 284"/>
                <a:gd name="T4" fmla="*/ 293 w 330"/>
                <a:gd name="T5" fmla="*/ 144 h 284"/>
                <a:gd name="T6" fmla="*/ 277 w 330"/>
                <a:gd name="T7" fmla="*/ 139 h 284"/>
                <a:gd name="T8" fmla="*/ 241 w 330"/>
                <a:gd name="T9" fmla="*/ 132 h 284"/>
                <a:gd name="T10" fmla="*/ 216 w 330"/>
                <a:gd name="T11" fmla="*/ 101 h 284"/>
                <a:gd name="T12" fmla="*/ 209 w 330"/>
                <a:gd name="T13" fmla="*/ 93 h 284"/>
                <a:gd name="T14" fmla="*/ 198 w 330"/>
                <a:gd name="T15" fmla="*/ 86 h 284"/>
                <a:gd name="T16" fmla="*/ 197 w 330"/>
                <a:gd name="T17" fmla="*/ 77 h 284"/>
                <a:gd name="T18" fmla="*/ 203 w 330"/>
                <a:gd name="T19" fmla="*/ 64 h 284"/>
                <a:gd name="T20" fmla="*/ 192 w 330"/>
                <a:gd name="T21" fmla="*/ 53 h 284"/>
                <a:gd name="T22" fmla="*/ 185 w 330"/>
                <a:gd name="T23" fmla="*/ 41 h 284"/>
                <a:gd name="T24" fmla="*/ 179 w 330"/>
                <a:gd name="T25" fmla="*/ 27 h 284"/>
                <a:gd name="T26" fmla="*/ 161 w 330"/>
                <a:gd name="T27" fmla="*/ 15 h 284"/>
                <a:gd name="T28" fmla="*/ 149 w 330"/>
                <a:gd name="T29" fmla="*/ 0 h 284"/>
                <a:gd name="T30" fmla="*/ 137 w 330"/>
                <a:gd name="T31" fmla="*/ 19 h 284"/>
                <a:gd name="T32" fmla="*/ 114 w 330"/>
                <a:gd name="T33" fmla="*/ 30 h 284"/>
                <a:gd name="T34" fmla="*/ 92 w 330"/>
                <a:gd name="T35" fmla="*/ 40 h 284"/>
                <a:gd name="T36" fmla="*/ 80 w 330"/>
                <a:gd name="T37" fmla="*/ 46 h 284"/>
                <a:gd name="T38" fmla="*/ 40 w 330"/>
                <a:gd name="T39" fmla="*/ 95 h 284"/>
                <a:gd name="T40" fmla="*/ 25 w 330"/>
                <a:gd name="T41" fmla="*/ 121 h 284"/>
                <a:gd name="T42" fmla="*/ 23 w 330"/>
                <a:gd name="T43" fmla="*/ 150 h 284"/>
                <a:gd name="T44" fmla="*/ 16 w 330"/>
                <a:gd name="T45" fmla="*/ 163 h 284"/>
                <a:gd name="T46" fmla="*/ 17 w 330"/>
                <a:gd name="T47" fmla="*/ 194 h 284"/>
                <a:gd name="T48" fmla="*/ 13 w 330"/>
                <a:gd name="T49" fmla="*/ 209 h 284"/>
                <a:gd name="T50" fmla="*/ 3 w 330"/>
                <a:gd name="T51" fmla="*/ 227 h 284"/>
                <a:gd name="T52" fmla="*/ 9 w 330"/>
                <a:gd name="T53" fmla="*/ 246 h 284"/>
                <a:gd name="T54" fmla="*/ 22 w 330"/>
                <a:gd name="T55" fmla="*/ 246 h 284"/>
                <a:gd name="T56" fmla="*/ 43 w 330"/>
                <a:gd name="T57" fmla="*/ 241 h 284"/>
                <a:gd name="T58" fmla="*/ 47 w 330"/>
                <a:gd name="T59" fmla="*/ 250 h 284"/>
                <a:gd name="T60" fmla="*/ 59 w 330"/>
                <a:gd name="T61" fmla="*/ 253 h 284"/>
                <a:gd name="T62" fmla="*/ 78 w 330"/>
                <a:gd name="T63" fmla="*/ 241 h 284"/>
                <a:gd name="T64" fmla="*/ 105 w 330"/>
                <a:gd name="T65" fmla="*/ 252 h 284"/>
                <a:gd name="T66" fmla="*/ 111 w 330"/>
                <a:gd name="T67" fmla="*/ 250 h 284"/>
                <a:gd name="T68" fmla="*/ 136 w 330"/>
                <a:gd name="T69" fmla="*/ 228 h 284"/>
                <a:gd name="T70" fmla="*/ 154 w 330"/>
                <a:gd name="T71" fmla="*/ 234 h 284"/>
                <a:gd name="T72" fmla="*/ 160 w 330"/>
                <a:gd name="T73" fmla="*/ 250 h 284"/>
                <a:gd name="T74" fmla="*/ 158 w 330"/>
                <a:gd name="T75" fmla="*/ 277 h 284"/>
                <a:gd name="T76" fmla="*/ 164 w 330"/>
                <a:gd name="T77" fmla="*/ 280 h 284"/>
                <a:gd name="T78" fmla="*/ 188 w 330"/>
                <a:gd name="T79" fmla="*/ 271 h 284"/>
                <a:gd name="T80" fmla="*/ 197 w 330"/>
                <a:gd name="T81" fmla="*/ 284 h 284"/>
                <a:gd name="T82" fmla="*/ 213 w 330"/>
                <a:gd name="T83" fmla="*/ 277 h 284"/>
                <a:gd name="T84" fmla="*/ 246 w 330"/>
                <a:gd name="T85" fmla="*/ 275 h 284"/>
                <a:gd name="T86" fmla="*/ 277 w 330"/>
                <a:gd name="T87" fmla="*/ 272 h 284"/>
                <a:gd name="T88" fmla="*/ 281 w 330"/>
                <a:gd name="T89" fmla="*/ 264 h 284"/>
                <a:gd name="T90" fmla="*/ 297 w 330"/>
                <a:gd name="T91" fmla="*/ 261 h 284"/>
                <a:gd name="T92" fmla="*/ 312 w 330"/>
                <a:gd name="T93" fmla="*/ 250 h 284"/>
                <a:gd name="T94" fmla="*/ 330 w 330"/>
                <a:gd name="T95" fmla="*/ 219 h 284"/>
                <a:gd name="T96" fmla="*/ 328 w 330"/>
                <a:gd name="T97" fmla="*/ 212 h 284"/>
                <a:gd name="T98" fmla="*/ 318 w 330"/>
                <a:gd name="T99" fmla="*/ 20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0" h="284">
                  <a:moveTo>
                    <a:pt x="312" y="197"/>
                  </a:moveTo>
                  <a:lnTo>
                    <a:pt x="312" y="197"/>
                  </a:lnTo>
                  <a:lnTo>
                    <a:pt x="309" y="195"/>
                  </a:lnTo>
                  <a:lnTo>
                    <a:pt x="308" y="194"/>
                  </a:lnTo>
                  <a:lnTo>
                    <a:pt x="306" y="188"/>
                  </a:lnTo>
                  <a:lnTo>
                    <a:pt x="308" y="17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5" y="158"/>
                  </a:lnTo>
                  <a:lnTo>
                    <a:pt x="302" y="151"/>
                  </a:lnTo>
                  <a:lnTo>
                    <a:pt x="297" y="147"/>
                  </a:lnTo>
                  <a:lnTo>
                    <a:pt x="293" y="144"/>
                  </a:lnTo>
                  <a:lnTo>
                    <a:pt x="293" y="144"/>
                  </a:lnTo>
                  <a:lnTo>
                    <a:pt x="286" y="141"/>
                  </a:lnTo>
                  <a:lnTo>
                    <a:pt x="277" y="139"/>
                  </a:lnTo>
                  <a:lnTo>
                    <a:pt x="277" y="139"/>
                  </a:lnTo>
                  <a:lnTo>
                    <a:pt x="262" y="138"/>
                  </a:lnTo>
                  <a:lnTo>
                    <a:pt x="253" y="136"/>
                  </a:lnTo>
                  <a:lnTo>
                    <a:pt x="241" y="132"/>
                  </a:lnTo>
                  <a:lnTo>
                    <a:pt x="241" y="132"/>
                  </a:lnTo>
                  <a:lnTo>
                    <a:pt x="231" y="126"/>
                  </a:lnTo>
                  <a:lnTo>
                    <a:pt x="225" y="117"/>
                  </a:lnTo>
                  <a:lnTo>
                    <a:pt x="219" y="110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4" y="95"/>
                  </a:lnTo>
                  <a:lnTo>
                    <a:pt x="213" y="93"/>
                  </a:lnTo>
                  <a:lnTo>
                    <a:pt x="209" y="93"/>
                  </a:lnTo>
                  <a:lnTo>
                    <a:pt x="209" y="93"/>
                  </a:lnTo>
                  <a:lnTo>
                    <a:pt x="206" y="92"/>
                  </a:lnTo>
                  <a:lnTo>
                    <a:pt x="201" y="89"/>
                  </a:lnTo>
                  <a:lnTo>
                    <a:pt x="198" y="86"/>
                  </a:lnTo>
                  <a:lnTo>
                    <a:pt x="195" y="81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7" y="77"/>
                  </a:lnTo>
                  <a:lnTo>
                    <a:pt x="200" y="74"/>
                  </a:lnTo>
                  <a:lnTo>
                    <a:pt x="203" y="70"/>
                  </a:lnTo>
                  <a:lnTo>
                    <a:pt x="203" y="67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0" y="59"/>
                  </a:lnTo>
                  <a:lnTo>
                    <a:pt x="197" y="56"/>
                  </a:lnTo>
                  <a:lnTo>
                    <a:pt x="192" y="53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5" y="44"/>
                  </a:lnTo>
                  <a:lnTo>
                    <a:pt x="185" y="41"/>
                  </a:lnTo>
                  <a:lnTo>
                    <a:pt x="185" y="38"/>
                  </a:lnTo>
                  <a:lnTo>
                    <a:pt x="185" y="38"/>
                  </a:lnTo>
                  <a:lnTo>
                    <a:pt x="182" y="31"/>
                  </a:lnTo>
                  <a:lnTo>
                    <a:pt x="179" y="27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64" y="18"/>
                  </a:lnTo>
                  <a:lnTo>
                    <a:pt x="161" y="15"/>
                  </a:lnTo>
                  <a:lnTo>
                    <a:pt x="158" y="12"/>
                  </a:lnTo>
                  <a:lnTo>
                    <a:pt x="158" y="12"/>
                  </a:lnTo>
                  <a:lnTo>
                    <a:pt x="154" y="6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6" y="9"/>
                  </a:lnTo>
                  <a:lnTo>
                    <a:pt x="142" y="15"/>
                  </a:lnTo>
                  <a:lnTo>
                    <a:pt x="137" y="19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23" y="25"/>
                  </a:lnTo>
                  <a:lnTo>
                    <a:pt x="114" y="3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3" y="41"/>
                  </a:lnTo>
                  <a:lnTo>
                    <a:pt x="92" y="40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6" y="38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57" y="75"/>
                  </a:lnTo>
                  <a:lnTo>
                    <a:pt x="47" y="87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34" y="102"/>
                  </a:lnTo>
                  <a:lnTo>
                    <a:pt x="29" y="111"/>
                  </a:lnTo>
                  <a:lnTo>
                    <a:pt x="25" y="121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5" y="142"/>
                  </a:lnTo>
                  <a:lnTo>
                    <a:pt x="23" y="150"/>
                  </a:lnTo>
                  <a:lnTo>
                    <a:pt x="22" y="155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6" y="163"/>
                  </a:lnTo>
                  <a:lnTo>
                    <a:pt x="15" y="167"/>
                  </a:lnTo>
                  <a:lnTo>
                    <a:pt x="15" y="176"/>
                  </a:lnTo>
                  <a:lnTo>
                    <a:pt x="16" y="187"/>
                  </a:lnTo>
                  <a:lnTo>
                    <a:pt x="17" y="194"/>
                  </a:lnTo>
                  <a:lnTo>
                    <a:pt x="17" y="194"/>
                  </a:lnTo>
                  <a:lnTo>
                    <a:pt x="17" y="197"/>
                  </a:lnTo>
                  <a:lnTo>
                    <a:pt x="17" y="200"/>
                  </a:lnTo>
                  <a:lnTo>
                    <a:pt x="13" y="209"/>
                  </a:lnTo>
                  <a:lnTo>
                    <a:pt x="9" y="21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6" y="241"/>
                  </a:lnTo>
                  <a:lnTo>
                    <a:pt x="9" y="246"/>
                  </a:lnTo>
                  <a:lnTo>
                    <a:pt x="13" y="249"/>
                  </a:lnTo>
                  <a:lnTo>
                    <a:pt x="13" y="249"/>
                  </a:lnTo>
                  <a:lnTo>
                    <a:pt x="17" y="249"/>
                  </a:lnTo>
                  <a:lnTo>
                    <a:pt x="22" y="246"/>
                  </a:lnTo>
                  <a:lnTo>
                    <a:pt x="28" y="243"/>
                  </a:lnTo>
                  <a:lnTo>
                    <a:pt x="34" y="241"/>
                  </a:lnTo>
                  <a:lnTo>
                    <a:pt x="34" y="241"/>
                  </a:lnTo>
                  <a:lnTo>
                    <a:pt x="43" y="241"/>
                  </a:lnTo>
                  <a:lnTo>
                    <a:pt x="44" y="243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7" y="250"/>
                  </a:lnTo>
                  <a:lnTo>
                    <a:pt x="52" y="253"/>
                  </a:lnTo>
                  <a:lnTo>
                    <a:pt x="55" y="255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62" y="249"/>
                  </a:lnTo>
                  <a:lnTo>
                    <a:pt x="68" y="244"/>
                  </a:lnTo>
                  <a:lnTo>
                    <a:pt x="74" y="241"/>
                  </a:lnTo>
                  <a:lnTo>
                    <a:pt x="78" y="241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94" y="247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8" y="252"/>
                  </a:lnTo>
                  <a:lnTo>
                    <a:pt x="111" y="250"/>
                  </a:lnTo>
                  <a:lnTo>
                    <a:pt x="111" y="250"/>
                  </a:lnTo>
                  <a:lnTo>
                    <a:pt x="123" y="238"/>
                  </a:lnTo>
                  <a:lnTo>
                    <a:pt x="130" y="232"/>
                  </a:lnTo>
                  <a:lnTo>
                    <a:pt x="136" y="228"/>
                  </a:lnTo>
                  <a:lnTo>
                    <a:pt x="136" y="228"/>
                  </a:lnTo>
                  <a:lnTo>
                    <a:pt x="140" y="227"/>
                  </a:lnTo>
                  <a:lnTo>
                    <a:pt x="146" y="228"/>
                  </a:lnTo>
                  <a:lnTo>
                    <a:pt x="151" y="231"/>
                  </a:lnTo>
                  <a:lnTo>
                    <a:pt x="154" y="234"/>
                  </a:lnTo>
                  <a:lnTo>
                    <a:pt x="154" y="234"/>
                  </a:lnTo>
                  <a:lnTo>
                    <a:pt x="161" y="240"/>
                  </a:lnTo>
                  <a:lnTo>
                    <a:pt x="161" y="243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57" y="262"/>
                  </a:lnTo>
                  <a:lnTo>
                    <a:pt x="157" y="272"/>
                  </a:lnTo>
                  <a:lnTo>
                    <a:pt x="158" y="277"/>
                  </a:lnTo>
                  <a:lnTo>
                    <a:pt x="160" y="280"/>
                  </a:lnTo>
                  <a:lnTo>
                    <a:pt x="161" y="281"/>
                  </a:lnTo>
                  <a:lnTo>
                    <a:pt x="164" y="280"/>
                  </a:lnTo>
                  <a:lnTo>
                    <a:pt x="164" y="280"/>
                  </a:lnTo>
                  <a:lnTo>
                    <a:pt x="179" y="271"/>
                  </a:lnTo>
                  <a:lnTo>
                    <a:pt x="185" y="268"/>
                  </a:lnTo>
                  <a:lnTo>
                    <a:pt x="188" y="270"/>
                  </a:lnTo>
                  <a:lnTo>
                    <a:pt x="188" y="271"/>
                  </a:lnTo>
                  <a:lnTo>
                    <a:pt x="188" y="271"/>
                  </a:lnTo>
                  <a:lnTo>
                    <a:pt x="191" y="280"/>
                  </a:lnTo>
                  <a:lnTo>
                    <a:pt x="192" y="283"/>
                  </a:lnTo>
                  <a:lnTo>
                    <a:pt x="197" y="284"/>
                  </a:lnTo>
                  <a:lnTo>
                    <a:pt x="197" y="284"/>
                  </a:lnTo>
                  <a:lnTo>
                    <a:pt x="201" y="283"/>
                  </a:lnTo>
                  <a:lnTo>
                    <a:pt x="206" y="281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6" y="275"/>
                  </a:lnTo>
                  <a:lnTo>
                    <a:pt x="225" y="275"/>
                  </a:lnTo>
                  <a:lnTo>
                    <a:pt x="246" y="275"/>
                  </a:lnTo>
                  <a:lnTo>
                    <a:pt x="275" y="277"/>
                  </a:lnTo>
                  <a:lnTo>
                    <a:pt x="275" y="277"/>
                  </a:lnTo>
                  <a:lnTo>
                    <a:pt x="275" y="274"/>
                  </a:lnTo>
                  <a:lnTo>
                    <a:pt x="277" y="272"/>
                  </a:lnTo>
                  <a:lnTo>
                    <a:pt x="277" y="272"/>
                  </a:lnTo>
                  <a:lnTo>
                    <a:pt x="277" y="271"/>
                  </a:lnTo>
                  <a:lnTo>
                    <a:pt x="278" y="267"/>
                  </a:lnTo>
                  <a:lnTo>
                    <a:pt x="281" y="264"/>
                  </a:lnTo>
                  <a:lnTo>
                    <a:pt x="284" y="262"/>
                  </a:lnTo>
                  <a:lnTo>
                    <a:pt x="288" y="262"/>
                  </a:lnTo>
                  <a:lnTo>
                    <a:pt x="288" y="262"/>
                  </a:lnTo>
                  <a:lnTo>
                    <a:pt x="297" y="261"/>
                  </a:lnTo>
                  <a:lnTo>
                    <a:pt x="303" y="258"/>
                  </a:lnTo>
                  <a:lnTo>
                    <a:pt x="308" y="255"/>
                  </a:lnTo>
                  <a:lnTo>
                    <a:pt x="312" y="250"/>
                  </a:lnTo>
                  <a:lnTo>
                    <a:pt x="312" y="250"/>
                  </a:lnTo>
                  <a:lnTo>
                    <a:pt x="318" y="241"/>
                  </a:lnTo>
                  <a:lnTo>
                    <a:pt x="323" y="234"/>
                  </a:lnTo>
                  <a:lnTo>
                    <a:pt x="323" y="234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28" y="212"/>
                  </a:lnTo>
                  <a:lnTo>
                    <a:pt x="328" y="212"/>
                  </a:lnTo>
                  <a:lnTo>
                    <a:pt x="327" y="206"/>
                  </a:lnTo>
                  <a:lnTo>
                    <a:pt x="323" y="203"/>
                  </a:lnTo>
                  <a:lnTo>
                    <a:pt x="318" y="200"/>
                  </a:lnTo>
                  <a:lnTo>
                    <a:pt x="312" y="197"/>
                  </a:lnTo>
                  <a:lnTo>
                    <a:pt x="312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3" name="Freeform 22">
              <a:extLst>
                <a:ext uri="{FF2B5EF4-FFF2-40B4-BE49-F238E27FC236}">
                  <a16:creationId xmlns:a16="http://schemas.microsoft.com/office/drawing/2014/main" id="{D39162B2-221C-0D4A-BECC-9833A2E5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3125" y="5300663"/>
              <a:ext cx="892175" cy="1035050"/>
            </a:xfrm>
            <a:custGeom>
              <a:avLst/>
              <a:gdLst>
                <a:gd name="T0" fmla="*/ 413 w 562"/>
                <a:gd name="T1" fmla="*/ 643 h 652"/>
                <a:gd name="T2" fmla="*/ 430 w 562"/>
                <a:gd name="T3" fmla="*/ 625 h 652"/>
                <a:gd name="T4" fmla="*/ 450 w 562"/>
                <a:gd name="T5" fmla="*/ 587 h 652"/>
                <a:gd name="T6" fmla="*/ 464 w 562"/>
                <a:gd name="T7" fmla="*/ 569 h 652"/>
                <a:gd name="T8" fmla="*/ 490 w 562"/>
                <a:gd name="T9" fmla="*/ 572 h 652"/>
                <a:gd name="T10" fmla="*/ 528 w 562"/>
                <a:gd name="T11" fmla="*/ 572 h 652"/>
                <a:gd name="T12" fmla="*/ 550 w 562"/>
                <a:gd name="T13" fmla="*/ 536 h 652"/>
                <a:gd name="T14" fmla="*/ 558 w 562"/>
                <a:gd name="T15" fmla="*/ 496 h 652"/>
                <a:gd name="T16" fmla="*/ 561 w 562"/>
                <a:gd name="T17" fmla="*/ 447 h 652"/>
                <a:gd name="T18" fmla="*/ 533 w 562"/>
                <a:gd name="T19" fmla="*/ 394 h 652"/>
                <a:gd name="T20" fmla="*/ 516 w 562"/>
                <a:gd name="T21" fmla="*/ 345 h 652"/>
                <a:gd name="T22" fmla="*/ 536 w 562"/>
                <a:gd name="T23" fmla="*/ 301 h 652"/>
                <a:gd name="T24" fmla="*/ 533 w 562"/>
                <a:gd name="T25" fmla="*/ 268 h 652"/>
                <a:gd name="T26" fmla="*/ 541 w 562"/>
                <a:gd name="T27" fmla="*/ 224 h 652"/>
                <a:gd name="T28" fmla="*/ 559 w 562"/>
                <a:gd name="T29" fmla="*/ 179 h 652"/>
                <a:gd name="T30" fmla="*/ 546 w 562"/>
                <a:gd name="T31" fmla="*/ 130 h 652"/>
                <a:gd name="T32" fmla="*/ 534 w 562"/>
                <a:gd name="T33" fmla="*/ 71 h 652"/>
                <a:gd name="T34" fmla="*/ 488 w 562"/>
                <a:gd name="T35" fmla="*/ 34 h 652"/>
                <a:gd name="T36" fmla="*/ 475 w 562"/>
                <a:gd name="T37" fmla="*/ 2 h 652"/>
                <a:gd name="T38" fmla="*/ 450 w 562"/>
                <a:gd name="T39" fmla="*/ 22 h 652"/>
                <a:gd name="T40" fmla="*/ 435 w 562"/>
                <a:gd name="T41" fmla="*/ 40 h 652"/>
                <a:gd name="T42" fmla="*/ 416 w 562"/>
                <a:gd name="T43" fmla="*/ 76 h 652"/>
                <a:gd name="T44" fmla="*/ 396 w 562"/>
                <a:gd name="T45" fmla="*/ 111 h 652"/>
                <a:gd name="T46" fmla="*/ 343 w 562"/>
                <a:gd name="T47" fmla="*/ 142 h 652"/>
                <a:gd name="T48" fmla="*/ 305 w 562"/>
                <a:gd name="T49" fmla="*/ 165 h 652"/>
                <a:gd name="T50" fmla="*/ 269 w 562"/>
                <a:gd name="T51" fmla="*/ 173 h 652"/>
                <a:gd name="T52" fmla="*/ 276 w 562"/>
                <a:gd name="T53" fmla="*/ 190 h 652"/>
                <a:gd name="T54" fmla="*/ 265 w 562"/>
                <a:gd name="T55" fmla="*/ 213 h 652"/>
                <a:gd name="T56" fmla="*/ 278 w 562"/>
                <a:gd name="T57" fmla="*/ 239 h 652"/>
                <a:gd name="T58" fmla="*/ 253 w 562"/>
                <a:gd name="T59" fmla="*/ 268 h 652"/>
                <a:gd name="T60" fmla="*/ 254 w 562"/>
                <a:gd name="T61" fmla="*/ 292 h 652"/>
                <a:gd name="T62" fmla="*/ 226 w 562"/>
                <a:gd name="T63" fmla="*/ 313 h 652"/>
                <a:gd name="T64" fmla="*/ 207 w 562"/>
                <a:gd name="T65" fmla="*/ 310 h 652"/>
                <a:gd name="T66" fmla="*/ 177 w 562"/>
                <a:gd name="T67" fmla="*/ 317 h 652"/>
                <a:gd name="T68" fmla="*/ 173 w 562"/>
                <a:gd name="T69" fmla="*/ 359 h 652"/>
                <a:gd name="T70" fmla="*/ 140 w 562"/>
                <a:gd name="T71" fmla="*/ 359 h 652"/>
                <a:gd name="T72" fmla="*/ 127 w 562"/>
                <a:gd name="T73" fmla="*/ 344 h 652"/>
                <a:gd name="T74" fmla="*/ 109 w 562"/>
                <a:gd name="T75" fmla="*/ 375 h 652"/>
                <a:gd name="T76" fmla="*/ 94 w 562"/>
                <a:gd name="T77" fmla="*/ 394 h 652"/>
                <a:gd name="T78" fmla="*/ 74 w 562"/>
                <a:gd name="T79" fmla="*/ 387 h 652"/>
                <a:gd name="T80" fmla="*/ 38 w 562"/>
                <a:gd name="T81" fmla="*/ 384 h 652"/>
                <a:gd name="T82" fmla="*/ 0 w 562"/>
                <a:gd name="T83" fmla="*/ 439 h 652"/>
                <a:gd name="T84" fmla="*/ 19 w 562"/>
                <a:gd name="T85" fmla="*/ 473 h 652"/>
                <a:gd name="T86" fmla="*/ 45 w 562"/>
                <a:gd name="T87" fmla="*/ 484 h 652"/>
                <a:gd name="T88" fmla="*/ 53 w 562"/>
                <a:gd name="T89" fmla="*/ 507 h 652"/>
                <a:gd name="T90" fmla="*/ 82 w 562"/>
                <a:gd name="T91" fmla="*/ 518 h 652"/>
                <a:gd name="T92" fmla="*/ 93 w 562"/>
                <a:gd name="T93" fmla="*/ 501 h 652"/>
                <a:gd name="T94" fmla="*/ 112 w 562"/>
                <a:gd name="T95" fmla="*/ 521 h 652"/>
                <a:gd name="T96" fmla="*/ 128 w 562"/>
                <a:gd name="T97" fmla="*/ 536 h 652"/>
                <a:gd name="T98" fmla="*/ 148 w 562"/>
                <a:gd name="T99" fmla="*/ 553 h 652"/>
                <a:gd name="T100" fmla="*/ 185 w 562"/>
                <a:gd name="T101" fmla="*/ 582 h 652"/>
                <a:gd name="T102" fmla="*/ 191 w 562"/>
                <a:gd name="T103" fmla="*/ 564 h 652"/>
                <a:gd name="T104" fmla="*/ 211 w 562"/>
                <a:gd name="T105" fmla="*/ 600 h 652"/>
                <a:gd name="T106" fmla="*/ 226 w 562"/>
                <a:gd name="T107" fmla="*/ 624 h 652"/>
                <a:gd name="T108" fmla="*/ 239 w 562"/>
                <a:gd name="T109" fmla="*/ 610 h 652"/>
                <a:gd name="T110" fmla="*/ 265 w 562"/>
                <a:gd name="T111" fmla="*/ 591 h 652"/>
                <a:gd name="T112" fmla="*/ 281 w 562"/>
                <a:gd name="T113" fmla="*/ 600 h 652"/>
                <a:gd name="T114" fmla="*/ 309 w 562"/>
                <a:gd name="T115" fmla="*/ 606 h 652"/>
                <a:gd name="T116" fmla="*/ 324 w 562"/>
                <a:gd name="T117" fmla="*/ 618 h 652"/>
                <a:gd name="T118" fmla="*/ 328 w 562"/>
                <a:gd name="T119" fmla="*/ 638 h 652"/>
                <a:gd name="T120" fmla="*/ 358 w 562"/>
                <a:gd name="T121" fmla="*/ 650 h 652"/>
                <a:gd name="T122" fmla="*/ 382 w 562"/>
                <a:gd name="T123" fmla="*/ 64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2" h="652">
                  <a:moveTo>
                    <a:pt x="393" y="633"/>
                  </a:moveTo>
                  <a:lnTo>
                    <a:pt x="393" y="633"/>
                  </a:lnTo>
                  <a:lnTo>
                    <a:pt x="398" y="633"/>
                  </a:lnTo>
                  <a:lnTo>
                    <a:pt x="404" y="634"/>
                  </a:lnTo>
                  <a:lnTo>
                    <a:pt x="408" y="637"/>
                  </a:lnTo>
                  <a:lnTo>
                    <a:pt x="413" y="643"/>
                  </a:lnTo>
                  <a:lnTo>
                    <a:pt x="413" y="643"/>
                  </a:lnTo>
                  <a:lnTo>
                    <a:pt x="413" y="647"/>
                  </a:lnTo>
                  <a:lnTo>
                    <a:pt x="413" y="652"/>
                  </a:lnTo>
                  <a:lnTo>
                    <a:pt x="413" y="652"/>
                  </a:lnTo>
                  <a:lnTo>
                    <a:pt x="417" y="647"/>
                  </a:lnTo>
                  <a:lnTo>
                    <a:pt x="422" y="638"/>
                  </a:lnTo>
                  <a:lnTo>
                    <a:pt x="430" y="625"/>
                  </a:lnTo>
                  <a:lnTo>
                    <a:pt x="430" y="625"/>
                  </a:lnTo>
                  <a:lnTo>
                    <a:pt x="436" y="619"/>
                  </a:lnTo>
                  <a:lnTo>
                    <a:pt x="439" y="615"/>
                  </a:lnTo>
                  <a:lnTo>
                    <a:pt x="441" y="609"/>
                  </a:lnTo>
                  <a:lnTo>
                    <a:pt x="441" y="609"/>
                  </a:lnTo>
                  <a:lnTo>
                    <a:pt x="444" y="595"/>
                  </a:lnTo>
                  <a:lnTo>
                    <a:pt x="445" y="590"/>
                  </a:lnTo>
                  <a:lnTo>
                    <a:pt x="450" y="587"/>
                  </a:lnTo>
                  <a:lnTo>
                    <a:pt x="450" y="587"/>
                  </a:lnTo>
                  <a:lnTo>
                    <a:pt x="453" y="584"/>
                  </a:lnTo>
                  <a:lnTo>
                    <a:pt x="456" y="581"/>
                  </a:lnTo>
                  <a:lnTo>
                    <a:pt x="457" y="575"/>
                  </a:lnTo>
                  <a:lnTo>
                    <a:pt x="457" y="575"/>
                  </a:lnTo>
                  <a:lnTo>
                    <a:pt x="460" y="570"/>
                  </a:lnTo>
                  <a:lnTo>
                    <a:pt x="464" y="569"/>
                  </a:lnTo>
                  <a:lnTo>
                    <a:pt x="470" y="566"/>
                  </a:lnTo>
                  <a:lnTo>
                    <a:pt x="476" y="566"/>
                  </a:lnTo>
                  <a:lnTo>
                    <a:pt x="476" y="566"/>
                  </a:lnTo>
                  <a:lnTo>
                    <a:pt x="487" y="567"/>
                  </a:lnTo>
                  <a:lnTo>
                    <a:pt x="488" y="569"/>
                  </a:lnTo>
                  <a:lnTo>
                    <a:pt x="490" y="572"/>
                  </a:lnTo>
                  <a:lnTo>
                    <a:pt x="490" y="572"/>
                  </a:lnTo>
                  <a:lnTo>
                    <a:pt x="490" y="573"/>
                  </a:lnTo>
                  <a:lnTo>
                    <a:pt x="490" y="575"/>
                  </a:lnTo>
                  <a:lnTo>
                    <a:pt x="493" y="576"/>
                  </a:lnTo>
                  <a:lnTo>
                    <a:pt x="503" y="576"/>
                  </a:lnTo>
                  <a:lnTo>
                    <a:pt x="503" y="576"/>
                  </a:lnTo>
                  <a:lnTo>
                    <a:pt x="516" y="575"/>
                  </a:lnTo>
                  <a:lnTo>
                    <a:pt x="528" y="572"/>
                  </a:lnTo>
                  <a:lnTo>
                    <a:pt x="537" y="567"/>
                  </a:lnTo>
                  <a:lnTo>
                    <a:pt x="540" y="564"/>
                  </a:lnTo>
                  <a:lnTo>
                    <a:pt x="543" y="561"/>
                  </a:lnTo>
                  <a:lnTo>
                    <a:pt x="543" y="561"/>
                  </a:lnTo>
                  <a:lnTo>
                    <a:pt x="546" y="554"/>
                  </a:lnTo>
                  <a:lnTo>
                    <a:pt x="549" y="545"/>
                  </a:lnTo>
                  <a:lnTo>
                    <a:pt x="550" y="536"/>
                  </a:lnTo>
                  <a:lnTo>
                    <a:pt x="552" y="529"/>
                  </a:lnTo>
                  <a:lnTo>
                    <a:pt x="552" y="529"/>
                  </a:lnTo>
                  <a:lnTo>
                    <a:pt x="555" y="521"/>
                  </a:lnTo>
                  <a:lnTo>
                    <a:pt x="558" y="513"/>
                  </a:lnTo>
                  <a:lnTo>
                    <a:pt x="558" y="504"/>
                  </a:lnTo>
                  <a:lnTo>
                    <a:pt x="558" y="496"/>
                  </a:lnTo>
                  <a:lnTo>
                    <a:pt x="558" y="496"/>
                  </a:lnTo>
                  <a:lnTo>
                    <a:pt x="555" y="487"/>
                  </a:lnTo>
                  <a:lnTo>
                    <a:pt x="553" y="476"/>
                  </a:lnTo>
                  <a:lnTo>
                    <a:pt x="555" y="465"/>
                  </a:lnTo>
                  <a:lnTo>
                    <a:pt x="556" y="459"/>
                  </a:lnTo>
                  <a:lnTo>
                    <a:pt x="558" y="456"/>
                  </a:lnTo>
                  <a:lnTo>
                    <a:pt x="558" y="456"/>
                  </a:lnTo>
                  <a:lnTo>
                    <a:pt x="561" y="447"/>
                  </a:lnTo>
                  <a:lnTo>
                    <a:pt x="562" y="434"/>
                  </a:lnTo>
                  <a:lnTo>
                    <a:pt x="561" y="421"/>
                  </a:lnTo>
                  <a:lnTo>
                    <a:pt x="561" y="416"/>
                  </a:lnTo>
                  <a:lnTo>
                    <a:pt x="558" y="412"/>
                  </a:lnTo>
                  <a:lnTo>
                    <a:pt x="558" y="412"/>
                  </a:lnTo>
                  <a:lnTo>
                    <a:pt x="547" y="404"/>
                  </a:lnTo>
                  <a:lnTo>
                    <a:pt x="533" y="394"/>
                  </a:lnTo>
                  <a:lnTo>
                    <a:pt x="518" y="384"/>
                  </a:lnTo>
                  <a:lnTo>
                    <a:pt x="513" y="378"/>
                  </a:lnTo>
                  <a:lnTo>
                    <a:pt x="512" y="373"/>
                  </a:lnTo>
                  <a:lnTo>
                    <a:pt x="512" y="373"/>
                  </a:lnTo>
                  <a:lnTo>
                    <a:pt x="512" y="359"/>
                  </a:lnTo>
                  <a:lnTo>
                    <a:pt x="513" y="353"/>
                  </a:lnTo>
                  <a:lnTo>
                    <a:pt x="516" y="345"/>
                  </a:lnTo>
                  <a:lnTo>
                    <a:pt x="516" y="345"/>
                  </a:lnTo>
                  <a:lnTo>
                    <a:pt x="521" y="335"/>
                  </a:lnTo>
                  <a:lnTo>
                    <a:pt x="525" y="323"/>
                  </a:lnTo>
                  <a:lnTo>
                    <a:pt x="530" y="313"/>
                  </a:lnTo>
                  <a:lnTo>
                    <a:pt x="533" y="305"/>
                  </a:lnTo>
                  <a:lnTo>
                    <a:pt x="533" y="305"/>
                  </a:lnTo>
                  <a:lnTo>
                    <a:pt x="536" y="301"/>
                  </a:lnTo>
                  <a:lnTo>
                    <a:pt x="537" y="298"/>
                  </a:lnTo>
                  <a:lnTo>
                    <a:pt x="537" y="292"/>
                  </a:lnTo>
                  <a:lnTo>
                    <a:pt x="536" y="286"/>
                  </a:lnTo>
                  <a:lnTo>
                    <a:pt x="536" y="286"/>
                  </a:lnTo>
                  <a:lnTo>
                    <a:pt x="531" y="276"/>
                  </a:lnTo>
                  <a:lnTo>
                    <a:pt x="531" y="271"/>
                  </a:lnTo>
                  <a:lnTo>
                    <a:pt x="533" y="268"/>
                  </a:lnTo>
                  <a:lnTo>
                    <a:pt x="533" y="268"/>
                  </a:lnTo>
                  <a:lnTo>
                    <a:pt x="536" y="264"/>
                  </a:lnTo>
                  <a:lnTo>
                    <a:pt x="537" y="262"/>
                  </a:lnTo>
                  <a:lnTo>
                    <a:pt x="539" y="252"/>
                  </a:lnTo>
                  <a:lnTo>
                    <a:pt x="539" y="252"/>
                  </a:lnTo>
                  <a:lnTo>
                    <a:pt x="540" y="240"/>
                  </a:lnTo>
                  <a:lnTo>
                    <a:pt x="541" y="224"/>
                  </a:lnTo>
                  <a:lnTo>
                    <a:pt x="546" y="206"/>
                  </a:lnTo>
                  <a:lnTo>
                    <a:pt x="549" y="200"/>
                  </a:lnTo>
                  <a:lnTo>
                    <a:pt x="552" y="196"/>
                  </a:lnTo>
                  <a:lnTo>
                    <a:pt x="552" y="196"/>
                  </a:lnTo>
                  <a:lnTo>
                    <a:pt x="555" y="193"/>
                  </a:lnTo>
                  <a:lnTo>
                    <a:pt x="556" y="190"/>
                  </a:lnTo>
                  <a:lnTo>
                    <a:pt x="559" y="179"/>
                  </a:lnTo>
                  <a:lnTo>
                    <a:pt x="561" y="169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58" y="153"/>
                  </a:lnTo>
                  <a:lnTo>
                    <a:pt x="553" y="145"/>
                  </a:lnTo>
                  <a:lnTo>
                    <a:pt x="549" y="138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4" y="119"/>
                  </a:lnTo>
                  <a:lnTo>
                    <a:pt x="541" y="101"/>
                  </a:lnTo>
                  <a:lnTo>
                    <a:pt x="539" y="85"/>
                  </a:lnTo>
                  <a:lnTo>
                    <a:pt x="537" y="77"/>
                  </a:lnTo>
                  <a:lnTo>
                    <a:pt x="534" y="71"/>
                  </a:lnTo>
                  <a:lnTo>
                    <a:pt x="534" y="71"/>
                  </a:lnTo>
                  <a:lnTo>
                    <a:pt x="524" y="64"/>
                  </a:lnTo>
                  <a:lnTo>
                    <a:pt x="510" y="55"/>
                  </a:lnTo>
                  <a:lnTo>
                    <a:pt x="499" y="48"/>
                  </a:lnTo>
                  <a:lnTo>
                    <a:pt x="494" y="45"/>
                  </a:lnTo>
                  <a:lnTo>
                    <a:pt x="491" y="42"/>
                  </a:lnTo>
                  <a:lnTo>
                    <a:pt x="491" y="42"/>
                  </a:lnTo>
                  <a:lnTo>
                    <a:pt x="488" y="34"/>
                  </a:lnTo>
                  <a:lnTo>
                    <a:pt x="488" y="27"/>
                  </a:lnTo>
                  <a:lnTo>
                    <a:pt x="487" y="19"/>
                  </a:lnTo>
                  <a:lnTo>
                    <a:pt x="485" y="13"/>
                  </a:lnTo>
                  <a:lnTo>
                    <a:pt x="485" y="13"/>
                  </a:lnTo>
                  <a:lnTo>
                    <a:pt x="484" y="9"/>
                  </a:lnTo>
                  <a:lnTo>
                    <a:pt x="479" y="5"/>
                  </a:lnTo>
                  <a:lnTo>
                    <a:pt x="475" y="2"/>
                  </a:lnTo>
                  <a:lnTo>
                    <a:pt x="469" y="0"/>
                  </a:lnTo>
                  <a:lnTo>
                    <a:pt x="469" y="0"/>
                  </a:lnTo>
                  <a:lnTo>
                    <a:pt x="464" y="0"/>
                  </a:lnTo>
                  <a:lnTo>
                    <a:pt x="462" y="3"/>
                  </a:lnTo>
                  <a:lnTo>
                    <a:pt x="462" y="3"/>
                  </a:lnTo>
                  <a:lnTo>
                    <a:pt x="453" y="16"/>
                  </a:lnTo>
                  <a:lnTo>
                    <a:pt x="450" y="22"/>
                  </a:lnTo>
                  <a:lnTo>
                    <a:pt x="450" y="22"/>
                  </a:lnTo>
                  <a:lnTo>
                    <a:pt x="450" y="25"/>
                  </a:lnTo>
                  <a:lnTo>
                    <a:pt x="448" y="30"/>
                  </a:lnTo>
                  <a:lnTo>
                    <a:pt x="448" y="30"/>
                  </a:lnTo>
                  <a:lnTo>
                    <a:pt x="445" y="34"/>
                  </a:lnTo>
                  <a:lnTo>
                    <a:pt x="439" y="37"/>
                  </a:lnTo>
                  <a:lnTo>
                    <a:pt x="435" y="40"/>
                  </a:lnTo>
                  <a:lnTo>
                    <a:pt x="430" y="43"/>
                  </a:lnTo>
                  <a:lnTo>
                    <a:pt x="430" y="43"/>
                  </a:lnTo>
                  <a:lnTo>
                    <a:pt x="427" y="48"/>
                  </a:lnTo>
                  <a:lnTo>
                    <a:pt x="424" y="52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16" y="76"/>
                  </a:lnTo>
                  <a:lnTo>
                    <a:pt x="413" y="80"/>
                  </a:lnTo>
                  <a:lnTo>
                    <a:pt x="411" y="85"/>
                  </a:lnTo>
                  <a:lnTo>
                    <a:pt x="411" y="85"/>
                  </a:lnTo>
                  <a:lnTo>
                    <a:pt x="411" y="90"/>
                  </a:lnTo>
                  <a:lnTo>
                    <a:pt x="408" y="96"/>
                  </a:lnTo>
                  <a:lnTo>
                    <a:pt x="404" y="104"/>
                  </a:lnTo>
                  <a:lnTo>
                    <a:pt x="396" y="111"/>
                  </a:lnTo>
                  <a:lnTo>
                    <a:pt x="396" y="111"/>
                  </a:lnTo>
                  <a:lnTo>
                    <a:pt x="386" y="119"/>
                  </a:lnTo>
                  <a:lnTo>
                    <a:pt x="376" y="125"/>
                  </a:lnTo>
                  <a:lnTo>
                    <a:pt x="359" y="132"/>
                  </a:lnTo>
                  <a:lnTo>
                    <a:pt x="359" y="132"/>
                  </a:lnTo>
                  <a:lnTo>
                    <a:pt x="352" y="136"/>
                  </a:lnTo>
                  <a:lnTo>
                    <a:pt x="343" y="142"/>
                  </a:lnTo>
                  <a:lnTo>
                    <a:pt x="334" y="150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4" y="160"/>
                  </a:lnTo>
                  <a:lnTo>
                    <a:pt x="318" y="163"/>
                  </a:lnTo>
                  <a:lnTo>
                    <a:pt x="312" y="165"/>
                  </a:lnTo>
                  <a:lnTo>
                    <a:pt x="305" y="165"/>
                  </a:lnTo>
                  <a:lnTo>
                    <a:pt x="305" y="165"/>
                  </a:lnTo>
                  <a:lnTo>
                    <a:pt x="296" y="165"/>
                  </a:lnTo>
                  <a:lnTo>
                    <a:pt x="287" y="166"/>
                  </a:lnTo>
                  <a:lnTo>
                    <a:pt x="278" y="169"/>
                  </a:lnTo>
                  <a:lnTo>
                    <a:pt x="272" y="172"/>
                  </a:lnTo>
                  <a:lnTo>
                    <a:pt x="272" y="172"/>
                  </a:lnTo>
                  <a:lnTo>
                    <a:pt x="269" y="173"/>
                  </a:lnTo>
                  <a:lnTo>
                    <a:pt x="265" y="175"/>
                  </a:lnTo>
                  <a:lnTo>
                    <a:pt x="265" y="175"/>
                  </a:lnTo>
                  <a:lnTo>
                    <a:pt x="265" y="176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73" y="185"/>
                  </a:lnTo>
                  <a:lnTo>
                    <a:pt x="276" y="190"/>
                  </a:lnTo>
                  <a:lnTo>
                    <a:pt x="278" y="194"/>
                  </a:lnTo>
                  <a:lnTo>
                    <a:pt x="275" y="199"/>
                  </a:lnTo>
                  <a:lnTo>
                    <a:pt x="275" y="199"/>
                  </a:lnTo>
                  <a:lnTo>
                    <a:pt x="268" y="203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8" y="219"/>
                  </a:lnTo>
                  <a:lnTo>
                    <a:pt x="272" y="225"/>
                  </a:lnTo>
                  <a:lnTo>
                    <a:pt x="275" y="230"/>
                  </a:lnTo>
                  <a:lnTo>
                    <a:pt x="278" y="236"/>
                  </a:lnTo>
                  <a:lnTo>
                    <a:pt x="278" y="236"/>
                  </a:lnTo>
                  <a:lnTo>
                    <a:pt x="278" y="239"/>
                  </a:lnTo>
                  <a:lnTo>
                    <a:pt x="276" y="244"/>
                  </a:lnTo>
                  <a:lnTo>
                    <a:pt x="272" y="253"/>
                  </a:lnTo>
                  <a:lnTo>
                    <a:pt x="266" y="262"/>
                  </a:lnTo>
                  <a:lnTo>
                    <a:pt x="262" y="265"/>
                  </a:lnTo>
                  <a:lnTo>
                    <a:pt x="259" y="267"/>
                  </a:lnTo>
                  <a:lnTo>
                    <a:pt x="259" y="267"/>
                  </a:lnTo>
                  <a:lnTo>
                    <a:pt x="253" y="268"/>
                  </a:lnTo>
                  <a:lnTo>
                    <a:pt x="248" y="270"/>
                  </a:lnTo>
                  <a:lnTo>
                    <a:pt x="247" y="274"/>
                  </a:lnTo>
                  <a:lnTo>
                    <a:pt x="247" y="279"/>
                  </a:lnTo>
                  <a:lnTo>
                    <a:pt x="247" y="279"/>
                  </a:lnTo>
                  <a:lnTo>
                    <a:pt x="250" y="286"/>
                  </a:lnTo>
                  <a:lnTo>
                    <a:pt x="254" y="292"/>
                  </a:lnTo>
                  <a:lnTo>
                    <a:pt x="254" y="292"/>
                  </a:lnTo>
                  <a:lnTo>
                    <a:pt x="254" y="295"/>
                  </a:lnTo>
                  <a:lnTo>
                    <a:pt x="253" y="298"/>
                  </a:lnTo>
                  <a:lnTo>
                    <a:pt x="248" y="304"/>
                  </a:lnTo>
                  <a:lnTo>
                    <a:pt x="241" y="308"/>
                  </a:lnTo>
                  <a:lnTo>
                    <a:pt x="232" y="311"/>
                  </a:lnTo>
                  <a:lnTo>
                    <a:pt x="232" y="311"/>
                  </a:lnTo>
                  <a:lnTo>
                    <a:pt x="226" y="313"/>
                  </a:lnTo>
                  <a:lnTo>
                    <a:pt x="222" y="314"/>
                  </a:lnTo>
                  <a:lnTo>
                    <a:pt x="219" y="316"/>
                  </a:lnTo>
                  <a:lnTo>
                    <a:pt x="214" y="316"/>
                  </a:lnTo>
                  <a:lnTo>
                    <a:pt x="214" y="316"/>
                  </a:lnTo>
                  <a:lnTo>
                    <a:pt x="211" y="314"/>
                  </a:lnTo>
                  <a:lnTo>
                    <a:pt x="208" y="311"/>
                  </a:lnTo>
                  <a:lnTo>
                    <a:pt x="207" y="310"/>
                  </a:lnTo>
                  <a:lnTo>
                    <a:pt x="204" y="308"/>
                  </a:lnTo>
                  <a:lnTo>
                    <a:pt x="204" y="308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2" y="311"/>
                  </a:lnTo>
                  <a:lnTo>
                    <a:pt x="179" y="314"/>
                  </a:lnTo>
                  <a:lnTo>
                    <a:pt x="177" y="317"/>
                  </a:lnTo>
                  <a:lnTo>
                    <a:pt x="176" y="323"/>
                  </a:lnTo>
                  <a:lnTo>
                    <a:pt x="174" y="333"/>
                  </a:lnTo>
                  <a:lnTo>
                    <a:pt x="176" y="342"/>
                  </a:lnTo>
                  <a:lnTo>
                    <a:pt x="176" y="342"/>
                  </a:lnTo>
                  <a:lnTo>
                    <a:pt x="177" y="348"/>
                  </a:lnTo>
                  <a:lnTo>
                    <a:pt x="176" y="354"/>
                  </a:lnTo>
                  <a:lnTo>
                    <a:pt x="173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59" y="361"/>
                  </a:lnTo>
                  <a:lnTo>
                    <a:pt x="151" y="363"/>
                  </a:lnTo>
                  <a:lnTo>
                    <a:pt x="143" y="361"/>
                  </a:lnTo>
                  <a:lnTo>
                    <a:pt x="142" y="360"/>
                  </a:lnTo>
                  <a:lnTo>
                    <a:pt x="140" y="359"/>
                  </a:lnTo>
                  <a:lnTo>
                    <a:pt x="140" y="359"/>
                  </a:lnTo>
                  <a:lnTo>
                    <a:pt x="137" y="348"/>
                  </a:lnTo>
                  <a:lnTo>
                    <a:pt x="136" y="344"/>
                  </a:lnTo>
                  <a:lnTo>
                    <a:pt x="134" y="344"/>
                  </a:lnTo>
                  <a:lnTo>
                    <a:pt x="133" y="342"/>
                  </a:lnTo>
                  <a:lnTo>
                    <a:pt x="133" y="342"/>
                  </a:lnTo>
                  <a:lnTo>
                    <a:pt x="127" y="344"/>
                  </a:lnTo>
                  <a:lnTo>
                    <a:pt x="121" y="347"/>
                  </a:lnTo>
                  <a:lnTo>
                    <a:pt x="115" y="350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9"/>
                  </a:lnTo>
                  <a:lnTo>
                    <a:pt x="112" y="366"/>
                  </a:lnTo>
                  <a:lnTo>
                    <a:pt x="109" y="375"/>
                  </a:lnTo>
                  <a:lnTo>
                    <a:pt x="106" y="378"/>
                  </a:lnTo>
                  <a:lnTo>
                    <a:pt x="103" y="381"/>
                  </a:lnTo>
                  <a:lnTo>
                    <a:pt x="103" y="381"/>
                  </a:lnTo>
                  <a:lnTo>
                    <a:pt x="99" y="382"/>
                  </a:lnTo>
                  <a:lnTo>
                    <a:pt x="97" y="385"/>
                  </a:lnTo>
                  <a:lnTo>
                    <a:pt x="96" y="391"/>
                  </a:lnTo>
                  <a:lnTo>
                    <a:pt x="94" y="394"/>
                  </a:lnTo>
                  <a:lnTo>
                    <a:pt x="93" y="396"/>
                  </a:lnTo>
                  <a:lnTo>
                    <a:pt x="91" y="396"/>
                  </a:lnTo>
                  <a:lnTo>
                    <a:pt x="91" y="396"/>
                  </a:lnTo>
                  <a:lnTo>
                    <a:pt x="87" y="393"/>
                  </a:lnTo>
                  <a:lnTo>
                    <a:pt x="84" y="391"/>
                  </a:lnTo>
                  <a:lnTo>
                    <a:pt x="79" y="388"/>
                  </a:lnTo>
                  <a:lnTo>
                    <a:pt x="74" y="387"/>
                  </a:lnTo>
                  <a:lnTo>
                    <a:pt x="74" y="387"/>
                  </a:lnTo>
                  <a:lnTo>
                    <a:pt x="48" y="379"/>
                  </a:lnTo>
                  <a:lnTo>
                    <a:pt x="48" y="379"/>
                  </a:lnTo>
                  <a:lnTo>
                    <a:pt x="45" y="378"/>
                  </a:lnTo>
                  <a:lnTo>
                    <a:pt x="42" y="378"/>
                  </a:lnTo>
                  <a:lnTo>
                    <a:pt x="39" y="379"/>
                  </a:lnTo>
                  <a:lnTo>
                    <a:pt x="38" y="384"/>
                  </a:lnTo>
                  <a:lnTo>
                    <a:pt x="38" y="384"/>
                  </a:lnTo>
                  <a:lnTo>
                    <a:pt x="35" y="390"/>
                  </a:lnTo>
                  <a:lnTo>
                    <a:pt x="31" y="396"/>
                  </a:lnTo>
                  <a:lnTo>
                    <a:pt x="22" y="409"/>
                  </a:lnTo>
                  <a:lnTo>
                    <a:pt x="2" y="434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2" y="441"/>
                  </a:lnTo>
                  <a:lnTo>
                    <a:pt x="2" y="446"/>
                  </a:lnTo>
                  <a:lnTo>
                    <a:pt x="4" y="455"/>
                  </a:lnTo>
                  <a:lnTo>
                    <a:pt x="4" y="455"/>
                  </a:lnTo>
                  <a:lnTo>
                    <a:pt x="5" y="459"/>
                  </a:lnTo>
                  <a:lnTo>
                    <a:pt x="8" y="464"/>
                  </a:lnTo>
                  <a:lnTo>
                    <a:pt x="19" y="473"/>
                  </a:lnTo>
                  <a:lnTo>
                    <a:pt x="19" y="473"/>
                  </a:lnTo>
                  <a:lnTo>
                    <a:pt x="25" y="477"/>
                  </a:lnTo>
                  <a:lnTo>
                    <a:pt x="31" y="481"/>
                  </a:lnTo>
                  <a:lnTo>
                    <a:pt x="37" y="483"/>
                  </a:lnTo>
                  <a:lnTo>
                    <a:pt x="42" y="484"/>
                  </a:lnTo>
                  <a:lnTo>
                    <a:pt x="42" y="484"/>
                  </a:lnTo>
                  <a:lnTo>
                    <a:pt x="45" y="484"/>
                  </a:lnTo>
                  <a:lnTo>
                    <a:pt x="48" y="486"/>
                  </a:lnTo>
                  <a:lnTo>
                    <a:pt x="51" y="492"/>
                  </a:lnTo>
                  <a:lnTo>
                    <a:pt x="51" y="498"/>
                  </a:lnTo>
                  <a:lnTo>
                    <a:pt x="51" y="504"/>
                  </a:lnTo>
                  <a:lnTo>
                    <a:pt x="51" y="504"/>
                  </a:lnTo>
                  <a:lnTo>
                    <a:pt x="51" y="505"/>
                  </a:lnTo>
                  <a:lnTo>
                    <a:pt x="53" y="507"/>
                  </a:lnTo>
                  <a:lnTo>
                    <a:pt x="62" y="510"/>
                  </a:lnTo>
                  <a:lnTo>
                    <a:pt x="69" y="513"/>
                  </a:lnTo>
                  <a:lnTo>
                    <a:pt x="74" y="514"/>
                  </a:lnTo>
                  <a:lnTo>
                    <a:pt x="74" y="514"/>
                  </a:lnTo>
                  <a:lnTo>
                    <a:pt x="78" y="521"/>
                  </a:lnTo>
                  <a:lnTo>
                    <a:pt x="78" y="521"/>
                  </a:lnTo>
                  <a:lnTo>
                    <a:pt x="82" y="518"/>
                  </a:lnTo>
                  <a:lnTo>
                    <a:pt x="85" y="517"/>
                  </a:lnTo>
                  <a:lnTo>
                    <a:pt x="88" y="513"/>
                  </a:lnTo>
                  <a:lnTo>
                    <a:pt x="88" y="513"/>
                  </a:lnTo>
                  <a:lnTo>
                    <a:pt x="91" y="505"/>
                  </a:lnTo>
                  <a:lnTo>
                    <a:pt x="91" y="502"/>
                  </a:lnTo>
                  <a:lnTo>
                    <a:pt x="93" y="501"/>
                  </a:lnTo>
                  <a:lnTo>
                    <a:pt x="93" y="501"/>
                  </a:lnTo>
                  <a:lnTo>
                    <a:pt x="94" y="499"/>
                  </a:lnTo>
                  <a:lnTo>
                    <a:pt x="97" y="499"/>
                  </a:lnTo>
                  <a:lnTo>
                    <a:pt x="100" y="501"/>
                  </a:lnTo>
                  <a:lnTo>
                    <a:pt x="105" y="505"/>
                  </a:lnTo>
                  <a:lnTo>
                    <a:pt x="105" y="505"/>
                  </a:lnTo>
                  <a:lnTo>
                    <a:pt x="111" y="514"/>
                  </a:lnTo>
                  <a:lnTo>
                    <a:pt x="112" y="521"/>
                  </a:lnTo>
                  <a:lnTo>
                    <a:pt x="112" y="521"/>
                  </a:lnTo>
                  <a:lnTo>
                    <a:pt x="114" y="526"/>
                  </a:lnTo>
                  <a:lnTo>
                    <a:pt x="115" y="527"/>
                  </a:lnTo>
                  <a:lnTo>
                    <a:pt x="124" y="532"/>
                  </a:lnTo>
                  <a:lnTo>
                    <a:pt x="124" y="532"/>
                  </a:lnTo>
                  <a:lnTo>
                    <a:pt x="127" y="535"/>
                  </a:lnTo>
                  <a:lnTo>
                    <a:pt x="128" y="536"/>
                  </a:lnTo>
                  <a:lnTo>
                    <a:pt x="128" y="541"/>
                  </a:lnTo>
                  <a:lnTo>
                    <a:pt x="128" y="544"/>
                  </a:lnTo>
                  <a:lnTo>
                    <a:pt x="128" y="545"/>
                  </a:lnTo>
                  <a:lnTo>
                    <a:pt x="131" y="547"/>
                  </a:lnTo>
                  <a:lnTo>
                    <a:pt x="131" y="547"/>
                  </a:lnTo>
                  <a:lnTo>
                    <a:pt x="143" y="550"/>
                  </a:lnTo>
                  <a:lnTo>
                    <a:pt x="148" y="553"/>
                  </a:lnTo>
                  <a:lnTo>
                    <a:pt x="152" y="557"/>
                  </a:lnTo>
                  <a:lnTo>
                    <a:pt x="152" y="557"/>
                  </a:lnTo>
                  <a:lnTo>
                    <a:pt x="161" y="569"/>
                  </a:lnTo>
                  <a:lnTo>
                    <a:pt x="165" y="575"/>
                  </a:lnTo>
                  <a:lnTo>
                    <a:pt x="171" y="578"/>
                  </a:lnTo>
                  <a:lnTo>
                    <a:pt x="171" y="578"/>
                  </a:lnTo>
                  <a:lnTo>
                    <a:pt x="185" y="582"/>
                  </a:lnTo>
                  <a:lnTo>
                    <a:pt x="189" y="584"/>
                  </a:lnTo>
                  <a:lnTo>
                    <a:pt x="191" y="582"/>
                  </a:lnTo>
                  <a:lnTo>
                    <a:pt x="191" y="582"/>
                  </a:lnTo>
                  <a:lnTo>
                    <a:pt x="191" y="582"/>
                  </a:lnTo>
                  <a:lnTo>
                    <a:pt x="191" y="578"/>
                  </a:lnTo>
                  <a:lnTo>
                    <a:pt x="191" y="572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3" y="569"/>
                  </a:lnTo>
                  <a:lnTo>
                    <a:pt x="202" y="581"/>
                  </a:lnTo>
                  <a:lnTo>
                    <a:pt x="202" y="581"/>
                  </a:lnTo>
                  <a:lnTo>
                    <a:pt x="208" y="590"/>
                  </a:lnTo>
                  <a:lnTo>
                    <a:pt x="210" y="594"/>
                  </a:lnTo>
                  <a:lnTo>
                    <a:pt x="211" y="600"/>
                  </a:lnTo>
                  <a:lnTo>
                    <a:pt x="211" y="600"/>
                  </a:lnTo>
                  <a:lnTo>
                    <a:pt x="211" y="609"/>
                  </a:lnTo>
                  <a:lnTo>
                    <a:pt x="213" y="613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23" y="622"/>
                  </a:lnTo>
                  <a:lnTo>
                    <a:pt x="226" y="624"/>
                  </a:lnTo>
                  <a:lnTo>
                    <a:pt x="226" y="624"/>
                  </a:lnTo>
                  <a:lnTo>
                    <a:pt x="228" y="618"/>
                  </a:lnTo>
                  <a:lnTo>
                    <a:pt x="229" y="613"/>
                  </a:lnTo>
                  <a:lnTo>
                    <a:pt x="231" y="610"/>
                  </a:lnTo>
                  <a:lnTo>
                    <a:pt x="231" y="610"/>
                  </a:lnTo>
                  <a:lnTo>
                    <a:pt x="235" y="609"/>
                  </a:lnTo>
                  <a:lnTo>
                    <a:pt x="239" y="610"/>
                  </a:lnTo>
                  <a:lnTo>
                    <a:pt x="245" y="610"/>
                  </a:lnTo>
                  <a:lnTo>
                    <a:pt x="247" y="609"/>
                  </a:lnTo>
                  <a:lnTo>
                    <a:pt x="248" y="607"/>
                  </a:lnTo>
                  <a:lnTo>
                    <a:pt x="248" y="607"/>
                  </a:lnTo>
                  <a:lnTo>
                    <a:pt x="253" y="601"/>
                  </a:lnTo>
                  <a:lnTo>
                    <a:pt x="259" y="595"/>
                  </a:lnTo>
                  <a:lnTo>
                    <a:pt x="265" y="591"/>
                  </a:lnTo>
                  <a:lnTo>
                    <a:pt x="270" y="590"/>
                  </a:lnTo>
                  <a:lnTo>
                    <a:pt x="270" y="590"/>
                  </a:lnTo>
                  <a:lnTo>
                    <a:pt x="272" y="590"/>
                  </a:lnTo>
                  <a:lnTo>
                    <a:pt x="273" y="591"/>
                  </a:lnTo>
                  <a:lnTo>
                    <a:pt x="276" y="594"/>
                  </a:lnTo>
                  <a:lnTo>
                    <a:pt x="281" y="600"/>
                  </a:lnTo>
                  <a:lnTo>
                    <a:pt x="281" y="600"/>
                  </a:lnTo>
                  <a:lnTo>
                    <a:pt x="290" y="598"/>
                  </a:lnTo>
                  <a:lnTo>
                    <a:pt x="300" y="598"/>
                  </a:lnTo>
                  <a:lnTo>
                    <a:pt x="300" y="598"/>
                  </a:lnTo>
                  <a:lnTo>
                    <a:pt x="303" y="598"/>
                  </a:lnTo>
                  <a:lnTo>
                    <a:pt x="306" y="598"/>
                  </a:lnTo>
                  <a:lnTo>
                    <a:pt x="308" y="601"/>
                  </a:lnTo>
                  <a:lnTo>
                    <a:pt x="309" y="606"/>
                  </a:lnTo>
                  <a:lnTo>
                    <a:pt x="309" y="606"/>
                  </a:lnTo>
                  <a:lnTo>
                    <a:pt x="310" y="618"/>
                  </a:lnTo>
                  <a:lnTo>
                    <a:pt x="312" y="622"/>
                  </a:lnTo>
                  <a:lnTo>
                    <a:pt x="313" y="622"/>
                  </a:lnTo>
                  <a:lnTo>
                    <a:pt x="315" y="622"/>
                  </a:lnTo>
                  <a:lnTo>
                    <a:pt x="315" y="622"/>
                  </a:lnTo>
                  <a:lnTo>
                    <a:pt x="324" y="618"/>
                  </a:lnTo>
                  <a:lnTo>
                    <a:pt x="327" y="616"/>
                  </a:lnTo>
                  <a:lnTo>
                    <a:pt x="328" y="619"/>
                  </a:lnTo>
                  <a:lnTo>
                    <a:pt x="328" y="619"/>
                  </a:lnTo>
                  <a:lnTo>
                    <a:pt x="328" y="625"/>
                  </a:lnTo>
                  <a:lnTo>
                    <a:pt x="328" y="631"/>
                  </a:lnTo>
                  <a:lnTo>
                    <a:pt x="328" y="635"/>
                  </a:lnTo>
                  <a:lnTo>
                    <a:pt x="328" y="638"/>
                  </a:lnTo>
                  <a:lnTo>
                    <a:pt x="331" y="641"/>
                  </a:lnTo>
                  <a:lnTo>
                    <a:pt x="331" y="641"/>
                  </a:lnTo>
                  <a:lnTo>
                    <a:pt x="336" y="644"/>
                  </a:lnTo>
                  <a:lnTo>
                    <a:pt x="342" y="646"/>
                  </a:lnTo>
                  <a:lnTo>
                    <a:pt x="352" y="649"/>
                  </a:lnTo>
                  <a:lnTo>
                    <a:pt x="352" y="649"/>
                  </a:lnTo>
                  <a:lnTo>
                    <a:pt x="358" y="650"/>
                  </a:lnTo>
                  <a:lnTo>
                    <a:pt x="361" y="649"/>
                  </a:lnTo>
                  <a:lnTo>
                    <a:pt x="367" y="644"/>
                  </a:lnTo>
                  <a:lnTo>
                    <a:pt x="367" y="644"/>
                  </a:lnTo>
                  <a:lnTo>
                    <a:pt x="370" y="643"/>
                  </a:lnTo>
                  <a:lnTo>
                    <a:pt x="374" y="643"/>
                  </a:lnTo>
                  <a:lnTo>
                    <a:pt x="379" y="644"/>
                  </a:lnTo>
                  <a:lnTo>
                    <a:pt x="382" y="643"/>
                  </a:lnTo>
                  <a:lnTo>
                    <a:pt x="382" y="643"/>
                  </a:lnTo>
                  <a:lnTo>
                    <a:pt x="385" y="640"/>
                  </a:lnTo>
                  <a:lnTo>
                    <a:pt x="386" y="637"/>
                  </a:lnTo>
                  <a:lnTo>
                    <a:pt x="389" y="634"/>
                  </a:lnTo>
                  <a:lnTo>
                    <a:pt x="393" y="633"/>
                  </a:lnTo>
                  <a:lnTo>
                    <a:pt x="393" y="6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4" name="Freeform 23">
              <a:extLst>
                <a:ext uri="{FF2B5EF4-FFF2-40B4-BE49-F238E27FC236}">
                  <a16:creationId xmlns:a16="http://schemas.microsoft.com/office/drawing/2014/main" id="{5AD9F0AF-41EA-A24F-8105-1EBDA9955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39988" y="5688013"/>
              <a:ext cx="1673225" cy="1820862"/>
            </a:xfrm>
            <a:custGeom>
              <a:avLst/>
              <a:gdLst>
                <a:gd name="T0" fmla="*/ 999 w 1054"/>
                <a:gd name="T1" fmla="*/ 267 h 1147"/>
                <a:gd name="T2" fmla="*/ 1007 w 1054"/>
                <a:gd name="T3" fmla="*/ 232 h 1147"/>
                <a:gd name="T4" fmla="*/ 984 w 1054"/>
                <a:gd name="T5" fmla="*/ 177 h 1147"/>
                <a:gd name="T6" fmla="*/ 978 w 1054"/>
                <a:gd name="T7" fmla="*/ 200 h 1147"/>
                <a:gd name="T8" fmla="*/ 952 w 1054"/>
                <a:gd name="T9" fmla="*/ 26 h 1147"/>
                <a:gd name="T10" fmla="*/ 965 w 1054"/>
                <a:gd name="T11" fmla="*/ 88 h 1147"/>
                <a:gd name="T12" fmla="*/ 931 w 1054"/>
                <a:gd name="T13" fmla="*/ 103 h 1147"/>
                <a:gd name="T14" fmla="*/ 931 w 1054"/>
                <a:gd name="T15" fmla="*/ 27 h 1147"/>
                <a:gd name="T16" fmla="*/ 903 w 1054"/>
                <a:gd name="T17" fmla="*/ 51 h 1147"/>
                <a:gd name="T18" fmla="*/ 947 w 1054"/>
                <a:gd name="T19" fmla="*/ 0 h 1147"/>
                <a:gd name="T20" fmla="*/ 983 w 1054"/>
                <a:gd name="T21" fmla="*/ 1117 h 1147"/>
                <a:gd name="T22" fmla="*/ 977 w 1054"/>
                <a:gd name="T23" fmla="*/ 1116 h 1147"/>
                <a:gd name="T24" fmla="*/ 996 w 1054"/>
                <a:gd name="T25" fmla="*/ 1080 h 1147"/>
                <a:gd name="T26" fmla="*/ 989 w 1054"/>
                <a:gd name="T27" fmla="*/ 1062 h 1147"/>
                <a:gd name="T28" fmla="*/ 1001 w 1054"/>
                <a:gd name="T29" fmla="*/ 831 h 1147"/>
                <a:gd name="T30" fmla="*/ 970 w 1054"/>
                <a:gd name="T31" fmla="*/ 911 h 1147"/>
                <a:gd name="T32" fmla="*/ 965 w 1054"/>
                <a:gd name="T33" fmla="*/ 957 h 1147"/>
                <a:gd name="T34" fmla="*/ 950 w 1054"/>
                <a:gd name="T35" fmla="*/ 997 h 1147"/>
                <a:gd name="T36" fmla="*/ 949 w 1054"/>
                <a:gd name="T37" fmla="*/ 956 h 1147"/>
                <a:gd name="T38" fmla="*/ 956 w 1054"/>
                <a:gd name="T39" fmla="*/ 902 h 1147"/>
                <a:gd name="T40" fmla="*/ 965 w 1054"/>
                <a:gd name="T41" fmla="*/ 873 h 1147"/>
                <a:gd name="T42" fmla="*/ 933 w 1054"/>
                <a:gd name="T43" fmla="*/ 1030 h 1147"/>
                <a:gd name="T44" fmla="*/ 924 w 1054"/>
                <a:gd name="T45" fmla="*/ 1068 h 1147"/>
                <a:gd name="T46" fmla="*/ 934 w 1054"/>
                <a:gd name="T47" fmla="*/ 1142 h 1147"/>
                <a:gd name="T48" fmla="*/ 916 w 1054"/>
                <a:gd name="T49" fmla="*/ 1102 h 1147"/>
                <a:gd name="T50" fmla="*/ 1016 w 1054"/>
                <a:gd name="T51" fmla="*/ 697 h 1147"/>
                <a:gd name="T52" fmla="*/ 1026 w 1054"/>
                <a:gd name="T53" fmla="*/ 683 h 1147"/>
                <a:gd name="T54" fmla="*/ 1024 w 1054"/>
                <a:gd name="T55" fmla="*/ 768 h 1147"/>
                <a:gd name="T56" fmla="*/ 1016 w 1054"/>
                <a:gd name="T57" fmla="*/ 697 h 1147"/>
                <a:gd name="T58" fmla="*/ 1016 w 1054"/>
                <a:gd name="T59" fmla="*/ 627 h 1147"/>
                <a:gd name="T60" fmla="*/ 1054 w 1054"/>
                <a:gd name="T61" fmla="*/ 525 h 1147"/>
                <a:gd name="T62" fmla="*/ 1041 w 1054"/>
                <a:gd name="T63" fmla="*/ 479 h 1147"/>
                <a:gd name="T64" fmla="*/ 1051 w 1054"/>
                <a:gd name="T65" fmla="*/ 482 h 1147"/>
                <a:gd name="T66" fmla="*/ 1039 w 1054"/>
                <a:gd name="T67" fmla="*/ 405 h 1147"/>
                <a:gd name="T68" fmla="*/ 216 w 1054"/>
                <a:gd name="T69" fmla="*/ 665 h 1147"/>
                <a:gd name="T70" fmla="*/ 308 w 1054"/>
                <a:gd name="T71" fmla="*/ 796 h 1147"/>
                <a:gd name="T72" fmla="*/ 392 w 1054"/>
                <a:gd name="T73" fmla="*/ 908 h 1147"/>
                <a:gd name="T74" fmla="*/ 475 w 1054"/>
                <a:gd name="T75" fmla="*/ 1025 h 1147"/>
                <a:gd name="T76" fmla="*/ 548 w 1054"/>
                <a:gd name="T77" fmla="*/ 1123 h 1147"/>
                <a:gd name="T78" fmla="*/ 533 w 1054"/>
                <a:gd name="T79" fmla="*/ 1037 h 1147"/>
                <a:gd name="T80" fmla="*/ 589 w 1054"/>
                <a:gd name="T81" fmla="*/ 1012 h 1147"/>
                <a:gd name="T82" fmla="*/ 623 w 1054"/>
                <a:gd name="T83" fmla="*/ 1022 h 1147"/>
                <a:gd name="T84" fmla="*/ 574 w 1054"/>
                <a:gd name="T85" fmla="*/ 978 h 1147"/>
                <a:gd name="T86" fmla="*/ 508 w 1054"/>
                <a:gd name="T87" fmla="*/ 957 h 1147"/>
                <a:gd name="T88" fmla="*/ 411 w 1054"/>
                <a:gd name="T89" fmla="*/ 828 h 1147"/>
                <a:gd name="T90" fmla="*/ 402 w 1054"/>
                <a:gd name="T91" fmla="*/ 763 h 1147"/>
                <a:gd name="T92" fmla="*/ 465 w 1054"/>
                <a:gd name="T93" fmla="*/ 745 h 1147"/>
                <a:gd name="T94" fmla="*/ 521 w 1054"/>
                <a:gd name="T95" fmla="*/ 759 h 1147"/>
                <a:gd name="T96" fmla="*/ 379 w 1054"/>
                <a:gd name="T97" fmla="*/ 671 h 1147"/>
                <a:gd name="T98" fmla="*/ 262 w 1054"/>
                <a:gd name="T99" fmla="*/ 580 h 1147"/>
                <a:gd name="T100" fmla="*/ 223 w 1054"/>
                <a:gd name="T101" fmla="*/ 553 h 1147"/>
                <a:gd name="T102" fmla="*/ 176 w 1054"/>
                <a:gd name="T103" fmla="*/ 514 h 1147"/>
                <a:gd name="T104" fmla="*/ 152 w 1054"/>
                <a:gd name="T105" fmla="*/ 464 h 1147"/>
                <a:gd name="T106" fmla="*/ 129 w 1054"/>
                <a:gd name="T107" fmla="*/ 431 h 1147"/>
                <a:gd name="T108" fmla="*/ 49 w 1054"/>
                <a:gd name="T109" fmla="*/ 362 h 1147"/>
                <a:gd name="T110" fmla="*/ 9 w 1054"/>
                <a:gd name="T111" fmla="*/ 371 h 1147"/>
                <a:gd name="T112" fmla="*/ 54 w 1054"/>
                <a:gd name="T113" fmla="*/ 418 h 1147"/>
                <a:gd name="T114" fmla="*/ 59 w 1054"/>
                <a:gd name="T115" fmla="*/ 455 h 1147"/>
                <a:gd name="T116" fmla="*/ 57 w 1054"/>
                <a:gd name="T117" fmla="*/ 492 h 1147"/>
                <a:gd name="T118" fmla="*/ 94 w 1054"/>
                <a:gd name="T119" fmla="*/ 546 h 1147"/>
                <a:gd name="T120" fmla="*/ 194 w 1054"/>
                <a:gd name="T121" fmla="*/ 643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4" h="1147">
                  <a:moveTo>
                    <a:pt x="1001" y="261"/>
                  </a:moveTo>
                  <a:lnTo>
                    <a:pt x="1001" y="261"/>
                  </a:lnTo>
                  <a:lnTo>
                    <a:pt x="1005" y="263"/>
                  </a:lnTo>
                  <a:lnTo>
                    <a:pt x="1007" y="264"/>
                  </a:lnTo>
                  <a:lnTo>
                    <a:pt x="1010" y="267"/>
                  </a:lnTo>
                  <a:lnTo>
                    <a:pt x="1010" y="267"/>
                  </a:lnTo>
                  <a:lnTo>
                    <a:pt x="1011" y="274"/>
                  </a:lnTo>
                  <a:lnTo>
                    <a:pt x="1011" y="279"/>
                  </a:lnTo>
                  <a:lnTo>
                    <a:pt x="1008" y="280"/>
                  </a:lnTo>
                  <a:lnTo>
                    <a:pt x="1008" y="280"/>
                  </a:lnTo>
                  <a:lnTo>
                    <a:pt x="1007" y="280"/>
                  </a:lnTo>
                  <a:lnTo>
                    <a:pt x="1005" y="280"/>
                  </a:lnTo>
                  <a:lnTo>
                    <a:pt x="1001" y="274"/>
                  </a:lnTo>
                  <a:lnTo>
                    <a:pt x="999" y="267"/>
                  </a:lnTo>
                  <a:lnTo>
                    <a:pt x="999" y="264"/>
                  </a:lnTo>
                  <a:lnTo>
                    <a:pt x="1001" y="261"/>
                  </a:lnTo>
                  <a:lnTo>
                    <a:pt x="1001" y="261"/>
                  </a:lnTo>
                  <a:close/>
                  <a:moveTo>
                    <a:pt x="996" y="232"/>
                  </a:moveTo>
                  <a:lnTo>
                    <a:pt x="996" y="232"/>
                  </a:lnTo>
                  <a:lnTo>
                    <a:pt x="996" y="227"/>
                  </a:lnTo>
                  <a:lnTo>
                    <a:pt x="996" y="224"/>
                  </a:lnTo>
                  <a:lnTo>
                    <a:pt x="998" y="223"/>
                  </a:lnTo>
                  <a:lnTo>
                    <a:pt x="1001" y="223"/>
                  </a:lnTo>
                  <a:lnTo>
                    <a:pt x="1001" y="223"/>
                  </a:lnTo>
                  <a:lnTo>
                    <a:pt x="1005" y="224"/>
                  </a:lnTo>
                  <a:lnTo>
                    <a:pt x="1007" y="226"/>
                  </a:lnTo>
                  <a:lnTo>
                    <a:pt x="1007" y="229"/>
                  </a:lnTo>
                  <a:lnTo>
                    <a:pt x="1007" y="232"/>
                  </a:lnTo>
                  <a:lnTo>
                    <a:pt x="1007" y="232"/>
                  </a:lnTo>
                  <a:lnTo>
                    <a:pt x="1004" y="234"/>
                  </a:lnTo>
                  <a:lnTo>
                    <a:pt x="1001" y="234"/>
                  </a:lnTo>
                  <a:lnTo>
                    <a:pt x="998" y="233"/>
                  </a:lnTo>
                  <a:lnTo>
                    <a:pt x="996" y="232"/>
                  </a:lnTo>
                  <a:lnTo>
                    <a:pt x="996" y="232"/>
                  </a:lnTo>
                  <a:close/>
                  <a:moveTo>
                    <a:pt x="971" y="175"/>
                  </a:moveTo>
                  <a:lnTo>
                    <a:pt x="971" y="175"/>
                  </a:lnTo>
                  <a:lnTo>
                    <a:pt x="973" y="174"/>
                  </a:lnTo>
                  <a:lnTo>
                    <a:pt x="974" y="171"/>
                  </a:lnTo>
                  <a:lnTo>
                    <a:pt x="977" y="171"/>
                  </a:lnTo>
                  <a:lnTo>
                    <a:pt x="978" y="172"/>
                  </a:lnTo>
                  <a:lnTo>
                    <a:pt x="981" y="174"/>
                  </a:lnTo>
                  <a:lnTo>
                    <a:pt x="984" y="177"/>
                  </a:lnTo>
                  <a:lnTo>
                    <a:pt x="984" y="177"/>
                  </a:lnTo>
                  <a:lnTo>
                    <a:pt x="987" y="183"/>
                  </a:lnTo>
                  <a:lnTo>
                    <a:pt x="990" y="187"/>
                  </a:lnTo>
                  <a:lnTo>
                    <a:pt x="990" y="189"/>
                  </a:lnTo>
                  <a:lnTo>
                    <a:pt x="993" y="192"/>
                  </a:lnTo>
                  <a:lnTo>
                    <a:pt x="993" y="192"/>
                  </a:lnTo>
                  <a:lnTo>
                    <a:pt x="995" y="195"/>
                  </a:lnTo>
                  <a:lnTo>
                    <a:pt x="996" y="199"/>
                  </a:lnTo>
                  <a:lnTo>
                    <a:pt x="995" y="202"/>
                  </a:lnTo>
                  <a:lnTo>
                    <a:pt x="992" y="205"/>
                  </a:lnTo>
                  <a:lnTo>
                    <a:pt x="992" y="205"/>
                  </a:lnTo>
                  <a:lnTo>
                    <a:pt x="989" y="205"/>
                  </a:lnTo>
                  <a:lnTo>
                    <a:pt x="983" y="203"/>
                  </a:lnTo>
                  <a:lnTo>
                    <a:pt x="978" y="200"/>
                  </a:lnTo>
                  <a:lnTo>
                    <a:pt x="976" y="196"/>
                  </a:lnTo>
                  <a:lnTo>
                    <a:pt x="976" y="196"/>
                  </a:lnTo>
                  <a:lnTo>
                    <a:pt x="971" y="187"/>
                  </a:lnTo>
                  <a:lnTo>
                    <a:pt x="970" y="180"/>
                  </a:lnTo>
                  <a:lnTo>
                    <a:pt x="970" y="177"/>
                  </a:lnTo>
                  <a:lnTo>
                    <a:pt x="971" y="175"/>
                  </a:lnTo>
                  <a:lnTo>
                    <a:pt x="971" y="175"/>
                  </a:lnTo>
                  <a:close/>
                  <a:moveTo>
                    <a:pt x="934" y="26"/>
                  </a:moveTo>
                  <a:lnTo>
                    <a:pt x="934" y="26"/>
                  </a:lnTo>
                  <a:lnTo>
                    <a:pt x="941" y="24"/>
                  </a:lnTo>
                  <a:lnTo>
                    <a:pt x="949" y="24"/>
                  </a:lnTo>
                  <a:lnTo>
                    <a:pt x="950" y="26"/>
                  </a:lnTo>
                  <a:lnTo>
                    <a:pt x="952" y="26"/>
                  </a:lnTo>
                  <a:lnTo>
                    <a:pt x="952" y="26"/>
                  </a:lnTo>
                  <a:lnTo>
                    <a:pt x="956" y="35"/>
                  </a:lnTo>
                  <a:lnTo>
                    <a:pt x="959" y="39"/>
                  </a:lnTo>
                  <a:lnTo>
                    <a:pt x="959" y="43"/>
                  </a:lnTo>
                  <a:lnTo>
                    <a:pt x="959" y="43"/>
                  </a:lnTo>
                  <a:lnTo>
                    <a:pt x="961" y="46"/>
                  </a:lnTo>
                  <a:lnTo>
                    <a:pt x="962" y="49"/>
                  </a:lnTo>
                  <a:lnTo>
                    <a:pt x="967" y="54"/>
                  </a:lnTo>
                  <a:lnTo>
                    <a:pt x="967" y="54"/>
                  </a:lnTo>
                  <a:lnTo>
                    <a:pt x="970" y="60"/>
                  </a:lnTo>
                  <a:lnTo>
                    <a:pt x="971" y="67"/>
                  </a:lnTo>
                  <a:lnTo>
                    <a:pt x="971" y="73"/>
                  </a:lnTo>
                  <a:lnTo>
                    <a:pt x="970" y="79"/>
                  </a:lnTo>
                  <a:lnTo>
                    <a:pt x="970" y="79"/>
                  </a:lnTo>
                  <a:lnTo>
                    <a:pt x="965" y="88"/>
                  </a:lnTo>
                  <a:lnTo>
                    <a:pt x="964" y="94"/>
                  </a:lnTo>
                  <a:lnTo>
                    <a:pt x="965" y="98"/>
                  </a:lnTo>
                  <a:lnTo>
                    <a:pt x="965" y="98"/>
                  </a:lnTo>
                  <a:lnTo>
                    <a:pt x="971" y="109"/>
                  </a:lnTo>
                  <a:lnTo>
                    <a:pt x="971" y="113"/>
                  </a:lnTo>
                  <a:lnTo>
                    <a:pt x="971" y="115"/>
                  </a:lnTo>
                  <a:lnTo>
                    <a:pt x="968" y="115"/>
                  </a:lnTo>
                  <a:lnTo>
                    <a:pt x="968" y="115"/>
                  </a:lnTo>
                  <a:lnTo>
                    <a:pt x="961" y="116"/>
                  </a:lnTo>
                  <a:lnTo>
                    <a:pt x="949" y="113"/>
                  </a:lnTo>
                  <a:lnTo>
                    <a:pt x="939" y="109"/>
                  </a:lnTo>
                  <a:lnTo>
                    <a:pt x="934" y="106"/>
                  </a:lnTo>
                  <a:lnTo>
                    <a:pt x="931" y="103"/>
                  </a:lnTo>
                  <a:lnTo>
                    <a:pt x="931" y="103"/>
                  </a:lnTo>
                  <a:lnTo>
                    <a:pt x="931" y="100"/>
                  </a:lnTo>
                  <a:lnTo>
                    <a:pt x="933" y="95"/>
                  </a:lnTo>
                  <a:lnTo>
                    <a:pt x="939" y="86"/>
                  </a:lnTo>
                  <a:lnTo>
                    <a:pt x="944" y="78"/>
                  </a:lnTo>
                  <a:lnTo>
                    <a:pt x="947" y="73"/>
                  </a:lnTo>
                  <a:lnTo>
                    <a:pt x="947" y="73"/>
                  </a:lnTo>
                  <a:lnTo>
                    <a:pt x="946" y="61"/>
                  </a:lnTo>
                  <a:lnTo>
                    <a:pt x="943" y="55"/>
                  </a:lnTo>
                  <a:lnTo>
                    <a:pt x="939" y="49"/>
                  </a:lnTo>
                  <a:lnTo>
                    <a:pt x="939" y="49"/>
                  </a:lnTo>
                  <a:lnTo>
                    <a:pt x="934" y="43"/>
                  </a:lnTo>
                  <a:lnTo>
                    <a:pt x="931" y="38"/>
                  </a:lnTo>
                  <a:lnTo>
                    <a:pt x="931" y="30"/>
                  </a:lnTo>
                  <a:lnTo>
                    <a:pt x="931" y="27"/>
                  </a:lnTo>
                  <a:lnTo>
                    <a:pt x="934" y="26"/>
                  </a:lnTo>
                  <a:lnTo>
                    <a:pt x="934" y="26"/>
                  </a:lnTo>
                  <a:close/>
                  <a:moveTo>
                    <a:pt x="893" y="36"/>
                  </a:moveTo>
                  <a:lnTo>
                    <a:pt x="893" y="36"/>
                  </a:lnTo>
                  <a:lnTo>
                    <a:pt x="899" y="35"/>
                  </a:lnTo>
                  <a:lnTo>
                    <a:pt x="901" y="33"/>
                  </a:lnTo>
                  <a:lnTo>
                    <a:pt x="903" y="35"/>
                  </a:lnTo>
                  <a:lnTo>
                    <a:pt x="904" y="36"/>
                  </a:lnTo>
                  <a:lnTo>
                    <a:pt x="904" y="36"/>
                  </a:lnTo>
                  <a:lnTo>
                    <a:pt x="907" y="45"/>
                  </a:lnTo>
                  <a:lnTo>
                    <a:pt x="906" y="49"/>
                  </a:lnTo>
                  <a:lnTo>
                    <a:pt x="906" y="51"/>
                  </a:lnTo>
                  <a:lnTo>
                    <a:pt x="903" y="51"/>
                  </a:lnTo>
                  <a:lnTo>
                    <a:pt x="903" y="51"/>
                  </a:lnTo>
                  <a:lnTo>
                    <a:pt x="897" y="51"/>
                  </a:lnTo>
                  <a:lnTo>
                    <a:pt x="894" y="48"/>
                  </a:lnTo>
                  <a:lnTo>
                    <a:pt x="893" y="46"/>
                  </a:lnTo>
                  <a:lnTo>
                    <a:pt x="891" y="43"/>
                  </a:lnTo>
                  <a:lnTo>
                    <a:pt x="893" y="36"/>
                  </a:lnTo>
                  <a:lnTo>
                    <a:pt x="893" y="36"/>
                  </a:lnTo>
                  <a:close/>
                  <a:moveTo>
                    <a:pt x="947" y="17"/>
                  </a:moveTo>
                  <a:lnTo>
                    <a:pt x="947" y="17"/>
                  </a:lnTo>
                  <a:lnTo>
                    <a:pt x="944" y="12"/>
                  </a:lnTo>
                  <a:lnTo>
                    <a:pt x="943" y="8"/>
                  </a:lnTo>
                  <a:lnTo>
                    <a:pt x="941" y="5"/>
                  </a:lnTo>
                  <a:lnTo>
                    <a:pt x="941" y="5"/>
                  </a:lnTo>
                  <a:lnTo>
                    <a:pt x="943" y="2"/>
                  </a:lnTo>
                  <a:lnTo>
                    <a:pt x="947" y="0"/>
                  </a:lnTo>
                  <a:lnTo>
                    <a:pt x="952" y="0"/>
                  </a:lnTo>
                  <a:lnTo>
                    <a:pt x="955" y="2"/>
                  </a:lnTo>
                  <a:lnTo>
                    <a:pt x="955" y="3"/>
                  </a:lnTo>
                  <a:lnTo>
                    <a:pt x="955" y="3"/>
                  </a:lnTo>
                  <a:lnTo>
                    <a:pt x="956" y="9"/>
                  </a:lnTo>
                  <a:lnTo>
                    <a:pt x="956" y="14"/>
                  </a:lnTo>
                  <a:lnTo>
                    <a:pt x="955" y="15"/>
                  </a:lnTo>
                  <a:lnTo>
                    <a:pt x="953" y="17"/>
                  </a:lnTo>
                  <a:lnTo>
                    <a:pt x="950" y="18"/>
                  </a:lnTo>
                  <a:lnTo>
                    <a:pt x="947" y="17"/>
                  </a:lnTo>
                  <a:lnTo>
                    <a:pt x="947" y="17"/>
                  </a:lnTo>
                  <a:close/>
                  <a:moveTo>
                    <a:pt x="977" y="1116"/>
                  </a:moveTo>
                  <a:lnTo>
                    <a:pt x="977" y="1116"/>
                  </a:lnTo>
                  <a:lnTo>
                    <a:pt x="983" y="1117"/>
                  </a:lnTo>
                  <a:lnTo>
                    <a:pt x="987" y="1119"/>
                  </a:lnTo>
                  <a:lnTo>
                    <a:pt x="989" y="1119"/>
                  </a:lnTo>
                  <a:lnTo>
                    <a:pt x="989" y="1122"/>
                  </a:lnTo>
                  <a:lnTo>
                    <a:pt x="989" y="1122"/>
                  </a:lnTo>
                  <a:lnTo>
                    <a:pt x="989" y="1128"/>
                  </a:lnTo>
                  <a:lnTo>
                    <a:pt x="987" y="1129"/>
                  </a:lnTo>
                  <a:lnTo>
                    <a:pt x="983" y="1131"/>
                  </a:lnTo>
                  <a:lnTo>
                    <a:pt x="983" y="1131"/>
                  </a:lnTo>
                  <a:lnTo>
                    <a:pt x="978" y="1129"/>
                  </a:lnTo>
                  <a:lnTo>
                    <a:pt x="974" y="1126"/>
                  </a:lnTo>
                  <a:lnTo>
                    <a:pt x="973" y="1125"/>
                  </a:lnTo>
                  <a:lnTo>
                    <a:pt x="973" y="1122"/>
                  </a:lnTo>
                  <a:lnTo>
                    <a:pt x="974" y="1119"/>
                  </a:lnTo>
                  <a:lnTo>
                    <a:pt x="977" y="1116"/>
                  </a:lnTo>
                  <a:lnTo>
                    <a:pt x="977" y="1116"/>
                  </a:lnTo>
                  <a:close/>
                  <a:moveTo>
                    <a:pt x="989" y="1062"/>
                  </a:moveTo>
                  <a:lnTo>
                    <a:pt x="989" y="1062"/>
                  </a:lnTo>
                  <a:lnTo>
                    <a:pt x="993" y="1056"/>
                  </a:lnTo>
                  <a:lnTo>
                    <a:pt x="996" y="1055"/>
                  </a:lnTo>
                  <a:lnTo>
                    <a:pt x="998" y="1056"/>
                  </a:lnTo>
                  <a:lnTo>
                    <a:pt x="998" y="1056"/>
                  </a:lnTo>
                  <a:lnTo>
                    <a:pt x="1001" y="1058"/>
                  </a:lnTo>
                  <a:lnTo>
                    <a:pt x="1001" y="1062"/>
                  </a:lnTo>
                  <a:lnTo>
                    <a:pt x="1001" y="1065"/>
                  </a:lnTo>
                  <a:lnTo>
                    <a:pt x="999" y="1068"/>
                  </a:lnTo>
                  <a:lnTo>
                    <a:pt x="999" y="1068"/>
                  </a:lnTo>
                  <a:lnTo>
                    <a:pt x="998" y="1074"/>
                  </a:lnTo>
                  <a:lnTo>
                    <a:pt x="996" y="1080"/>
                  </a:lnTo>
                  <a:lnTo>
                    <a:pt x="996" y="1080"/>
                  </a:lnTo>
                  <a:lnTo>
                    <a:pt x="995" y="1083"/>
                  </a:lnTo>
                  <a:lnTo>
                    <a:pt x="992" y="1086"/>
                  </a:lnTo>
                  <a:lnTo>
                    <a:pt x="987" y="1088"/>
                  </a:lnTo>
                  <a:lnTo>
                    <a:pt x="984" y="1086"/>
                  </a:lnTo>
                  <a:lnTo>
                    <a:pt x="984" y="1086"/>
                  </a:lnTo>
                  <a:lnTo>
                    <a:pt x="978" y="1080"/>
                  </a:lnTo>
                  <a:lnTo>
                    <a:pt x="976" y="1076"/>
                  </a:lnTo>
                  <a:lnTo>
                    <a:pt x="976" y="1073"/>
                  </a:lnTo>
                  <a:lnTo>
                    <a:pt x="976" y="1073"/>
                  </a:lnTo>
                  <a:lnTo>
                    <a:pt x="978" y="1070"/>
                  </a:lnTo>
                  <a:lnTo>
                    <a:pt x="981" y="1068"/>
                  </a:lnTo>
                  <a:lnTo>
                    <a:pt x="986" y="1067"/>
                  </a:lnTo>
                  <a:lnTo>
                    <a:pt x="989" y="1062"/>
                  </a:lnTo>
                  <a:lnTo>
                    <a:pt x="989" y="1062"/>
                  </a:lnTo>
                  <a:close/>
                  <a:moveTo>
                    <a:pt x="971" y="864"/>
                  </a:moveTo>
                  <a:lnTo>
                    <a:pt x="971" y="864"/>
                  </a:lnTo>
                  <a:lnTo>
                    <a:pt x="974" y="845"/>
                  </a:lnTo>
                  <a:lnTo>
                    <a:pt x="977" y="821"/>
                  </a:lnTo>
                  <a:lnTo>
                    <a:pt x="977" y="821"/>
                  </a:lnTo>
                  <a:lnTo>
                    <a:pt x="978" y="818"/>
                  </a:lnTo>
                  <a:lnTo>
                    <a:pt x="981" y="814"/>
                  </a:lnTo>
                  <a:lnTo>
                    <a:pt x="986" y="812"/>
                  </a:lnTo>
                  <a:lnTo>
                    <a:pt x="992" y="814"/>
                  </a:lnTo>
                  <a:lnTo>
                    <a:pt x="992" y="814"/>
                  </a:lnTo>
                  <a:lnTo>
                    <a:pt x="998" y="818"/>
                  </a:lnTo>
                  <a:lnTo>
                    <a:pt x="1001" y="824"/>
                  </a:lnTo>
                  <a:lnTo>
                    <a:pt x="1001" y="831"/>
                  </a:lnTo>
                  <a:lnTo>
                    <a:pt x="999" y="839"/>
                  </a:lnTo>
                  <a:lnTo>
                    <a:pt x="999" y="839"/>
                  </a:lnTo>
                  <a:lnTo>
                    <a:pt x="989" y="857"/>
                  </a:lnTo>
                  <a:lnTo>
                    <a:pt x="986" y="865"/>
                  </a:lnTo>
                  <a:lnTo>
                    <a:pt x="984" y="874"/>
                  </a:lnTo>
                  <a:lnTo>
                    <a:pt x="984" y="874"/>
                  </a:lnTo>
                  <a:lnTo>
                    <a:pt x="984" y="894"/>
                  </a:lnTo>
                  <a:lnTo>
                    <a:pt x="984" y="902"/>
                  </a:lnTo>
                  <a:lnTo>
                    <a:pt x="983" y="907"/>
                  </a:lnTo>
                  <a:lnTo>
                    <a:pt x="981" y="908"/>
                  </a:lnTo>
                  <a:lnTo>
                    <a:pt x="981" y="908"/>
                  </a:lnTo>
                  <a:lnTo>
                    <a:pt x="977" y="910"/>
                  </a:lnTo>
                  <a:lnTo>
                    <a:pt x="974" y="911"/>
                  </a:lnTo>
                  <a:lnTo>
                    <a:pt x="970" y="911"/>
                  </a:lnTo>
                  <a:lnTo>
                    <a:pt x="967" y="913"/>
                  </a:lnTo>
                  <a:lnTo>
                    <a:pt x="967" y="913"/>
                  </a:lnTo>
                  <a:lnTo>
                    <a:pt x="962" y="919"/>
                  </a:lnTo>
                  <a:lnTo>
                    <a:pt x="962" y="923"/>
                  </a:lnTo>
                  <a:lnTo>
                    <a:pt x="964" y="925"/>
                  </a:lnTo>
                  <a:lnTo>
                    <a:pt x="964" y="925"/>
                  </a:lnTo>
                  <a:lnTo>
                    <a:pt x="965" y="928"/>
                  </a:lnTo>
                  <a:lnTo>
                    <a:pt x="967" y="931"/>
                  </a:lnTo>
                  <a:lnTo>
                    <a:pt x="967" y="938"/>
                  </a:lnTo>
                  <a:lnTo>
                    <a:pt x="967" y="938"/>
                  </a:lnTo>
                  <a:lnTo>
                    <a:pt x="965" y="947"/>
                  </a:lnTo>
                  <a:lnTo>
                    <a:pt x="964" y="951"/>
                  </a:lnTo>
                  <a:lnTo>
                    <a:pt x="965" y="957"/>
                  </a:lnTo>
                  <a:lnTo>
                    <a:pt x="965" y="957"/>
                  </a:lnTo>
                  <a:lnTo>
                    <a:pt x="970" y="968"/>
                  </a:lnTo>
                  <a:lnTo>
                    <a:pt x="970" y="972"/>
                  </a:lnTo>
                  <a:lnTo>
                    <a:pt x="968" y="976"/>
                  </a:lnTo>
                  <a:lnTo>
                    <a:pt x="968" y="976"/>
                  </a:lnTo>
                  <a:lnTo>
                    <a:pt x="965" y="981"/>
                  </a:lnTo>
                  <a:lnTo>
                    <a:pt x="965" y="990"/>
                  </a:lnTo>
                  <a:lnTo>
                    <a:pt x="965" y="990"/>
                  </a:lnTo>
                  <a:lnTo>
                    <a:pt x="965" y="994"/>
                  </a:lnTo>
                  <a:lnTo>
                    <a:pt x="964" y="999"/>
                  </a:lnTo>
                  <a:lnTo>
                    <a:pt x="962" y="1002"/>
                  </a:lnTo>
                  <a:lnTo>
                    <a:pt x="959" y="1003"/>
                  </a:lnTo>
                  <a:lnTo>
                    <a:pt x="959" y="1003"/>
                  </a:lnTo>
                  <a:lnTo>
                    <a:pt x="955" y="1002"/>
                  </a:lnTo>
                  <a:lnTo>
                    <a:pt x="950" y="997"/>
                  </a:lnTo>
                  <a:lnTo>
                    <a:pt x="946" y="993"/>
                  </a:lnTo>
                  <a:lnTo>
                    <a:pt x="946" y="990"/>
                  </a:lnTo>
                  <a:lnTo>
                    <a:pt x="946" y="988"/>
                  </a:lnTo>
                  <a:lnTo>
                    <a:pt x="946" y="988"/>
                  </a:lnTo>
                  <a:lnTo>
                    <a:pt x="947" y="982"/>
                  </a:lnTo>
                  <a:lnTo>
                    <a:pt x="950" y="979"/>
                  </a:lnTo>
                  <a:lnTo>
                    <a:pt x="952" y="975"/>
                  </a:lnTo>
                  <a:lnTo>
                    <a:pt x="953" y="971"/>
                  </a:lnTo>
                  <a:lnTo>
                    <a:pt x="953" y="971"/>
                  </a:lnTo>
                  <a:lnTo>
                    <a:pt x="953" y="966"/>
                  </a:lnTo>
                  <a:lnTo>
                    <a:pt x="952" y="963"/>
                  </a:lnTo>
                  <a:lnTo>
                    <a:pt x="949" y="960"/>
                  </a:lnTo>
                  <a:lnTo>
                    <a:pt x="949" y="956"/>
                  </a:lnTo>
                  <a:lnTo>
                    <a:pt x="949" y="956"/>
                  </a:lnTo>
                  <a:lnTo>
                    <a:pt x="949" y="947"/>
                  </a:lnTo>
                  <a:lnTo>
                    <a:pt x="950" y="939"/>
                  </a:lnTo>
                  <a:lnTo>
                    <a:pt x="950" y="939"/>
                  </a:lnTo>
                  <a:lnTo>
                    <a:pt x="950" y="931"/>
                  </a:lnTo>
                  <a:lnTo>
                    <a:pt x="949" y="928"/>
                  </a:lnTo>
                  <a:lnTo>
                    <a:pt x="946" y="925"/>
                  </a:lnTo>
                  <a:lnTo>
                    <a:pt x="946" y="925"/>
                  </a:lnTo>
                  <a:lnTo>
                    <a:pt x="940" y="922"/>
                  </a:lnTo>
                  <a:lnTo>
                    <a:pt x="939" y="920"/>
                  </a:lnTo>
                  <a:lnTo>
                    <a:pt x="941" y="917"/>
                  </a:lnTo>
                  <a:lnTo>
                    <a:pt x="941" y="917"/>
                  </a:lnTo>
                  <a:lnTo>
                    <a:pt x="950" y="910"/>
                  </a:lnTo>
                  <a:lnTo>
                    <a:pt x="955" y="905"/>
                  </a:lnTo>
                  <a:lnTo>
                    <a:pt x="956" y="902"/>
                  </a:lnTo>
                  <a:lnTo>
                    <a:pt x="956" y="902"/>
                  </a:lnTo>
                  <a:lnTo>
                    <a:pt x="955" y="898"/>
                  </a:lnTo>
                  <a:lnTo>
                    <a:pt x="949" y="894"/>
                  </a:lnTo>
                  <a:lnTo>
                    <a:pt x="944" y="888"/>
                  </a:lnTo>
                  <a:lnTo>
                    <a:pt x="941" y="883"/>
                  </a:lnTo>
                  <a:lnTo>
                    <a:pt x="941" y="883"/>
                  </a:lnTo>
                  <a:lnTo>
                    <a:pt x="941" y="879"/>
                  </a:lnTo>
                  <a:lnTo>
                    <a:pt x="943" y="876"/>
                  </a:lnTo>
                  <a:lnTo>
                    <a:pt x="946" y="874"/>
                  </a:lnTo>
                  <a:lnTo>
                    <a:pt x="950" y="874"/>
                  </a:lnTo>
                  <a:lnTo>
                    <a:pt x="950" y="874"/>
                  </a:lnTo>
                  <a:lnTo>
                    <a:pt x="956" y="874"/>
                  </a:lnTo>
                  <a:lnTo>
                    <a:pt x="962" y="874"/>
                  </a:lnTo>
                  <a:lnTo>
                    <a:pt x="965" y="873"/>
                  </a:lnTo>
                  <a:lnTo>
                    <a:pt x="968" y="871"/>
                  </a:lnTo>
                  <a:lnTo>
                    <a:pt x="970" y="867"/>
                  </a:lnTo>
                  <a:lnTo>
                    <a:pt x="971" y="864"/>
                  </a:lnTo>
                  <a:lnTo>
                    <a:pt x="971" y="864"/>
                  </a:lnTo>
                  <a:close/>
                  <a:moveTo>
                    <a:pt x="903" y="1040"/>
                  </a:moveTo>
                  <a:lnTo>
                    <a:pt x="903" y="1040"/>
                  </a:lnTo>
                  <a:lnTo>
                    <a:pt x="912" y="1043"/>
                  </a:lnTo>
                  <a:lnTo>
                    <a:pt x="918" y="1045"/>
                  </a:lnTo>
                  <a:lnTo>
                    <a:pt x="921" y="1045"/>
                  </a:lnTo>
                  <a:lnTo>
                    <a:pt x="921" y="1045"/>
                  </a:lnTo>
                  <a:lnTo>
                    <a:pt x="928" y="1037"/>
                  </a:lnTo>
                  <a:lnTo>
                    <a:pt x="931" y="1033"/>
                  </a:lnTo>
                  <a:lnTo>
                    <a:pt x="933" y="1030"/>
                  </a:lnTo>
                  <a:lnTo>
                    <a:pt x="933" y="1030"/>
                  </a:lnTo>
                  <a:lnTo>
                    <a:pt x="933" y="1027"/>
                  </a:lnTo>
                  <a:lnTo>
                    <a:pt x="936" y="1028"/>
                  </a:lnTo>
                  <a:lnTo>
                    <a:pt x="937" y="1030"/>
                  </a:lnTo>
                  <a:lnTo>
                    <a:pt x="939" y="1033"/>
                  </a:lnTo>
                  <a:lnTo>
                    <a:pt x="939" y="1033"/>
                  </a:lnTo>
                  <a:lnTo>
                    <a:pt x="939" y="1039"/>
                  </a:lnTo>
                  <a:lnTo>
                    <a:pt x="937" y="1045"/>
                  </a:lnTo>
                  <a:lnTo>
                    <a:pt x="933" y="1055"/>
                  </a:lnTo>
                  <a:lnTo>
                    <a:pt x="933" y="1055"/>
                  </a:lnTo>
                  <a:lnTo>
                    <a:pt x="931" y="1059"/>
                  </a:lnTo>
                  <a:lnTo>
                    <a:pt x="928" y="1062"/>
                  </a:lnTo>
                  <a:lnTo>
                    <a:pt x="925" y="1065"/>
                  </a:lnTo>
                  <a:lnTo>
                    <a:pt x="924" y="1068"/>
                  </a:lnTo>
                  <a:lnTo>
                    <a:pt x="924" y="1068"/>
                  </a:lnTo>
                  <a:lnTo>
                    <a:pt x="924" y="1080"/>
                  </a:lnTo>
                  <a:lnTo>
                    <a:pt x="924" y="1085"/>
                  </a:lnTo>
                  <a:lnTo>
                    <a:pt x="925" y="1089"/>
                  </a:lnTo>
                  <a:lnTo>
                    <a:pt x="925" y="1089"/>
                  </a:lnTo>
                  <a:lnTo>
                    <a:pt x="928" y="1096"/>
                  </a:lnTo>
                  <a:lnTo>
                    <a:pt x="930" y="1101"/>
                  </a:lnTo>
                  <a:lnTo>
                    <a:pt x="930" y="1105"/>
                  </a:lnTo>
                  <a:lnTo>
                    <a:pt x="930" y="1105"/>
                  </a:lnTo>
                  <a:lnTo>
                    <a:pt x="928" y="1117"/>
                  </a:lnTo>
                  <a:lnTo>
                    <a:pt x="928" y="1123"/>
                  </a:lnTo>
                  <a:lnTo>
                    <a:pt x="930" y="1129"/>
                  </a:lnTo>
                  <a:lnTo>
                    <a:pt x="930" y="1129"/>
                  </a:lnTo>
                  <a:lnTo>
                    <a:pt x="934" y="1139"/>
                  </a:lnTo>
                  <a:lnTo>
                    <a:pt x="934" y="1142"/>
                  </a:lnTo>
                  <a:lnTo>
                    <a:pt x="934" y="1144"/>
                  </a:lnTo>
                  <a:lnTo>
                    <a:pt x="933" y="1145"/>
                  </a:lnTo>
                  <a:lnTo>
                    <a:pt x="933" y="1145"/>
                  </a:lnTo>
                  <a:lnTo>
                    <a:pt x="922" y="1147"/>
                  </a:lnTo>
                  <a:lnTo>
                    <a:pt x="916" y="1147"/>
                  </a:lnTo>
                  <a:lnTo>
                    <a:pt x="915" y="1145"/>
                  </a:lnTo>
                  <a:lnTo>
                    <a:pt x="915" y="1144"/>
                  </a:lnTo>
                  <a:lnTo>
                    <a:pt x="915" y="1144"/>
                  </a:lnTo>
                  <a:lnTo>
                    <a:pt x="913" y="1133"/>
                  </a:lnTo>
                  <a:lnTo>
                    <a:pt x="915" y="1123"/>
                  </a:lnTo>
                  <a:lnTo>
                    <a:pt x="915" y="1123"/>
                  </a:lnTo>
                  <a:lnTo>
                    <a:pt x="916" y="1117"/>
                  </a:lnTo>
                  <a:lnTo>
                    <a:pt x="916" y="1110"/>
                  </a:lnTo>
                  <a:lnTo>
                    <a:pt x="916" y="1102"/>
                  </a:lnTo>
                  <a:lnTo>
                    <a:pt x="916" y="1098"/>
                  </a:lnTo>
                  <a:lnTo>
                    <a:pt x="915" y="1095"/>
                  </a:lnTo>
                  <a:lnTo>
                    <a:pt x="915" y="1095"/>
                  </a:lnTo>
                  <a:lnTo>
                    <a:pt x="910" y="1089"/>
                  </a:lnTo>
                  <a:lnTo>
                    <a:pt x="907" y="1079"/>
                  </a:lnTo>
                  <a:lnTo>
                    <a:pt x="904" y="1064"/>
                  </a:lnTo>
                  <a:lnTo>
                    <a:pt x="904" y="1064"/>
                  </a:lnTo>
                  <a:lnTo>
                    <a:pt x="903" y="1059"/>
                  </a:lnTo>
                  <a:lnTo>
                    <a:pt x="901" y="1054"/>
                  </a:lnTo>
                  <a:lnTo>
                    <a:pt x="900" y="1048"/>
                  </a:lnTo>
                  <a:lnTo>
                    <a:pt x="901" y="1045"/>
                  </a:lnTo>
                  <a:lnTo>
                    <a:pt x="903" y="1040"/>
                  </a:lnTo>
                  <a:lnTo>
                    <a:pt x="903" y="1040"/>
                  </a:lnTo>
                  <a:close/>
                  <a:moveTo>
                    <a:pt x="1016" y="697"/>
                  </a:moveTo>
                  <a:lnTo>
                    <a:pt x="1016" y="697"/>
                  </a:lnTo>
                  <a:lnTo>
                    <a:pt x="1014" y="685"/>
                  </a:lnTo>
                  <a:lnTo>
                    <a:pt x="1014" y="685"/>
                  </a:lnTo>
                  <a:lnTo>
                    <a:pt x="1017" y="673"/>
                  </a:lnTo>
                  <a:lnTo>
                    <a:pt x="1020" y="665"/>
                  </a:lnTo>
                  <a:lnTo>
                    <a:pt x="1021" y="664"/>
                  </a:lnTo>
                  <a:lnTo>
                    <a:pt x="1024" y="663"/>
                  </a:lnTo>
                  <a:lnTo>
                    <a:pt x="1024" y="663"/>
                  </a:lnTo>
                  <a:lnTo>
                    <a:pt x="1027" y="664"/>
                  </a:lnTo>
                  <a:lnTo>
                    <a:pt x="1029" y="665"/>
                  </a:lnTo>
                  <a:lnTo>
                    <a:pt x="1030" y="668"/>
                  </a:lnTo>
                  <a:lnTo>
                    <a:pt x="1029" y="673"/>
                  </a:lnTo>
                  <a:lnTo>
                    <a:pt x="1029" y="673"/>
                  </a:lnTo>
                  <a:lnTo>
                    <a:pt x="1026" y="683"/>
                  </a:lnTo>
                  <a:lnTo>
                    <a:pt x="1026" y="691"/>
                  </a:lnTo>
                  <a:lnTo>
                    <a:pt x="1029" y="697"/>
                  </a:lnTo>
                  <a:lnTo>
                    <a:pt x="1029" y="697"/>
                  </a:lnTo>
                  <a:lnTo>
                    <a:pt x="1030" y="702"/>
                  </a:lnTo>
                  <a:lnTo>
                    <a:pt x="1032" y="708"/>
                  </a:lnTo>
                  <a:lnTo>
                    <a:pt x="1030" y="714"/>
                  </a:lnTo>
                  <a:lnTo>
                    <a:pt x="1029" y="720"/>
                  </a:lnTo>
                  <a:lnTo>
                    <a:pt x="1029" y="720"/>
                  </a:lnTo>
                  <a:lnTo>
                    <a:pt x="1026" y="729"/>
                  </a:lnTo>
                  <a:lnTo>
                    <a:pt x="1026" y="740"/>
                  </a:lnTo>
                  <a:lnTo>
                    <a:pt x="1026" y="740"/>
                  </a:lnTo>
                  <a:lnTo>
                    <a:pt x="1026" y="754"/>
                  </a:lnTo>
                  <a:lnTo>
                    <a:pt x="1026" y="762"/>
                  </a:lnTo>
                  <a:lnTo>
                    <a:pt x="1024" y="768"/>
                  </a:lnTo>
                  <a:lnTo>
                    <a:pt x="1024" y="768"/>
                  </a:lnTo>
                  <a:lnTo>
                    <a:pt x="1020" y="771"/>
                  </a:lnTo>
                  <a:lnTo>
                    <a:pt x="1016" y="774"/>
                  </a:lnTo>
                  <a:lnTo>
                    <a:pt x="1011" y="774"/>
                  </a:lnTo>
                  <a:lnTo>
                    <a:pt x="1010" y="772"/>
                  </a:lnTo>
                  <a:lnTo>
                    <a:pt x="1010" y="771"/>
                  </a:lnTo>
                  <a:lnTo>
                    <a:pt x="1010" y="771"/>
                  </a:lnTo>
                  <a:lnTo>
                    <a:pt x="1010" y="753"/>
                  </a:lnTo>
                  <a:lnTo>
                    <a:pt x="1010" y="738"/>
                  </a:lnTo>
                  <a:lnTo>
                    <a:pt x="1010" y="738"/>
                  </a:lnTo>
                  <a:lnTo>
                    <a:pt x="1013" y="719"/>
                  </a:lnTo>
                  <a:lnTo>
                    <a:pt x="1014" y="705"/>
                  </a:lnTo>
                  <a:lnTo>
                    <a:pt x="1016" y="697"/>
                  </a:lnTo>
                  <a:lnTo>
                    <a:pt x="1016" y="697"/>
                  </a:lnTo>
                  <a:close/>
                  <a:moveTo>
                    <a:pt x="1016" y="621"/>
                  </a:moveTo>
                  <a:lnTo>
                    <a:pt x="1016" y="621"/>
                  </a:lnTo>
                  <a:lnTo>
                    <a:pt x="1018" y="617"/>
                  </a:lnTo>
                  <a:lnTo>
                    <a:pt x="1021" y="615"/>
                  </a:lnTo>
                  <a:lnTo>
                    <a:pt x="1023" y="615"/>
                  </a:lnTo>
                  <a:lnTo>
                    <a:pt x="1024" y="615"/>
                  </a:lnTo>
                  <a:lnTo>
                    <a:pt x="1024" y="615"/>
                  </a:lnTo>
                  <a:lnTo>
                    <a:pt x="1027" y="623"/>
                  </a:lnTo>
                  <a:lnTo>
                    <a:pt x="1027" y="627"/>
                  </a:lnTo>
                  <a:lnTo>
                    <a:pt x="1026" y="628"/>
                  </a:lnTo>
                  <a:lnTo>
                    <a:pt x="1026" y="628"/>
                  </a:lnTo>
                  <a:lnTo>
                    <a:pt x="1021" y="628"/>
                  </a:lnTo>
                  <a:lnTo>
                    <a:pt x="1018" y="628"/>
                  </a:lnTo>
                  <a:lnTo>
                    <a:pt x="1016" y="627"/>
                  </a:lnTo>
                  <a:lnTo>
                    <a:pt x="1016" y="621"/>
                  </a:lnTo>
                  <a:lnTo>
                    <a:pt x="1016" y="621"/>
                  </a:lnTo>
                  <a:close/>
                  <a:moveTo>
                    <a:pt x="1044" y="528"/>
                  </a:moveTo>
                  <a:lnTo>
                    <a:pt x="1044" y="528"/>
                  </a:lnTo>
                  <a:lnTo>
                    <a:pt x="1042" y="516"/>
                  </a:lnTo>
                  <a:lnTo>
                    <a:pt x="1042" y="507"/>
                  </a:lnTo>
                  <a:lnTo>
                    <a:pt x="1044" y="503"/>
                  </a:lnTo>
                  <a:lnTo>
                    <a:pt x="1044" y="503"/>
                  </a:lnTo>
                  <a:lnTo>
                    <a:pt x="1045" y="500"/>
                  </a:lnTo>
                  <a:lnTo>
                    <a:pt x="1048" y="500"/>
                  </a:lnTo>
                  <a:lnTo>
                    <a:pt x="1051" y="501"/>
                  </a:lnTo>
                  <a:lnTo>
                    <a:pt x="1053" y="506"/>
                  </a:lnTo>
                  <a:lnTo>
                    <a:pt x="1053" y="506"/>
                  </a:lnTo>
                  <a:lnTo>
                    <a:pt x="1054" y="525"/>
                  </a:lnTo>
                  <a:lnTo>
                    <a:pt x="1054" y="541"/>
                  </a:lnTo>
                  <a:lnTo>
                    <a:pt x="1054" y="541"/>
                  </a:lnTo>
                  <a:lnTo>
                    <a:pt x="1053" y="551"/>
                  </a:lnTo>
                  <a:lnTo>
                    <a:pt x="1051" y="556"/>
                  </a:lnTo>
                  <a:lnTo>
                    <a:pt x="1048" y="559"/>
                  </a:lnTo>
                  <a:lnTo>
                    <a:pt x="1048" y="559"/>
                  </a:lnTo>
                  <a:lnTo>
                    <a:pt x="1047" y="557"/>
                  </a:lnTo>
                  <a:lnTo>
                    <a:pt x="1044" y="553"/>
                  </a:lnTo>
                  <a:lnTo>
                    <a:pt x="1042" y="543"/>
                  </a:lnTo>
                  <a:lnTo>
                    <a:pt x="1044" y="528"/>
                  </a:lnTo>
                  <a:lnTo>
                    <a:pt x="1044" y="528"/>
                  </a:lnTo>
                  <a:close/>
                  <a:moveTo>
                    <a:pt x="1045" y="483"/>
                  </a:moveTo>
                  <a:lnTo>
                    <a:pt x="1045" y="483"/>
                  </a:lnTo>
                  <a:lnTo>
                    <a:pt x="1041" y="479"/>
                  </a:lnTo>
                  <a:lnTo>
                    <a:pt x="1038" y="476"/>
                  </a:lnTo>
                  <a:lnTo>
                    <a:pt x="1036" y="474"/>
                  </a:lnTo>
                  <a:lnTo>
                    <a:pt x="1036" y="474"/>
                  </a:lnTo>
                  <a:lnTo>
                    <a:pt x="1039" y="470"/>
                  </a:lnTo>
                  <a:lnTo>
                    <a:pt x="1042" y="467"/>
                  </a:lnTo>
                  <a:lnTo>
                    <a:pt x="1044" y="467"/>
                  </a:lnTo>
                  <a:lnTo>
                    <a:pt x="1044" y="467"/>
                  </a:lnTo>
                  <a:lnTo>
                    <a:pt x="1047" y="468"/>
                  </a:lnTo>
                  <a:lnTo>
                    <a:pt x="1050" y="471"/>
                  </a:lnTo>
                  <a:lnTo>
                    <a:pt x="1053" y="474"/>
                  </a:lnTo>
                  <a:lnTo>
                    <a:pt x="1054" y="477"/>
                  </a:lnTo>
                  <a:lnTo>
                    <a:pt x="1054" y="477"/>
                  </a:lnTo>
                  <a:lnTo>
                    <a:pt x="1053" y="480"/>
                  </a:lnTo>
                  <a:lnTo>
                    <a:pt x="1051" y="482"/>
                  </a:lnTo>
                  <a:lnTo>
                    <a:pt x="1048" y="483"/>
                  </a:lnTo>
                  <a:lnTo>
                    <a:pt x="1045" y="483"/>
                  </a:lnTo>
                  <a:lnTo>
                    <a:pt x="1045" y="483"/>
                  </a:lnTo>
                  <a:close/>
                  <a:moveTo>
                    <a:pt x="1041" y="429"/>
                  </a:moveTo>
                  <a:lnTo>
                    <a:pt x="1041" y="429"/>
                  </a:lnTo>
                  <a:lnTo>
                    <a:pt x="1035" y="424"/>
                  </a:lnTo>
                  <a:lnTo>
                    <a:pt x="1030" y="420"/>
                  </a:lnTo>
                  <a:lnTo>
                    <a:pt x="1029" y="417"/>
                  </a:lnTo>
                  <a:lnTo>
                    <a:pt x="1029" y="414"/>
                  </a:lnTo>
                  <a:lnTo>
                    <a:pt x="1029" y="414"/>
                  </a:lnTo>
                  <a:lnTo>
                    <a:pt x="1030" y="409"/>
                  </a:lnTo>
                  <a:lnTo>
                    <a:pt x="1035" y="406"/>
                  </a:lnTo>
                  <a:lnTo>
                    <a:pt x="1038" y="405"/>
                  </a:lnTo>
                  <a:lnTo>
                    <a:pt x="1039" y="405"/>
                  </a:lnTo>
                  <a:lnTo>
                    <a:pt x="1041" y="406"/>
                  </a:lnTo>
                  <a:lnTo>
                    <a:pt x="1041" y="406"/>
                  </a:lnTo>
                  <a:lnTo>
                    <a:pt x="1045" y="414"/>
                  </a:lnTo>
                  <a:lnTo>
                    <a:pt x="1047" y="417"/>
                  </a:lnTo>
                  <a:lnTo>
                    <a:pt x="1048" y="420"/>
                  </a:lnTo>
                  <a:lnTo>
                    <a:pt x="1048" y="420"/>
                  </a:lnTo>
                  <a:lnTo>
                    <a:pt x="1048" y="426"/>
                  </a:lnTo>
                  <a:lnTo>
                    <a:pt x="1045" y="429"/>
                  </a:lnTo>
                  <a:lnTo>
                    <a:pt x="1041" y="429"/>
                  </a:lnTo>
                  <a:lnTo>
                    <a:pt x="1041" y="429"/>
                  </a:lnTo>
                  <a:close/>
                  <a:moveTo>
                    <a:pt x="210" y="657"/>
                  </a:moveTo>
                  <a:lnTo>
                    <a:pt x="210" y="657"/>
                  </a:lnTo>
                  <a:lnTo>
                    <a:pt x="213" y="660"/>
                  </a:lnTo>
                  <a:lnTo>
                    <a:pt x="216" y="665"/>
                  </a:lnTo>
                  <a:lnTo>
                    <a:pt x="223" y="679"/>
                  </a:lnTo>
                  <a:lnTo>
                    <a:pt x="231" y="701"/>
                  </a:lnTo>
                  <a:lnTo>
                    <a:pt x="231" y="701"/>
                  </a:lnTo>
                  <a:lnTo>
                    <a:pt x="237" y="710"/>
                  </a:lnTo>
                  <a:lnTo>
                    <a:pt x="247" y="720"/>
                  </a:lnTo>
                  <a:lnTo>
                    <a:pt x="257" y="732"/>
                  </a:lnTo>
                  <a:lnTo>
                    <a:pt x="266" y="738"/>
                  </a:lnTo>
                  <a:lnTo>
                    <a:pt x="266" y="738"/>
                  </a:lnTo>
                  <a:lnTo>
                    <a:pt x="274" y="747"/>
                  </a:lnTo>
                  <a:lnTo>
                    <a:pt x="284" y="762"/>
                  </a:lnTo>
                  <a:lnTo>
                    <a:pt x="293" y="777"/>
                  </a:lnTo>
                  <a:lnTo>
                    <a:pt x="300" y="785"/>
                  </a:lnTo>
                  <a:lnTo>
                    <a:pt x="300" y="785"/>
                  </a:lnTo>
                  <a:lnTo>
                    <a:pt x="308" y="796"/>
                  </a:lnTo>
                  <a:lnTo>
                    <a:pt x="318" y="81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40" y="851"/>
                  </a:lnTo>
                  <a:lnTo>
                    <a:pt x="343" y="862"/>
                  </a:lnTo>
                  <a:lnTo>
                    <a:pt x="346" y="873"/>
                  </a:lnTo>
                  <a:lnTo>
                    <a:pt x="349" y="882"/>
                  </a:lnTo>
                  <a:lnTo>
                    <a:pt x="349" y="882"/>
                  </a:lnTo>
                  <a:lnTo>
                    <a:pt x="352" y="885"/>
                  </a:lnTo>
                  <a:lnTo>
                    <a:pt x="355" y="888"/>
                  </a:lnTo>
                  <a:lnTo>
                    <a:pt x="365" y="894"/>
                  </a:lnTo>
                  <a:lnTo>
                    <a:pt x="388" y="905"/>
                  </a:lnTo>
                  <a:lnTo>
                    <a:pt x="388" y="905"/>
                  </a:lnTo>
                  <a:lnTo>
                    <a:pt x="392" y="908"/>
                  </a:lnTo>
                  <a:lnTo>
                    <a:pt x="397" y="913"/>
                  </a:lnTo>
                  <a:lnTo>
                    <a:pt x="407" y="925"/>
                  </a:lnTo>
                  <a:lnTo>
                    <a:pt x="422" y="942"/>
                  </a:lnTo>
                  <a:lnTo>
                    <a:pt x="422" y="942"/>
                  </a:lnTo>
                  <a:lnTo>
                    <a:pt x="425" y="945"/>
                  </a:lnTo>
                  <a:lnTo>
                    <a:pt x="426" y="950"/>
                  </a:lnTo>
                  <a:lnTo>
                    <a:pt x="429" y="960"/>
                  </a:lnTo>
                  <a:lnTo>
                    <a:pt x="431" y="971"/>
                  </a:lnTo>
                  <a:lnTo>
                    <a:pt x="432" y="978"/>
                  </a:lnTo>
                  <a:lnTo>
                    <a:pt x="432" y="978"/>
                  </a:lnTo>
                  <a:lnTo>
                    <a:pt x="439" y="987"/>
                  </a:lnTo>
                  <a:lnTo>
                    <a:pt x="453" y="1000"/>
                  </a:lnTo>
                  <a:lnTo>
                    <a:pt x="475" y="1025"/>
                  </a:lnTo>
                  <a:lnTo>
                    <a:pt x="475" y="1025"/>
                  </a:lnTo>
                  <a:lnTo>
                    <a:pt x="479" y="1034"/>
                  </a:lnTo>
                  <a:lnTo>
                    <a:pt x="485" y="1049"/>
                  </a:lnTo>
                  <a:lnTo>
                    <a:pt x="491" y="1073"/>
                  </a:lnTo>
                  <a:lnTo>
                    <a:pt x="491" y="1073"/>
                  </a:lnTo>
                  <a:lnTo>
                    <a:pt x="494" y="1079"/>
                  </a:lnTo>
                  <a:lnTo>
                    <a:pt x="500" y="1085"/>
                  </a:lnTo>
                  <a:lnTo>
                    <a:pt x="508" y="1091"/>
                  </a:lnTo>
                  <a:lnTo>
                    <a:pt x="515" y="1095"/>
                  </a:lnTo>
                  <a:lnTo>
                    <a:pt x="515" y="1095"/>
                  </a:lnTo>
                  <a:lnTo>
                    <a:pt x="522" y="1101"/>
                  </a:lnTo>
                  <a:lnTo>
                    <a:pt x="531" y="1110"/>
                  </a:lnTo>
                  <a:lnTo>
                    <a:pt x="540" y="1119"/>
                  </a:lnTo>
                  <a:lnTo>
                    <a:pt x="548" y="1123"/>
                  </a:lnTo>
                  <a:lnTo>
                    <a:pt x="548" y="1123"/>
                  </a:lnTo>
                  <a:lnTo>
                    <a:pt x="549" y="1125"/>
                  </a:lnTo>
                  <a:lnTo>
                    <a:pt x="551" y="1125"/>
                  </a:lnTo>
                  <a:lnTo>
                    <a:pt x="554" y="1120"/>
                  </a:lnTo>
                  <a:lnTo>
                    <a:pt x="555" y="1110"/>
                  </a:lnTo>
                  <a:lnTo>
                    <a:pt x="555" y="1110"/>
                  </a:lnTo>
                  <a:lnTo>
                    <a:pt x="555" y="1107"/>
                  </a:lnTo>
                  <a:lnTo>
                    <a:pt x="555" y="1104"/>
                  </a:lnTo>
                  <a:lnTo>
                    <a:pt x="551" y="1096"/>
                  </a:lnTo>
                  <a:lnTo>
                    <a:pt x="542" y="1082"/>
                  </a:lnTo>
                  <a:lnTo>
                    <a:pt x="542" y="1082"/>
                  </a:lnTo>
                  <a:lnTo>
                    <a:pt x="539" y="1073"/>
                  </a:lnTo>
                  <a:lnTo>
                    <a:pt x="536" y="1059"/>
                  </a:lnTo>
                  <a:lnTo>
                    <a:pt x="533" y="1037"/>
                  </a:lnTo>
                  <a:lnTo>
                    <a:pt x="533" y="1037"/>
                  </a:lnTo>
                  <a:lnTo>
                    <a:pt x="533" y="1033"/>
                  </a:lnTo>
                  <a:lnTo>
                    <a:pt x="537" y="1030"/>
                  </a:lnTo>
                  <a:lnTo>
                    <a:pt x="542" y="1027"/>
                  </a:lnTo>
                  <a:lnTo>
                    <a:pt x="546" y="1027"/>
                  </a:lnTo>
                  <a:lnTo>
                    <a:pt x="546" y="1027"/>
                  </a:lnTo>
                  <a:lnTo>
                    <a:pt x="558" y="1024"/>
                  </a:lnTo>
                  <a:lnTo>
                    <a:pt x="568" y="1021"/>
                  </a:lnTo>
                  <a:lnTo>
                    <a:pt x="568" y="1021"/>
                  </a:lnTo>
                  <a:lnTo>
                    <a:pt x="573" y="1019"/>
                  </a:lnTo>
                  <a:lnTo>
                    <a:pt x="577" y="1015"/>
                  </a:lnTo>
                  <a:lnTo>
                    <a:pt x="582" y="1012"/>
                  </a:lnTo>
                  <a:lnTo>
                    <a:pt x="588" y="1011"/>
                  </a:lnTo>
                  <a:lnTo>
                    <a:pt x="588" y="1011"/>
                  </a:lnTo>
                  <a:lnTo>
                    <a:pt x="589" y="1012"/>
                  </a:lnTo>
                  <a:lnTo>
                    <a:pt x="592" y="1014"/>
                  </a:lnTo>
                  <a:lnTo>
                    <a:pt x="598" y="1018"/>
                  </a:lnTo>
                  <a:lnTo>
                    <a:pt x="605" y="1030"/>
                  </a:lnTo>
                  <a:lnTo>
                    <a:pt x="605" y="1030"/>
                  </a:lnTo>
                  <a:lnTo>
                    <a:pt x="619" y="1040"/>
                  </a:lnTo>
                  <a:lnTo>
                    <a:pt x="626" y="1046"/>
                  </a:lnTo>
                  <a:lnTo>
                    <a:pt x="631" y="1049"/>
                  </a:lnTo>
                  <a:lnTo>
                    <a:pt x="631" y="1049"/>
                  </a:lnTo>
                  <a:lnTo>
                    <a:pt x="633" y="1049"/>
                  </a:lnTo>
                  <a:lnTo>
                    <a:pt x="633" y="1048"/>
                  </a:lnTo>
                  <a:lnTo>
                    <a:pt x="631" y="1040"/>
                  </a:lnTo>
                  <a:lnTo>
                    <a:pt x="631" y="1040"/>
                  </a:lnTo>
                  <a:lnTo>
                    <a:pt x="628" y="1033"/>
                  </a:lnTo>
                  <a:lnTo>
                    <a:pt x="623" y="1022"/>
                  </a:lnTo>
                  <a:lnTo>
                    <a:pt x="623" y="1022"/>
                  </a:lnTo>
                  <a:lnTo>
                    <a:pt x="620" y="1012"/>
                  </a:lnTo>
                  <a:lnTo>
                    <a:pt x="619" y="1008"/>
                  </a:lnTo>
                  <a:lnTo>
                    <a:pt x="617" y="1006"/>
                  </a:lnTo>
                  <a:lnTo>
                    <a:pt x="617" y="1006"/>
                  </a:lnTo>
                  <a:lnTo>
                    <a:pt x="613" y="1005"/>
                  </a:lnTo>
                  <a:lnTo>
                    <a:pt x="607" y="1002"/>
                  </a:lnTo>
                  <a:lnTo>
                    <a:pt x="601" y="997"/>
                  </a:lnTo>
                  <a:lnTo>
                    <a:pt x="595" y="991"/>
                  </a:lnTo>
                  <a:lnTo>
                    <a:pt x="595" y="991"/>
                  </a:lnTo>
                  <a:lnTo>
                    <a:pt x="589" y="985"/>
                  </a:lnTo>
                  <a:lnTo>
                    <a:pt x="583" y="981"/>
                  </a:lnTo>
                  <a:lnTo>
                    <a:pt x="577" y="978"/>
                  </a:lnTo>
                  <a:lnTo>
                    <a:pt x="574" y="978"/>
                  </a:lnTo>
                  <a:lnTo>
                    <a:pt x="574" y="978"/>
                  </a:lnTo>
                  <a:lnTo>
                    <a:pt x="567" y="982"/>
                  </a:lnTo>
                  <a:lnTo>
                    <a:pt x="561" y="985"/>
                  </a:lnTo>
                  <a:lnTo>
                    <a:pt x="555" y="985"/>
                  </a:lnTo>
                  <a:lnTo>
                    <a:pt x="555" y="985"/>
                  </a:lnTo>
                  <a:lnTo>
                    <a:pt x="549" y="985"/>
                  </a:lnTo>
                  <a:lnTo>
                    <a:pt x="546" y="984"/>
                  </a:lnTo>
                  <a:lnTo>
                    <a:pt x="540" y="978"/>
                  </a:lnTo>
                  <a:lnTo>
                    <a:pt x="540" y="978"/>
                  </a:lnTo>
                  <a:lnTo>
                    <a:pt x="533" y="971"/>
                  </a:lnTo>
                  <a:lnTo>
                    <a:pt x="525" y="963"/>
                  </a:lnTo>
                  <a:lnTo>
                    <a:pt x="525" y="963"/>
                  </a:lnTo>
                  <a:lnTo>
                    <a:pt x="518" y="959"/>
                  </a:lnTo>
                  <a:lnTo>
                    <a:pt x="508" y="957"/>
                  </a:lnTo>
                  <a:lnTo>
                    <a:pt x="485" y="954"/>
                  </a:lnTo>
                  <a:lnTo>
                    <a:pt x="485" y="954"/>
                  </a:lnTo>
                  <a:lnTo>
                    <a:pt x="475" y="950"/>
                  </a:lnTo>
                  <a:lnTo>
                    <a:pt x="468" y="945"/>
                  </a:lnTo>
                  <a:lnTo>
                    <a:pt x="456" y="934"/>
                  </a:lnTo>
                  <a:lnTo>
                    <a:pt x="456" y="934"/>
                  </a:lnTo>
                  <a:lnTo>
                    <a:pt x="447" y="923"/>
                  </a:lnTo>
                  <a:lnTo>
                    <a:pt x="437" y="902"/>
                  </a:lnTo>
                  <a:lnTo>
                    <a:pt x="419" y="870"/>
                  </a:lnTo>
                  <a:lnTo>
                    <a:pt x="419" y="870"/>
                  </a:lnTo>
                  <a:lnTo>
                    <a:pt x="417" y="859"/>
                  </a:lnTo>
                  <a:lnTo>
                    <a:pt x="414" y="846"/>
                  </a:lnTo>
                  <a:lnTo>
                    <a:pt x="411" y="828"/>
                  </a:lnTo>
                  <a:lnTo>
                    <a:pt x="411" y="828"/>
                  </a:lnTo>
                  <a:lnTo>
                    <a:pt x="407" y="821"/>
                  </a:lnTo>
                  <a:lnTo>
                    <a:pt x="401" y="812"/>
                  </a:lnTo>
                  <a:lnTo>
                    <a:pt x="401" y="812"/>
                  </a:lnTo>
                  <a:lnTo>
                    <a:pt x="394" y="800"/>
                  </a:lnTo>
                  <a:lnTo>
                    <a:pt x="392" y="794"/>
                  </a:lnTo>
                  <a:lnTo>
                    <a:pt x="391" y="788"/>
                  </a:lnTo>
                  <a:lnTo>
                    <a:pt x="391" y="788"/>
                  </a:lnTo>
                  <a:lnTo>
                    <a:pt x="391" y="785"/>
                  </a:lnTo>
                  <a:lnTo>
                    <a:pt x="392" y="782"/>
                  </a:lnTo>
                  <a:lnTo>
                    <a:pt x="397" y="778"/>
                  </a:lnTo>
                  <a:lnTo>
                    <a:pt x="401" y="775"/>
                  </a:lnTo>
                  <a:lnTo>
                    <a:pt x="402" y="772"/>
                  </a:lnTo>
                  <a:lnTo>
                    <a:pt x="402" y="772"/>
                  </a:lnTo>
                  <a:lnTo>
                    <a:pt x="402" y="763"/>
                  </a:lnTo>
                  <a:lnTo>
                    <a:pt x="402" y="757"/>
                  </a:lnTo>
                  <a:lnTo>
                    <a:pt x="404" y="753"/>
                  </a:lnTo>
                  <a:lnTo>
                    <a:pt x="404" y="753"/>
                  </a:lnTo>
                  <a:lnTo>
                    <a:pt x="405" y="750"/>
                  </a:lnTo>
                  <a:lnTo>
                    <a:pt x="410" y="750"/>
                  </a:lnTo>
                  <a:lnTo>
                    <a:pt x="420" y="748"/>
                  </a:lnTo>
                  <a:lnTo>
                    <a:pt x="420" y="748"/>
                  </a:lnTo>
                  <a:lnTo>
                    <a:pt x="429" y="747"/>
                  </a:lnTo>
                  <a:lnTo>
                    <a:pt x="444" y="742"/>
                  </a:lnTo>
                  <a:lnTo>
                    <a:pt x="444" y="742"/>
                  </a:lnTo>
                  <a:lnTo>
                    <a:pt x="451" y="742"/>
                  </a:lnTo>
                  <a:lnTo>
                    <a:pt x="456" y="742"/>
                  </a:lnTo>
                  <a:lnTo>
                    <a:pt x="465" y="745"/>
                  </a:lnTo>
                  <a:lnTo>
                    <a:pt x="465" y="745"/>
                  </a:lnTo>
                  <a:lnTo>
                    <a:pt x="477" y="750"/>
                  </a:lnTo>
                  <a:lnTo>
                    <a:pt x="488" y="753"/>
                  </a:lnTo>
                  <a:lnTo>
                    <a:pt x="488" y="753"/>
                  </a:lnTo>
                  <a:lnTo>
                    <a:pt x="494" y="754"/>
                  </a:lnTo>
                  <a:lnTo>
                    <a:pt x="500" y="759"/>
                  </a:lnTo>
                  <a:lnTo>
                    <a:pt x="506" y="763"/>
                  </a:lnTo>
                  <a:lnTo>
                    <a:pt x="514" y="766"/>
                  </a:lnTo>
                  <a:lnTo>
                    <a:pt x="514" y="766"/>
                  </a:lnTo>
                  <a:lnTo>
                    <a:pt x="518" y="768"/>
                  </a:lnTo>
                  <a:lnTo>
                    <a:pt x="519" y="766"/>
                  </a:lnTo>
                  <a:lnTo>
                    <a:pt x="521" y="765"/>
                  </a:lnTo>
                  <a:lnTo>
                    <a:pt x="521" y="760"/>
                  </a:lnTo>
                  <a:lnTo>
                    <a:pt x="521" y="760"/>
                  </a:lnTo>
                  <a:lnTo>
                    <a:pt x="521" y="759"/>
                  </a:lnTo>
                  <a:lnTo>
                    <a:pt x="519" y="756"/>
                  </a:lnTo>
                  <a:lnTo>
                    <a:pt x="512" y="750"/>
                  </a:lnTo>
                  <a:lnTo>
                    <a:pt x="503" y="745"/>
                  </a:lnTo>
                  <a:lnTo>
                    <a:pt x="499" y="742"/>
                  </a:lnTo>
                  <a:lnTo>
                    <a:pt x="499" y="742"/>
                  </a:lnTo>
                  <a:lnTo>
                    <a:pt x="481" y="737"/>
                  </a:lnTo>
                  <a:lnTo>
                    <a:pt x="463" y="728"/>
                  </a:lnTo>
                  <a:lnTo>
                    <a:pt x="463" y="728"/>
                  </a:lnTo>
                  <a:lnTo>
                    <a:pt x="450" y="722"/>
                  </a:lnTo>
                  <a:lnTo>
                    <a:pt x="434" y="710"/>
                  </a:lnTo>
                  <a:lnTo>
                    <a:pt x="434" y="710"/>
                  </a:lnTo>
                  <a:lnTo>
                    <a:pt x="407" y="691"/>
                  </a:lnTo>
                  <a:lnTo>
                    <a:pt x="392" y="680"/>
                  </a:lnTo>
                  <a:lnTo>
                    <a:pt x="379" y="671"/>
                  </a:lnTo>
                  <a:lnTo>
                    <a:pt x="379" y="671"/>
                  </a:lnTo>
                  <a:lnTo>
                    <a:pt x="364" y="663"/>
                  </a:lnTo>
                  <a:lnTo>
                    <a:pt x="343" y="649"/>
                  </a:lnTo>
                  <a:lnTo>
                    <a:pt x="324" y="634"/>
                  </a:lnTo>
                  <a:lnTo>
                    <a:pt x="311" y="624"/>
                  </a:lnTo>
                  <a:lnTo>
                    <a:pt x="311" y="624"/>
                  </a:lnTo>
                  <a:lnTo>
                    <a:pt x="297" y="609"/>
                  </a:lnTo>
                  <a:lnTo>
                    <a:pt x="291" y="602"/>
                  </a:lnTo>
                  <a:lnTo>
                    <a:pt x="285" y="599"/>
                  </a:lnTo>
                  <a:lnTo>
                    <a:pt x="285" y="599"/>
                  </a:lnTo>
                  <a:lnTo>
                    <a:pt x="280" y="594"/>
                  </a:lnTo>
                  <a:lnTo>
                    <a:pt x="274" y="590"/>
                  </a:lnTo>
                  <a:lnTo>
                    <a:pt x="262" y="580"/>
                  </a:lnTo>
                  <a:lnTo>
                    <a:pt x="262" y="580"/>
                  </a:lnTo>
                  <a:lnTo>
                    <a:pt x="257" y="574"/>
                  </a:lnTo>
                  <a:lnTo>
                    <a:pt x="254" y="571"/>
                  </a:lnTo>
                  <a:lnTo>
                    <a:pt x="250" y="571"/>
                  </a:lnTo>
                  <a:lnTo>
                    <a:pt x="246" y="572"/>
                  </a:lnTo>
                  <a:lnTo>
                    <a:pt x="246" y="572"/>
                  </a:lnTo>
                  <a:lnTo>
                    <a:pt x="241" y="574"/>
                  </a:lnTo>
                  <a:lnTo>
                    <a:pt x="240" y="575"/>
                  </a:lnTo>
                  <a:lnTo>
                    <a:pt x="237" y="577"/>
                  </a:lnTo>
                  <a:lnTo>
                    <a:pt x="235" y="575"/>
                  </a:lnTo>
                  <a:lnTo>
                    <a:pt x="235" y="575"/>
                  </a:lnTo>
                  <a:lnTo>
                    <a:pt x="234" y="572"/>
                  </a:lnTo>
                  <a:lnTo>
                    <a:pt x="231" y="566"/>
                  </a:lnTo>
                  <a:lnTo>
                    <a:pt x="228" y="560"/>
                  </a:lnTo>
                  <a:lnTo>
                    <a:pt x="223" y="553"/>
                  </a:lnTo>
                  <a:lnTo>
                    <a:pt x="223" y="553"/>
                  </a:lnTo>
                  <a:lnTo>
                    <a:pt x="217" y="550"/>
                  </a:lnTo>
                  <a:lnTo>
                    <a:pt x="213" y="548"/>
                  </a:lnTo>
                  <a:lnTo>
                    <a:pt x="210" y="548"/>
                  </a:lnTo>
                  <a:lnTo>
                    <a:pt x="206" y="548"/>
                  </a:lnTo>
                  <a:lnTo>
                    <a:pt x="206" y="548"/>
                  </a:lnTo>
                  <a:lnTo>
                    <a:pt x="201" y="546"/>
                  </a:lnTo>
                  <a:lnTo>
                    <a:pt x="198" y="541"/>
                  </a:lnTo>
                  <a:lnTo>
                    <a:pt x="197" y="531"/>
                  </a:lnTo>
                  <a:lnTo>
                    <a:pt x="197" y="531"/>
                  </a:lnTo>
                  <a:lnTo>
                    <a:pt x="192" y="525"/>
                  </a:lnTo>
                  <a:lnTo>
                    <a:pt x="188" y="520"/>
                  </a:lnTo>
                  <a:lnTo>
                    <a:pt x="182" y="516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1" y="511"/>
                  </a:lnTo>
                  <a:lnTo>
                    <a:pt x="167" y="507"/>
                  </a:lnTo>
                  <a:lnTo>
                    <a:pt x="160" y="497"/>
                  </a:lnTo>
                  <a:lnTo>
                    <a:pt x="160" y="497"/>
                  </a:lnTo>
                  <a:lnTo>
                    <a:pt x="158" y="494"/>
                  </a:lnTo>
                  <a:lnTo>
                    <a:pt x="158" y="492"/>
                  </a:lnTo>
                  <a:lnTo>
                    <a:pt x="161" y="491"/>
                  </a:lnTo>
                  <a:lnTo>
                    <a:pt x="173" y="486"/>
                  </a:lnTo>
                  <a:lnTo>
                    <a:pt x="173" y="486"/>
                  </a:lnTo>
                  <a:lnTo>
                    <a:pt x="174" y="485"/>
                  </a:lnTo>
                  <a:lnTo>
                    <a:pt x="174" y="482"/>
                  </a:lnTo>
                  <a:lnTo>
                    <a:pt x="169" y="477"/>
                  </a:lnTo>
                  <a:lnTo>
                    <a:pt x="152" y="464"/>
                  </a:lnTo>
                  <a:lnTo>
                    <a:pt x="152" y="464"/>
                  </a:lnTo>
                  <a:lnTo>
                    <a:pt x="136" y="454"/>
                  </a:lnTo>
                  <a:lnTo>
                    <a:pt x="118" y="445"/>
                  </a:lnTo>
                  <a:lnTo>
                    <a:pt x="118" y="445"/>
                  </a:lnTo>
                  <a:lnTo>
                    <a:pt x="114" y="442"/>
                  </a:lnTo>
                  <a:lnTo>
                    <a:pt x="114" y="440"/>
                  </a:lnTo>
                  <a:lnTo>
                    <a:pt x="114" y="439"/>
                  </a:lnTo>
                  <a:lnTo>
                    <a:pt x="118" y="437"/>
                  </a:lnTo>
                  <a:lnTo>
                    <a:pt x="126" y="437"/>
                  </a:lnTo>
                  <a:lnTo>
                    <a:pt x="126" y="437"/>
                  </a:lnTo>
                  <a:lnTo>
                    <a:pt x="129" y="436"/>
                  </a:lnTo>
                  <a:lnTo>
                    <a:pt x="130" y="434"/>
                  </a:lnTo>
                  <a:lnTo>
                    <a:pt x="130" y="433"/>
                  </a:lnTo>
                  <a:lnTo>
                    <a:pt x="129" y="431"/>
                  </a:lnTo>
                  <a:lnTo>
                    <a:pt x="124" y="429"/>
                  </a:lnTo>
                  <a:lnTo>
                    <a:pt x="117" y="424"/>
                  </a:lnTo>
                  <a:lnTo>
                    <a:pt x="117" y="424"/>
                  </a:lnTo>
                  <a:lnTo>
                    <a:pt x="106" y="418"/>
                  </a:lnTo>
                  <a:lnTo>
                    <a:pt x="94" y="409"/>
                  </a:lnTo>
                  <a:lnTo>
                    <a:pt x="72" y="393"/>
                  </a:lnTo>
                  <a:lnTo>
                    <a:pt x="72" y="393"/>
                  </a:lnTo>
                  <a:lnTo>
                    <a:pt x="65" y="387"/>
                  </a:lnTo>
                  <a:lnTo>
                    <a:pt x="60" y="383"/>
                  </a:lnTo>
                  <a:lnTo>
                    <a:pt x="57" y="377"/>
                  </a:lnTo>
                  <a:lnTo>
                    <a:pt x="54" y="371"/>
                  </a:lnTo>
                  <a:lnTo>
                    <a:pt x="54" y="371"/>
                  </a:lnTo>
                  <a:lnTo>
                    <a:pt x="52" y="365"/>
                  </a:lnTo>
                  <a:lnTo>
                    <a:pt x="49" y="362"/>
                  </a:lnTo>
                  <a:lnTo>
                    <a:pt x="41" y="357"/>
                  </a:lnTo>
                  <a:lnTo>
                    <a:pt x="41" y="357"/>
                  </a:lnTo>
                  <a:lnTo>
                    <a:pt x="26" y="351"/>
                  </a:lnTo>
                  <a:lnTo>
                    <a:pt x="19" y="350"/>
                  </a:lnTo>
                  <a:lnTo>
                    <a:pt x="13" y="350"/>
                  </a:lnTo>
                  <a:lnTo>
                    <a:pt x="13" y="350"/>
                  </a:lnTo>
                  <a:lnTo>
                    <a:pt x="12" y="351"/>
                  </a:lnTo>
                  <a:lnTo>
                    <a:pt x="10" y="353"/>
                  </a:lnTo>
                  <a:lnTo>
                    <a:pt x="12" y="357"/>
                  </a:lnTo>
                  <a:lnTo>
                    <a:pt x="15" y="363"/>
                  </a:lnTo>
                  <a:lnTo>
                    <a:pt x="15" y="363"/>
                  </a:lnTo>
                  <a:lnTo>
                    <a:pt x="15" y="366"/>
                  </a:lnTo>
                  <a:lnTo>
                    <a:pt x="13" y="368"/>
                  </a:lnTo>
                  <a:lnTo>
                    <a:pt x="9" y="371"/>
                  </a:lnTo>
                  <a:lnTo>
                    <a:pt x="4" y="372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5"/>
                  </a:lnTo>
                  <a:lnTo>
                    <a:pt x="1" y="377"/>
                  </a:lnTo>
                  <a:lnTo>
                    <a:pt x="4" y="380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28" y="387"/>
                  </a:lnTo>
                  <a:lnTo>
                    <a:pt x="41" y="391"/>
                  </a:lnTo>
                  <a:lnTo>
                    <a:pt x="41" y="391"/>
                  </a:lnTo>
                  <a:lnTo>
                    <a:pt x="46" y="394"/>
                  </a:lnTo>
                  <a:lnTo>
                    <a:pt x="49" y="403"/>
                  </a:lnTo>
                  <a:lnTo>
                    <a:pt x="54" y="418"/>
                  </a:lnTo>
                  <a:lnTo>
                    <a:pt x="54" y="418"/>
                  </a:lnTo>
                  <a:lnTo>
                    <a:pt x="57" y="423"/>
                  </a:lnTo>
                  <a:lnTo>
                    <a:pt x="60" y="426"/>
                  </a:lnTo>
                  <a:lnTo>
                    <a:pt x="68" y="429"/>
                  </a:lnTo>
                  <a:lnTo>
                    <a:pt x="68" y="429"/>
                  </a:lnTo>
                  <a:lnTo>
                    <a:pt x="72" y="431"/>
                  </a:lnTo>
                  <a:lnTo>
                    <a:pt x="72" y="436"/>
                  </a:lnTo>
                  <a:lnTo>
                    <a:pt x="72" y="440"/>
                  </a:lnTo>
                  <a:lnTo>
                    <a:pt x="71" y="448"/>
                  </a:lnTo>
                  <a:lnTo>
                    <a:pt x="71" y="448"/>
                  </a:lnTo>
                  <a:lnTo>
                    <a:pt x="69" y="454"/>
                  </a:lnTo>
                  <a:lnTo>
                    <a:pt x="66" y="457"/>
                  </a:lnTo>
                  <a:lnTo>
                    <a:pt x="63" y="457"/>
                  </a:lnTo>
                  <a:lnTo>
                    <a:pt x="59" y="455"/>
                  </a:lnTo>
                  <a:lnTo>
                    <a:pt x="59" y="455"/>
                  </a:lnTo>
                  <a:lnTo>
                    <a:pt x="54" y="452"/>
                  </a:lnTo>
                  <a:lnTo>
                    <a:pt x="52" y="451"/>
                  </a:lnTo>
                  <a:lnTo>
                    <a:pt x="49" y="451"/>
                  </a:lnTo>
                  <a:lnTo>
                    <a:pt x="49" y="451"/>
                  </a:lnTo>
                  <a:lnTo>
                    <a:pt x="47" y="452"/>
                  </a:lnTo>
                  <a:lnTo>
                    <a:pt x="46" y="455"/>
                  </a:lnTo>
                  <a:lnTo>
                    <a:pt x="44" y="464"/>
                  </a:lnTo>
                  <a:lnTo>
                    <a:pt x="43" y="482"/>
                  </a:lnTo>
                  <a:lnTo>
                    <a:pt x="43" y="482"/>
                  </a:lnTo>
                  <a:lnTo>
                    <a:pt x="44" y="485"/>
                  </a:lnTo>
                  <a:lnTo>
                    <a:pt x="46" y="488"/>
                  </a:lnTo>
                  <a:lnTo>
                    <a:pt x="52" y="491"/>
                  </a:lnTo>
                  <a:lnTo>
                    <a:pt x="57" y="492"/>
                  </a:lnTo>
                  <a:lnTo>
                    <a:pt x="62" y="494"/>
                  </a:lnTo>
                  <a:lnTo>
                    <a:pt x="62" y="494"/>
                  </a:lnTo>
                  <a:lnTo>
                    <a:pt x="65" y="497"/>
                  </a:lnTo>
                  <a:lnTo>
                    <a:pt x="69" y="501"/>
                  </a:lnTo>
                  <a:lnTo>
                    <a:pt x="74" y="508"/>
                  </a:lnTo>
                  <a:lnTo>
                    <a:pt x="75" y="513"/>
                  </a:lnTo>
                  <a:lnTo>
                    <a:pt x="75" y="517"/>
                  </a:lnTo>
                  <a:lnTo>
                    <a:pt x="75" y="517"/>
                  </a:lnTo>
                  <a:lnTo>
                    <a:pt x="75" y="522"/>
                  </a:lnTo>
                  <a:lnTo>
                    <a:pt x="77" y="526"/>
                  </a:lnTo>
                  <a:lnTo>
                    <a:pt x="81" y="534"/>
                  </a:lnTo>
                  <a:lnTo>
                    <a:pt x="89" y="540"/>
                  </a:lnTo>
                  <a:lnTo>
                    <a:pt x="94" y="546"/>
                  </a:lnTo>
                  <a:lnTo>
                    <a:pt x="94" y="546"/>
                  </a:lnTo>
                  <a:lnTo>
                    <a:pt x="96" y="548"/>
                  </a:lnTo>
                  <a:lnTo>
                    <a:pt x="97" y="553"/>
                  </a:lnTo>
                  <a:lnTo>
                    <a:pt x="99" y="563"/>
                  </a:lnTo>
                  <a:lnTo>
                    <a:pt x="97" y="578"/>
                  </a:lnTo>
                  <a:lnTo>
                    <a:pt x="97" y="578"/>
                  </a:lnTo>
                  <a:lnTo>
                    <a:pt x="142" y="627"/>
                  </a:lnTo>
                  <a:lnTo>
                    <a:pt x="142" y="627"/>
                  </a:lnTo>
                  <a:lnTo>
                    <a:pt x="148" y="631"/>
                  </a:lnTo>
                  <a:lnTo>
                    <a:pt x="155" y="633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9" y="634"/>
                  </a:lnTo>
                  <a:lnTo>
                    <a:pt x="183" y="637"/>
                  </a:lnTo>
                  <a:lnTo>
                    <a:pt x="194" y="643"/>
                  </a:lnTo>
                  <a:lnTo>
                    <a:pt x="204" y="651"/>
                  </a:lnTo>
                  <a:lnTo>
                    <a:pt x="210" y="657"/>
                  </a:lnTo>
                  <a:lnTo>
                    <a:pt x="210" y="6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5" name="Freeform 24">
              <a:extLst>
                <a:ext uri="{FF2B5EF4-FFF2-40B4-BE49-F238E27FC236}">
                  <a16:creationId xmlns:a16="http://schemas.microsoft.com/office/drawing/2014/main" id="{C52F7C40-08C2-484B-B8B2-B45B45658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200" y="5462588"/>
              <a:ext cx="674688" cy="776287"/>
            </a:xfrm>
            <a:custGeom>
              <a:avLst/>
              <a:gdLst>
                <a:gd name="T0" fmla="*/ 376 w 425"/>
                <a:gd name="T1" fmla="*/ 228 h 489"/>
                <a:gd name="T2" fmla="*/ 358 w 425"/>
                <a:gd name="T3" fmla="*/ 215 h 489"/>
                <a:gd name="T4" fmla="*/ 345 w 425"/>
                <a:gd name="T5" fmla="*/ 206 h 489"/>
                <a:gd name="T6" fmla="*/ 308 w 425"/>
                <a:gd name="T7" fmla="*/ 194 h 489"/>
                <a:gd name="T8" fmla="*/ 299 w 425"/>
                <a:gd name="T9" fmla="*/ 171 h 489"/>
                <a:gd name="T10" fmla="*/ 272 w 425"/>
                <a:gd name="T11" fmla="*/ 147 h 489"/>
                <a:gd name="T12" fmla="*/ 249 w 425"/>
                <a:gd name="T13" fmla="*/ 151 h 489"/>
                <a:gd name="T14" fmla="*/ 225 w 425"/>
                <a:gd name="T15" fmla="*/ 135 h 489"/>
                <a:gd name="T16" fmla="*/ 229 w 425"/>
                <a:gd name="T17" fmla="*/ 125 h 489"/>
                <a:gd name="T18" fmla="*/ 191 w 425"/>
                <a:gd name="T19" fmla="*/ 105 h 489"/>
                <a:gd name="T20" fmla="*/ 189 w 425"/>
                <a:gd name="T21" fmla="*/ 82 h 489"/>
                <a:gd name="T22" fmla="*/ 169 w 425"/>
                <a:gd name="T23" fmla="*/ 80 h 489"/>
                <a:gd name="T24" fmla="*/ 152 w 425"/>
                <a:gd name="T25" fmla="*/ 65 h 489"/>
                <a:gd name="T26" fmla="*/ 118 w 425"/>
                <a:gd name="T27" fmla="*/ 31 h 489"/>
                <a:gd name="T28" fmla="*/ 114 w 425"/>
                <a:gd name="T29" fmla="*/ 11 h 489"/>
                <a:gd name="T30" fmla="*/ 102 w 425"/>
                <a:gd name="T31" fmla="*/ 0 h 489"/>
                <a:gd name="T32" fmla="*/ 80 w 425"/>
                <a:gd name="T33" fmla="*/ 3 h 489"/>
                <a:gd name="T34" fmla="*/ 55 w 425"/>
                <a:gd name="T35" fmla="*/ 14 h 489"/>
                <a:gd name="T36" fmla="*/ 22 w 425"/>
                <a:gd name="T37" fmla="*/ 23 h 489"/>
                <a:gd name="T38" fmla="*/ 19 w 425"/>
                <a:gd name="T39" fmla="*/ 54 h 489"/>
                <a:gd name="T40" fmla="*/ 9 w 425"/>
                <a:gd name="T41" fmla="*/ 83 h 489"/>
                <a:gd name="T42" fmla="*/ 12 w 425"/>
                <a:gd name="T43" fmla="*/ 123 h 489"/>
                <a:gd name="T44" fmla="*/ 37 w 425"/>
                <a:gd name="T45" fmla="*/ 135 h 489"/>
                <a:gd name="T46" fmla="*/ 59 w 425"/>
                <a:gd name="T47" fmla="*/ 153 h 489"/>
                <a:gd name="T48" fmla="*/ 90 w 425"/>
                <a:gd name="T49" fmla="*/ 185 h 489"/>
                <a:gd name="T50" fmla="*/ 81 w 425"/>
                <a:gd name="T51" fmla="*/ 236 h 489"/>
                <a:gd name="T52" fmla="*/ 58 w 425"/>
                <a:gd name="T53" fmla="*/ 251 h 489"/>
                <a:gd name="T54" fmla="*/ 62 w 425"/>
                <a:gd name="T55" fmla="*/ 273 h 489"/>
                <a:gd name="T56" fmla="*/ 86 w 425"/>
                <a:gd name="T57" fmla="*/ 285 h 489"/>
                <a:gd name="T58" fmla="*/ 100 w 425"/>
                <a:gd name="T59" fmla="*/ 273 h 489"/>
                <a:gd name="T60" fmla="*/ 108 w 425"/>
                <a:gd name="T61" fmla="*/ 288 h 489"/>
                <a:gd name="T62" fmla="*/ 95 w 425"/>
                <a:gd name="T63" fmla="*/ 307 h 489"/>
                <a:gd name="T64" fmla="*/ 111 w 425"/>
                <a:gd name="T65" fmla="*/ 320 h 489"/>
                <a:gd name="T66" fmla="*/ 132 w 425"/>
                <a:gd name="T67" fmla="*/ 319 h 489"/>
                <a:gd name="T68" fmla="*/ 129 w 425"/>
                <a:gd name="T69" fmla="*/ 344 h 489"/>
                <a:gd name="T70" fmla="*/ 138 w 425"/>
                <a:gd name="T71" fmla="*/ 356 h 489"/>
                <a:gd name="T72" fmla="*/ 136 w 425"/>
                <a:gd name="T73" fmla="*/ 368 h 489"/>
                <a:gd name="T74" fmla="*/ 136 w 425"/>
                <a:gd name="T75" fmla="*/ 387 h 489"/>
                <a:gd name="T76" fmla="*/ 136 w 425"/>
                <a:gd name="T77" fmla="*/ 465 h 489"/>
                <a:gd name="T78" fmla="*/ 163 w 425"/>
                <a:gd name="T79" fmla="*/ 489 h 489"/>
                <a:gd name="T80" fmla="*/ 188 w 425"/>
                <a:gd name="T81" fmla="*/ 474 h 489"/>
                <a:gd name="T82" fmla="*/ 209 w 425"/>
                <a:gd name="T83" fmla="*/ 448 h 489"/>
                <a:gd name="T84" fmla="*/ 225 w 425"/>
                <a:gd name="T85" fmla="*/ 440 h 489"/>
                <a:gd name="T86" fmla="*/ 278 w 425"/>
                <a:gd name="T87" fmla="*/ 446 h 489"/>
                <a:gd name="T88" fmla="*/ 308 w 425"/>
                <a:gd name="T89" fmla="*/ 436 h 489"/>
                <a:gd name="T90" fmla="*/ 361 w 425"/>
                <a:gd name="T91" fmla="*/ 448 h 489"/>
                <a:gd name="T92" fmla="*/ 411 w 425"/>
                <a:gd name="T93" fmla="*/ 430 h 489"/>
                <a:gd name="T94" fmla="*/ 422 w 425"/>
                <a:gd name="T95" fmla="*/ 419 h 489"/>
                <a:gd name="T96" fmla="*/ 420 w 425"/>
                <a:gd name="T97" fmla="*/ 393 h 489"/>
                <a:gd name="T98" fmla="*/ 407 w 425"/>
                <a:gd name="T99" fmla="*/ 387 h 489"/>
                <a:gd name="T100" fmla="*/ 416 w 425"/>
                <a:gd name="T101" fmla="*/ 375 h 489"/>
                <a:gd name="T102" fmla="*/ 404 w 425"/>
                <a:gd name="T103" fmla="*/ 353 h 489"/>
                <a:gd name="T104" fmla="*/ 413 w 425"/>
                <a:gd name="T105" fmla="*/ 331 h 489"/>
                <a:gd name="T106" fmla="*/ 397 w 425"/>
                <a:gd name="T107" fmla="*/ 317 h 489"/>
                <a:gd name="T108" fmla="*/ 391 w 425"/>
                <a:gd name="T109" fmla="*/ 298 h 489"/>
                <a:gd name="T110" fmla="*/ 376 w 425"/>
                <a:gd name="T111" fmla="*/ 289 h 489"/>
                <a:gd name="T112" fmla="*/ 383 w 425"/>
                <a:gd name="T113" fmla="*/ 274 h 489"/>
                <a:gd name="T114" fmla="*/ 376 w 425"/>
                <a:gd name="T115" fmla="*/ 25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5" h="489">
                  <a:moveTo>
                    <a:pt x="376" y="254"/>
                  </a:moveTo>
                  <a:lnTo>
                    <a:pt x="376" y="254"/>
                  </a:lnTo>
                  <a:lnTo>
                    <a:pt x="373" y="249"/>
                  </a:lnTo>
                  <a:lnTo>
                    <a:pt x="373" y="245"/>
                  </a:lnTo>
                  <a:lnTo>
                    <a:pt x="373" y="236"/>
                  </a:lnTo>
                  <a:lnTo>
                    <a:pt x="376" y="228"/>
                  </a:lnTo>
                  <a:lnTo>
                    <a:pt x="377" y="227"/>
                  </a:lnTo>
                  <a:lnTo>
                    <a:pt x="377" y="227"/>
                  </a:lnTo>
                  <a:lnTo>
                    <a:pt x="366" y="222"/>
                  </a:lnTo>
                  <a:lnTo>
                    <a:pt x="366" y="222"/>
                  </a:lnTo>
                  <a:lnTo>
                    <a:pt x="361" y="220"/>
                  </a:lnTo>
                  <a:lnTo>
                    <a:pt x="358" y="215"/>
                  </a:lnTo>
                  <a:lnTo>
                    <a:pt x="355" y="209"/>
                  </a:lnTo>
                  <a:lnTo>
                    <a:pt x="352" y="205"/>
                  </a:lnTo>
                  <a:lnTo>
                    <a:pt x="352" y="205"/>
                  </a:lnTo>
                  <a:lnTo>
                    <a:pt x="351" y="203"/>
                  </a:lnTo>
                  <a:lnTo>
                    <a:pt x="348" y="203"/>
                  </a:lnTo>
                  <a:lnTo>
                    <a:pt x="345" y="206"/>
                  </a:lnTo>
                  <a:lnTo>
                    <a:pt x="340" y="209"/>
                  </a:lnTo>
                  <a:lnTo>
                    <a:pt x="337" y="212"/>
                  </a:lnTo>
                  <a:lnTo>
                    <a:pt x="337" y="212"/>
                  </a:lnTo>
                  <a:lnTo>
                    <a:pt x="333" y="211"/>
                  </a:lnTo>
                  <a:lnTo>
                    <a:pt x="324" y="206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5" y="191"/>
                  </a:lnTo>
                  <a:lnTo>
                    <a:pt x="303" y="188"/>
                  </a:lnTo>
                  <a:lnTo>
                    <a:pt x="300" y="181"/>
                  </a:lnTo>
                  <a:lnTo>
                    <a:pt x="299" y="171"/>
                  </a:lnTo>
                  <a:lnTo>
                    <a:pt x="299" y="171"/>
                  </a:lnTo>
                  <a:lnTo>
                    <a:pt x="296" y="169"/>
                  </a:lnTo>
                  <a:lnTo>
                    <a:pt x="296" y="169"/>
                  </a:lnTo>
                  <a:lnTo>
                    <a:pt x="289" y="160"/>
                  </a:lnTo>
                  <a:lnTo>
                    <a:pt x="281" y="153"/>
                  </a:lnTo>
                  <a:lnTo>
                    <a:pt x="275" y="148"/>
                  </a:lnTo>
                  <a:lnTo>
                    <a:pt x="272" y="147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3" y="147"/>
                  </a:lnTo>
                  <a:lnTo>
                    <a:pt x="259" y="148"/>
                  </a:lnTo>
                  <a:lnTo>
                    <a:pt x="254" y="151"/>
                  </a:lnTo>
                  <a:lnTo>
                    <a:pt x="249" y="151"/>
                  </a:lnTo>
                  <a:lnTo>
                    <a:pt x="249" y="151"/>
                  </a:lnTo>
                  <a:lnTo>
                    <a:pt x="241" y="150"/>
                  </a:lnTo>
                  <a:lnTo>
                    <a:pt x="232" y="144"/>
                  </a:lnTo>
                  <a:lnTo>
                    <a:pt x="225" y="140"/>
                  </a:lnTo>
                  <a:lnTo>
                    <a:pt x="225" y="137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34" y="132"/>
                  </a:lnTo>
                  <a:lnTo>
                    <a:pt x="235" y="131"/>
                  </a:lnTo>
                  <a:lnTo>
                    <a:pt x="234" y="129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10" y="117"/>
                  </a:lnTo>
                  <a:lnTo>
                    <a:pt x="204" y="114"/>
                  </a:lnTo>
                  <a:lnTo>
                    <a:pt x="198" y="110"/>
                  </a:lnTo>
                  <a:lnTo>
                    <a:pt x="198" y="110"/>
                  </a:lnTo>
                  <a:lnTo>
                    <a:pt x="194" y="107"/>
                  </a:lnTo>
                  <a:lnTo>
                    <a:pt x="191" y="105"/>
                  </a:lnTo>
                  <a:lnTo>
                    <a:pt x="189" y="103"/>
                  </a:lnTo>
                  <a:lnTo>
                    <a:pt x="189" y="97"/>
                  </a:lnTo>
                  <a:lnTo>
                    <a:pt x="189" y="97"/>
                  </a:lnTo>
                  <a:lnTo>
                    <a:pt x="191" y="91"/>
                  </a:lnTo>
                  <a:lnTo>
                    <a:pt x="191" y="83"/>
                  </a:lnTo>
                  <a:lnTo>
                    <a:pt x="189" y="82"/>
                  </a:lnTo>
                  <a:lnTo>
                    <a:pt x="188" y="79"/>
                  </a:lnTo>
                  <a:lnTo>
                    <a:pt x="186" y="79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75" y="79"/>
                  </a:lnTo>
                  <a:lnTo>
                    <a:pt x="169" y="80"/>
                  </a:lnTo>
                  <a:lnTo>
                    <a:pt x="164" y="82"/>
                  </a:lnTo>
                  <a:lnTo>
                    <a:pt x="163" y="82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58" y="73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42" y="52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21" y="34"/>
                  </a:lnTo>
                  <a:lnTo>
                    <a:pt x="118" y="31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20" y="18"/>
                  </a:lnTo>
                  <a:lnTo>
                    <a:pt x="118" y="14"/>
                  </a:lnTo>
                  <a:lnTo>
                    <a:pt x="117" y="12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06" y="11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5" y="0"/>
                  </a:lnTo>
                  <a:lnTo>
                    <a:pt x="89" y="2"/>
                  </a:lnTo>
                  <a:lnTo>
                    <a:pt x="84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5" y="2"/>
                  </a:lnTo>
                  <a:lnTo>
                    <a:pt x="69" y="3"/>
                  </a:lnTo>
                  <a:lnTo>
                    <a:pt x="65" y="6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5" y="14"/>
                  </a:lnTo>
                  <a:lnTo>
                    <a:pt x="47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1" y="15"/>
                  </a:lnTo>
                  <a:lnTo>
                    <a:pt x="28" y="17"/>
                  </a:lnTo>
                  <a:lnTo>
                    <a:pt x="22" y="2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9" y="37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61"/>
                  </a:lnTo>
                  <a:lnTo>
                    <a:pt x="18" y="70"/>
                  </a:lnTo>
                  <a:lnTo>
                    <a:pt x="13" y="77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6" y="85"/>
                  </a:lnTo>
                  <a:lnTo>
                    <a:pt x="0" y="8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6" y="122"/>
                  </a:lnTo>
                  <a:lnTo>
                    <a:pt x="12" y="123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3" y="131"/>
                  </a:lnTo>
                  <a:lnTo>
                    <a:pt x="28" y="134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41" y="137"/>
                  </a:lnTo>
                  <a:lnTo>
                    <a:pt x="44" y="140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53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69" y="159"/>
                  </a:lnTo>
                  <a:lnTo>
                    <a:pt x="75" y="165"/>
                  </a:lnTo>
                  <a:lnTo>
                    <a:pt x="75" y="165"/>
                  </a:lnTo>
                  <a:lnTo>
                    <a:pt x="84" y="177"/>
                  </a:lnTo>
                  <a:lnTo>
                    <a:pt x="90" y="185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200"/>
                  </a:lnTo>
                  <a:lnTo>
                    <a:pt x="92" y="206"/>
                  </a:lnTo>
                  <a:lnTo>
                    <a:pt x="89" y="21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78" y="239"/>
                  </a:lnTo>
                  <a:lnTo>
                    <a:pt x="74" y="242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58" y="251"/>
                  </a:lnTo>
                  <a:lnTo>
                    <a:pt x="53" y="254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2" y="264"/>
                  </a:lnTo>
                  <a:lnTo>
                    <a:pt x="55" y="267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80" y="288"/>
                  </a:lnTo>
                  <a:lnTo>
                    <a:pt x="83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90" y="279"/>
                  </a:lnTo>
                  <a:lnTo>
                    <a:pt x="93" y="274"/>
                  </a:lnTo>
                  <a:lnTo>
                    <a:pt x="96" y="273"/>
                  </a:lnTo>
                  <a:lnTo>
                    <a:pt x="99" y="273"/>
                  </a:lnTo>
                  <a:lnTo>
                    <a:pt x="100" y="273"/>
                  </a:lnTo>
                  <a:lnTo>
                    <a:pt x="100" y="273"/>
                  </a:lnTo>
                  <a:lnTo>
                    <a:pt x="106" y="277"/>
                  </a:lnTo>
                  <a:lnTo>
                    <a:pt x="109" y="280"/>
                  </a:lnTo>
                  <a:lnTo>
                    <a:pt x="109" y="283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98" y="294"/>
                  </a:lnTo>
                  <a:lnTo>
                    <a:pt x="95" y="298"/>
                  </a:lnTo>
                  <a:lnTo>
                    <a:pt x="93" y="301"/>
                  </a:lnTo>
                  <a:lnTo>
                    <a:pt x="93" y="304"/>
                  </a:lnTo>
                  <a:lnTo>
                    <a:pt x="93" y="304"/>
                  </a:lnTo>
                  <a:lnTo>
                    <a:pt x="95" y="307"/>
                  </a:lnTo>
                  <a:lnTo>
                    <a:pt x="98" y="310"/>
                  </a:lnTo>
                  <a:lnTo>
                    <a:pt x="100" y="313"/>
                  </a:lnTo>
                  <a:lnTo>
                    <a:pt x="105" y="316"/>
                  </a:lnTo>
                  <a:lnTo>
                    <a:pt x="105" y="316"/>
                  </a:lnTo>
                  <a:lnTo>
                    <a:pt x="108" y="319"/>
                  </a:lnTo>
                  <a:lnTo>
                    <a:pt x="111" y="320"/>
                  </a:lnTo>
                  <a:lnTo>
                    <a:pt x="114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24" y="316"/>
                  </a:lnTo>
                  <a:lnTo>
                    <a:pt x="127" y="316"/>
                  </a:lnTo>
                  <a:lnTo>
                    <a:pt x="132" y="319"/>
                  </a:lnTo>
                  <a:lnTo>
                    <a:pt x="132" y="319"/>
                  </a:lnTo>
                  <a:lnTo>
                    <a:pt x="138" y="328"/>
                  </a:lnTo>
                  <a:lnTo>
                    <a:pt x="139" y="331"/>
                  </a:lnTo>
                  <a:lnTo>
                    <a:pt x="138" y="335"/>
                  </a:lnTo>
                  <a:lnTo>
                    <a:pt x="138" y="335"/>
                  </a:lnTo>
                  <a:lnTo>
                    <a:pt x="129" y="344"/>
                  </a:lnTo>
                  <a:lnTo>
                    <a:pt x="127" y="348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35" y="354"/>
                  </a:lnTo>
                  <a:lnTo>
                    <a:pt x="138" y="356"/>
                  </a:lnTo>
                  <a:lnTo>
                    <a:pt x="140" y="357"/>
                  </a:lnTo>
                  <a:lnTo>
                    <a:pt x="140" y="357"/>
                  </a:lnTo>
                  <a:lnTo>
                    <a:pt x="140" y="360"/>
                  </a:lnTo>
                  <a:lnTo>
                    <a:pt x="140" y="362"/>
                  </a:lnTo>
                  <a:lnTo>
                    <a:pt x="136" y="368"/>
                  </a:lnTo>
                  <a:lnTo>
                    <a:pt x="136" y="368"/>
                  </a:lnTo>
                  <a:lnTo>
                    <a:pt x="135" y="372"/>
                  </a:lnTo>
                  <a:lnTo>
                    <a:pt x="135" y="378"/>
                  </a:lnTo>
                  <a:lnTo>
                    <a:pt x="133" y="385"/>
                  </a:lnTo>
                  <a:lnTo>
                    <a:pt x="133" y="385"/>
                  </a:lnTo>
                  <a:lnTo>
                    <a:pt x="135" y="385"/>
                  </a:lnTo>
                  <a:lnTo>
                    <a:pt x="136" y="387"/>
                  </a:lnTo>
                  <a:lnTo>
                    <a:pt x="138" y="394"/>
                  </a:lnTo>
                  <a:lnTo>
                    <a:pt x="138" y="394"/>
                  </a:lnTo>
                  <a:lnTo>
                    <a:pt x="136" y="414"/>
                  </a:lnTo>
                  <a:lnTo>
                    <a:pt x="135" y="440"/>
                  </a:lnTo>
                  <a:lnTo>
                    <a:pt x="135" y="454"/>
                  </a:lnTo>
                  <a:lnTo>
                    <a:pt x="136" y="465"/>
                  </a:lnTo>
                  <a:lnTo>
                    <a:pt x="138" y="474"/>
                  </a:lnTo>
                  <a:lnTo>
                    <a:pt x="140" y="477"/>
                  </a:lnTo>
                  <a:lnTo>
                    <a:pt x="142" y="480"/>
                  </a:lnTo>
                  <a:lnTo>
                    <a:pt x="142" y="480"/>
                  </a:lnTo>
                  <a:lnTo>
                    <a:pt x="154" y="486"/>
                  </a:lnTo>
                  <a:lnTo>
                    <a:pt x="163" y="489"/>
                  </a:lnTo>
                  <a:lnTo>
                    <a:pt x="169" y="489"/>
                  </a:lnTo>
                  <a:lnTo>
                    <a:pt x="172" y="488"/>
                  </a:lnTo>
                  <a:lnTo>
                    <a:pt x="176" y="485"/>
                  </a:lnTo>
                  <a:lnTo>
                    <a:pt x="180" y="482"/>
                  </a:lnTo>
                  <a:lnTo>
                    <a:pt x="180" y="482"/>
                  </a:lnTo>
                  <a:lnTo>
                    <a:pt x="188" y="474"/>
                  </a:lnTo>
                  <a:lnTo>
                    <a:pt x="194" y="470"/>
                  </a:lnTo>
                  <a:lnTo>
                    <a:pt x="200" y="465"/>
                  </a:lnTo>
                  <a:lnTo>
                    <a:pt x="203" y="462"/>
                  </a:lnTo>
                  <a:lnTo>
                    <a:pt x="204" y="456"/>
                  </a:lnTo>
                  <a:lnTo>
                    <a:pt x="204" y="456"/>
                  </a:lnTo>
                  <a:lnTo>
                    <a:pt x="209" y="448"/>
                  </a:lnTo>
                  <a:lnTo>
                    <a:pt x="213" y="440"/>
                  </a:lnTo>
                  <a:lnTo>
                    <a:pt x="216" y="439"/>
                  </a:lnTo>
                  <a:lnTo>
                    <a:pt x="219" y="437"/>
                  </a:lnTo>
                  <a:lnTo>
                    <a:pt x="222" y="439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34" y="443"/>
                  </a:lnTo>
                  <a:lnTo>
                    <a:pt x="250" y="448"/>
                  </a:lnTo>
                  <a:lnTo>
                    <a:pt x="266" y="448"/>
                  </a:lnTo>
                  <a:lnTo>
                    <a:pt x="274" y="448"/>
                  </a:lnTo>
                  <a:lnTo>
                    <a:pt x="278" y="446"/>
                  </a:lnTo>
                  <a:lnTo>
                    <a:pt x="278" y="446"/>
                  </a:lnTo>
                  <a:lnTo>
                    <a:pt x="287" y="440"/>
                  </a:lnTo>
                  <a:lnTo>
                    <a:pt x="293" y="436"/>
                  </a:lnTo>
                  <a:lnTo>
                    <a:pt x="296" y="434"/>
                  </a:lnTo>
                  <a:lnTo>
                    <a:pt x="299" y="433"/>
                  </a:lnTo>
                  <a:lnTo>
                    <a:pt x="303" y="434"/>
                  </a:lnTo>
                  <a:lnTo>
                    <a:pt x="308" y="436"/>
                  </a:lnTo>
                  <a:lnTo>
                    <a:pt x="308" y="436"/>
                  </a:lnTo>
                  <a:lnTo>
                    <a:pt x="320" y="440"/>
                  </a:lnTo>
                  <a:lnTo>
                    <a:pt x="333" y="445"/>
                  </a:lnTo>
                  <a:lnTo>
                    <a:pt x="348" y="448"/>
                  </a:lnTo>
                  <a:lnTo>
                    <a:pt x="361" y="448"/>
                  </a:lnTo>
                  <a:lnTo>
                    <a:pt x="361" y="448"/>
                  </a:lnTo>
                  <a:lnTo>
                    <a:pt x="369" y="446"/>
                  </a:lnTo>
                  <a:lnTo>
                    <a:pt x="376" y="443"/>
                  </a:lnTo>
                  <a:lnTo>
                    <a:pt x="392" y="436"/>
                  </a:lnTo>
                  <a:lnTo>
                    <a:pt x="400" y="431"/>
                  </a:lnTo>
                  <a:lnTo>
                    <a:pt x="406" y="430"/>
                  </a:lnTo>
                  <a:lnTo>
                    <a:pt x="411" y="430"/>
                  </a:lnTo>
                  <a:lnTo>
                    <a:pt x="413" y="430"/>
                  </a:lnTo>
                  <a:lnTo>
                    <a:pt x="414" y="431"/>
                  </a:lnTo>
                  <a:lnTo>
                    <a:pt x="414" y="431"/>
                  </a:lnTo>
                  <a:lnTo>
                    <a:pt x="416" y="430"/>
                  </a:lnTo>
                  <a:lnTo>
                    <a:pt x="419" y="425"/>
                  </a:lnTo>
                  <a:lnTo>
                    <a:pt x="422" y="419"/>
                  </a:lnTo>
                  <a:lnTo>
                    <a:pt x="425" y="416"/>
                  </a:lnTo>
                  <a:lnTo>
                    <a:pt x="425" y="416"/>
                  </a:lnTo>
                  <a:lnTo>
                    <a:pt x="425" y="412"/>
                  </a:lnTo>
                  <a:lnTo>
                    <a:pt x="425" y="406"/>
                  </a:lnTo>
                  <a:lnTo>
                    <a:pt x="423" y="399"/>
                  </a:lnTo>
                  <a:lnTo>
                    <a:pt x="420" y="393"/>
                  </a:lnTo>
                  <a:lnTo>
                    <a:pt x="420" y="393"/>
                  </a:lnTo>
                  <a:lnTo>
                    <a:pt x="417" y="390"/>
                  </a:lnTo>
                  <a:lnTo>
                    <a:pt x="414" y="388"/>
                  </a:lnTo>
                  <a:lnTo>
                    <a:pt x="411" y="388"/>
                  </a:lnTo>
                  <a:lnTo>
                    <a:pt x="407" y="387"/>
                  </a:lnTo>
                  <a:lnTo>
                    <a:pt x="407" y="387"/>
                  </a:lnTo>
                  <a:lnTo>
                    <a:pt x="406" y="385"/>
                  </a:lnTo>
                  <a:lnTo>
                    <a:pt x="406" y="384"/>
                  </a:lnTo>
                  <a:lnTo>
                    <a:pt x="408" y="381"/>
                  </a:lnTo>
                  <a:lnTo>
                    <a:pt x="414" y="376"/>
                  </a:lnTo>
                  <a:lnTo>
                    <a:pt x="414" y="376"/>
                  </a:lnTo>
                  <a:lnTo>
                    <a:pt x="416" y="375"/>
                  </a:lnTo>
                  <a:lnTo>
                    <a:pt x="414" y="374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4" y="362"/>
                  </a:lnTo>
                  <a:lnTo>
                    <a:pt x="403" y="357"/>
                  </a:lnTo>
                  <a:lnTo>
                    <a:pt x="404" y="353"/>
                  </a:lnTo>
                  <a:lnTo>
                    <a:pt x="403" y="347"/>
                  </a:lnTo>
                  <a:lnTo>
                    <a:pt x="403" y="347"/>
                  </a:lnTo>
                  <a:lnTo>
                    <a:pt x="403" y="344"/>
                  </a:lnTo>
                  <a:lnTo>
                    <a:pt x="403" y="341"/>
                  </a:lnTo>
                  <a:lnTo>
                    <a:pt x="406" y="337"/>
                  </a:lnTo>
                  <a:lnTo>
                    <a:pt x="413" y="331"/>
                  </a:lnTo>
                  <a:lnTo>
                    <a:pt x="413" y="331"/>
                  </a:lnTo>
                  <a:lnTo>
                    <a:pt x="414" y="328"/>
                  </a:lnTo>
                  <a:lnTo>
                    <a:pt x="413" y="326"/>
                  </a:lnTo>
                  <a:lnTo>
                    <a:pt x="404" y="322"/>
                  </a:lnTo>
                  <a:lnTo>
                    <a:pt x="404" y="322"/>
                  </a:lnTo>
                  <a:lnTo>
                    <a:pt x="397" y="317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88" y="305"/>
                  </a:lnTo>
                  <a:lnTo>
                    <a:pt x="388" y="302"/>
                  </a:lnTo>
                  <a:lnTo>
                    <a:pt x="391" y="301"/>
                  </a:lnTo>
                  <a:lnTo>
                    <a:pt x="391" y="298"/>
                  </a:lnTo>
                  <a:lnTo>
                    <a:pt x="391" y="297"/>
                  </a:lnTo>
                  <a:lnTo>
                    <a:pt x="391" y="297"/>
                  </a:lnTo>
                  <a:lnTo>
                    <a:pt x="388" y="294"/>
                  </a:lnTo>
                  <a:lnTo>
                    <a:pt x="385" y="292"/>
                  </a:lnTo>
                  <a:lnTo>
                    <a:pt x="380" y="291"/>
                  </a:lnTo>
                  <a:lnTo>
                    <a:pt x="376" y="289"/>
                  </a:lnTo>
                  <a:lnTo>
                    <a:pt x="376" y="289"/>
                  </a:lnTo>
                  <a:lnTo>
                    <a:pt x="373" y="288"/>
                  </a:lnTo>
                  <a:lnTo>
                    <a:pt x="373" y="285"/>
                  </a:lnTo>
                  <a:lnTo>
                    <a:pt x="374" y="282"/>
                  </a:lnTo>
                  <a:lnTo>
                    <a:pt x="383" y="274"/>
                  </a:lnTo>
                  <a:lnTo>
                    <a:pt x="383" y="274"/>
                  </a:lnTo>
                  <a:lnTo>
                    <a:pt x="385" y="273"/>
                  </a:lnTo>
                  <a:lnTo>
                    <a:pt x="385" y="271"/>
                  </a:lnTo>
                  <a:lnTo>
                    <a:pt x="385" y="265"/>
                  </a:lnTo>
                  <a:lnTo>
                    <a:pt x="380" y="259"/>
                  </a:lnTo>
                  <a:lnTo>
                    <a:pt x="376" y="254"/>
                  </a:lnTo>
                  <a:lnTo>
                    <a:pt x="376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6" name="Freeform 25">
              <a:extLst>
                <a:ext uri="{FF2B5EF4-FFF2-40B4-BE49-F238E27FC236}">
                  <a16:creationId xmlns:a16="http://schemas.microsoft.com/office/drawing/2014/main" id="{897B0FCE-0B21-4F4C-9D5A-CA7236F61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5707063"/>
              <a:ext cx="519113" cy="449262"/>
            </a:xfrm>
            <a:custGeom>
              <a:avLst/>
              <a:gdLst>
                <a:gd name="T0" fmla="*/ 287 w 327"/>
                <a:gd name="T1" fmla="*/ 73 h 283"/>
                <a:gd name="T2" fmla="*/ 271 w 327"/>
                <a:gd name="T3" fmla="*/ 58 h 283"/>
                <a:gd name="T4" fmla="*/ 249 w 327"/>
                <a:gd name="T5" fmla="*/ 70 h 283"/>
                <a:gd name="T6" fmla="*/ 240 w 327"/>
                <a:gd name="T7" fmla="*/ 67 h 283"/>
                <a:gd name="T8" fmla="*/ 232 w 327"/>
                <a:gd name="T9" fmla="*/ 31 h 283"/>
                <a:gd name="T10" fmla="*/ 224 w 327"/>
                <a:gd name="T11" fmla="*/ 24 h 283"/>
                <a:gd name="T12" fmla="*/ 212 w 327"/>
                <a:gd name="T13" fmla="*/ 45 h 283"/>
                <a:gd name="T14" fmla="*/ 198 w 327"/>
                <a:gd name="T15" fmla="*/ 54 h 283"/>
                <a:gd name="T16" fmla="*/ 176 w 327"/>
                <a:gd name="T17" fmla="*/ 71 h 283"/>
                <a:gd name="T18" fmla="*/ 163 w 327"/>
                <a:gd name="T19" fmla="*/ 66 h 283"/>
                <a:gd name="T20" fmla="*/ 147 w 327"/>
                <a:gd name="T21" fmla="*/ 71 h 283"/>
                <a:gd name="T22" fmla="*/ 142 w 327"/>
                <a:gd name="T23" fmla="*/ 57 h 283"/>
                <a:gd name="T24" fmla="*/ 127 w 327"/>
                <a:gd name="T25" fmla="*/ 33 h 283"/>
                <a:gd name="T26" fmla="*/ 107 w 327"/>
                <a:gd name="T27" fmla="*/ 24 h 283"/>
                <a:gd name="T28" fmla="*/ 95 w 327"/>
                <a:gd name="T29" fmla="*/ 8 h 283"/>
                <a:gd name="T30" fmla="*/ 84 w 327"/>
                <a:gd name="T31" fmla="*/ 2 h 283"/>
                <a:gd name="T32" fmla="*/ 68 w 327"/>
                <a:gd name="T33" fmla="*/ 17 h 283"/>
                <a:gd name="T34" fmla="*/ 38 w 327"/>
                <a:gd name="T35" fmla="*/ 17 h 283"/>
                <a:gd name="T36" fmla="*/ 22 w 327"/>
                <a:gd name="T37" fmla="*/ 26 h 283"/>
                <a:gd name="T38" fmla="*/ 6 w 327"/>
                <a:gd name="T39" fmla="*/ 54 h 283"/>
                <a:gd name="T40" fmla="*/ 10 w 327"/>
                <a:gd name="T41" fmla="*/ 71 h 283"/>
                <a:gd name="T42" fmla="*/ 3 w 327"/>
                <a:gd name="T43" fmla="*/ 74 h 283"/>
                <a:gd name="T44" fmla="*/ 3 w 327"/>
                <a:gd name="T45" fmla="*/ 100 h 283"/>
                <a:gd name="T46" fmla="*/ 10 w 327"/>
                <a:gd name="T47" fmla="*/ 120 h 283"/>
                <a:gd name="T48" fmla="*/ 3 w 327"/>
                <a:gd name="T49" fmla="*/ 135 h 283"/>
                <a:gd name="T50" fmla="*/ 18 w 327"/>
                <a:gd name="T51" fmla="*/ 143 h 283"/>
                <a:gd name="T52" fmla="*/ 15 w 327"/>
                <a:gd name="T53" fmla="*/ 151 h 283"/>
                <a:gd name="T54" fmla="*/ 31 w 327"/>
                <a:gd name="T55" fmla="*/ 168 h 283"/>
                <a:gd name="T56" fmla="*/ 33 w 327"/>
                <a:gd name="T57" fmla="*/ 183 h 283"/>
                <a:gd name="T58" fmla="*/ 31 w 327"/>
                <a:gd name="T59" fmla="*/ 199 h 283"/>
                <a:gd name="T60" fmla="*/ 41 w 327"/>
                <a:gd name="T61" fmla="*/ 220 h 283"/>
                <a:gd name="T62" fmla="*/ 33 w 327"/>
                <a:gd name="T63" fmla="*/ 230 h 283"/>
                <a:gd name="T64" fmla="*/ 41 w 327"/>
                <a:gd name="T65" fmla="*/ 234 h 283"/>
                <a:gd name="T66" fmla="*/ 52 w 327"/>
                <a:gd name="T67" fmla="*/ 252 h 283"/>
                <a:gd name="T68" fmla="*/ 46 w 327"/>
                <a:gd name="T69" fmla="*/ 271 h 283"/>
                <a:gd name="T70" fmla="*/ 52 w 327"/>
                <a:gd name="T71" fmla="*/ 279 h 283"/>
                <a:gd name="T72" fmla="*/ 89 w 327"/>
                <a:gd name="T73" fmla="*/ 283 h 283"/>
                <a:gd name="T74" fmla="*/ 115 w 327"/>
                <a:gd name="T75" fmla="*/ 264 h 283"/>
                <a:gd name="T76" fmla="*/ 130 w 327"/>
                <a:gd name="T77" fmla="*/ 254 h 283"/>
                <a:gd name="T78" fmla="*/ 138 w 327"/>
                <a:gd name="T79" fmla="*/ 237 h 283"/>
                <a:gd name="T80" fmla="*/ 150 w 327"/>
                <a:gd name="T81" fmla="*/ 246 h 283"/>
                <a:gd name="T82" fmla="*/ 167 w 327"/>
                <a:gd name="T83" fmla="*/ 236 h 283"/>
                <a:gd name="T84" fmla="*/ 181 w 327"/>
                <a:gd name="T85" fmla="*/ 237 h 283"/>
                <a:gd name="T86" fmla="*/ 204 w 327"/>
                <a:gd name="T87" fmla="*/ 242 h 283"/>
                <a:gd name="T88" fmla="*/ 207 w 327"/>
                <a:gd name="T89" fmla="*/ 233 h 283"/>
                <a:gd name="T90" fmla="*/ 215 w 327"/>
                <a:gd name="T91" fmla="*/ 220 h 283"/>
                <a:gd name="T92" fmla="*/ 229 w 327"/>
                <a:gd name="T93" fmla="*/ 199 h 283"/>
                <a:gd name="T94" fmla="*/ 241 w 327"/>
                <a:gd name="T95" fmla="*/ 193 h 283"/>
                <a:gd name="T96" fmla="*/ 281 w 327"/>
                <a:gd name="T97" fmla="*/ 178 h 283"/>
                <a:gd name="T98" fmla="*/ 304 w 327"/>
                <a:gd name="T99" fmla="*/ 156 h 283"/>
                <a:gd name="T100" fmla="*/ 323 w 327"/>
                <a:gd name="T101" fmla="*/ 151 h 283"/>
                <a:gd name="T102" fmla="*/ 326 w 327"/>
                <a:gd name="T103" fmla="*/ 141 h 283"/>
                <a:gd name="T104" fmla="*/ 308 w 327"/>
                <a:gd name="T105" fmla="*/ 119 h 283"/>
                <a:gd name="T106" fmla="*/ 292 w 327"/>
                <a:gd name="T107" fmla="*/ 10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7" h="283">
                  <a:moveTo>
                    <a:pt x="292" y="100"/>
                  </a:moveTo>
                  <a:lnTo>
                    <a:pt x="292" y="100"/>
                  </a:lnTo>
                  <a:lnTo>
                    <a:pt x="290" y="92"/>
                  </a:lnTo>
                  <a:lnTo>
                    <a:pt x="289" y="83"/>
                  </a:lnTo>
                  <a:lnTo>
                    <a:pt x="287" y="73"/>
                  </a:lnTo>
                  <a:lnTo>
                    <a:pt x="284" y="64"/>
                  </a:lnTo>
                  <a:lnTo>
                    <a:pt x="284" y="64"/>
                  </a:lnTo>
                  <a:lnTo>
                    <a:pt x="283" y="61"/>
                  </a:lnTo>
                  <a:lnTo>
                    <a:pt x="280" y="60"/>
                  </a:lnTo>
                  <a:lnTo>
                    <a:pt x="271" y="58"/>
                  </a:lnTo>
                  <a:lnTo>
                    <a:pt x="262" y="60"/>
                  </a:lnTo>
                  <a:lnTo>
                    <a:pt x="258" y="61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49" y="70"/>
                  </a:lnTo>
                  <a:lnTo>
                    <a:pt x="247" y="71"/>
                  </a:lnTo>
                  <a:lnTo>
                    <a:pt x="244" y="73"/>
                  </a:lnTo>
                  <a:lnTo>
                    <a:pt x="244" y="73"/>
                  </a:lnTo>
                  <a:lnTo>
                    <a:pt x="243" y="70"/>
                  </a:lnTo>
                  <a:lnTo>
                    <a:pt x="240" y="67"/>
                  </a:lnTo>
                  <a:lnTo>
                    <a:pt x="237" y="54"/>
                  </a:lnTo>
                  <a:lnTo>
                    <a:pt x="237" y="54"/>
                  </a:lnTo>
                  <a:lnTo>
                    <a:pt x="234" y="42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1" y="27"/>
                  </a:lnTo>
                  <a:lnTo>
                    <a:pt x="227" y="24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24" y="24"/>
                  </a:lnTo>
                  <a:lnTo>
                    <a:pt x="222" y="28"/>
                  </a:lnTo>
                  <a:lnTo>
                    <a:pt x="222" y="28"/>
                  </a:lnTo>
                  <a:lnTo>
                    <a:pt x="218" y="34"/>
                  </a:lnTo>
                  <a:lnTo>
                    <a:pt x="212" y="45"/>
                  </a:lnTo>
                  <a:lnTo>
                    <a:pt x="212" y="45"/>
                  </a:lnTo>
                  <a:lnTo>
                    <a:pt x="209" y="48"/>
                  </a:lnTo>
                  <a:lnTo>
                    <a:pt x="206" y="49"/>
                  </a:lnTo>
                  <a:lnTo>
                    <a:pt x="203" y="51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88" y="64"/>
                  </a:lnTo>
                  <a:lnTo>
                    <a:pt x="182" y="68"/>
                  </a:lnTo>
                  <a:lnTo>
                    <a:pt x="179" y="70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72" y="70"/>
                  </a:lnTo>
                  <a:lnTo>
                    <a:pt x="167" y="68"/>
                  </a:lnTo>
                  <a:lnTo>
                    <a:pt x="164" y="66"/>
                  </a:lnTo>
                  <a:lnTo>
                    <a:pt x="163" y="66"/>
                  </a:lnTo>
                  <a:lnTo>
                    <a:pt x="163" y="66"/>
                  </a:lnTo>
                  <a:lnTo>
                    <a:pt x="158" y="71"/>
                  </a:lnTo>
                  <a:lnTo>
                    <a:pt x="154" y="73"/>
                  </a:lnTo>
                  <a:lnTo>
                    <a:pt x="150" y="73"/>
                  </a:lnTo>
                  <a:lnTo>
                    <a:pt x="150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5" y="61"/>
                  </a:lnTo>
                  <a:lnTo>
                    <a:pt x="145" y="61"/>
                  </a:lnTo>
                  <a:lnTo>
                    <a:pt x="142" y="57"/>
                  </a:lnTo>
                  <a:lnTo>
                    <a:pt x="138" y="52"/>
                  </a:lnTo>
                  <a:lnTo>
                    <a:pt x="133" y="46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27" y="33"/>
                  </a:lnTo>
                  <a:lnTo>
                    <a:pt x="126" y="30"/>
                  </a:lnTo>
                  <a:lnTo>
                    <a:pt x="123" y="28"/>
                  </a:lnTo>
                  <a:lnTo>
                    <a:pt x="118" y="27"/>
                  </a:lnTo>
                  <a:lnTo>
                    <a:pt x="111" y="26"/>
                  </a:lnTo>
                  <a:lnTo>
                    <a:pt x="107" y="24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96" y="17"/>
                  </a:lnTo>
                  <a:lnTo>
                    <a:pt x="95" y="12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89" y="2"/>
                  </a:lnTo>
                  <a:lnTo>
                    <a:pt x="87" y="0"/>
                  </a:lnTo>
                  <a:lnTo>
                    <a:pt x="84" y="2"/>
                  </a:lnTo>
                  <a:lnTo>
                    <a:pt x="83" y="3"/>
                  </a:lnTo>
                  <a:lnTo>
                    <a:pt x="78" y="9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68" y="17"/>
                  </a:lnTo>
                  <a:lnTo>
                    <a:pt x="59" y="20"/>
                  </a:lnTo>
                  <a:lnTo>
                    <a:pt x="50" y="20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38" y="17"/>
                  </a:lnTo>
                  <a:lnTo>
                    <a:pt x="35" y="15"/>
                  </a:lnTo>
                  <a:lnTo>
                    <a:pt x="30" y="17"/>
                  </a:lnTo>
                  <a:lnTo>
                    <a:pt x="25" y="21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5" y="39"/>
                  </a:lnTo>
                  <a:lnTo>
                    <a:pt x="12" y="46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4"/>
                  </a:lnTo>
                  <a:lnTo>
                    <a:pt x="7" y="58"/>
                  </a:lnTo>
                  <a:lnTo>
                    <a:pt x="9" y="63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71"/>
                  </a:lnTo>
                  <a:lnTo>
                    <a:pt x="9" y="73"/>
                  </a:lnTo>
                  <a:lnTo>
                    <a:pt x="7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3" y="74"/>
                  </a:lnTo>
                  <a:lnTo>
                    <a:pt x="0" y="82"/>
                  </a:lnTo>
                  <a:lnTo>
                    <a:pt x="0" y="91"/>
                  </a:lnTo>
                  <a:lnTo>
                    <a:pt x="0" y="95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7" y="105"/>
                  </a:lnTo>
                  <a:lnTo>
                    <a:pt x="12" y="111"/>
                  </a:lnTo>
                  <a:lnTo>
                    <a:pt x="12" y="117"/>
                  </a:lnTo>
                  <a:lnTo>
                    <a:pt x="12" y="119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" y="128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7" y="137"/>
                  </a:lnTo>
                  <a:lnTo>
                    <a:pt x="12" y="138"/>
                  </a:lnTo>
                  <a:lnTo>
                    <a:pt x="15" y="140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8" y="144"/>
                  </a:lnTo>
                  <a:lnTo>
                    <a:pt x="18" y="147"/>
                  </a:lnTo>
                  <a:lnTo>
                    <a:pt x="15" y="148"/>
                  </a:lnTo>
                  <a:lnTo>
                    <a:pt x="15" y="151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4" y="163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40" y="172"/>
                  </a:lnTo>
                  <a:lnTo>
                    <a:pt x="41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3" y="183"/>
                  </a:lnTo>
                  <a:lnTo>
                    <a:pt x="30" y="187"/>
                  </a:lnTo>
                  <a:lnTo>
                    <a:pt x="30" y="190"/>
                  </a:lnTo>
                  <a:lnTo>
                    <a:pt x="30" y="193"/>
                  </a:lnTo>
                  <a:lnTo>
                    <a:pt x="30" y="193"/>
                  </a:lnTo>
                  <a:lnTo>
                    <a:pt x="31" y="199"/>
                  </a:lnTo>
                  <a:lnTo>
                    <a:pt x="30" y="203"/>
                  </a:lnTo>
                  <a:lnTo>
                    <a:pt x="31" y="208"/>
                  </a:lnTo>
                  <a:lnTo>
                    <a:pt x="34" y="212"/>
                  </a:lnTo>
                  <a:lnTo>
                    <a:pt x="34" y="212"/>
                  </a:lnTo>
                  <a:lnTo>
                    <a:pt x="41" y="220"/>
                  </a:lnTo>
                  <a:lnTo>
                    <a:pt x="43" y="221"/>
                  </a:lnTo>
                  <a:lnTo>
                    <a:pt x="41" y="222"/>
                  </a:lnTo>
                  <a:lnTo>
                    <a:pt x="41" y="222"/>
                  </a:lnTo>
                  <a:lnTo>
                    <a:pt x="35" y="228"/>
                  </a:lnTo>
                  <a:lnTo>
                    <a:pt x="33" y="230"/>
                  </a:lnTo>
                  <a:lnTo>
                    <a:pt x="33" y="231"/>
                  </a:lnTo>
                  <a:lnTo>
                    <a:pt x="34" y="233"/>
                  </a:lnTo>
                  <a:lnTo>
                    <a:pt x="34" y="233"/>
                  </a:lnTo>
                  <a:lnTo>
                    <a:pt x="38" y="234"/>
                  </a:lnTo>
                  <a:lnTo>
                    <a:pt x="41" y="234"/>
                  </a:lnTo>
                  <a:lnTo>
                    <a:pt x="44" y="236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50" y="245"/>
                  </a:lnTo>
                  <a:lnTo>
                    <a:pt x="52" y="252"/>
                  </a:lnTo>
                  <a:lnTo>
                    <a:pt x="52" y="258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5"/>
                  </a:lnTo>
                  <a:lnTo>
                    <a:pt x="46" y="271"/>
                  </a:lnTo>
                  <a:lnTo>
                    <a:pt x="43" y="276"/>
                  </a:lnTo>
                  <a:lnTo>
                    <a:pt x="41" y="277"/>
                  </a:lnTo>
                  <a:lnTo>
                    <a:pt x="41" y="277"/>
                  </a:lnTo>
                  <a:lnTo>
                    <a:pt x="44" y="279"/>
                  </a:lnTo>
                  <a:lnTo>
                    <a:pt x="52" y="279"/>
                  </a:lnTo>
                  <a:lnTo>
                    <a:pt x="59" y="280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74" y="283"/>
                  </a:lnTo>
                  <a:lnTo>
                    <a:pt x="89" y="283"/>
                  </a:lnTo>
                  <a:lnTo>
                    <a:pt x="110" y="282"/>
                  </a:lnTo>
                  <a:lnTo>
                    <a:pt x="110" y="282"/>
                  </a:lnTo>
                  <a:lnTo>
                    <a:pt x="110" y="274"/>
                  </a:lnTo>
                  <a:lnTo>
                    <a:pt x="112" y="268"/>
                  </a:lnTo>
                  <a:lnTo>
                    <a:pt x="115" y="264"/>
                  </a:lnTo>
                  <a:lnTo>
                    <a:pt x="115" y="264"/>
                  </a:lnTo>
                  <a:lnTo>
                    <a:pt x="123" y="260"/>
                  </a:lnTo>
                  <a:lnTo>
                    <a:pt x="129" y="257"/>
                  </a:lnTo>
                  <a:lnTo>
                    <a:pt x="129" y="257"/>
                  </a:lnTo>
                  <a:lnTo>
                    <a:pt x="130" y="254"/>
                  </a:lnTo>
                  <a:lnTo>
                    <a:pt x="130" y="251"/>
                  </a:lnTo>
                  <a:lnTo>
                    <a:pt x="133" y="243"/>
                  </a:lnTo>
                  <a:lnTo>
                    <a:pt x="133" y="243"/>
                  </a:lnTo>
                  <a:lnTo>
                    <a:pt x="136" y="240"/>
                  </a:lnTo>
                  <a:lnTo>
                    <a:pt x="138" y="237"/>
                  </a:lnTo>
                  <a:lnTo>
                    <a:pt x="139" y="237"/>
                  </a:lnTo>
                  <a:lnTo>
                    <a:pt x="142" y="240"/>
                  </a:lnTo>
                  <a:lnTo>
                    <a:pt x="142" y="240"/>
                  </a:lnTo>
                  <a:lnTo>
                    <a:pt x="144" y="243"/>
                  </a:lnTo>
                  <a:lnTo>
                    <a:pt x="150" y="246"/>
                  </a:lnTo>
                  <a:lnTo>
                    <a:pt x="154" y="248"/>
                  </a:lnTo>
                  <a:lnTo>
                    <a:pt x="157" y="246"/>
                  </a:lnTo>
                  <a:lnTo>
                    <a:pt x="160" y="245"/>
                  </a:lnTo>
                  <a:lnTo>
                    <a:pt x="160" y="245"/>
                  </a:lnTo>
                  <a:lnTo>
                    <a:pt x="167" y="236"/>
                  </a:lnTo>
                  <a:lnTo>
                    <a:pt x="170" y="234"/>
                  </a:lnTo>
                  <a:lnTo>
                    <a:pt x="172" y="234"/>
                  </a:lnTo>
                  <a:lnTo>
                    <a:pt x="172" y="234"/>
                  </a:lnTo>
                  <a:lnTo>
                    <a:pt x="176" y="236"/>
                  </a:lnTo>
                  <a:lnTo>
                    <a:pt x="181" y="237"/>
                  </a:lnTo>
                  <a:lnTo>
                    <a:pt x="191" y="237"/>
                  </a:lnTo>
                  <a:lnTo>
                    <a:pt x="191" y="237"/>
                  </a:lnTo>
                  <a:lnTo>
                    <a:pt x="195" y="239"/>
                  </a:lnTo>
                  <a:lnTo>
                    <a:pt x="201" y="240"/>
                  </a:lnTo>
                  <a:lnTo>
                    <a:pt x="204" y="242"/>
                  </a:lnTo>
                  <a:lnTo>
                    <a:pt x="207" y="242"/>
                  </a:lnTo>
                  <a:lnTo>
                    <a:pt x="207" y="240"/>
                  </a:lnTo>
                  <a:lnTo>
                    <a:pt x="207" y="240"/>
                  </a:lnTo>
                  <a:lnTo>
                    <a:pt x="209" y="236"/>
                  </a:lnTo>
                  <a:lnTo>
                    <a:pt x="207" y="233"/>
                  </a:lnTo>
                  <a:lnTo>
                    <a:pt x="207" y="228"/>
                  </a:lnTo>
                  <a:lnTo>
                    <a:pt x="209" y="224"/>
                  </a:lnTo>
                  <a:lnTo>
                    <a:pt x="209" y="224"/>
                  </a:lnTo>
                  <a:lnTo>
                    <a:pt x="212" y="221"/>
                  </a:lnTo>
                  <a:lnTo>
                    <a:pt x="215" y="220"/>
                  </a:lnTo>
                  <a:lnTo>
                    <a:pt x="221" y="215"/>
                  </a:lnTo>
                  <a:lnTo>
                    <a:pt x="221" y="215"/>
                  </a:lnTo>
                  <a:lnTo>
                    <a:pt x="225" y="211"/>
                  </a:lnTo>
                  <a:lnTo>
                    <a:pt x="228" y="206"/>
                  </a:lnTo>
                  <a:lnTo>
                    <a:pt x="229" y="199"/>
                  </a:lnTo>
                  <a:lnTo>
                    <a:pt x="229" y="199"/>
                  </a:lnTo>
                  <a:lnTo>
                    <a:pt x="234" y="196"/>
                  </a:lnTo>
                  <a:lnTo>
                    <a:pt x="237" y="194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52" y="190"/>
                  </a:lnTo>
                  <a:lnTo>
                    <a:pt x="268" y="185"/>
                  </a:lnTo>
                  <a:lnTo>
                    <a:pt x="268" y="185"/>
                  </a:lnTo>
                  <a:lnTo>
                    <a:pt x="275" y="183"/>
                  </a:lnTo>
                  <a:lnTo>
                    <a:pt x="281" y="178"/>
                  </a:lnTo>
                  <a:lnTo>
                    <a:pt x="287" y="174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301" y="160"/>
                  </a:lnTo>
                  <a:lnTo>
                    <a:pt x="304" y="156"/>
                  </a:lnTo>
                  <a:lnTo>
                    <a:pt x="308" y="156"/>
                  </a:lnTo>
                  <a:lnTo>
                    <a:pt x="308" y="156"/>
                  </a:lnTo>
                  <a:lnTo>
                    <a:pt x="317" y="154"/>
                  </a:lnTo>
                  <a:lnTo>
                    <a:pt x="320" y="154"/>
                  </a:lnTo>
                  <a:lnTo>
                    <a:pt x="323" y="151"/>
                  </a:lnTo>
                  <a:lnTo>
                    <a:pt x="323" y="151"/>
                  </a:lnTo>
                  <a:lnTo>
                    <a:pt x="327" y="147"/>
                  </a:lnTo>
                  <a:lnTo>
                    <a:pt x="327" y="145"/>
                  </a:lnTo>
                  <a:lnTo>
                    <a:pt x="327" y="145"/>
                  </a:lnTo>
                  <a:lnTo>
                    <a:pt x="326" y="141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15" y="129"/>
                  </a:lnTo>
                  <a:lnTo>
                    <a:pt x="312" y="125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5" y="113"/>
                  </a:lnTo>
                  <a:lnTo>
                    <a:pt x="301" y="108"/>
                  </a:lnTo>
                  <a:lnTo>
                    <a:pt x="296" y="105"/>
                  </a:lnTo>
                  <a:lnTo>
                    <a:pt x="292" y="100"/>
                  </a:lnTo>
                  <a:lnTo>
                    <a:pt x="292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7" name="Freeform 26">
              <a:extLst>
                <a:ext uri="{FF2B5EF4-FFF2-40B4-BE49-F238E27FC236}">
                  <a16:creationId xmlns:a16="http://schemas.microsoft.com/office/drawing/2014/main" id="{A0A794EC-7D89-4347-8652-C07DA0C9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3238" y="4865688"/>
              <a:ext cx="407988" cy="376237"/>
            </a:xfrm>
            <a:custGeom>
              <a:avLst/>
              <a:gdLst>
                <a:gd name="T0" fmla="*/ 54 w 257"/>
                <a:gd name="T1" fmla="*/ 22 h 237"/>
                <a:gd name="T2" fmla="*/ 42 w 257"/>
                <a:gd name="T3" fmla="*/ 33 h 237"/>
                <a:gd name="T4" fmla="*/ 14 w 257"/>
                <a:gd name="T5" fmla="*/ 68 h 237"/>
                <a:gd name="T6" fmla="*/ 3 w 257"/>
                <a:gd name="T7" fmla="*/ 71 h 237"/>
                <a:gd name="T8" fmla="*/ 9 w 257"/>
                <a:gd name="T9" fmla="*/ 83 h 237"/>
                <a:gd name="T10" fmla="*/ 3 w 257"/>
                <a:gd name="T11" fmla="*/ 93 h 237"/>
                <a:gd name="T12" fmla="*/ 0 w 257"/>
                <a:gd name="T13" fmla="*/ 99 h 237"/>
                <a:gd name="T14" fmla="*/ 3 w 257"/>
                <a:gd name="T15" fmla="*/ 105 h 237"/>
                <a:gd name="T16" fmla="*/ 17 w 257"/>
                <a:gd name="T17" fmla="*/ 110 h 237"/>
                <a:gd name="T18" fmla="*/ 33 w 257"/>
                <a:gd name="T19" fmla="*/ 108 h 237"/>
                <a:gd name="T20" fmla="*/ 39 w 257"/>
                <a:gd name="T21" fmla="*/ 116 h 237"/>
                <a:gd name="T22" fmla="*/ 42 w 257"/>
                <a:gd name="T23" fmla="*/ 126 h 237"/>
                <a:gd name="T24" fmla="*/ 32 w 257"/>
                <a:gd name="T25" fmla="*/ 153 h 237"/>
                <a:gd name="T26" fmla="*/ 30 w 257"/>
                <a:gd name="T27" fmla="*/ 160 h 237"/>
                <a:gd name="T28" fmla="*/ 36 w 257"/>
                <a:gd name="T29" fmla="*/ 162 h 237"/>
                <a:gd name="T30" fmla="*/ 48 w 257"/>
                <a:gd name="T31" fmla="*/ 163 h 237"/>
                <a:gd name="T32" fmla="*/ 58 w 257"/>
                <a:gd name="T33" fmla="*/ 160 h 237"/>
                <a:gd name="T34" fmla="*/ 66 w 257"/>
                <a:gd name="T35" fmla="*/ 166 h 237"/>
                <a:gd name="T36" fmla="*/ 73 w 257"/>
                <a:gd name="T37" fmla="*/ 169 h 237"/>
                <a:gd name="T38" fmla="*/ 77 w 257"/>
                <a:gd name="T39" fmla="*/ 179 h 237"/>
                <a:gd name="T40" fmla="*/ 76 w 257"/>
                <a:gd name="T41" fmla="*/ 190 h 237"/>
                <a:gd name="T42" fmla="*/ 80 w 257"/>
                <a:gd name="T43" fmla="*/ 199 h 237"/>
                <a:gd name="T44" fmla="*/ 80 w 257"/>
                <a:gd name="T45" fmla="*/ 209 h 237"/>
                <a:gd name="T46" fmla="*/ 85 w 257"/>
                <a:gd name="T47" fmla="*/ 215 h 237"/>
                <a:gd name="T48" fmla="*/ 100 w 257"/>
                <a:gd name="T49" fmla="*/ 213 h 237"/>
                <a:gd name="T50" fmla="*/ 120 w 257"/>
                <a:gd name="T51" fmla="*/ 197 h 237"/>
                <a:gd name="T52" fmla="*/ 131 w 257"/>
                <a:gd name="T53" fmla="*/ 194 h 237"/>
                <a:gd name="T54" fmla="*/ 156 w 257"/>
                <a:gd name="T55" fmla="*/ 227 h 237"/>
                <a:gd name="T56" fmla="*/ 169 w 257"/>
                <a:gd name="T57" fmla="*/ 236 h 237"/>
                <a:gd name="T58" fmla="*/ 174 w 257"/>
                <a:gd name="T59" fmla="*/ 237 h 237"/>
                <a:gd name="T60" fmla="*/ 181 w 257"/>
                <a:gd name="T61" fmla="*/ 230 h 237"/>
                <a:gd name="T62" fmla="*/ 190 w 257"/>
                <a:gd name="T63" fmla="*/ 228 h 237"/>
                <a:gd name="T64" fmla="*/ 196 w 257"/>
                <a:gd name="T65" fmla="*/ 228 h 237"/>
                <a:gd name="T66" fmla="*/ 203 w 257"/>
                <a:gd name="T67" fmla="*/ 216 h 237"/>
                <a:gd name="T68" fmla="*/ 211 w 257"/>
                <a:gd name="T69" fmla="*/ 212 h 237"/>
                <a:gd name="T70" fmla="*/ 227 w 257"/>
                <a:gd name="T71" fmla="*/ 212 h 237"/>
                <a:gd name="T72" fmla="*/ 240 w 257"/>
                <a:gd name="T73" fmla="*/ 202 h 237"/>
                <a:gd name="T74" fmla="*/ 245 w 257"/>
                <a:gd name="T75" fmla="*/ 194 h 237"/>
                <a:gd name="T76" fmla="*/ 246 w 257"/>
                <a:gd name="T77" fmla="*/ 179 h 237"/>
                <a:gd name="T78" fmla="*/ 254 w 257"/>
                <a:gd name="T79" fmla="*/ 178 h 237"/>
                <a:gd name="T80" fmla="*/ 252 w 257"/>
                <a:gd name="T81" fmla="*/ 169 h 237"/>
                <a:gd name="T82" fmla="*/ 248 w 257"/>
                <a:gd name="T83" fmla="*/ 165 h 237"/>
                <a:gd name="T84" fmla="*/ 243 w 257"/>
                <a:gd name="T85" fmla="*/ 144 h 237"/>
                <a:gd name="T86" fmla="*/ 252 w 257"/>
                <a:gd name="T87" fmla="*/ 119 h 237"/>
                <a:gd name="T88" fmla="*/ 254 w 257"/>
                <a:gd name="T89" fmla="*/ 104 h 237"/>
                <a:gd name="T90" fmla="*/ 248 w 257"/>
                <a:gd name="T91" fmla="*/ 86 h 237"/>
                <a:gd name="T92" fmla="*/ 239 w 257"/>
                <a:gd name="T93" fmla="*/ 67 h 237"/>
                <a:gd name="T94" fmla="*/ 228 w 257"/>
                <a:gd name="T95" fmla="*/ 58 h 237"/>
                <a:gd name="T96" fmla="*/ 223 w 257"/>
                <a:gd name="T97" fmla="*/ 52 h 237"/>
                <a:gd name="T98" fmla="*/ 223 w 257"/>
                <a:gd name="T99" fmla="*/ 37 h 237"/>
                <a:gd name="T100" fmla="*/ 212 w 257"/>
                <a:gd name="T101" fmla="*/ 9 h 237"/>
                <a:gd name="T102" fmla="*/ 196 w 257"/>
                <a:gd name="T103" fmla="*/ 12 h 237"/>
                <a:gd name="T104" fmla="*/ 183 w 257"/>
                <a:gd name="T105" fmla="*/ 9 h 237"/>
                <a:gd name="T106" fmla="*/ 168 w 257"/>
                <a:gd name="T107" fmla="*/ 12 h 237"/>
                <a:gd name="T108" fmla="*/ 135 w 257"/>
                <a:gd name="T109" fmla="*/ 11 h 237"/>
                <a:gd name="T110" fmla="*/ 109 w 257"/>
                <a:gd name="T111" fmla="*/ 13 h 237"/>
                <a:gd name="T112" fmla="*/ 94 w 257"/>
                <a:gd name="T113" fmla="*/ 5 h 237"/>
                <a:gd name="T114" fmla="*/ 80 w 257"/>
                <a:gd name="T115" fmla="*/ 0 h 237"/>
                <a:gd name="T116" fmla="*/ 74 w 257"/>
                <a:gd name="T117" fmla="*/ 11 h 237"/>
                <a:gd name="T118" fmla="*/ 66 w 257"/>
                <a:gd name="T119" fmla="*/ 13 h 237"/>
                <a:gd name="T120" fmla="*/ 58 w 257"/>
                <a:gd name="T121" fmla="*/ 12 h 237"/>
                <a:gd name="T122" fmla="*/ 55 w 257"/>
                <a:gd name="T123" fmla="*/ 5 h 237"/>
                <a:gd name="T124" fmla="*/ 55 w 257"/>
                <a:gd name="T125" fmla="*/ 1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7" h="237">
                  <a:moveTo>
                    <a:pt x="55" y="19"/>
                  </a:moveTo>
                  <a:lnTo>
                    <a:pt x="55" y="19"/>
                  </a:lnTo>
                  <a:lnTo>
                    <a:pt x="54" y="22"/>
                  </a:lnTo>
                  <a:lnTo>
                    <a:pt x="52" y="25"/>
                  </a:lnTo>
                  <a:lnTo>
                    <a:pt x="48" y="28"/>
                  </a:lnTo>
                  <a:lnTo>
                    <a:pt x="42" y="33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9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6" y="77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8" y="89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98"/>
                  </a:lnTo>
                  <a:lnTo>
                    <a:pt x="0" y="99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3" y="105"/>
                  </a:lnTo>
                  <a:lnTo>
                    <a:pt x="8" y="108"/>
                  </a:lnTo>
                  <a:lnTo>
                    <a:pt x="12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6" y="110"/>
                  </a:lnTo>
                  <a:lnTo>
                    <a:pt x="39" y="116"/>
                  </a:lnTo>
                  <a:lnTo>
                    <a:pt x="40" y="120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0" y="133"/>
                  </a:lnTo>
                  <a:lnTo>
                    <a:pt x="36" y="144"/>
                  </a:lnTo>
                  <a:lnTo>
                    <a:pt x="32" y="153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30" y="160"/>
                  </a:lnTo>
                  <a:lnTo>
                    <a:pt x="33" y="160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9" y="165"/>
                  </a:lnTo>
                  <a:lnTo>
                    <a:pt x="42" y="165"/>
                  </a:lnTo>
                  <a:lnTo>
                    <a:pt x="48" y="163"/>
                  </a:lnTo>
                  <a:lnTo>
                    <a:pt x="54" y="162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61" y="162"/>
                  </a:lnTo>
                  <a:lnTo>
                    <a:pt x="64" y="165"/>
                  </a:lnTo>
                  <a:lnTo>
                    <a:pt x="66" y="166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3" y="169"/>
                  </a:lnTo>
                  <a:lnTo>
                    <a:pt x="76" y="170"/>
                  </a:lnTo>
                  <a:lnTo>
                    <a:pt x="77" y="175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6" y="187"/>
                  </a:lnTo>
                  <a:lnTo>
                    <a:pt x="76" y="190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0" y="209"/>
                  </a:lnTo>
                  <a:lnTo>
                    <a:pt x="80" y="209"/>
                  </a:lnTo>
                  <a:lnTo>
                    <a:pt x="80" y="210"/>
                  </a:lnTo>
                  <a:lnTo>
                    <a:pt x="82" y="212"/>
                  </a:lnTo>
                  <a:lnTo>
                    <a:pt x="85" y="215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100" y="213"/>
                  </a:lnTo>
                  <a:lnTo>
                    <a:pt x="104" y="212"/>
                  </a:lnTo>
                  <a:lnTo>
                    <a:pt x="113" y="205"/>
                  </a:lnTo>
                  <a:lnTo>
                    <a:pt x="120" y="197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31" y="194"/>
                  </a:lnTo>
                  <a:lnTo>
                    <a:pt x="135" y="197"/>
                  </a:lnTo>
                  <a:lnTo>
                    <a:pt x="144" y="209"/>
                  </a:lnTo>
                  <a:lnTo>
                    <a:pt x="156" y="227"/>
                  </a:lnTo>
                  <a:lnTo>
                    <a:pt x="156" y="227"/>
                  </a:lnTo>
                  <a:lnTo>
                    <a:pt x="162" y="231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2" y="237"/>
                  </a:lnTo>
                  <a:lnTo>
                    <a:pt x="174" y="237"/>
                  </a:lnTo>
                  <a:lnTo>
                    <a:pt x="174" y="237"/>
                  </a:lnTo>
                  <a:lnTo>
                    <a:pt x="177" y="234"/>
                  </a:lnTo>
                  <a:lnTo>
                    <a:pt x="181" y="230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3" y="230"/>
                  </a:lnTo>
                  <a:lnTo>
                    <a:pt x="196" y="228"/>
                  </a:lnTo>
                  <a:lnTo>
                    <a:pt x="199" y="227"/>
                  </a:lnTo>
                  <a:lnTo>
                    <a:pt x="202" y="222"/>
                  </a:lnTo>
                  <a:lnTo>
                    <a:pt x="203" y="216"/>
                  </a:lnTo>
                  <a:lnTo>
                    <a:pt x="203" y="216"/>
                  </a:lnTo>
                  <a:lnTo>
                    <a:pt x="206" y="213"/>
                  </a:lnTo>
                  <a:lnTo>
                    <a:pt x="211" y="212"/>
                  </a:lnTo>
                  <a:lnTo>
                    <a:pt x="221" y="213"/>
                  </a:lnTo>
                  <a:lnTo>
                    <a:pt x="221" y="213"/>
                  </a:lnTo>
                  <a:lnTo>
                    <a:pt x="227" y="212"/>
                  </a:lnTo>
                  <a:lnTo>
                    <a:pt x="231" y="209"/>
                  </a:lnTo>
                  <a:lnTo>
                    <a:pt x="236" y="205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3" y="200"/>
                  </a:lnTo>
                  <a:lnTo>
                    <a:pt x="245" y="194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6" y="179"/>
                  </a:lnTo>
                  <a:lnTo>
                    <a:pt x="249" y="178"/>
                  </a:lnTo>
                  <a:lnTo>
                    <a:pt x="254" y="178"/>
                  </a:lnTo>
                  <a:lnTo>
                    <a:pt x="254" y="178"/>
                  </a:lnTo>
                  <a:lnTo>
                    <a:pt x="254" y="173"/>
                  </a:lnTo>
                  <a:lnTo>
                    <a:pt x="254" y="170"/>
                  </a:lnTo>
                  <a:lnTo>
                    <a:pt x="252" y="169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48" y="165"/>
                  </a:lnTo>
                  <a:lnTo>
                    <a:pt x="246" y="162"/>
                  </a:lnTo>
                  <a:lnTo>
                    <a:pt x="243" y="153"/>
                  </a:lnTo>
                  <a:lnTo>
                    <a:pt x="243" y="144"/>
                  </a:lnTo>
                  <a:lnTo>
                    <a:pt x="246" y="135"/>
                  </a:lnTo>
                  <a:lnTo>
                    <a:pt x="246" y="135"/>
                  </a:lnTo>
                  <a:lnTo>
                    <a:pt x="252" y="119"/>
                  </a:lnTo>
                  <a:lnTo>
                    <a:pt x="257" y="108"/>
                  </a:lnTo>
                  <a:lnTo>
                    <a:pt x="257" y="108"/>
                  </a:lnTo>
                  <a:lnTo>
                    <a:pt x="254" y="104"/>
                  </a:lnTo>
                  <a:lnTo>
                    <a:pt x="251" y="98"/>
                  </a:lnTo>
                  <a:lnTo>
                    <a:pt x="248" y="86"/>
                  </a:lnTo>
                  <a:lnTo>
                    <a:pt x="248" y="86"/>
                  </a:lnTo>
                  <a:lnTo>
                    <a:pt x="245" y="77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4" y="62"/>
                  </a:lnTo>
                  <a:lnTo>
                    <a:pt x="231" y="61"/>
                  </a:lnTo>
                  <a:lnTo>
                    <a:pt x="228" y="58"/>
                  </a:lnTo>
                  <a:lnTo>
                    <a:pt x="224" y="55"/>
                  </a:lnTo>
                  <a:lnTo>
                    <a:pt x="224" y="55"/>
                  </a:lnTo>
                  <a:lnTo>
                    <a:pt x="223" y="52"/>
                  </a:lnTo>
                  <a:lnTo>
                    <a:pt x="223" y="49"/>
                  </a:lnTo>
                  <a:lnTo>
                    <a:pt x="223" y="43"/>
                  </a:lnTo>
                  <a:lnTo>
                    <a:pt x="223" y="37"/>
                  </a:lnTo>
                  <a:lnTo>
                    <a:pt x="223" y="33"/>
                  </a:lnTo>
                  <a:lnTo>
                    <a:pt x="223" y="33"/>
                  </a:lnTo>
                  <a:lnTo>
                    <a:pt x="212" y="9"/>
                  </a:lnTo>
                  <a:lnTo>
                    <a:pt x="212" y="9"/>
                  </a:lnTo>
                  <a:lnTo>
                    <a:pt x="202" y="12"/>
                  </a:lnTo>
                  <a:lnTo>
                    <a:pt x="196" y="12"/>
                  </a:lnTo>
                  <a:lnTo>
                    <a:pt x="190" y="11"/>
                  </a:lnTo>
                  <a:lnTo>
                    <a:pt x="190" y="11"/>
                  </a:lnTo>
                  <a:lnTo>
                    <a:pt x="183" y="9"/>
                  </a:lnTo>
                  <a:lnTo>
                    <a:pt x="177" y="9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53" y="12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23" y="12"/>
                  </a:lnTo>
                  <a:lnTo>
                    <a:pt x="116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1" y="11"/>
                  </a:lnTo>
                  <a:lnTo>
                    <a:pt x="94" y="5"/>
                  </a:lnTo>
                  <a:lnTo>
                    <a:pt x="86" y="2"/>
                  </a:lnTo>
                  <a:lnTo>
                    <a:pt x="83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7" y="5"/>
                  </a:lnTo>
                  <a:lnTo>
                    <a:pt x="74" y="11"/>
                  </a:lnTo>
                  <a:lnTo>
                    <a:pt x="70" y="13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1" y="12"/>
                  </a:lnTo>
                  <a:lnTo>
                    <a:pt x="58" y="12"/>
                  </a:lnTo>
                  <a:lnTo>
                    <a:pt x="55" y="11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11"/>
                  </a:lnTo>
                  <a:lnTo>
                    <a:pt x="55" y="19"/>
                  </a:lnTo>
                  <a:lnTo>
                    <a:pt x="5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8" name="Freeform 27">
              <a:extLst>
                <a:ext uri="{FF2B5EF4-FFF2-40B4-BE49-F238E27FC236}">
                  <a16:creationId xmlns:a16="http://schemas.microsoft.com/office/drawing/2014/main" id="{720B956C-8A1B-2146-9225-5179B9454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388" y="5486400"/>
              <a:ext cx="660400" cy="752475"/>
            </a:xfrm>
            <a:custGeom>
              <a:avLst/>
              <a:gdLst>
                <a:gd name="T0" fmla="*/ 197 w 416"/>
                <a:gd name="T1" fmla="*/ 470 h 474"/>
                <a:gd name="T2" fmla="*/ 222 w 416"/>
                <a:gd name="T3" fmla="*/ 471 h 474"/>
                <a:gd name="T4" fmla="*/ 239 w 416"/>
                <a:gd name="T5" fmla="*/ 446 h 474"/>
                <a:gd name="T6" fmla="*/ 271 w 416"/>
                <a:gd name="T7" fmla="*/ 455 h 474"/>
                <a:gd name="T8" fmla="*/ 329 w 416"/>
                <a:gd name="T9" fmla="*/ 404 h 474"/>
                <a:gd name="T10" fmla="*/ 314 w 416"/>
                <a:gd name="T11" fmla="*/ 404 h 474"/>
                <a:gd name="T12" fmla="*/ 293 w 416"/>
                <a:gd name="T13" fmla="*/ 413 h 474"/>
                <a:gd name="T14" fmla="*/ 295 w 416"/>
                <a:gd name="T15" fmla="*/ 388 h 474"/>
                <a:gd name="T16" fmla="*/ 285 w 416"/>
                <a:gd name="T17" fmla="*/ 367 h 474"/>
                <a:gd name="T18" fmla="*/ 273 w 416"/>
                <a:gd name="T19" fmla="*/ 342 h 474"/>
                <a:gd name="T20" fmla="*/ 273 w 416"/>
                <a:gd name="T21" fmla="*/ 304 h 474"/>
                <a:gd name="T22" fmla="*/ 285 w 416"/>
                <a:gd name="T23" fmla="*/ 274 h 474"/>
                <a:gd name="T24" fmla="*/ 271 w 416"/>
                <a:gd name="T25" fmla="*/ 253 h 474"/>
                <a:gd name="T26" fmla="*/ 280 w 416"/>
                <a:gd name="T27" fmla="*/ 231 h 474"/>
                <a:gd name="T28" fmla="*/ 320 w 416"/>
                <a:gd name="T29" fmla="*/ 227 h 474"/>
                <a:gd name="T30" fmla="*/ 342 w 416"/>
                <a:gd name="T31" fmla="*/ 239 h 474"/>
                <a:gd name="T32" fmla="*/ 367 w 416"/>
                <a:gd name="T33" fmla="*/ 212 h 474"/>
                <a:gd name="T34" fmla="*/ 370 w 416"/>
                <a:gd name="T35" fmla="*/ 181 h 474"/>
                <a:gd name="T36" fmla="*/ 375 w 416"/>
                <a:gd name="T37" fmla="*/ 159 h 474"/>
                <a:gd name="T38" fmla="*/ 406 w 416"/>
                <a:gd name="T39" fmla="*/ 136 h 474"/>
                <a:gd name="T40" fmla="*/ 412 w 416"/>
                <a:gd name="T41" fmla="*/ 105 h 474"/>
                <a:gd name="T42" fmla="*/ 413 w 416"/>
                <a:gd name="T43" fmla="*/ 86 h 474"/>
                <a:gd name="T44" fmla="*/ 413 w 416"/>
                <a:gd name="T45" fmla="*/ 62 h 474"/>
                <a:gd name="T46" fmla="*/ 402 w 416"/>
                <a:gd name="T47" fmla="*/ 55 h 474"/>
                <a:gd name="T48" fmla="*/ 382 w 416"/>
                <a:gd name="T49" fmla="*/ 52 h 474"/>
                <a:gd name="T50" fmla="*/ 373 w 416"/>
                <a:gd name="T51" fmla="*/ 65 h 474"/>
                <a:gd name="T52" fmla="*/ 338 w 416"/>
                <a:gd name="T53" fmla="*/ 56 h 474"/>
                <a:gd name="T54" fmla="*/ 305 w 416"/>
                <a:gd name="T55" fmla="*/ 15 h 474"/>
                <a:gd name="T56" fmla="*/ 283 w 416"/>
                <a:gd name="T57" fmla="*/ 28 h 474"/>
                <a:gd name="T58" fmla="*/ 271 w 416"/>
                <a:gd name="T59" fmla="*/ 39 h 474"/>
                <a:gd name="T60" fmla="*/ 240 w 416"/>
                <a:gd name="T61" fmla="*/ 31 h 474"/>
                <a:gd name="T62" fmla="*/ 230 w 416"/>
                <a:gd name="T63" fmla="*/ 55 h 474"/>
                <a:gd name="T64" fmla="*/ 206 w 416"/>
                <a:gd name="T65" fmla="*/ 61 h 474"/>
                <a:gd name="T66" fmla="*/ 179 w 416"/>
                <a:gd name="T67" fmla="*/ 99 h 474"/>
                <a:gd name="T68" fmla="*/ 157 w 416"/>
                <a:gd name="T69" fmla="*/ 107 h 474"/>
                <a:gd name="T70" fmla="*/ 147 w 416"/>
                <a:gd name="T71" fmla="*/ 119 h 474"/>
                <a:gd name="T72" fmla="*/ 120 w 416"/>
                <a:gd name="T73" fmla="*/ 70 h 474"/>
                <a:gd name="T74" fmla="*/ 82 w 416"/>
                <a:gd name="T75" fmla="*/ 65 h 474"/>
                <a:gd name="T76" fmla="*/ 36 w 416"/>
                <a:gd name="T77" fmla="*/ 52 h 474"/>
                <a:gd name="T78" fmla="*/ 15 w 416"/>
                <a:gd name="T79" fmla="*/ 71 h 474"/>
                <a:gd name="T80" fmla="*/ 67 w 416"/>
                <a:gd name="T81" fmla="*/ 119 h 474"/>
                <a:gd name="T82" fmla="*/ 79 w 416"/>
                <a:gd name="T83" fmla="*/ 147 h 474"/>
                <a:gd name="T84" fmla="*/ 68 w 416"/>
                <a:gd name="T85" fmla="*/ 156 h 474"/>
                <a:gd name="T86" fmla="*/ 25 w 416"/>
                <a:gd name="T87" fmla="*/ 130 h 474"/>
                <a:gd name="T88" fmla="*/ 6 w 416"/>
                <a:gd name="T89" fmla="*/ 122 h 474"/>
                <a:gd name="T90" fmla="*/ 11 w 416"/>
                <a:gd name="T91" fmla="*/ 136 h 474"/>
                <a:gd name="T92" fmla="*/ 5 w 416"/>
                <a:gd name="T93" fmla="*/ 154 h 474"/>
                <a:gd name="T94" fmla="*/ 20 w 416"/>
                <a:gd name="T95" fmla="*/ 162 h 474"/>
                <a:gd name="T96" fmla="*/ 40 w 416"/>
                <a:gd name="T97" fmla="*/ 170 h 474"/>
                <a:gd name="T98" fmla="*/ 65 w 416"/>
                <a:gd name="T99" fmla="*/ 206 h 474"/>
                <a:gd name="T100" fmla="*/ 55 w 416"/>
                <a:gd name="T101" fmla="*/ 231 h 474"/>
                <a:gd name="T102" fmla="*/ 34 w 416"/>
                <a:gd name="T103" fmla="*/ 255 h 474"/>
                <a:gd name="T104" fmla="*/ 51 w 416"/>
                <a:gd name="T105" fmla="*/ 282 h 474"/>
                <a:gd name="T106" fmla="*/ 70 w 416"/>
                <a:gd name="T107" fmla="*/ 284 h 474"/>
                <a:gd name="T108" fmla="*/ 54 w 416"/>
                <a:gd name="T109" fmla="*/ 313 h 474"/>
                <a:gd name="T110" fmla="*/ 55 w 416"/>
                <a:gd name="T111" fmla="*/ 344 h 474"/>
                <a:gd name="T112" fmla="*/ 86 w 416"/>
                <a:gd name="T113" fmla="*/ 359 h 474"/>
                <a:gd name="T114" fmla="*/ 111 w 416"/>
                <a:gd name="T115" fmla="*/ 369 h 474"/>
                <a:gd name="T116" fmla="*/ 159 w 416"/>
                <a:gd name="T117" fmla="*/ 360 h 474"/>
                <a:gd name="T118" fmla="*/ 156 w 416"/>
                <a:gd name="T119" fmla="*/ 393 h 474"/>
                <a:gd name="T120" fmla="*/ 165 w 416"/>
                <a:gd name="T121" fmla="*/ 410 h 474"/>
                <a:gd name="T122" fmla="*/ 176 w 416"/>
                <a:gd name="T123" fmla="*/ 415 h 474"/>
                <a:gd name="T124" fmla="*/ 184 w 416"/>
                <a:gd name="T125" fmla="*/ 45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6" h="474">
                  <a:moveTo>
                    <a:pt x="184" y="450"/>
                  </a:moveTo>
                  <a:lnTo>
                    <a:pt x="184" y="450"/>
                  </a:lnTo>
                  <a:lnTo>
                    <a:pt x="185" y="456"/>
                  </a:lnTo>
                  <a:lnTo>
                    <a:pt x="188" y="462"/>
                  </a:lnTo>
                  <a:lnTo>
                    <a:pt x="193" y="467"/>
                  </a:lnTo>
                  <a:lnTo>
                    <a:pt x="197" y="470"/>
                  </a:lnTo>
                  <a:lnTo>
                    <a:pt x="203" y="473"/>
                  </a:lnTo>
                  <a:lnTo>
                    <a:pt x="209" y="474"/>
                  </a:lnTo>
                  <a:lnTo>
                    <a:pt x="213" y="474"/>
                  </a:lnTo>
                  <a:lnTo>
                    <a:pt x="218" y="474"/>
                  </a:lnTo>
                  <a:lnTo>
                    <a:pt x="218" y="474"/>
                  </a:lnTo>
                  <a:lnTo>
                    <a:pt x="222" y="471"/>
                  </a:lnTo>
                  <a:lnTo>
                    <a:pt x="227" y="465"/>
                  </a:lnTo>
                  <a:lnTo>
                    <a:pt x="231" y="459"/>
                  </a:lnTo>
                  <a:lnTo>
                    <a:pt x="233" y="452"/>
                  </a:lnTo>
                  <a:lnTo>
                    <a:pt x="233" y="452"/>
                  </a:lnTo>
                  <a:lnTo>
                    <a:pt x="236" y="447"/>
                  </a:lnTo>
                  <a:lnTo>
                    <a:pt x="239" y="446"/>
                  </a:lnTo>
                  <a:lnTo>
                    <a:pt x="243" y="447"/>
                  </a:lnTo>
                  <a:lnTo>
                    <a:pt x="248" y="449"/>
                  </a:lnTo>
                  <a:lnTo>
                    <a:pt x="259" y="455"/>
                  </a:lnTo>
                  <a:lnTo>
                    <a:pt x="267" y="456"/>
                  </a:lnTo>
                  <a:lnTo>
                    <a:pt x="271" y="455"/>
                  </a:lnTo>
                  <a:lnTo>
                    <a:pt x="271" y="455"/>
                  </a:lnTo>
                  <a:lnTo>
                    <a:pt x="285" y="446"/>
                  </a:lnTo>
                  <a:lnTo>
                    <a:pt x="304" y="431"/>
                  </a:lnTo>
                  <a:lnTo>
                    <a:pt x="322" y="416"/>
                  </a:lnTo>
                  <a:lnTo>
                    <a:pt x="328" y="409"/>
                  </a:lnTo>
                  <a:lnTo>
                    <a:pt x="329" y="406"/>
                  </a:lnTo>
                  <a:lnTo>
                    <a:pt x="329" y="404"/>
                  </a:lnTo>
                  <a:lnTo>
                    <a:pt x="329" y="404"/>
                  </a:lnTo>
                  <a:lnTo>
                    <a:pt x="328" y="401"/>
                  </a:lnTo>
                  <a:lnTo>
                    <a:pt x="326" y="400"/>
                  </a:lnTo>
                  <a:lnTo>
                    <a:pt x="323" y="400"/>
                  </a:lnTo>
                  <a:lnTo>
                    <a:pt x="320" y="401"/>
                  </a:lnTo>
                  <a:lnTo>
                    <a:pt x="314" y="404"/>
                  </a:lnTo>
                  <a:lnTo>
                    <a:pt x="310" y="407"/>
                  </a:lnTo>
                  <a:lnTo>
                    <a:pt x="310" y="407"/>
                  </a:lnTo>
                  <a:lnTo>
                    <a:pt x="302" y="413"/>
                  </a:lnTo>
                  <a:lnTo>
                    <a:pt x="298" y="415"/>
                  </a:lnTo>
                  <a:lnTo>
                    <a:pt x="293" y="413"/>
                  </a:lnTo>
                  <a:lnTo>
                    <a:pt x="293" y="413"/>
                  </a:lnTo>
                  <a:lnTo>
                    <a:pt x="292" y="412"/>
                  </a:lnTo>
                  <a:lnTo>
                    <a:pt x="292" y="410"/>
                  </a:lnTo>
                  <a:lnTo>
                    <a:pt x="292" y="404"/>
                  </a:lnTo>
                  <a:lnTo>
                    <a:pt x="293" y="397"/>
                  </a:lnTo>
                  <a:lnTo>
                    <a:pt x="295" y="388"/>
                  </a:lnTo>
                  <a:lnTo>
                    <a:pt x="295" y="388"/>
                  </a:lnTo>
                  <a:lnTo>
                    <a:pt x="295" y="382"/>
                  </a:lnTo>
                  <a:lnTo>
                    <a:pt x="293" y="376"/>
                  </a:lnTo>
                  <a:lnTo>
                    <a:pt x="293" y="376"/>
                  </a:lnTo>
                  <a:lnTo>
                    <a:pt x="290" y="372"/>
                  </a:lnTo>
                  <a:lnTo>
                    <a:pt x="285" y="367"/>
                  </a:lnTo>
                  <a:lnTo>
                    <a:pt x="285" y="367"/>
                  </a:lnTo>
                  <a:lnTo>
                    <a:pt x="279" y="363"/>
                  </a:lnTo>
                  <a:lnTo>
                    <a:pt x="274" y="359"/>
                  </a:lnTo>
                  <a:lnTo>
                    <a:pt x="273" y="353"/>
                  </a:lnTo>
                  <a:lnTo>
                    <a:pt x="273" y="348"/>
                  </a:lnTo>
                  <a:lnTo>
                    <a:pt x="273" y="348"/>
                  </a:lnTo>
                  <a:lnTo>
                    <a:pt x="273" y="342"/>
                  </a:lnTo>
                  <a:lnTo>
                    <a:pt x="273" y="336"/>
                  </a:lnTo>
                  <a:lnTo>
                    <a:pt x="271" y="329"/>
                  </a:lnTo>
                  <a:lnTo>
                    <a:pt x="271" y="322"/>
                  </a:lnTo>
                  <a:lnTo>
                    <a:pt x="271" y="322"/>
                  </a:lnTo>
                  <a:lnTo>
                    <a:pt x="271" y="313"/>
                  </a:lnTo>
                  <a:lnTo>
                    <a:pt x="273" y="304"/>
                  </a:lnTo>
                  <a:lnTo>
                    <a:pt x="276" y="292"/>
                  </a:lnTo>
                  <a:lnTo>
                    <a:pt x="276" y="292"/>
                  </a:lnTo>
                  <a:lnTo>
                    <a:pt x="277" y="286"/>
                  </a:lnTo>
                  <a:lnTo>
                    <a:pt x="283" y="277"/>
                  </a:lnTo>
                  <a:lnTo>
                    <a:pt x="283" y="277"/>
                  </a:lnTo>
                  <a:lnTo>
                    <a:pt x="285" y="274"/>
                  </a:lnTo>
                  <a:lnTo>
                    <a:pt x="285" y="271"/>
                  </a:lnTo>
                  <a:lnTo>
                    <a:pt x="283" y="267"/>
                  </a:lnTo>
                  <a:lnTo>
                    <a:pt x="279" y="262"/>
                  </a:lnTo>
                  <a:lnTo>
                    <a:pt x="274" y="258"/>
                  </a:lnTo>
                  <a:lnTo>
                    <a:pt x="274" y="258"/>
                  </a:lnTo>
                  <a:lnTo>
                    <a:pt x="271" y="253"/>
                  </a:lnTo>
                  <a:lnTo>
                    <a:pt x="270" y="247"/>
                  </a:lnTo>
                  <a:lnTo>
                    <a:pt x="270" y="242"/>
                  </a:lnTo>
                  <a:lnTo>
                    <a:pt x="271" y="237"/>
                  </a:lnTo>
                  <a:lnTo>
                    <a:pt x="271" y="237"/>
                  </a:lnTo>
                  <a:lnTo>
                    <a:pt x="274" y="233"/>
                  </a:lnTo>
                  <a:lnTo>
                    <a:pt x="280" y="231"/>
                  </a:lnTo>
                  <a:lnTo>
                    <a:pt x="296" y="225"/>
                  </a:lnTo>
                  <a:lnTo>
                    <a:pt x="296" y="225"/>
                  </a:lnTo>
                  <a:lnTo>
                    <a:pt x="304" y="222"/>
                  </a:lnTo>
                  <a:lnTo>
                    <a:pt x="310" y="222"/>
                  </a:lnTo>
                  <a:lnTo>
                    <a:pt x="314" y="224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5" y="230"/>
                  </a:lnTo>
                  <a:lnTo>
                    <a:pt x="329" y="233"/>
                  </a:lnTo>
                  <a:lnTo>
                    <a:pt x="335" y="236"/>
                  </a:lnTo>
                  <a:lnTo>
                    <a:pt x="342" y="239"/>
                  </a:lnTo>
                  <a:lnTo>
                    <a:pt x="342" y="239"/>
                  </a:lnTo>
                  <a:lnTo>
                    <a:pt x="347" y="239"/>
                  </a:lnTo>
                  <a:lnTo>
                    <a:pt x="351" y="236"/>
                  </a:lnTo>
                  <a:lnTo>
                    <a:pt x="356" y="234"/>
                  </a:lnTo>
                  <a:lnTo>
                    <a:pt x="359" y="230"/>
                  </a:lnTo>
                  <a:lnTo>
                    <a:pt x="365" y="221"/>
                  </a:lnTo>
                  <a:lnTo>
                    <a:pt x="367" y="212"/>
                  </a:lnTo>
                  <a:lnTo>
                    <a:pt x="367" y="212"/>
                  </a:lnTo>
                  <a:lnTo>
                    <a:pt x="369" y="200"/>
                  </a:lnTo>
                  <a:lnTo>
                    <a:pt x="370" y="190"/>
                  </a:lnTo>
                  <a:lnTo>
                    <a:pt x="370" y="190"/>
                  </a:lnTo>
                  <a:lnTo>
                    <a:pt x="372" y="184"/>
                  </a:lnTo>
                  <a:lnTo>
                    <a:pt x="370" y="181"/>
                  </a:lnTo>
                  <a:lnTo>
                    <a:pt x="367" y="175"/>
                  </a:lnTo>
                  <a:lnTo>
                    <a:pt x="367" y="175"/>
                  </a:lnTo>
                  <a:lnTo>
                    <a:pt x="369" y="172"/>
                  </a:lnTo>
                  <a:lnTo>
                    <a:pt x="370" y="167"/>
                  </a:lnTo>
                  <a:lnTo>
                    <a:pt x="373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9" y="154"/>
                  </a:lnTo>
                  <a:lnTo>
                    <a:pt x="387" y="147"/>
                  </a:lnTo>
                  <a:lnTo>
                    <a:pt x="396" y="141"/>
                  </a:lnTo>
                  <a:lnTo>
                    <a:pt x="406" y="136"/>
                  </a:lnTo>
                  <a:lnTo>
                    <a:pt x="406" y="136"/>
                  </a:lnTo>
                  <a:lnTo>
                    <a:pt x="410" y="133"/>
                  </a:lnTo>
                  <a:lnTo>
                    <a:pt x="412" y="130"/>
                  </a:lnTo>
                  <a:lnTo>
                    <a:pt x="415" y="127"/>
                  </a:lnTo>
                  <a:lnTo>
                    <a:pt x="415" y="123"/>
                  </a:lnTo>
                  <a:lnTo>
                    <a:pt x="413" y="114"/>
                  </a:lnTo>
                  <a:lnTo>
                    <a:pt x="412" y="105"/>
                  </a:lnTo>
                  <a:lnTo>
                    <a:pt x="412" y="105"/>
                  </a:lnTo>
                  <a:lnTo>
                    <a:pt x="409" y="98"/>
                  </a:lnTo>
                  <a:lnTo>
                    <a:pt x="409" y="93"/>
                  </a:lnTo>
                  <a:lnTo>
                    <a:pt x="410" y="90"/>
                  </a:lnTo>
                  <a:lnTo>
                    <a:pt x="413" y="86"/>
                  </a:lnTo>
                  <a:lnTo>
                    <a:pt x="413" y="86"/>
                  </a:lnTo>
                  <a:lnTo>
                    <a:pt x="415" y="82"/>
                  </a:lnTo>
                  <a:lnTo>
                    <a:pt x="415" y="77"/>
                  </a:lnTo>
                  <a:lnTo>
                    <a:pt x="415" y="73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3" y="62"/>
                  </a:lnTo>
                  <a:lnTo>
                    <a:pt x="415" y="56"/>
                  </a:lnTo>
                  <a:lnTo>
                    <a:pt x="416" y="49"/>
                  </a:lnTo>
                  <a:lnTo>
                    <a:pt x="416" y="49"/>
                  </a:lnTo>
                  <a:lnTo>
                    <a:pt x="412" y="50"/>
                  </a:lnTo>
                  <a:lnTo>
                    <a:pt x="407" y="52"/>
                  </a:lnTo>
                  <a:lnTo>
                    <a:pt x="402" y="55"/>
                  </a:lnTo>
                  <a:lnTo>
                    <a:pt x="402" y="55"/>
                  </a:lnTo>
                  <a:lnTo>
                    <a:pt x="399" y="55"/>
                  </a:lnTo>
                  <a:lnTo>
                    <a:pt x="393" y="55"/>
                  </a:lnTo>
                  <a:lnTo>
                    <a:pt x="388" y="53"/>
                  </a:lnTo>
                  <a:lnTo>
                    <a:pt x="382" y="52"/>
                  </a:lnTo>
                  <a:lnTo>
                    <a:pt x="382" y="52"/>
                  </a:lnTo>
                  <a:lnTo>
                    <a:pt x="381" y="53"/>
                  </a:lnTo>
                  <a:lnTo>
                    <a:pt x="379" y="53"/>
                  </a:lnTo>
                  <a:lnTo>
                    <a:pt x="376" y="58"/>
                  </a:lnTo>
                  <a:lnTo>
                    <a:pt x="375" y="62"/>
                  </a:lnTo>
                  <a:lnTo>
                    <a:pt x="373" y="65"/>
                  </a:lnTo>
                  <a:lnTo>
                    <a:pt x="373" y="65"/>
                  </a:lnTo>
                  <a:lnTo>
                    <a:pt x="370" y="65"/>
                  </a:lnTo>
                  <a:lnTo>
                    <a:pt x="367" y="67"/>
                  </a:lnTo>
                  <a:lnTo>
                    <a:pt x="359" y="65"/>
                  </a:lnTo>
                  <a:lnTo>
                    <a:pt x="348" y="62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2" y="50"/>
                  </a:lnTo>
                  <a:lnTo>
                    <a:pt x="326" y="42"/>
                  </a:lnTo>
                  <a:lnTo>
                    <a:pt x="320" y="33"/>
                  </a:lnTo>
                  <a:lnTo>
                    <a:pt x="314" y="24"/>
                  </a:lnTo>
                  <a:lnTo>
                    <a:pt x="314" y="24"/>
                  </a:lnTo>
                  <a:lnTo>
                    <a:pt x="305" y="15"/>
                  </a:lnTo>
                  <a:lnTo>
                    <a:pt x="296" y="8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5" y="12"/>
                  </a:lnTo>
                  <a:lnTo>
                    <a:pt x="285" y="12"/>
                  </a:lnTo>
                  <a:lnTo>
                    <a:pt x="283" y="28"/>
                  </a:lnTo>
                  <a:lnTo>
                    <a:pt x="280" y="37"/>
                  </a:lnTo>
                  <a:lnTo>
                    <a:pt x="279" y="40"/>
                  </a:lnTo>
                  <a:lnTo>
                    <a:pt x="277" y="42"/>
                  </a:lnTo>
                  <a:lnTo>
                    <a:pt x="274" y="42"/>
                  </a:lnTo>
                  <a:lnTo>
                    <a:pt x="271" y="39"/>
                  </a:lnTo>
                  <a:lnTo>
                    <a:pt x="271" y="39"/>
                  </a:lnTo>
                  <a:lnTo>
                    <a:pt x="264" y="33"/>
                  </a:lnTo>
                  <a:lnTo>
                    <a:pt x="255" y="28"/>
                  </a:lnTo>
                  <a:lnTo>
                    <a:pt x="252" y="27"/>
                  </a:lnTo>
                  <a:lnTo>
                    <a:pt x="248" y="27"/>
                  </a:lnTo>
                  <a:lnTo>
                    <a:pt x="243" y="28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7" y="36"/>
                  </a:lnTo>
                  <a:lnTo>
                    <a:pt x="236" y="40"/>
                  </a:lnTo>
                  <a:lnTo>
                    <a:pt x="234" y="48"/>
                  </a:lnTo>
                  <a:lnTo>
                    <a:pt x="231" y="53"/>
                  </a:lnTo>
                  <a:lnTo>
                    <a:pt x="230" y="55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18" y="56"/>
                  </a:lnTo>
                  <a:lnTo>
                    <a:pt x="212" y="56"/>
                  </a:lnTo>
                  <a:lnTo>
                    <a:pt x="209" y="58"/>
                  </a:lnTo>
                  <a:lnTo>
                    <a:pt x="206" y="61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194" y="80"/>
                  </a:lnTo>
                  <a:lnTo>
                    <a:pt x="190" y="8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8" y="101"/>
                  </a:lnTo>
                  <a:lnTo>
                    <a:pt x="175" y="102"/>
                  </a:lnTo>
                  <a:lnTo>
                    <a:pt x="169" y="104"/>
                  </a:lnTo>
                  <a:lnTo>
                    <a:pt x="162" y="104"/>
                  </a:lnTo>
                  <a:lnTo>
                    <a:pt x="159" y="105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3" y="113"/>
                  </a:lnTo>
                  <a:lnTo>
                    <a:pt x="151" y="119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7" y="119"/>
                  </a:lnTo>
                  <a:lnTo>
                    <a:pt x="142" y="116"/>
                  </a:lnTo>
                  <a:lnTo>
                    <a:pt x="142" y="116"/>
                  </a:lnTo>
                  <a:lnTo>
                    <a:pt x="136" y="102"/>
                  </a:lnTo>
                  <a:lnTo>
                    <a:pt x="131" y="88"/>
                  </a:lnTo>
                  <a:lnTo>
                    <a:pt x="123" y="74"/>
                  </a:lnTo>
                  <a:lnTo>
                    <a:pt x="120" y="70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08" y="65"/>
                  </a:lnTo>
                  <a:lnTo>
                    <a:pt x="98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76" y="62"/>
                  </a:lnTo>
                  <a:lnTo>
                    <a:pt x="65" y="55"/>
                  </a:lnTo>
                  <a:lnTo>
                    <a:pt x="58" y="52"/>
                  </a:lnTo>
                  <a:lnTo>
                    <a:pt x="51" y="49"/>
                  </a:lnTo>
                  <a:lnTo>
                    <a:pt x="43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27" y="58"/>
                  </a:lnTo>
                  <a:lnTo>
                    <a:pt x="21" y="62"/>
                  </a:lnTo>
                  <a:lnTo>
                    <a:pt x="18" y="65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25" y="82"/>
                  </a:lnTo>
                  <a:lnTo>
                    <a:pt x="33" y="86"/>
                  </a:lnTo>
                  <a:lnTo>
                    <a:pt x="39" y="9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67" y="119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9" y="132"/>
                  </a:lnTo>
                  <a:lnTo>
                    <a:pt x="80" y="135"/>
                  </a:lnTo>
                  <a:lnTo>
                    <a:pt x="80" y="142"/>
                  </a:lnTo>
                  <a:lnTo>
                    <a:pt x="79" y="147"/>
                  </a:lnTo>
                  <a:lnTo>
                    <a:pt x="77" y="148"/>
                  </a:lnTo>
                  <a:lnTo>
                    <a:pt x="77" y="148"/>
                  </a:lnTo>
                  <a:lnTo>
                    <a:pt x="77" y="150"/>
                  </a:lnTo>
                  <a:lnTo>
                    <a:pt x="74" y="154"/>
                  </a:lnTo>
                  <a:lnTo>
                    <a:pt x="73" y="156"/>
                  </a:lnTo>
                  <a:lnTo>
                    <a:pt x="68" y="156"/>
                  </a:lnTo>
                  <a:lnTo>
                    <a:pt x="64" y="154"/>
                  </a:lnTo>
                  <a:lnTo>
                    <a:pt x="58" y="151"/>
                  </a:lnTo>
                  <a:lnTo>
                    <a:pt x="58" y="151"/>
                  </a:lnTo>
                  <a:lnTo>
                    <a:pt x="37" y="139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2" y="126"/>
                  </a:lnTo>
                  <a:lnTo>
                    <a:pt x="20" y="126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8" y="125"/>
                  </a:lnTo>
                  <a:lnTo>
                    <a:pt x="11" y="129"/>
                  </a:lnTo>
                  <a:lnTo>
                    <a:pt x="12" y="132"/>
                  </a:lnTo>
                  <a:lnTo>
                    <a:pt x="12" y="135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6" y="139"/>
                  </a:lnTo>
                  <a:lnTo>
                    <a:pt x="2" y="142"/>
                  </a:lnTo>
                  <a:lnTo>
                    <a:pt x="0" y="144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5" y="154"/>
                  </a:lnTo>
                  <a:lnTo>
                    <a:pt x="8" y="160"/>
                  </a:lnTo>
                  <a:lnTo>
                    <a:pt x="11" y="165"/>
                  </a:lnTo>
                  <a:lnTo>
                    <a:pt x="12" y="165"/>
                  </a:lnTo>
                  <a:lnTo>
                    <a:pt x="15" y="165"/>
                  </a:lnTo>
                  <a:lnTo>
                    <a:pt x="15" y="165"/>
                  </a:lnTo>
                  <a:lnTo>
                    <a:pt x="20" y="162"/>
                  </a:lnTo>
                  <a:lnTo>
                    <a:pt x="22" y="159"/>
                  </a:lnTo>
                  <a:lnTo>
                    <a:pt x="24" y="157"/>
                  </a:lnTo>
                  <a:lnTo>
                    <a:pt x="25" y="157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40" y="170"/>
                  </a:lnTo>
                  <a:lnTo>
                    <a:pt x="52" y="184"/>
                  </a:lnTo>
                  <a:lnTo>
                    <a:pt x="52" y="184"/>
                  </a:lnTo>
                  <a:lnTo>
                    <a:pt x="62" y="197"/>
                  </a:lnTo>
                  <a:lnTo>
                    <a:pt x="65" y="202"/>
                  </a:lnTo>
                  <a:lnTo>
                    <a:pt x="65" y="206"/>
                  </a:lnTo>
                  <a:lnTo>
                    <a:pt x="65" y="206"/>
                  </a:lnTo>
                  <a:lnTo>
                    <a:pt x="64" y="209"/>
                  </a:lnTo>
                  <a:lnTo>
                    <a:pt x="61" y="212"/>
                  </a:lnTo>
                  <a:lnTo>
                    <a:pt x="58" y="215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5" y="231"/>
                  </a:lnTo>
                  <a:lnTo>
                    <a:pt x="54" y="236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39" y="247"/>
                  </a:lnTo>
                  <a:lnTo>
                    <a:pt x="34" y="252"/>
                  </a:lnTo>
                  <a:lnTo>
                    <a:pt x="34" y="255"/>
                  </a:lnTo>
                  <a:lnTo>
                    <a:pt x="34" y="258"/>
                  </a:lnTo>
                  <a:lnTo>
                    <a:pt x="34" y="258"/>
                  </a:lnTo>
                  <a:lnTo>
                    <a:pt x="42" y="271"/>
                  </a:lnTo>
                  <a:lnTo>
                    <a:pt x="46" y="277"/>
                  </a:lnTo>
                  <a:lnTo>
                    <a:pt x="51" y="282"/>
                  </a:lnTo>
                  <a:lnTo>
                    <a:pt x="51" y="282"/>
                  </a:lnTo>
                  <a:lnTo>
                    <a:pt x="57" y="283"/>
                  </a:lnTo>
                  <a:lnTo>
                    <a:pt x="62" y="283"/>
                  </a:lnTo>
                  <a:lnTo>
                    <a:pt x="67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0" y="284"/>
                  </a:lnTo>
                  <a:lnTo>
                    <a:pt x="71" y="286"/>
                  </a:lnTo>
                  <a:lnTo>
                    <a:pt x="70" y="289"/>
                  </a:lnTo>
                  <a:lnTo>
                    <a:pt x="67" y="293"/>
                  </a:lnTo>
                  <a:lnTo>
                    <a:pt x="58" y="307"/>
                  </a:lnTo>
                  <a:lnTo>
                    <a:pt x="58" y="307"/>
                  </a:lnTo>
                  <a:lnTo>
                    <a:pt x="54" y="313"/>
                  </a:lnTo>
                  <a:lnTo>
                    <a:pt x="48" y="319"/>
                  </a:lnTo>
                  <a:lnTo>
                    <a:pt x="45" y="324"/>
                  </a:lnTo>
                  <a:lnTo>
                    <a:pt x="43" y="327"/>
                  </a:lnTo>
                  <a:lnTo>
                    <a:pt x="43" y="329"/>
                  </a:lnTo>
                  <a:lnTo>
                    <a:pt x="43" y="329"/>
                  </a:lnTo>
                  <a:lnTo>
                    <a:pt x="55" y="344"/>
                  </a:lnTo>
                  <a:lnTo>
                    <a:pt x="65" y="354"/>
                  </a:lnTo>
                  <a:lnTo>
                    <a:pt x="76" y="360"/>
                  </a:lnTo>
                  <a:lnTo>
                    <a:pt x="76" y="360"/>
                  </a:lnTo>
                  <a:lnTo>
                    <a:pt x="79" y="361"/>
                  </a:lnTo>
                  <a:lnTo>
                    <a:pt x="82" y="361"/>
                  </a:lnTo>
                  <a:lnTo>
                    <a:pt x="86" y="359"/>
                  </a:lnTo>
                  <a:lnTo>
                    <a:pt x="91" y="354"/>
                  </a:lnTo>
                  <a:lnTo>
                    <a:pt x="91" y="354"/>
                  </a:lnTo>
                  <a:lnTo>
                    <a:pt x="99" y="360"/>
                  </a:lnTo>
                  <a:lnTo>
                    <a:pt x="110" y="369"/>
                  </a:lnTo>
                  <a:lnTo>
                    <a:pt x="110" y="369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7" y="366"/>
                  </a:lnTo>
                  <a:lnTo>
                    <a:pt x="128" y="354"/>
                  </a:lnTo>
                  <a:lnTo>
                    <a:pt x="141" y="336"/>
                  </a:lnTo>
                  <a:lnTo>
                    <a:pt x="141" y="336"/>
                  </a:lnTo>
                  <a:lnTo>
                    <a:pt x="159" y="360"/>
                  </a:lnTo>
                  <a:lnTo>
                    <a:pt x="159" y="360"/>
                  </a:lnTo>
                  <a:lnTo>
                    <a:pt x="160" y="361"/>
                  </a:lnTo>
                  <a:lnTo>
                    <a:pt x="160" y="366"/>
                  </a:lnTo>
                  <a:lnTo>
                    <a:pt x="159" y="375"/>
                  </a:lnTo>
                  <a:lnTo>
                    <a:pt x="157" y="385"/>
                  </a:lnTo>
                  <a:lnTo>
                    <a:pt x="156" y="393"/>
                  </a:lnTo>
                  <a:lnTo>
                    <a:pt x="156" y="393"/>
                  </a:lnTo>
                  <a:lnTo>
                    <a:pt x="157" y="400"/>
                  </a:lnTo>
                  <a:lnTo>
                    <a:pt x="160" y="407"/>
                  </a:lnTo>
                  <a:lnTo>
                    <a:pt x="163" y="412"/>
                  </a:lnTo>
                  <a:lnTo>
                    <a:pt x="165" y="413"/>
                  </a:lnTo>
                  <a:lnTo>
                    <a:pt x="165" y="410"/>
                  </a:lnTo>
                  <a:lnTo>
                    <a:pt x="165" y="410"/>
                  </a:lnTo>
                  <a:lnTo>
                    <a:pt x="165" y="409"/>
                  </a:lnTo>
                  <a:lnTo>
                    <a:pt x="166" y="409"/>
                  </a:lnTo>
                  <a:lnTo>
                    <a:pt x="169" y="409"/>
                  </a:lnTo>
                  <a:lnTo>
                    <a:pt x="174" y="412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9" y="421"/>
                  </a:lnTo>
                  <a:lnTo>
                    <a:pt x="182" y="430"/>
                  </a:lnTo>
                  <a:lnTo>
                    <a:pt x="184" y="440"/>
                  </a:lnTo>
                  <a:lnTo>
                    <a:pt x="184" y="450"/>
                  </a:lnTo>
                  <a:lnTo>
                    <a:pt x="184" y="4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9" name="Freeform 28">
              <a:extLst>
                <a:ext uri="{FF2B5EF4-FFF2-40B4-BE49-F238E27FC236}">
                  <a16:creationId xmlns:a16="http://schemas.microsoft.com/office/drawing/2014/main" id="{F6F929B8-1886-DB44-9BC9-04872B87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4075" y="7419975"/>
              <a:ext cx="484188" cy="700087"/>
            </a:xfrm>
            <a:custGeom>
              <a:avLst/>
              <a:gdLst>
                <a:gd name="T0" fmla="*/ 137 w 305"/>
                <a:gd name="T1" fmla="*/ 159 h 441"/>
                <a:gd name="T2" fmla="*/ 131 w 305"/>
                <a:gd name="T3" fmla="*/ 170 h 441"/>
                <a:gd name="T4" fmla="*/ 105 w 305"/>
                <a:gd name="T5" fmla="*/ 205 h 441"/>
                <a:gd name="T6" fmla="*/ 101 w 305"/>
                <a:gd name="T7" fmla="*/ 213 h 441"/>
                <a:gd name="T8" fmla="*/ 114 w 305"/>
                <a:gd name="T9" fmla="*/ 234 h 441"/>
                <a:gd name="T10" fmla="*/ 104 w 305"/>
                <a:gd name="T11" fmla="*/ 250 h 441"/>
                <a:gd name="T12" fmla="*/ 101 w 305"/>
                <a:gd name="T13" fmla="*/ 262 h 441"/>
                <a:gd name="T14" fmla="*/ 111 w 305"/>
                <a:gd name="T15" fmla="*/ 269 h 441"/>
                <a:gd name="T16" fmla="*/ 105 w 305"/>
                <a:gd name="T17" fmla="*/ 287 h 441"/>
                <a:gd name="T18" fmla="*/ 97 w 305"/>
                <a:gd name="T19" fmla="*/ 302 h 441"/>
                <a:gd name="T20" fmla="*/ 67 w 305"/>
                <a:gd name="T21" fmla="*/ 334 h 441"/>
                <a:gd name="T22" fmla="*/ 46 w 305"/>
                <a:gd name="T23" fmla="*/ 340 h 441"/>
                <a:gd name="T24" fmla="*/ 33 w 305"/>
                <a:gd name="T25" fmla="*/ 343 h 441"/>
                <a:gd name="T26" fmla="*/ 24 w 305"/>
                <a:gd name="T27" fmla="*/ 351 h 441"/>
                <a:gd name="T28" fmla="*/ 12 w 305"/>
                <a:gd name="T29" fmla="*/ 370 h 441"/>
                <a:gd name="T30" fmla="*/ 15 w 305"/>
                <a:gd name="T31" fmla="*/ 389 h 441"/>
                <a:gd name="T32" fmla="*/ 0 w 305"/>
                <a:gd name="T33" fmla="*/ 395 h 441"/>
                <a:gd name="T34" fmla="*/ 9 w 305"/>
                <a:gd name="T35" fmla="*/ 410 h 441"/>
                <a:gd name="T36" fmla="*/ 17 w 305"/>
                <a:gd name="T37" fmla="*/ 426 h 441"/>
                <a:gd name="T38" fmla="*/ 39 w 305"/>
                <a:gd name="T39" fmla="*/ 439 h 441"/>
                <a:gd name="T40" fmla="*/ 49 w 305"/>
                <a:gd name="T41" fmla="*/ 433 h 441"/>
                <a:gd name="T42" fmla="*/ 54 w 305"/>
                <a:gd name="T43" fmla="*/ 414 h 441"/>
                <a:gd name="T44" fmla="*/ 71 w 305"/>
                <a:gd name="T45" fmla="*/ 414 h 441"/>
                <a:gd name="T46" fmla="*/ 88 w 305"/>
                <a:gd name="T47" fmla="*/ 407 h 441"/>
                <a:gd name="T48" fmla="*/ 100 w 305"/>
                <a:gd name="T49" fmla="*/ 414 h 441"/>
                <a:gd name="T50" fmla="*/ 110 w 305"/>
                <a:gd name="T51" fmla="*/ 416 h 441"/>
                <a:gd name="T52" fmla="*/ 128 w 305"/>
                <a:gd name="T53" fmla="*/ 422 h 441"/>
                <a:gd name="T54" fmla="*/ 131 w 305"/>
                <a:gd name="T55" fmla="*/ 414 h 441"/>
                <a:gd name="T56" fmla="*/ 144 w 305"/>
                <a:gd name="T57" fmla="*/ 407 h 441"/>
                <a:gd name="T58" fmla="*/ 160 w 305"/>
                <a:gd name="T59" fmla="*/ 391 h 441"/>
                <a:gd name="T60" fmla="*/ 156 w 305"/>
                <a:gd name="T61" fmla="*/ 374 h 441"/>
                <a:gd name="T62" fmla="*/ 169 w 305"/>
                <a:gd name="T63" fmla="*/ 358 h 441"/>
                <a:gd name="T64" fmla="*/ 187 w 305"/>
                <a:gd name="T65" fmla="*/ 370 h 441"/>
                <a:gd name="T66" fmla="*/ 196 w 305"/>
                <a:gd name="T67" fmla="*/ 361 h 441"/>
                <a:gd name="T68" fmla="*/ 208 w 305"/>
                <a:gd name="T69" fmla="*/ 337 h 441"/>
                <a:gd name="T70" fmla="*/ 242 w 305"/>
                <a:gd name="T71" fmla="*/ 321 h 441"/>
                <a:gd name="T72" fmla="*/ 252 w 305"/>
                <a:gd name="T73" fmla="*/ 302 h 441"/>
                <a:gd name="T74" fmla="*/ 268 w 305"/>
                <a:gd name="T75" fmla="*/ 276 h 441"/>
                <a:gd name="T76" fmla="*/ 280 w 305"/>
                <a:gd name="T77" fmla="*/ 266 h 441"/>
                <a:gd name="T78" fmla="*/ 305 w 305"/>
                <a:gd name="T79" fmla="*/ 242 h 441"/>
                <a:gd name="T80" fmla="*/ 295 w 305"/>
                <a:gd name="T81" fmla="*/ 216 h 441"/>
                <a:gd name="T82" fmla="*/ 271 w 305"/>
                <a:gd name="T83" fmla="*/ 194 h 441"/>
                <a:gd name="T84" fmla="*/ 279 w 305"/>
                <a:gd name="T85" fmla="*/ 177 h 441"/>
                <a:gd name="T86" fmla="*/ 277 w 305"/>
                <a:gd name="T87" fmla="*/ 124 h 441"/>
                <a:gd name="T88" fmla="*/ 268 w 305"/>
                <a:gd name="T89" fmla="*/ 109 h 441"/>
                <a:gd name="T90" fmla="*/ 258 w 305"/>
                <a:gd name="T91" fmla="*/ 93 h 441"/>
                <a:gd name="T92" fmla="*/ 255 w 305"/>
                <a:gd name="T93" fmla="*/ 66 h 441"/>
                <a:gd name="T94" fmla="*/ 231 w 305"/>
                <a:gd name="T95" fmla="*/ 41 h 441"/>
                <a:gd name="T96" fmla="*/ 209 w 305"/>
                <a:gd name="T97" fmla="*/ 26 h 441"/>
                <a:gd name="T98" fmla="*/ 200 w 305"/>
                <a:gd name="T99" fmla="*/ 37 h 441"/>
                <a:gd name="T100" fmla="*/ 154 w 305"/>
                <a:gd name="T101" fmla="*/ 32 h 441"/>
                <a:gd name="T102" fmla="*/ 147 w 305"/>
                <a:gd name="T103" fmla="*/ 8 h 441"/>
                <a:gd name="T104" fmla="*/ 120 w 305"/>
                <a:gd name="T105" fmla="*/ 0 h 441"/>
                <a:gd name="T106" fmla="*/ 114 w 305"/>
                <a:gd name="T107" fmla="*/ 13 h 441"/>
                <a:gd name="T108" fmla="*/ 129 w 305"/>
                <a:gd name="T109" fmla="*/ 42 h 441"/>
                <a:gd name="T110" fmla="*/ 108 w 305"/>
                <a:gd name="T111" fmla="*/ 84 h 441"/>
                <a:gd name="T112" fmla="*/ 92 w 305"/>
                <a:gd name="T113" fmla="*/ 91 h 441"/>
                <a:gd name="T114" fmla="*/ 104 w 305"/>
                <a:gd name="T115" fmla="*/ 106 h 441"/>
                <a:gd name="T116" fmla="*/ 119 w 305"/>
                <a:gd name="T117" fmla="*/ 103 h 441"/>
                <a:gd name="T118" fmla="*/ 129 w 305"/>
                <a:gd name="T119" fmla="*/ 114 h 441"/>
                <a:gd name="T120" fmla="*/ 143 w 305"/>
                <a:gd name="T121" fmla="*/ 119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5" h="441">
                  <a:moveTo>
                    <a:pt x="143" y="127"/>
                  </a:moveTo>
                  <a:lnTo>
                    <a:pt x="143" y="127"/>
                  </a:lnTo>
                  <a:lnTo>
                    <a:pt x="140" y="136"/>
                  </a:lnTo>
                  <a:lnTo>
                    <a:pt x="137" y="148"/>
                  </a:lnTo>
                  <a:lnTo>
                    <a:pt x="137" y="159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7"/>
                  </a:lnTo>
                  <a:lnTo>
                    <a:pt x="135" y="167"/>
                  </a:lnTo>
                  <a:lnTo>
                    <a:pt x="131" y="170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17" y="179"/>
                  </a:lnTo>
                  <a:lnTo>
                    <a:pt x="111" y="189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0" y="208"/>
                  </a:lnTo>
                  <a:lnTo>
                    <a:pt x="98" y="210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8" y="220"/>
                  </a:lnTo>
                  <a:lnTo>
                    <a:pt x="113" y="225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4" y="234"/>
                  </a:lnTo>
                  <a:lnTo>
                    <a:pt x="114" y="238"/>
                  </a:lnTo>
                  <a:lnTo>
                    <a:pt x="113" y="241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4" y="250"/>
                  </a:lnTo>
                  <a:lnTo>
                    <a:pt x="100" y="254"/>
                  </a:lnTo>
                  <a:lnTo>
                    <a:pt x="100" y="259"/>
                  </a:lnTo>
                  <a:lnTo>
                    <a:pt x="100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5" y="262"/>
                  </a:lnTo>
                  <a:lnTo>
                    <a:pt x="108" y="262"/>
                  </a:lnTo>
                  <a:lnTo>
                    <a:pt x="110" y="262"/>
                  </a:lnTo>
                  <a:lnTo>
                    <a:pt x="111" y="263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75"/>
                  </a:lnTo>
                  <a:lnTo>
                    <a:pt x="110" y="278"/>
                  </a:lnTo>
                  <a:lnTo>
                    <a:pt x="107" y="281"/>
                  </a:lnTo>
                  <a:lnTo>
                    <a:pt x="105" y="287"/>
                  </a:lnTo>
                  <a:lnTo>
                    <a:pt x="105" y="287"/>
                  </a:lnTo>
                  <a:lnTo>
                    <a:pt x="103" y="296"/>
                  </a:lnTo>
                  <a:lnTo>
                    <a:pt x="101" y="299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1" y="308"/>
                  </a:lnTo>
                  <a:lnTo>
                    <a:pt x="82" y="318"/>
                  </a:lnTo>
                  <a:lnTo>
                    <a:pt x="74" y="328"/>
                  </a:lnTo>
                  <a:lnTo>
                    <a:pt x="70" y="331"/>
                  </a:lnTo>
                  <a:lnTo>
                    <a:pt x="67" y="334"/>
                  </a:lnTo>
                  <a:lnTo>
                    <a:pt x="67" y="334"/>
                  </a:lnTo>
                  <a:lnTo>
                    <a:pt x="52" y="342"/>
                  </a:lnTo>
                  <a:lnTo>
                    <a:pt x="48" y="343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6" y="340"/>
                  </a:lnTo>
                  <a:lnTo>
                    <a:pt x="43" y="342"/>
                  </a:lnTo>
                  <a:lnTo>
                    <a:pt x="37" y="343"/>
                  </a:lnTo>
                  <a:lnTo>
                    <a:pt x="37" y="343"/>
                  </a:lnTo>
                  <a:lnTo>
                    <a:pt x="33" y="343"/>
                  </a:lnTo>
                  <a:lnTo>
                    <a:pt x="28" y="343"/>
                  </a:lnTo>
                  <a:lnTo>
                    <a:pt x="26" y="346"/>
                  </a:lnTo>
                  <a:lnTo>
                    <a:pt x="24" y="348"/>
                  </a:lnTo>
                  <a:lnTo>
                    <a:pt x="24" y="351"/>
                  </a:lnTo>
                  <a:lnTo>
                    <a:pt x="24" y="351"/>
                  </a:lnTo>
                  <a:lnTo>
                    <a:pt x="24" y="353"/>
                  </a:lnTo>
                  <a:lnTo>
                    <a:pt x="23" y="355"/>
                  </a:lnTo>
                  <a:lnTo>
                    <a:pt x="18" y="361"/>
                  </a:lnTo>
                  <a:lnTo>
                    <a:pt x="15" y="365"/>
                  </a:lnTo>
                  <a:lnTo>
                    <a:pt x="12" y="370"/>
                  </a:lnTo>
                  <a:lnTo>
                    <a:pt x="12" y="370"/>
                  </a:lnTo>
                  <a:lnTo>
                    <a:pt x="14" y="376"/>
                  </a:lnTo>
                  <a:lnTo>
                    <a:pt x="15" y="382"/>
                  </a:lnTo>
                  <a:lnTo>
                    <a:pt x="17" y="386"/>
                  </a:lnTo>
                  <a:lnTo>
                    <a:pt x="15" y="389"/>
                  </a:lnTo>
                  <a:lnTo>
                    <a:pt x="15" y="389"/>
                  </a:lnTo>
                  <a:lnTo>
                    <a:pt x="11" y="392"/>
                  </a:lnTo>
                  <a:lnTo>
                    <a:pt x="6" y="392"/>
                  </a:lnTo>
                  <a:lnTo>
                    <a:pt x="2" y="393"/>
                  </a:lnTo>
                  <a:lnTo>
                    <a:pt x="0" y="395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2" y="401"/>
                  </a:lnTo>
                  <a:lnTo>
                    <a:pt x="3" y="404"/>
                  </a:lnTo>
                  <a:lnTo>
                    <a:pt x="9" y="410"/>
                  </a:lnTo>
                  <a:lnTo>
                    <a:pt x="14" y="416"/>
                  </a:lnTo>
                  <a:lnTo>
                    <a:pt x="15" y="419"/>
                  </a:lnTo>
                  <a:lnTo>
                    <a:pt x="15" y="422"/>
                  </a:lnTo>
                  <a:lnTo>
                    <a:pt x="15" y="422"/>
                  </a:lnTo>
                  <a:lnTo>
                    <a:pt x="17" y="426"/>
                  </a:lnTo>
                  <a:lnTo>
                    <a:pt x="21" y="431"/>
                  </a:lnTo>
                  <a:lnTo>
                    <a:pt x="26" y="433"/>
                  </a:lnTo>
                  <a:lnTo>
                    <a:pt x="33" y="436"/>
                  </a:lnTo>
                  <a:lnTo>
                    <a:pt x="33" y="436"/>
                  </a:lnTo>
                  <a:lnTo>
                    <a:pt x="39" y="439"/>
                  </a:lnTo>
                  <a:lnTo>
                    <a:pt x="43" y="441"/>
                  </a:lnTo>
                  <a:lnTo>
                    <a:pt x="46" y="439"/>
                  </a:lnTo>
                  <a:lnTo>
                    <a:pt x="48" y="439"/>
                  </a:lnTo>
                  <a:lnTo>
                    <a:pt x="49" y="433"/>
                  </a:lnTo>
                  <a:lnTo>
                    <a:pt x="49" y="433"/>
                  </a:lnTo>
                  <a:lnTo>
                    <a:pt x="49" y="426"/>
                  </a:lnTo>
                  <a:lnTo>
                    <a:pt x="48" y="420"/>
                  </a:lnTo>
                  <a:lnTo>
                    <a:pt x="49" y="416"/>
                  </a:lnTo>
                  <a:lnTo>
                    <a:pt x="51" y="414"/>
                  </a:lnTo>
                  <a:lnTo>
                    <a:pt x="54" y="414"/>
                  </a:lnTo>
                  <a:lnTo>
                    <a:pt x="54" y="414"/>
                  </a:lnTo>
                  <a:lnTo>
                    <a:pt x="60" y="413"/>
                  </a:lnTo>
                  <a:lnTo>
                    <a:pt x="66" y="416"/>
                  </a:lnTo>
                  <a:lnTo>
                    <a:pt x="66" y="416"/>
                  </a:lnTo>
                  <a:lnTo>
                    <a:pt x="71" y="414"/>
                  </a:lnTo>
                  <a:lnTo>
                    <a:pt x="76" y="413"/>
                  </a:lnTo>
                  <a:lnTo>
                    <a:pt x="80" y="411"/>
                  </a:lnTo>
                  <a:lnTo>
                    <a:pt x="80" y="411"/>
                  </a:lnTo>
                  <a:lnTo>
                    <a:pt x="83" y="408"/>
                  </a:lnTo>
                  <a:lnTo>
                    <a:pt x="88" y="407"/>
                  </a:lnTo>
                  <a:lnTo>
                    <a:pt x="91" y="407"/>
                  </a:lnTo>
                  <a:lnTo>
                    <a:pt x="94" y="410"/>
                  </a:lnTo>
                  <a:lnTo>
                    <a:pt x="94" y="410"/>
                  </a:lnTo>
                  <a:lnTo>
                    <a:pt x="97" y="413"/>
                  </a:lnTo>
                  <a:lnTo>
                    <a:pt x="100" y="414"/>
                  </a:lnTo>
                  <a:lnTo>
                    <a:pt x="104" y="414"/>
                  </a:lnTo>
                  <a:lnTo>
                    <a:pt x="105" y="414"/>
                  </a:lnTo>
                  <a:lnTo>
                    <a:pt x="105" y="414"/>
                  </a:lnTo>
                  <a:lnTo>
                    <a:pt x="108" y="414"/>
                  </a:lnTo>
                  <a:lnTo>
                    <a:pt x="110" y="416"/>
                  </a:lnTo>
                  <a:lnTo>
                    <a:pt x="113" y="419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22" y="422"/>
                  </a:lnTo>
                  <a:lnTo>
                    <a:pt x="128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7"/>
                  </a:lnTo>
                  <a:lnTo>
                    <a:pt x="132" y="417"/>
                  </a:lnTo>
                  <a:lnTo>
                    <a:pt x="131" y="414"/>
                  </a:lnTo>
                  <a:lnTo>
                    <a:pt x="128" y="413"/>
                  </a:lnTo>
                  <a:lnTo>
                    <a:pt x="126" y="413"/>
                  </a:lnTo>
                  <a:lnTo>
                    <a:pt x="129" y="411"/>
                  </a:lnTo>
                  <a:lnTo>
                    <a:pt x="129" y="411"/>
                  </a:lnTo>
                  <a:lnTo>
                    <a:pt x="144" y="407"/>
                  </a:lnTo>
                  <a:lnTo>
                    <a:pt x="151" y="404"/>
                  </a:lnTo>
                  <a:lnTo>
                    <a:pt x="156" y="401"/>
                  </a:lnTo>
                  <a:lnTo>
                    <a:pt x="156" y="401"/>
                  </a:lnTo>
                  <a:lnTo>
                    <a:pt x="160" y="393"/>
                  </a:lnTo>
                  <a:lnTo>
                    <a:pt x="160" y="391"/>
                  </a:lnTo>
                  <a:lnTo>
                    <a:pt x="159" y="388"/>
                  </a:lnTo>
                  <a:lnTo>
                    <a:pt x="159" y="388"/>
                  </a:lnTo>
                  <a:lnTo>
                    <a:pt x="157" y="380"/>
                  </a:lnTo>
                  <a:lnTo>
                    <a:pt x="156" y="374"/>
                  </a:lnTo>
                  <a:lnTo>
                    <a:pt x="156" y="374"/>
                  </a:lnTo>
                  <a:lnTo>
                    <a:pt x="157" y="370"/>
                  </a:lnTo>
                  <a:lnTo>
                    <a:pt x="162" y="364"/>
                  </a:lnTo>
                  <a:lnTo>
                    <a:pt x="166" y="359"/>
                  </a:lnTo>
                  <a:lnTo>
                    <a:pt x="168" y="358"/>
                  </a:lnTo>
                  <a:lnTo>
                    <a:pt x="169" y="358"/>
                  </a:lnTo>
                  <a:lnTo>
                    <a:pt x="169" y="358"/>
                  </a:lnTo>
                  <a:lnTo>
                    <a:pt x="177" y="365"/>
                  </a:lnTo>
                  <a:lnTo>
                    <a:pt x="181" y="368"/>
                  </a:lnTo>
                  <a:lnTo>
                    <a:pt x="184" y="370"/>
                  </a:lnTo>
                  <a:lnTo>
                    <a:pt x="187" y="370"/>
                  </a:lnTo>
                  <a:lnTo>
                    <a:pt x="187" y="370"/>
                  </a:lnTo>
                  <a:lnTo>
                    <a:pt x="190" y="367"/>
                  </a:lnTo>
                  <a:lnTo>
                    <a:pt x="191" y="365"/>
                  </a:lnTo>
                  <a:lnTo>
                    <a:pt x="196" y="361"/>
                  </a:lnTo>
                  <a:lnTo>
                    <a:pt x="196" y="361"/>
                  </a:lnTo>
                  <a:lnTo>
                    <a:pt x="199" y="351"/>
                  </a:lnTo>
                  <a:lnTo>
                    <a:pt x="202" y="343"/>
                  </a:lnTo>
                  <a:lnTo>
                    <a:pt x="205" y="340"/>
                  </a:lnTo>
                  <a:lnTo>
                    <a:pt x="208" y="337"/>
                  </a:lnTo>
                  <a:lnTo>
                    <a:pt x="208" y="337"/>
                  </a:lnTo>
                  <a:lnTo>
                    <a:pt x="217" y="333"/>
                  </a:lnTo>
                  <a:lnTo>
                    <a:pt x="225" y="330"/>
                  </a:lnTo>
                  <a:lnTo>
                    <a:pt x="234" y="325"/>
                  </a:lnTo>
                  <a:lnTo>
                    <a:pt x="242" y="321"/>
                  </a:lnTo>
                  <a:lnTo>
                    <a:pt x="242" y="321"/>
                  </a:lnTo>
                  <a:lnTo>
                    <a:pt x="248" y="315"/>
                  </a:lnTo>
                  <a:lnTo>
                    <a:pt x="248" y="311"/>
                  </a:lnTo>
                  <a:lnTo>
                    <a:pt x="249" y="306"/>
                  </a:lnTo>
                  <a:lnTo>
                    <a:pt x="252" y="302"/>
                  </a:lnTo>
                  <a:lnTo>
                    <a:pt x="252" y="302"/>
                  </a:lnTo>
                  <a:lnTo>
                    <a:pt x="258" y="297"/>
                  </a:lnTo>
                  <a:lnTo>
                    <a:pt x="264" y="290"/>
                  </a:lnTo>
                  <a:lnTo>
                    <a:pt x="268" y="284"/>
                  </a:lnTo>
                  <a:lnTo>
                    <a:pt x="268" y="281"/>
                  </a:lnTo>
                  <a:lnTo>
                    <a:pt x="268" y="276"/>
                  </a:lnTo>
                  <a:lnTo>
                    <a:pt x="268" y="276"/>
                  </a:lnTo>
                  <a:lnTo>
                    <a:pt x="268" y="274"/>
                  </a:lnTo>
                  <a:lnTo>
                    <a:pt x="268" y="272"/>
                  </a:lnTo>
                  <a:lnTo>
                    <a:pt x="273" y="269"/>
                  </a:lnTo>
                  <a:lnTo>
                    <a:pt x="280" y="266"/>
                  </a:lnTo>
                  <a:lnTo>
                    <a:pt x="292" y="260"/>
                  </a:lnTo>
                  <a:lnTo>
                    <a:pt x="292" y="260"/>
                  </a:lnTo>
                  <a:lnTo>
                    <a:pt x="301" y="251"/>
                  </a:lnTo>
                  <a:lnTo>
                    <a:pt x="304" y="247"/>
                  </a:lnTo>
                  <a:lnTo>
                    <a:pt x="305" y="242"/>
                  </a:lnTo>
                  <a:lnTo>
                    <a:pt x="305" y="238"/>
                  </a:lnTo>
                  <a:lnTo>
                    <a:pt x="305" y="234"/>
                  </a:lnTo>
                  <a:lnTo>
                    <a:pt x="301" y="225"/>
                  </a:lnTo>
                  <a:lnTo>
                    <a:pt x="301" y="225"/>
                  </a:lnTo>
                  <a:lnTo>
                    <a:pt x="295" y="216"/>
                  </a:lnTo>
                  <a:lnTo>
                    <a:pt x="289" y="210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3" y="197"/>
                  </a:lnTo>
                  <a:lnTo>
                    <a:pt x="271" y="194"/>
                  </a:lnTo>
                  <a:lnTo>
                    <a:pt x="271" y="192"/>
                  </a:lnTo>
                  <a:lnTo>
                    <a:pt x="273" y="191"/>
                  </a:lnTo>
                  <a:lnTo>
                    <a:pt x="276" y="185"/>
                  </a:lnTo>
                  <a:lnTo>
                    <a:pt x="279" y="177"/>
                  </a:lnTo>
                  <a:lnTo>
                    <a:pt x="279" y="177"/>
                  </a:lnTo>
                  <a:lnTo>
                    <a:pt x="280" y="165"/>
                  </a:lnTo>
                  <a:lnTo>
                    <a:pt x="280" y="151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7" y="124"/>
                  </a:lnTo>
                  <a:lnTo>
                    <a:pt x="274" y="122"/>
                  </a:lnTo>
                  <a:lnTo>
                    <a:pt x="270" y="119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09"/>
                  </a:lnTo>
                  <a:lnTo>
                    <a:pt x="265" y="103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59" y="96"/>
                  </a:lnTo>
                  <a:lnTo>
                    <a:pt x="258" y="93"/>
                  </a:lnTo>
                  <a:lnTo>
                    <a:pt x="259" y="88"/>
                  </a:lnTo>
                  <a:lnTo>
                    <a:pt x="259" y="82"/>
                  </a:lnTo>
                  <a:lnTo>
                    <a:pt x="259" y="82"/>
                  </a:lnTo>
                  <a:lnTo>
                    <a:pt x="258" y="75"/>
                  </a:lnTo>
                  <a:lnTo>
                    <a:pt x="255" y="66"/>
                  </a:lnTo>
                  <a:lnTo>
                    <a:pt x="251" y="59"/>
                  </a:lnTo>
                  <a:lnTo>
                    <a:pt x="243" y="53"/>
                  </a:lnTo>
                  <a:lnTo>
                    <a:pt x="243" y="53"/>
                  </a:lnTo>
                  <a:lnTo>
                    <a:pt x="237" y="48"/>
                  </a:lnTo>
                  <a:lnTo>
                    <a:pt x="231" y="41"/>
                  </a:lnTo>
                  <a:lnTo>
                    <a:pt x="218" y="26"/>
                  </a:lnTo>
                  <a:lnTo>
                    <a:pt x="218" y="26"/>
                  </a:lnTo>
                  <a:lnTo>
                    <a:pt x="215" y="25"/>
                  </a:lnTo>
                  <a:lnTo>
                    <a:pt x="212" y="25"/>
                  </a:lnTo>
                  <a:lnTo>
                    <a:pt x="209" y="26"/>
                  </a:lnTo>
                  <a:lnTo>
                    <a:pt x="208" y="28"/>
                  </a:lnTo>
                  <a:lnTo>
                    <a:pt x="203" y="34"/>
                  </a:lnTo>
                  <a:lnTo>
                    <a:pt x="202" y="35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81" y="37"/>
                  </a:lnTo>
                  <a:lnTo>
                    <a:pt x="169" y="37"/>
                  </a:lnTo>
                  <a:lnTo>
                    <a:pt x="157" y="35"/>
                  </a:lnTo>
                  <a:lnTo>
                    <a:pt x="157" y="35"/>
                  </a:lnTo>
                  <a:lnTo>
                    <a:pt x="154" y="32"/>
                  </a:lnTo>
                  <a:lnTo>
                    <a:pt x="151" y="31"/>
                  </a:lnTo>
                  <a:lnTo>
                    <a:pt x="151" y="25"/>
                  </a:lnTo>
                  <a:lnTo>
                    <a:pt x="151" y="16"/>
                  </a:lnTo>
                  <a:lnTo>
                    <a:pt x="150" y="11"/>
                  </a:lnTo>
                  <a:lnTo>
                    <a:pt x="147" y="8"/>
                  </a:lnTo>
                  <a:lnTo>
                    <a:pt x="147" y="8"/>
                  </a:lnTo>
                  <a:lnTo>
                    <a:pt x="143" y="4"/>
                  </a:lnTo>
                  <a:lnTo>
                    <a:pt x="138" y="1"/>
                  </a:lnTo>
                  <a:lnTo>
                    <a:pt x="129" y="0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6" y="4"/>
                  </a:lnTo>
                  <a:lnTo>
                    <a:pt x="114" y="8"/>
                  </a:lnTo>
                  <a:lnTo>
                    <a:pt x="114" y="13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26" y="37"/>
                  </a:lnTo>
                  <a:lnTo>
                    <a:pt x="128" y="40"/>
                  </a:lnTo>
                  <a:lnTo>
                    <a:pt x="129" y="42"/>
                  </a:lnTo>
                  <a:lnTo>
                    <a:pt x="129" y="42"/>
                  </a:lnTo>
                  <a:lnTo>
                    <a:pt x="126" y="50"/>
                  </a:lnTo>
                  <a:lnTo>
                    <a:pt x="120" y="62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5" y="85"/>
                  </a:lnTo>
                  <a:lnTo>
                    <a:pt x="104" y="88"/>
                  </a:lnTo>
                  <a:lnTo>
                    <a:pt x="98" y="90"/>
                  </a:lnTo>
                  <a:lnTo>
                    <a:pt x="94" y="90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4" y="97"/>
                  </a:lnTo>
                  <a:lnTo>
                    <a:pt x="100" y="102"/>
                  </a:lnTo>
                  <a:lnTo>
                    <a:pt x="104" y="106"/>
                  </a:lnTo>
                  <a:lnTo>
                    <a:pt x="110" y="109"/>
                  </a:lnTo>
                  <a:lnTo>
                    <a:pt x="110" y="109"/>
                  </a:lnTo>
                  <a:lnTo>
                    <a:pt x="113" y="108"/>
                  </a:lnTo>
                  <a:lnTo>
                    <a:pt x="116" y="105"/>
                  </a:lnTo>
                  <a:lnTo>
                    <a:pt x="119" y="103"/>
                  </a:lnTo>
                  <a:lnTo>
                    <a:pt x="120" y="103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6" y="111"/>
                  </a:lnTo>
                  <a:lnTo>
                    <a:pt x="129" y="114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7" y="117"/>
                  </a:lnTo>
                  <a:lnTo>
                    <a:pt x="141" y="118"/>
                  </a:lnTo>
                  <a:lnTo>
                    <a:pt x="143" y="119"/>
                  </a:lnTo>
                  <a:lnTo>
                    <a:pt x="144" y="121"/>
                  </a:lnTo>
                  <a:lnTo>
                    <a:pt x="144" y="124"/>
                  </a:lnTo>
                  <a:lnTo>
                    <a:pt x="143" y="127"/>
                  </a:lnTo>
                  <a:lnTo>
                    <a:pt x="143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0" name="Freeform 29">
              <a:extLst>
                <a:ext uri="{FF2B5EF4-FFF2-40B4-BE49-F238E27FC236}">
                  <a16:creationId xmlns:a16="http://schemas.microsoft.com/office/drawing/2014/main" id="{F21930C4-9CE7-D54B-9D49-CA84A47DE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5675" y="7791450"/>
              <a:ext cx="1173163" cy="711200"/>
            </a:xfrm>
            <a:custGeom>
              <a:avLst/>
              <a:gdLst>
                <a:gd name="T0" fmla="*/ 153 w 739"/>
                <a:gd name="T1" fmla="*/ 151 h 448"/>
                <a:gd name="T2" fmla="*/ 135 w 739"/>
                <a:gd name="T3" fmla="*/ 127 h 448"/>
                <a:gd name="T4" fmla="*/ 117 w 739"/>
                <a:gd name="T5" fmla="*/ 134 h 448"/>
                <a:gd name="T6" fmla="*/ 93 w 739"/>
                <a:gd name="T7" fmla="*/ 136 h 448"/>
                <a:gd name="T8" fmla="*/ 96 w 739"/>
                <a:gd name="T9" fmla="*/ 159 h 448"/>
                <a:gd name="T10" fmla="*/ 62 w 739"/>
                <a:gd name="T11" fmla="*/ 179 h 448"/>
                <a:gd name="T12" fmla="*/ 64 w 739"/>
                <a:gd name="T13" fmla="*/ 188 h 448"/>
                <a:gd name="T14" fmla="*/ 41 w 739"/>
                <a:gd name="T15" fmla="*/ 180 h 448"/>
                <a:gd name="T16" fmla="*/ 27 w 739"/>
                <a:gd name="T17" fmla="*/ 173 h 448"/>
                <a:gd name="T18" fmla="*/ 2 w 739"/>
                <a:gd name="T19" fmla="*/ 182 h 448"/>
                <a:gd name="T20" fmla="*/ 4 w 739"/>
                <a:gd name="T21" fmla="*/ 205 h 448"/>
                <a:gd name="T22" fmla="*/ 9 w 739"/>
                <a:gd name="T23" fmla="*/ 234 h 448"/>
                <a:gd name="T24" fmla="*/ 33 w 739"/>
                <a:gd name="T25" fmla="*/ 282 h 448"/>
                <a:gd name="T26" fmla="*/ 53 w 739"/>
                <a:gd name="T27" fmla="*/ 309 h 448"/>
                <a:gd name="T28" fmla="*/ 36 w 739"/>
                <a:gd name="T29" fmla="*/ 312 h 448"/>
                <a:gd name="T30" fmla="*/ 27 w 739"/>
                <a:gd name="T31" fmla="*/ 336 h 448"/>
                <a:gd name="T32" fmla="*/ 36 w 739"/>
                <a:gd name="T33" fmla="*/ 379 h 448"/>
                <a:gd name="T34" fmla="*/ 59 w 739"/>
                <a:gd name="T35" fmla="*/ 368 h 448"/>
                <a:gd name="T36" fmla="*/ 89 w 739"/>
                <a:gd name="T37" fmla="*/ 362 h 448"/>
                <a:gd name="T38" fmla="*/ 121 w 739"/>
                <a:gd name="T39" fmla="*/ 336 h 448"/>
                <a:gd name="T40" fmla="*/ 163 w 739"/>
                <a:gd name="T41" fmla="*/ 340 h 448"/>
                <a:gd name="T42" fmla="*/ 194 w 739"/>
                <a:gd name="T43" fmla="*/ 311 h 448"/>
                <a:gd name="T44" fmla="*/ 250 w 739"/>
                <a:gd name="T45" fmla="*/ 308 h 448"/>
                <a:gd name="T46" fmla="*/ 292 w 739"/>
                <a:gd name="T47" fmla="*/ 333 h 448"/>
                <a:gd name="T48" fmla="*/ 364 w 739"/>
                <a:gd name="T49" fmla="*/ 339 h 448"/>
                <a:gd name="T50" fmla="*/ 372 w 739"/>
                <a:gd name="T51" fmla="*/ 382 h 448"/>
                <a:gd name="T52" fmla="*/ 422 w 739"/>
                <a:gd name="T53" fmla="*/ 429 h 448"/>
                <a:gd name="T54" fmla="*/ 481 w 739"/>
                <a:gd name="T55" fmla="*/ 422 h 448"/>
                <a:gd name="T56" fmla="*/ 542 w 739"/>
                <a:gd name="T57" fmla="*/ 441 h 448"/>
                <a:gd name="T58" fmla="*/ 585 w 739"/>
                <a:gd name="T59" fmla="*/ 447 h 448"/>
                <a:gd name="T60" fmla="*/ 616 w 739"/>
                <a:gd name="T61" fmla="*/ 441 h 448"/>
                <a:gd name="T62" fmla="*/ 660 w 739"/>
                <a:gd name="T63" fmla="*/ 417 h 448"/>
                <a:gd name="T64" fmla="*/ 671 w 739"/>
                <a:gd name="T65" fmla="*/ 382 h 448"/>
                <a:gd name="T66" fmla="*/ 644 w 739"/>
                <a:gd name="T67" fmla="*/ 324 h 448"/>
                <a:gd name="T68" fmla="*/ 646 w 739"/>
                <a:gd name="T69" fmla="*/ 279 h 448"/>
                <a:gd name="T70" fmla="*/ 668 w 739"/>
                <a:gd name="T71" fmla="*/ 271 h 448"/>
                <a:gd name="T72" fmla="*/ 697 w 739"/>
                <a:gd name="T73" fmla="*/ 228 h 448"/>
                <a:gd name="T74" fmla="*/ 714 w 739"/>
                <a:gd name="T75" fmla="*/ 201 h 448"/>
                <a:gd name="T76" fmla="*/ 712 w 739"/>
                <a:gd name="T77" fmla="*/ 174 h 448"/>
                <a:gd name="T78" fmla="*/ 711 w 739"/>
                <a:gd name="T79" fmla="*/ 152 h 448"/>
                <a:gd name="T80" fmla="*/ 718 w 739"/>
                <a:gd name="T81" fmla="*/ 119 h 448"/>
                <a:gd name="T82" fmla="*/ 714 w 739"/>
                <a:gd name="T83" fmla="*/ 99 h 448"/>
                <a:gd name="T84" fmla="*/ 723 w 739"/>
                <a:gd name="T85" fmla="*/ 90 h 448"/>
                <a:gd name="T86" fmla="*/ 711 w 739"/>
                <a:gd name="T87" fmla="*/ 69 h 448"/>
                <a:gd name="T88" fmla="*/ 675 w 739"/>
                <a:gd name="T89" fmla="*/ 66 h 448"/>
                <a:gd name="T90" fmla="*/ 650 w 739"/>
                <a:gd name="T91" fmla="*/ 47 h 448"/>
                <a:gd name="T92" fmla="*/ 616 w 739"/>
                <a:gd name="T93" fmla="*/ 29 h 448"/>
                <a:gd name="T94" fmla="*/ 589 w 739"/>
                <a:gd name="T95" fmla="*/ 2 h 448"/>
                <a:gd name="T96" fmla="*/ 567 w 739"/>
                <a:gd name="T97" fmla="*/ 4 h 448"/>
                <a:gd name="T98" fmla="*/ 561 w 739"/>
                <a:gd name="T99" fmla="*/ 22 h 448"/>
                <a:gd name="T100" fmla="*/ 545 w 739"/>
                <a:gd name="T101" fmla="*/ 14 h 448"/>
                <a:gd name="T102" fmla="*/ 517 w 739"/>
                <a:gd name="T103" fmla="*/ 25 h 448"/>
                <a:gd name="T104" fmla="*/ 489 w 739"/>
                <a:gd name="T105" fmla="*/ 35 h 448"/>
                <a:gd name="T106" fmla="*/ 465 w 739"/>
                <a:gd name="T107" fmla="*/ 29 h 448"/>
                <a:gd name="T108" fmla="*/ 422 w 739"/>
                <a:gd name="T109" fmla="*/ 72 h 448"/>
                <a:gd name="T110" fmla="*/ 395 w 739"/>
                <a:gd name="T111" fmla="*/ 96 h 448"/>
                <a:gd name="T112" fmla="*/ 361 w 739"/>
                <a:gd name="T113" fmla="*/ 137 h 448"/>
                <a:gd name="T114" fmla="*/ 333 w 739"/>
                <a:gd name="T115" fmla="*/ 158 h 448"/>
                <a:gd name="T116" fmla="*/ 310 w 739"/>
                <a:gd name="T117" fmla="*/ 180 h 448"/>
                <a:gd name="T118" fmla="*/ 287 w 739"/>
                <a:gd name="T119" fmla="*/ 188 h 448"/>
                <a:gd name="T120" fmla="*/ 244 w 739"/>
                <a:gd name="T121" fmla="*/ 186 h 448"/>
                <a:gd name="T122" fmla="*/ 201 w 739"/>
                <a:gd name="T123" fmla="*/ 183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9" h="448">
                  <a:moveTo>
                    <a:pt x="197" y="183"/>
                  </a:moveTo>
                  <a:lnTo>
                    <a:pt x="197" y="183"/>
                  </a:lnTo>
                  <a:lnTo>
                    <a:pt x="188" y="179"/>
                  </a:lnTo>
                  <a:lnTo>
                    <a:pt x="175" y="171"/>
                  </a:lnTo>
                  <a:lnTo>
                    <a:pt x="161" y="161"/>
                  </a:lnTo>
                  <a:lnTo>
                    <a:pt x="156" y="155"/>
                  </a:lnTo>
                  <a:lnTo>
                    <a:pt x="153" y="151"/>
                  </a:lnTo>
                  <a:lnTo>
                    <a:pt x="153" y="151"/>
                  </a:lnTo>
                  <a:lnTo>
                    <a:pt x="150" y="142"/>
                  </a:lnTo>
                  <a:lnTo>
                    <a:pt x="147" y="134"/>
                  </a:lnTo>
                  <a:lnTo>
                    <a:pt x="141" y="130"/>
                  </a:lnTo>
                  <a:lnTo>
                    <a:pt x="136" y="127"/>
                  </a:lnTo>
                  <a:lnTo>
                    <a:pt x="136" y="127"/>
                  </a:lnTo>
                  <a:lnTo>
                    <a:pt x="135" y="127"/>
                  </a:lnTo>
                  <a:lnTo>
                    <a:pt x="132" y="127"/>
                  </a:lnTo>
                  <a:lnTo>
                    <a:pt x="129" y="128"/>
                  </a:lnTo>
                  <a:lnTo>
                    <a:pt x="126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lnTo>
                    <a:pt x="117" y="134"/>
                  </a:lnTo>
                  <a:lnTo>
                    <a:pt x="113" y="131"/>
                  </a:lnTo>
                  <a:lnTo>
                    <a:pt x="105" y="124"/>
                  </a:lnTo>
                  <a:lnTo>
                    <a:pt x="105" y="124"/>
                  </a:lnTo>
                  <a:lnTo>
                    <a:pt x="104" y="124"/>
                  </a:lnTo>
                  <a:lnTo>
                    <a:pt x="102" y="125"/>
                  </a:lnTo>
                  <a:lnTo>
                    <a:pt x="98" y="130"/>
                  </a:lnTo>
                  <a:lnTo>
                    <a:pt x="93" y="136"/>
                  </a:lnTo>
                  <a:lnTo>
                    <a:pt x="93" y="140"/>
                  </a:lnTo>
                  <a:lnTo>
                    <a:pt x="93" y="140"/>
                  </a:lnTo>
                  <a:lnTo>
                    <a:pt x="93" y="146"/>
                  </a:lnTo>
                  <a:lnTo>
                    <a:pt x="95" y="154"/>
                  </a:lnTo>
                  <a:lnTo>
                    <a:pt x="95" y="154"/>
                  </a:lnTo>
                  <a:lnTo>
                    <a:pt x="96" y="157"/>
                  </a:lnTo>
                  <a:lnTo>
                    <a:pt x="96" y="159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87" y="170"/>
                  </a:lnTo>
                  <a:lnTo>
                    <a:pt x="80" y="173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2" y="179"/>
                  </a:lnTo>
                  <a:lnTo>
                    <a:pt x="64" y="179"/>
                  </a:lnTo>
                  <a:lnTo>
                    <a:pt x="67" y="180"/>
                  </a:lnTo>
                  <a:lnTo>
                    <a:pt x="68" y="183"/>
                  </a:lnTo>
                  <a:lnTo>
                    <a:pt x="68" y="183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4" y="188"/>
                  </a:lnTo>
                  <a:lnTo>
                    <a:pt x="58" y="188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49" y="185"/>
                  </a:lnTo>
                  <a:lnTo>
                    <a:pt x="46" y="182"/>
                  </a:lnTo>
                  <a:lnTo>
                    <a:pt x="44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0" y="180"/>
                  </a:lnTo>
                  <a:lnTo>
                    <a:pt x="36" y="180"/>
                  </a:lnTo>
                  <a:lnTo>
                    <a:pt x="33" y="179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27" y="173"/>
                  </a:lnTo>
                  <a:lnTo>
                    <a:pt x="24" y="173"/>
                  </a:lnTo>
                  <a:lnTo>
                    <a:pt x="19" y="174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2" y="179"/>
                  </a:lnTo>
                  <a:lnTo>
                    <a:pt x="7" y="180"/>
                  </a:lnTo>
                  <a:lnTo>
                    <a:pt x="2" y="182"/>
                  </a:lnTo>
                  <a:lnTo>
                    <a:pt x="2" y="182"/>
                  </a:lnTo>
                  <a:lnTo>
                    <a:pt x="3" y="185"/>
                  </a:lnTo>
                  <a:lnTo>
                    <a:pt x="6" y="191"/>
                  </a:lnTo>
                  <a:lnTo>
                    <a:pt x="6" y="191"/>
                  </a:lnTo>
                  <a:lnTo>
                    <a:pt x="6" y="198"/>
                  </a:lnTo>
                  <a:lnTo>
                    <a:pt x="6" y="201"/>
                  </a:lnTo>
                  <a:lnTo>
                    <a:pt x="4" y="205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0" y="214"/>
                  </a:lnTo>
                  <a:lnTo>
                    <a:pt x="2" y="21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9" y="234"/>
                  </a:lnTo>
                  <a:lnTo>
                    <a:pt x="10" y="239"/>
                  </a:lnTo>
                  <a:lnTo>
                    <a:pt x="13" y="245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4" y="265"/>
                  </a:lnTo>
                  <a:lnTo>
                    <a:pt x="28" y="275"/>
                  </a:lnTo>
                  <a:lnTo>
                    <a:pt x="33" y="282"/>
                  </a:lnTo>
                  <a:lnTo>
                    <a:pt x="39" y="288"/>
                  </a:lnTo>
                  <a:lnTo>
                    <a:pt x="39" y="288"/>
                  </a:lnTo>
                  <a:lnTo>
                    <a:pt x="46" y="296"/>
                  </a:lnTo>
                  <a:lnTo>
                    <a:pt x="52" y="302"/>
                  </a:lnTo>
                  <a:lnTo>
                    <a:pt x="53" y="305"/>
                  </a:lnTo>
                  <a:lnTo>
                    <a:pt x="53" y="308"/>
                  </a:lnTo>
                  <a:lnTo>
                    <a:pt x="53" y="309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44" y="311"/>
                  </a:lnTo>
                  <a:lnTo>
                    <a:pt x="41" y="309"/>
                  </a:lnTo>
                  <a:lnTo>
                    <a:pt x="40" y="309"/>
                  </a:lnTo>
                  <a:lnTo>
                    <a:pt x="36" y="312"/>
                  </a:lnTo>
                  <a:lnTo>
                    <a:pt x="36" y="312"/>
                  </a:lnTo>
                  <a:lnTo>
                    <a:pt x="24" y="316"/>
                  </a:lnTo>
                  <a:lnTo>
                    <a:pt x="21" y="319"/>
                  </a:lnTo>
                  <a:lnTo>
                    <a:pt x="19" y="322"/>
                  </a:lnTo>
                  <a:lnTo>
                    <a:pt x="19" y="322"/>
                  </a:lnTo>
                  <a:lnTo>
                    <a:pt x="21" y="327"/>
                  </a:lnTo>
                  <a:lnTo>
                    <a:pt x="22" y="330"/>
                  </a:lnTo>
                  <a:lnTo>
                    <a:pt x="27" y="336"/>
                  </a:lnTo>
                  <a:lnTo>
                    <a:pt x="27" y="336"/>
                  </a:lnTo>
                  <a:lnTo>
                    <a:pt x="28" y="343"/>
                  </a:lnTo>
                  <a:lnTo>
                    <a:pt x="28" y="356"/>
                  </a:lnTo>
                  <a:lnTo>
                    <a:pt x="28" y="356"/>
                  </a:lnTo>
                  <a:lnTo>
                    <a:pt x="28" y="361"/>
                  </a:lnTo>
                  <a:lnTo>
                    <a:pt x="30" y="368"/>
                  </a:lnTo>
                  <a:lnTo>
                    <a:pt x="36" y="379"/>
                  </a:lnTo>
                  <a:lnTo>
                    <a:pt x="36" y="379"/>
                  </a:lnTo>
                  <a:lnTo>
                    <a:pt x="39" y="376"/>
                  </a:lnTo>
                  <a:lnTo>
                    <a:pt x="39" y="376"/>
                  </a:lnTo>
                  <a:lnTo>
                    <a:pt x="44" y="374"/>
                  </a:lnTo>
                  <a:lnTo>
                    <a:pt x="50" y="373"/>
                  </a:lnTo>
                  <a:lnTo>
                    <a:pt x="55" y="371"/>
                  </a:lnTo>
                  <a:lnTo>
                    <a:pt x="59" y="368"/>
                  </a:lnTo>
                  <a:lnTo>
                    <a:pt x="59" y="368"/>
                  </a:lnTo>
                  <a:lnTo>
                    <a:pt x="64" y="362"/>
                  </a:lnTo>
                  <a:lnTo>
                    <a:pt x="70" y="361"/>
                  </a:lnTo>
                  <a:lnTo>
                    <a:pt x="77" y="361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89" y="362"/>
                  </a:lnTo>
                  <a:lnTo>
                    <a:pt x="95" y="361"/>
                  </a:lnTo>
                  <a:lnTo>
                    <a:pt x="99" y="359"/>
                  </a:lnTo>
                  <a:lnTo>
                    <a:pt x="104" y="355"/>
                  </a:lnTo>
                  <a:lnTo>
                    <a:pt x="113" y="348"/>
                  </a:lnTo>
                  <a:lnTo>
                    <a:pt x="117" y="340"/>
                  </a:lnTo>
                  <a:lnTo>
                    <a:pt x="117" y="340"/>
                  </a:lnTo>
                  <a:lnTo>
                    <a:pt x="121" y="336"/>
                  </a:lnTo>
                  <a:lnTo>
                    <a:pt x="129" y="333"/>
                  </a:lnTo>
                  <a:lnTo>
                    <a:pt x="136" y="330"/>
                  </a:lnTo>
                  <a:lnTo>
                    <a:pt x="141" y="330"/>
                  </a:lnTo>
                  <a:lnTo>
                    <a:pt x="144" y="330"/>
                  </a:lnTo>
                  <a:lnTo>
                    <a:pt x="144" y="330"/>
                  </a:lnTo>
                  <a:lnTo>
                    <a:pt x="157" y="336"/>
                  </a:lnTo>
                  <a:lnTo>
                    <a:pt x="163" y="340"/>
                  </a:lnTo>
                  <a:lnTo>
                    <a:pt x="163" y="340"/>
                  </a:lnTo>
                  <a:lnTo>
                    <a:pt x="167" y="337"/>
                  </a:lnTo>
                  <a:lnTo>
                    <a:pt x="176" y="330"/>
                  </a:lnTo>
                  <a:lnTo>
                    <a:pt x="185" y="321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4" y="311"/>
                  </a:lnTo>
                  <a:lnTo>
                    <a:pt x="197" y="308"/>
                  </a:lnTo>
                  <a:lnTo>
                    <a:pt x="206" y="306"/>
                  </a:lnTo>
                  <a:lnTo>
                    <a:pt x="216" y="305"/>
                  </a:lnTo>
                  <a:lnTo>
                    <a:pt x="227" y="306"/>
                  </a:lnTo>
                  <a:lnTo>
                    <a:pt x="227" y="306"/>
                  </a:lnTo>
                  <a:lnTo>
                    <a:pt x="237" y="306"/>
                  </a:lnTo>
                  <a:lnTo>
                    <a:pt x="250" y="308"/>
                  </a:lnTo>
                  <a:lnTo>
                    <a:pt x="262" y="311"/>
                  </a:lnTo>
                  <a:lnTo>
                    <a:pt x="267" y="314"/>
                  </a:lnTo>
                  <a:lnTo>
                    <a:pt x="270" y="316"/>
                  </a:lnTo>
                  <a:lnTo>
                    <a:pt x="270" y="316"/>
                  </a:lnTo>
                  <a:lnTo>
                    <a:pt x="277" y="322"/>
                  </a:lnTo>
                  <a:lnTo>
                    <a:pt x="286" y="330"/>
                  </a:lnTo>
                  <a:lnTo>
                    <a:pt x="292" y="333"/>
                  </a:lnTo>
                  <a:lnTo>
                    <a:pt x="299" y="334"/>
                  </a:lnTo>
                  <a:lnTo>
                    <a:pt x="307" y="336"/>
                  </a:lnTo>
                  <a:lnTo>
                    <a:pt x="317" y="336"/>
                  </a:lnTo>
                  <a:lnTo>
                    <a:pt x="317" y="336"/>
                  </a:lnTo>
                  <a:lnTo>
                    <a:pt x="336" y="336"/>
                  </a:lnTo>
                  <a:lnTo>
                    <a:pt x="352" y="336"/>
                  </a:lnTo>
                  <a:lnTo>
                    <a:pt x="364" y="339"/>
                  </a:lnTo>
                  <a:lnTo>
                    <a:pt x="367" y="342"/>
                  </a:lnTo>
                  <a:lnTo>
                    <a:pt x="370" y="345"/>
                  </a:lnTo>
                  <a:lnTo>
                    <a:pt x="370" y="345"/>
                  </a:lnTo>
                  <a:lnTo>
                    <a:pt x="370" y="349"/>
                  </a:lnTo>
                  <a:lnTo>
                    <a:pt x="370" y="355"/>
                  </a:lnTo>
                  <a:lnTo>
                    <a:pt x="370" y="373"/>
                  </a:lnTo>
                  <a:lnTo>
                    <a:pt x="372" y="382"/>
                  </a:lnTo>
                  <a:lnTo>
                    <a:pt x="373" y="392"/>
                  </a:lnTo>
                  <a:lnTo>
                    <a:pt x="378" y="399"/>
                  </a:lnTo>
                  <a:lnTo>
                    <a:pt x="382" y="405"/>
                  </a:lnTo>
                  <a:lnTo>
                    <a:pt x="382" y="405"/>
                  </a:lnTo>
                  <a:lnTo>
                    <a:pt x="395" y="414"/>
                  </a:lnTo>
                  <a:lnTo>
                    <a:pt x="409" y="423"/>
                  </a:lnTo>
                  <a:lnTo>
                    <a:pt x="422" y="429"/>
                  </a:lnTo>
                  <a:lnTo>
                    <a:pt x="428" y="432"/>
                  </a:lnTo>
                  <a:lnTo>
                    <a:pt x="435" y="432"/>
                  </a:lnTo>
                  <a:lnTo>
                    <a:pt x="435" y="432"/>
                  </a:lnTo>
                  <a:lnTo>
                    <a:pt x="450" y="431"/>
                  </a:lnTo>
                  <a:lnTo>
                    <a:pt x="465" y="426"/>
                  </a:lnTo>
                  <a:lnTo>
                    <a:pt x="481" y="422"/>
                  </a:lnTo>
                  <a:lnTo>
                    <a:pt x="481" y="422"/>
                  </a:lnTo>
                  <a:lnTo>
                    <a:pt x="489" y="426"/>
                  </a:lnTo>
                  <a:lnTo>
                    <a:pt x="498" y="431"/>
                  </a:lnTo>
                  <a:lnTo>
                    <a:pt x="509" y="435"/>
                  </a:lnTo>
                  <a:lnTo>
                    <a:pt x="509" y="435"/>
                  </a:lnTo>
                  <a:lnTo>
                    <a:pt x="530" y="442"/>
                  </a:lnTo>
                  <a:lnTo>
                    <a:pt x="539" y="442"/>
                  </a:lnTo>
                  <a:lnTo>
                    <a:pt x="542" y="441"/>
                  </a:lnTo>
                  <a:lnTo>
                    <a:pt x="548" y="439"/>
                  </a:lnTo>
                  <a:lnTo>
                    <a:pt x="548" y="439"/>
                  </a:lnTo>
                  <a:lnTo>
                    <a:pt x="552" y="438"/>
                  </a:lnTo>
                  <a:lnTo>
                    <a:pt x="557" y="436"/>
                  </a:lnTo>
                  <a:lnTo>
                    <a:pt x="566" y="439"/>
                  </a:lnTo>
                  <a:lnTo>
                    <a:pt x="576" y="444"/>
                  </a:lnTo>
                  <a:lnTo>
                    <a:pt x="585" y="447"/>
                  </a:lnTo>
                  <a:lnTo>
                    <a:pt x="585" y="447"/>
                  </a:lnTo>
                  <a:lnTo>
                    <a:pt x="594" y="448"/>
                  </a:lnTo>
                  <a:lnTo>
                    <a:pt x="601" y="448"/>
                  </a:lnTo>
                  <a:lnTo>
                    <a:pt x="607" y="447"/>
                  </a:lnTo>
                  <a:lnTo>
                    <a:pt x="612" y="444"/>
                  </a:lnTo>
                  <a:lnTo>
                    <a:pt x="612" y="444"/>
                  </a:lnTo>
                  <a:lnTo>
                    <a:pt x="616" y="441"/>
                  </a:lnTo>
                  <a:lnTo>
                    <a:pt x="620" y="441"/>
                  </a:lnTo>
                  <a:lnTo>
                    <a:pt x="628" y="442"/>
                  </a:lnTo>
                  <a:lnTo>
                    <a:pt x="628" y="442"/>
                  </a:lnTo>
                  <a:lnTo>
                    <a:pt x="631" y="442"/>
                  </a:lnTo>
                  <a:lnTo>
                    <a:pt x="635" y="441"/>
                  </a:lnTo>
                  <a:lnTo>
                    <a:pt x="644" y="433"/>
                  </a:lnTo>
                  <a:lnTo>
                    <a:pt x="660" y="417"/>
                  </a:lnTo>
                  <a:lnTo>
                    <a:pt x="660" y="417"/>
                  </a:lnTo>
                  <a:lnTo>
                    <a:pt x="666" y="410"/>
                  </a:lnTo>
                  <a:lnTo>
                    <a:pt x="669" y="402"/>
                  </a:lnTo>
                  <a:lnTo>
                    <a:pt x="671" y="395"/>
                  </a:lnTo>
                  <a:lnTo>
                    <a:pt x="671" y="386"/>
                  </a:lnTo>
                  <a:lnTo>
                    <a:pt x="671" y="386"/>
                  </a:lnTo>
                  <a:lnTo>
                    <a:pt x="671" y="382"/>
                  </a:lnTo>
                  <a:lnTo>
                    <a:pt x="669" y="376"/>
                  </a:lnTo>
                  <a:lnTo>
                    <a:pt x="663" y="365"/>
                  </a:lnTo>
                  <a:lnTo>
                    <a:pt x="657" y="356"/>
                  </a:lnTo>
                  <a:lnTo>
                    <a:pt x="655" y="349"/>
                  </a:lnTo>
                  <a:lnTo>
                    <a:pt x="655" y="349"/>
                  </a:lnTo>
                  <a:lnTo>
                    <a:pt x="647" y="334"/>
                  </a:lnTo>
                  <a:lnTo>
                    <a:pt x="644" y="324"/>
                  </a:lnTo>
                  <a:lnTo>
                    <a:pt x="641" y="314"/>
                  </a:lnTo>
                  <a:lnTo>
                    <a:pt x="641" y="314"/>
                  </a:lnTo>
                  <a:lnTo>
                    <a:pt x="640" y="302"/>
                  </a:lnTo>
                  <a:lnTo>
                    <a:pt x="640" y="290"/>
                  </a:lnTo>
                  <a:lnTo>
                    <a:pt x="641" y="285"/>
                  </a:lnTo>
                  <a:lnTo>
                    <a:pt x="643" y="282"/>
                  </a:lnTo>
                  <a:lnTo>
                    <a:pt x="646" y="279"/>
                  </a:lnTo>
                  <a:lnTo>
                    <a:pt x="649" y="276"/>
                  </a:lnTo>
                  <a:lnTo>
                    <a:pt x="649" y="276"/>
                  </a:lnTo>
                  <a:lnTo>
                    <a:pt x="656" y="274"/>
                  </a:lnTo>
                  <a:lnTo>
                    <a:pt x="662" y="274"/>
                  </a:lnTo>
                  <a:lnTo>
                    <a:pt x="665" y="274"/>
                  </a:lnTo>
                  <a:lnTo>
                    <a:pt x="668" y="271"/>
                  </a:lnTo>
                  <a:lnTo>
                    <a:pt x="668" y="271"/>
                  </a:lnTo>
                  <a:lnTo>
                    <a:pt x="671" y="265"/>
                  </a:lnTo>
                  <a:lnTo>
                    <a:pt x="672" y="253"/>
                  </a:lnTo>
                  <a:lnTo>
                    <a:pt x="675" y="238"/>
                  </a:lnTo>
                  <a:lnTo>
                    <a:pt x="675" y="238"/>
                  </a:lnTo>
                  <a:lnTo>
                    <a:pt x="686" y="235"/>
                  </a:lnTo>
                  <a:lnTo>
                    <a:pt x="695" y="231"/>
                  </a:lnTo>
                  <a:lnTo>
                    <a:pt x="697" y="228"/>
                  </a:lnTo>
                  <a:lnTo>
                    <a:pt x="702" y="225"/>
                  </a:lnTo>
                  <a:lnTo>
                    <a:pt x="702" y="225"/>
                  </a:lnTo>
                  <a:lnTo>
                    <a:pt x="705" y="217"/>
                  </a:lnTo>
                  <a:lnTo>
                    <a:pt x="708" y="210"/>
                  </a:lnTo>
                  <a:lnTo>
                    <a:pt x="711" y="204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09" y="192"/>
                  </a:lnTo>
                  <a:lnTo>
                    <a:pt x="709" y="192"/>
                  </a:lnTo>
                  <a:lnTo>
                    <a:pt x="708" y="189"/>
                  </a:lnTo>
                  <a:lnTo>
                    <a:pt x="708" y="185"/>
                  </a:lnTo>
                  <a:lnTo>
                    <a:pt x="709" y="180"/>
                  </a:lnTo>
                  <a:lnTo>
                    <a:pt x="712" y="174"/>
                  </a:lnTo>
                  <a:lnTo>
                    <a:pt x="712" y="174"/>
                  </a:lnTo>
                  <a:lnTo>
                    <a:pt x="714" y="170"/>
                  </a:lnTo>
                  <a:lnTo>
                    <a:pt x="714" y="168"/>
                  </a:lnTo>
                  <a:lnTo>
                    <a:pt x="711" y="165"/>
                  </a:lnTo>
                  <a:lnTo>
                    <a:pt x="709" y="161"/>
                  </a:lnTo>
                  <a:lnTo>
                    <a:pt x="709" y="161"/>
                  </a:lnTo>
                  <a:lnTo>
                    <a:pt x="709" y="157"/>
                  </a:lnTo>
                  <a:lnTo>
                    <a:pt x="711" y="152"/>
                  </a:lnTo>
                  <a:lnTo>
                    <a:pt x="711" y="148"/>
                  </a:lnTo>
                  <a:lnTo>
                    <a:pt x="711" y="140"/>
                  </a:lnTo>
                  <a:lnTo>
                    <a:pt x="711" y="140"/>
                  </a:lnTo>
                  <a:lnTo>
                    <a:pt x="709" y="133"/>
                  </a:lnTo>
                  <a:lnTo>
                    <a:pt x="711" y="127"/>
                  </a:lnTo>
                  <a:lnTo>
                    <a:pt x="714" y="122"/>
                  </a:lnTo>
                  <a:lnTo>
                    <a:pt x="718" y="119"/>
                  </a:lnTo>
                  <a:lnTo>
                    <a:pt x="718" y="119"/>
                  </a:lnTo>
                  <a:lnTo>
                    <a:pt x="721" y="117"/>
                  </a:lnTo>
                  <a:lnTo>
                    <a:pt x="723" y="114"/>
                  </a:lnTo>
                  <a:lnTo>
                    <a:pt x="721" y="111"/>
                  </a:lnTo>
                  <a:lnTo>
                    <a:pt x="720" y="108"/>
                  </a:lnTo>
                  <a:lnTo>
                    <a:pt x="720" y="108"/>
                  </a:lnTo>
                  <a:lnTo>
                    <a:pt x="714" y="99"/>
                  </a:lnTo>
                  <a:lnTo>
                    <a:pt x="712" y="94"/>
                  </a:lnTo>
                  <a:lnTo>
                    <a:pt x="712" y="88"/>
                  </a:lnTo>
                  <a:lnTo>
                    <a:pt x="712" y="88"/>
                  </a:lnTo>
                  <a:lnTo>
                    <a:pt x="714" y="85"/>
                  </a:lnTo>
                  <a:lnTo>
                    <a:pt x="717" y="85"/>
                  </a:lnTo>
                  <a:lnTo>
                    <a:pt x="718" y="87"/>
                  </a:lnTo>
                  <a:lnTo>
                    <a:pt x="723" y="90"/>
                  </a:lnTo>
                  <a:lnTo>
                    <a:pt x="723" y="90"/>
                  </a:lnTo>
                  <a:lnTo>
                    <a:pt x="739" y="93"/>
                  </a:lnTo>
                  <a:lnTo>
                    <a:pt x="739" y="93"/>
                  </a:lnTo>
                  <a:lnTo>
                    <a:pt x="726" y="82"/>
                  </a:lnTo>
                  <a:lnTo>
                    <a:pt x="717" y="74"/>
                  </a:lnTo>
                  <a:lnTo>
                    <a:pt x="711" y="69"/>
                  </a:lnTo>
                  <a:lnTo>
                    <a:pt x="711" y="69"/>
                  </a:lnTo>
                  <a:lnTo>
                    <a:pt x="705" y="68"/>
                  </a:lnTo>
                  <a:lnTo>
                    <a:pt x="699" y="69"/>
                  </a:lnTo>
                  <a:lnTo>
                    <a:pt x="690" y="74"/>
                  </a:lnTo>
                  <a:lnTo>
                    <a:pt x="690" y="74"/>
                  </a:lnTo>
                  <a:lnTo>
                    <a:pt x="686" y="75"/>
                  </a:lnTo>
                  <a:lnTo>
                    <a:pt x="681" y="74"/>
                  </a:lnTo>
                  <a:lnTo>
                    <a:pt x="675" y="66"/>
                  </a:lnTo>
                  <a:lnTo>
                    <a:pt x="675" y="66"/>
                  </a:lnTo>
                  <a:lnTo>
                    <a:pt x="665" y="59"/>
                  </a:lnTo>
                  <a:lnTo>
                    <a:pt x="660" y="56"/>
                  </a:lnTo>
                  <a:lnTo>
                    <a:pt x="656" y="51"/>
                  </a:lnTo>
                  <a:lnTo>
                    <a:pt x="656" y="51"/>
                  </a:lnTo>
                  <a:lnTo>
                    <a:pt x="653" y="48"/>
                  </a:lnTo>
                  <a:lnTo>
                    <a:pt x="650" y="47"/>
                  </a:lnTo>
                  <a:lnTo>
                    <a:pt x="638" y="44"/>
                  </a:lnTo>
                  <a:lnTo>
                    <a:pt x="638" y="44"/>
                  </a:lnTo>
                  <a:lnTo>
                    <a:pt x="626" y="40"/>
                  </a:lnTo>
                  <a:lnTo>
                    <a:pt x="622" y="37"/>
                  </a:lnTo>
                  <a:lnTo>
                    <a:pt x="619" y="34"/>
                  </a:lnTo>
                  <a:lnTo>
                    <a:pt x="619" y="34"/>
                  </a:lnTo>
                  <a:lnTo>
                    <a:pt x="616" y="29"/>
                  </a:lnTo>
                  <a:lnTo>
                    <a:pt x="615" y="25"/>
                  </a:lnTo>
                  <a:lnTo>
                    <a:pt x="616" y="22"/>
                  </a:lnTo>
                  <a:lnTo>
                    <a:pt x="616" y="19"/>
                  </a:lnTo>
                  <a:lnTo>
                    <a:pt x="616" y="19"/>
                  </a:lnTo>
                  <a:lnTo>
                    <a:pt x="612" y="16"/>
                  </a:lnTo>
                  <a:lnTo>
                    <a:pt x="606" y="11"/>
                  </a:lnTo>
                  <a:lnTo>
                    <a:pt x="589" y="2"/>
                  </a:lnTo>
                  <a:lnTo>
                    <a:pt x="589" y="2"/>
                  </a:lnTo>
                  <a:lnTo>
                    <a:pt x="585" y="0"/>
                  </a:lnTo>
                  <a:lnTo>
                    <a:pt x="582" y="0"/>
                  </a:lnTo>
                  <a:lnTo>
                    <a:pt x="575" y="0"/>
                  </a:lnTo>
                  <a:lnTo>
                    <a:pt x="570" y="1"/>
                  </a:lnTo>
                  <a:lnTo>
                    <a:pt x="567" y="4"/>
                  </a:lnTo>
                  <a:lnTo>
                    <a:pt x="567" y="4"/>
                  </a:lnTo>
                  <a:lnTo>
                    <a:pt x="566" y="7"/>
                  </a:lnTo>
                  <a:lnTo>
                    <a:pt x="566" y="11"/>
                  </a:lnTo>
                  <a:lnTo>
                    <a:pt x="567" y="17"/>
                  </a:lnTo>
                  <a:lnTo>
                    <a:pt x="567" y="17"/>
                  </a:lnTo>
                  <a:lnTo>
                    <a:pt x="567" y="20"/>
                  </a:lnTo>
                  <a:lnTo>
                    <a:pt x="566" y="20"/>
                  </a:lnTo>
                  <a:lnTo>
                    <a:pt x="561" y="22"/>
                  </a:lnTo>
                  <a:lnTo>
                    <a:pt x="561" y="22"/>
                  </a:lnTo>
                  <a:lnTo>
                    <a:pt x="560" y="22"/>
                  </a:lnTo>
                  <a:lnTo>
                    <a:pt x="557" y="20"/>
                  </a:lnTo>
                  <a:lnTo>
                    <a:pt x="554" y="17"/>
                  </a:lnTo>
                  <a:lnTo>
                    <a:pt x="549" y="14"/>
                  </a:lnTo>
                  <a:lnTo>
                    <a:pt x="549" y="14"/>
                  </a:lnTo>
                  <a:lnTo>
                    <a:pt x="545" y="14"/>
                  </a:lnTo>
                  <a:lnTo>
                    <a:pt x="542" y="16"/>
                  </a:lnTo>
                  <a:lnTo>
                    <a:pt x="541" y="19"/>
                  </a:lnTo>
                  <a:lnTo>
                    <a:pt x="541" y="22"/>
                  </a:lnTo>
                  <a:lnTo>
                    <a:pt x="541" y="22"/>
                  </a:lnTo>
                  <a:lnTo>
                    <a:pt x="538" y="23"/>
                  </a:lnTo>
                  <a:lnTo>
                    <a:pt x="533" y="25"/>
                  </a:lnTo>
                  <a:lnTo>
                    <a:pt x="517" y="25"/>
                  </a:lnTo>
                  <a:lnTo>
                    <a:pt x="517" y="25"/>
                  </a:lnTo>
                  <a:lnTo>
                    <a:pt x="502" y="26"/>
                  </a:lnTo>
                  <a:lnTo>
                    <a:pt x="496" y="28"/>
                  </a:lnTo>
                  <a:lnTo>
                    <a:pt x="493" y="31"/>
                  </a:lnTo>
                  <a:lnTo>
                    <a:pt x="493" y="31"/>
                  </a:lnTo>
                  <a:lnTo>
                    <a:pt x="492" y="34"/>
                  </a:lnTo>
                  <a:lnTo>
                    <a:pt x="489" y="35"/>
                  </a:lnTo>
                  <a:lnTo>
                    <a:pt x="480" y="35"/>
                  </a:lnTo>
                  <a:lnTo>
                    <a:pt x="480" y="35"/>
                  </a:lnTo>
                  <a:lnTo>
                    <a:pt x="474" y="34"/>
                  </a:lnTo>
                  <a:lnTo>
                    <a:pt x="471" y="32"/>
                  </a:lnTo>
                  <a:lnTo>
                    <a:pt x="469" y="31"/>
                  </a:lnTo>
                  <a:lnTo>
                    <a:pt x="465" y="29"/>
                  </a:lnTo>
                  <a:lnTo>
                    <a:pt x="465" y="29"/>
                  </a:lnTo>
                  <a:lnTo>
                    <a:pt x="456" y="29"/>
                  </a:lnTo>
                  <a:lnTo>
                    <a:pt x="444" y="31"/>
                  </a:lnTo>
                  <a:lnTo>
                    <a:pt x="428" y="34"/>
                  </a:lnTo>
                  <a:lnTo>
                    <a:pt x="428" y="34"/>
                  </a:lnTo>
                  <a:lnTo>
                    <a:pt x="426" y="41"/>
                  </a:lnTo>
                  <a:lnTo>
                    <a:pt x="424" y="57"/>
                  </a:lnTo>
                  <a:lnTo>
                    <a:pt x="422" y="72"/>
                  </a:lnTo>
                  <a:lnTo>
                    <a:pt x="419" y="81"/>
                  </a:lnTo>
                  <a:lnTo>
                    <a:pt x="419" y="81"/>
                  </a:lnTo>
                  <a:lnTo>
                    <a:pt x="412" y="84"/>
                  </a:lnTo>
                  <a:lnTo>
                    <a:pt x="407" y="85"/>
                  </a:lnTo>
                  <a:lnTo>
                    <a:pt x="403" y="88"/>
                  </a:lnTo>
                  <a:lnTo>
                    <a:pt x="403" y="88"/>
                  </a:lnTo>
                  <a:lnTo>
                    <a:pt x="395" y="96"/>
                  </a:lnTo>
                  <a:lnTo>
                    <a:pt x="382" y="108"/>
                  </a:lnTo>
                  <a:lnTo>
                    <a:pt x="382" y="108"/>
                  </a:lnTo>
                  <a:lnTo>
                    <a:pt x="375" y="115"/>
                  </a:lnTo>
                  <a:lnTo>
                    <a:pt x="367" y="122"/>
                  </a:lnTo>
                  <a:lnTo>
                    <a:pt x="363" y="130"/>
                  </a:lnTo>
                  <a:lnTo>
                    <a:pt x="361" y="134"/>
                  </a:lnTo>
                  <a:lnTo>
                    <a:pt x="361" y="137"/>
                  </a:lnTo>
                  <a:lnTo>
                    <a:pt x="361" y="137"/>
                  </a:lnTo>
                  <a:lnTo>
                    <a:pt x="361" y="140"/>
                  </a:lnTo>
                  <a:lnTo>
                    <a:pt x="361" y="143"/>
                  </a:lnTo>
                  <a:lnTo>
                    <a:pt x="357" y="146"/>
                  </a:lnTo>
                  <a:lnTo>
                    <a:pt x="341" y="154"/>
                  </a:lnTo>
                  <a:lnTo>
                    <a:pt x="341" y="154"/>
                  </a:lnTo>
                  <a:lnTo>
                    <a:pt x="333" y="158"/>
                  </a:lnTo>
                  <a:lnTo>
                    <a:pt x="329" y="162"/>
                  </a:lnTo>
                  <a:lnTo>
                    <a:pt x="326" y="168"/>
                  </a:lnTo>
                  <a:lnTo>
                    <a:pt x="318" y="176"/>
                  </a:lnTo>
                  <a:lnTo>
                    <a:pt x="318" y="176"/>
                  </a:lnTo>
                  <a:lnTo>
                    <a:pt x="312" y="182"/>
                  </a:lnTo>
                  <a:lnTo>
                    <a:pt x="311" y="182"/>
                  </a:lnTo>
                  <a:lnTo>
                    <a:pt x="310" y="180"/>
                  </a:lnTo>
                  <a:lnTo>
                    <a:pt x="307" y="179"/>
                  </a:lnTo>
                  <a:lnTo>
                    <a:pt x="305" y="179"/>
                  </a:lnTo>
                  <a:lnTo>
                    <a:pt x="302" y="179"/>
                  </a:lnTo>
                  <a:lnTo>
                    <a:pt x="302" y="179"/>
                  </a:lnTo>
                  <a:lnTo>
                    <a:pt x="295" y="182"/>
                  </a:lnTo>
                  <a:lnTo>
                    <a:pt x="290" y="185"/>
                  </a:lnTo>
                  <a:lnTo>
                    <a:pt x="287" y="188"/>
                  </a:lnTo>
                  <a:lnTo>
                    <a:pt x="281" y="191"/>
                  </a:lnTo>
                  <a:lnTo>
                    <a:pt x="281" y="191"/>
                  </a:lnTo>
                  <a:lnTo>
                    <a:pt x="274" y="189"/>
                  </a:lnTo>
                  <a:lnTo>
                    <a:pt x="262" y="188"/>
                  </a:lnTo>
                  <a:lnTo>
                    <a:pt x="252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7" y="186"/>
                  </a:lnTo>
                  <a:lnTo>
                    <a:pt x="231" y="183"/>
                  </a:lnTo>
                  <a:lnTo>
                    <a:pt x="218" y="179"/>
                  </a:lnTo>
                  <a:lnTo>
                    <a:pt x="218" y="179"/>
                  </a:lnTo>
                  <a:lnTo>
                    <a:pt x="210" y="179"/>
                  </a:lnTo>
                  <a:lnTo>
                    <a:pt x="204" y="180"/>
                  </a:lnTo>
                  <a:lnTo>
                    <a:pt x="201" y="183"/>
                  </a:lnTo>
                  <a:lnTo>
                    <a:pt x="197" y="183"/>
                  </a:lnTo>
                  <a:lnTo>
                    <a:pt x="197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1" name="Freeform 30">
              <a:extLst>
                <a:ext uri="{FF2B5EF4-FFF2-40B4-BE49-F238E27FC236}">
                  <a16:creationId xmlns:a16="http://schemas.microsoft.com/office/drawing/2014/main" id="{80BEB0A2-9445-E648-A380-A32B7085A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5" y="5441950"/>
              <a:ext cx="681038" cy="611187"/>
            </a:xfrm>
            <a:custGeom>
              <a:avLst/>
              <a:gdLst>
                <a:gd name="T0" fmla="*/ 382 w 429"/>
                <a:gd name="T1" fmla="*/ 178 h 385"/>
                <a:gd name="T2" fmla="*/ 399 w 429"/>
                <a:gd name="T3" fmla="*/ 158 h 385"/>
                <a:gd name="T4" fmla="*/ 389 w 429"/>
                <a:gd name="T5" fmla="*/ 153 h 385"/>
                <a:gd name="T6" fmla="*/ 367 w 429"/>
                <a:gd name="T7" fmla="*/ 150 h 385"/>
                <a:gd name="T8" fmla="*/ 359 w 429"/>
                <a:gd name="T9" fmla="*/ 163 h 385"/>
                <a:gd name="T10" fmla="*/ 343 w 429"/>
                <a:gd name="T11" fmla="*/ 170 h 385"/>
                <a:gd name="T12" fmla="*/ 315 w 429"/>
                <a:gd name="T13" fmla="*/ 166 h 385"/>
                <a:gd name="T14" fmla="*/ 302 w 429"/>
                <a:gd name="T15" fmla="*/ 153 h 385"/>
                <a:gd name="T16" fmla="*/ 287 w 429"/>
                <a:gd name="T17" fmla="*/ 132 h 385"/>
                <a:gd name="T18" fmla="*/ 303 w 429"/>
                <a:gd name="T19" fmla="*/ 127 h 385"/>
                <a:gd name="T20" fmla="*/ 297 w 429"/>
                <a:gd name="T21" fmla="*/ 113 h 385"/>
                <a:gd name="T22" fmla="*/ 278 w 429"/>
                <a:gd name="T23" fmla="*/ 107 h 385"/>
                <a:gd name="T24" fmla="*/ 280 w 429"/>
                <a:gd name="T25" fmla="*/ 71 h 385"/>
                <a:gd name="T26" fmla="*/ 275 w 429"/>
                <a:gd name="T27" fmla="*/ 61 h 385"/>
                <a:gd name="T28" fmla="*/ 291 w 429"/>
                <a:gd name="T29" fmla="*/ 36 h 385"/>
                <a:gd name="T30" fmla="*/ 268 w 429"/>
                <a:gd name="T31" fmla="*/ 36 h 385"/>
                <a:gd name="T32" fmla="*/ 250 w 429"/>
                <a:gd name="T33" fmla="*/ 24 h 385"/>
                <a:gd name="T34" fmla="*/ 231 w 429"/>
                <a:gd name="T35" fmla="*/ 9 h 385"/>
                <a:gd name="T36" fmla="*/ 168 w 429"/>
                <a:gd name="T37" fmla="*/ 12 h 385"/>
                <a:gd name="T38" fmla="*/ 139 w 429"/>
                <a:gd name="T39" fmla="*/ 0 h 385"/>
                <a:gd name="T40" fmla="*/ 128 w 429"/>
                <a:gd name="T41" fmla="*/ 9 h 385"/>
                <a:gd name="T42" fmla="*/ 100 w 429"/>
                <a:gd name="T43" fmla="*/ 12 h 385"/>
                <a:gd name="T44" fmla="*/ 77 w 429"/>
                <a:gd name="T45" fmla="*/ 18 h 385"/>
                <a:gd name="T46" fmla="*/ 60 w 429"/>
                <a:gd name="T47" fmla="*/ 25 h 385"/>
                <a:gd name="T48" fmla="*/ 83 w 429"/>
                <a:gd name="T49" fmla="*/ 37 h 385"/>
                <a:gd name="T50" fmla="*/ 78 w 429"/>
                <a:gd name="T51" fmla="*/ 49 h 385"/>
                <a:gd name="T52" fmla="*/ 50 w 429"/>
                <a:gd name="T53" fmla="*/ 46 h 385"/>
                <a:gd name="T54" fmla="*/ 32 w 429"/>
                <a:gd name="T55" fmla="*/ 46 h 385"/>
                <a:gd name="T56" fmla="*/ 14 w 429"/>
                <a:gd name="T57" fmla="*/ 37 h 385"/>
                <a:gd name="T58" fmla="*/ 1 w 429"/>
                <a:gd name="T59" fmla="*/ 52 h 385"/>
                <a:gd name="T60" fmla="*/ 14 w 429"/>
                <a:gd name="T61" fmla="*/ 70 h 385"/>
                <a:gd name="T62" fmla="*/ 40 w 429"/>
                <a:gd name="T63" fmla="*/ 81 h 385"/>
                <a:gd name="T64" fmla="*/ 56 w 429"/>
                <a:gd name="T65" fmla="*/ 110 h 385"/>
                <a:gd name="T66" fmla="*/ 91 w 429"/>
                <a:gd name="T67" fmla="*/ 118 h 385"/>
                <a:gd name="T68" fmla="*/ 118 w 429"/>
                <a:gd name="T69" fmla="*/ 138 h 385"/>
                <a:gd name="T70" fmla="*/ 105 w 429"/>
                <a:gd name="T71" fmla="*/ 154 h 385"/>
                <a:gd name="T72" fmla="*/ 115 w 429"/>
                <a:gd name="T73" fmla="*/ 178 h 385"/>
                <a:gd name="T74" fmla="*/ 131 w 429"/>
                <a:gd name="T75" fmla="*/ 198 h 385"/>
                <a:gd name="T76" fmla="*/ 142 w 429"/>
                <a:gd name="T77" fmla="*/ 237 h 385"/>
                <a:gd name="T78" fmla="*/ 155 w 429"/>
                <a:gd name="T79" fmla="*/ 230 h 385"/>
                <a:gd name="T80" fmla="*/ 183 w 429"/>
                <a:gd name="T81" fmla="*/ 231 h 385"/>
                <a:gd name="T82" fmla="*/ 191 w 429"/>
                <a:gd name="T83" fmla="*/ 267 h 385"/>
                <a:gd name="T84" fmla="*/ 211 w 429"/>
                <a:gd name="T85" fmla="*/ 292 h 385"/>
                <a:gd name="T86" fmla="*/ 228 w 429"/>
                <a:gd name="T87" fmla="*/ 317 h 385"/>
                <a:gd name="T88" fmla="*/ 232 w 429"/>
                <a:gd name="T89" fmla="*/ 352 h 385"/>
                <a:gd name="T90" fmla="*/ 235 w 429"/>
                <a:gd name="T91" fmla="*/ 370 h 385"/>
                <a:gd name="T92" fmla="*/ 238 w 429"/>
                <a:gd name="T93" fmla="*/ 385 h 385"/>
                <a:gd name="T94" fmla="*/ 302 w 429"/>
                <a:gd name="T95" fmla="*/ 326 h 385"/>
                <a:gd name="T96" fmla="*/ 308 w 429"/>
                <a:gd name="T97" fmla="*/ 293 h 385"/>
                <a:gd name="T98" fmla="*/ 318 w 429"/>
                <a:gd name="T99" fmla="*/ 281 h 385"/>
                <a:gd name="T100" fmla="*/ 348 w 429"/>
                <a:gd name="T101" fmla="*/ 290 h 385"/>
                <a:gd name="T102" fmla="*/ 374 w 429"/>
                <a:gd name="T103" fmla="*/ 287 h 385"/>
                <a:gd name="T104" fmla="*/ 395 w 429"/>
                <a:gd name="T105" fmla="*/ 262 h 385"/>
                <a:gd name="T106" fmla="*/ 395 w 429"/>
                <a:gd name="T107" fmla="*/ 230 h 385"/>
                <a:gd name="T108" fmla="*/ 429 w 429"/>
                <a:gd name="T109" fmla="*/ 224 h 385"/>
                <a:gd name="T110" fmla="*/ 425 w 429"/>
                <a:gd name="T111" fmla="*/ 216 h 385"/>
                <a:gd name="T112" fmla="*/ 408 w 429"/>
                <a:gd name="T113" fmla="*/ 209 h 385"/>
                <a:gd name="T114" fmla="*/ 401 w 429"/>
                <a:gd name="T115" fmla="*/ 193 h 385"/>
                <a:gd name="T116" fmla="*/ 386 w 429"/>
                <a:gd name="T117" fmla="*/ 20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9" h="385">
                  <a:moveTo>
                    <a:pt x="386" y="201"/>
                  </a:moveTo>
                  <a:lnTo>
                    <a:pt x="386" y="201"/>
                  </a:lnTo>
                  <a:lnTo>
                    <a:pt x="380" y="188"/>
                  </a:lnTo>
                  <a:lnTo>
                    <a:pt x="380" y="185"/>
                  </a:lnTo>
                  <a:lnTo>
                    <a:pt x="380" y="181"/>
                  </a:lnTo>
                  <a:lnTo>
                    <a:pt x="382" y="178"/>
                  </a:lnTo>
                  <a:lnTo>
                    <a:pt x="383" y="173"/>
                  </a:lnTo>
                  <a:lnTo>
                    <a:pt x="383" y="173"/>
                  </a:lnTo>
                  <a:lnTo>
                    <a:pt x="391" y="169"/>
                  </a:lnTo>
                  <a:lnTo>
                    <a:pt x="395" y="164"/>
                  </a:lnTo>
                  <a:lnTo>
                    <a:pt x="398" y="163"/>
                  </a:lnTo>
                  <a:lnTo>
                    <a:pt x="399" y="158"/>
                  </a:lnTo>
                  <a:lnTo>
                    <a:pt x="399" y="158"/>
                  </a:lnTo>
                  <a:lnTo>
                    <a:pt x="401" y="150"/>
                  </a:lnTo>
                  <a:lnTo>
                    <a:pt x="399" y="148"/>
                  </a:lnTo>
                  <a:lnTo>
                    <a:pt x="396" y="148"/>
                  </a:lnTo>
                  <a:lnTo>
                    <a:pt x="396" y="148"/>
                  </a:lnTo>
                  <a:lnTo>
                    <a:pt x="389" y="153"/>
                  </a:lnTo>
                  <a:lnTo>
                    <a:pt x="383" y="155"/>
                  </a:lnTo>
                  <a:lnTo>
                    <a:pt x="379" y="155"/>
                  </a:lnTo>
                  <a:lnTo>
                    <a:pt x="379" y="155"/>
                  </a:lnTo>
                  <a:lnTo>
                    <a:pt x="374" y="153"/>
                  </a:lnTo>
                  <a:lnTo>
                    <a:pt x="370" y="151"/>
                  </a:lnTo>
                  <a:lnTo>
                    <a:pt x="367" y="150"/>
                  </a:lnTo>
                  <a:lnTo>
                    <a:pt x="365" y="150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59" y="158"/>
                  </a:lnTo>
                  <a:lnTo>
                    <a:pt x="358" y="161"/>
                  </a:lnTo>
                  <a:lnTo>
                    <a:pt x="359" y="163"/>
                  </a:lnTo>
                  <a:lnTo>
                    <a:pt x="359" y="163"/>
                  </a:lnTo>
                  <a:lnTo>
                    <a:pt x="361" y="164"/>
                  </a:lnTo>
                  <a:lnTo>
                    <a:pt x="361" y="166"/>
                  </a:lnTo>
                  <a:lnTo>
                    <a:pt x="357" y="170"/>
                  </a:lnTo>
                  <a:lnTo>
                    <a:pt x="351" y="172"/>
                  </a:lnTo>
                  <a:lnTo>
                    <a:pt x="343" y="170"/>
                  </a:lnTo>
                  <a:lnTo>
                    <a:pt x="343" y="170"/>
                  </a:lnTo>
                  <a:lnTo>
                    <a:pt x="333" y="166"/>
                  </a:lnTo>
                  <a:lnTo>
                    <a:pt x="328" y="166"/>
                  </a:lnTo>
                  <a:lnTo>
                    <a:pt x="321" y="166"/>
                  </a:lnTo>
                  <a:lnTo>
                    <a:pt x="321" y="166"/>
                  </a:lnTo>
                  <a:lnTo>
                    <a:pt x="315" y="166"/>
                  </a:lnTo>
                  <a:lnTo>
                    <a:pt x="311" y="164"/>
                  </a:lnTo>
                  <a:lnTo>
                    <a:pt x="308" y="161"/>
                  </a:lnTo>
                  <a:lnTo>
                    <a:pt x="306" y="157"/>
                  </a:lnTo>
                  <a:lnTo>
                    <a:pt x="306" y="157"/>
                  </a:lnTo>
                  <a:lnTo>
                    <a:pt x="305" y="154"/>
                  </a:lnTo>
                  <a:lnTo>
                    <a:pt x="302" y="153"/>
                  </a:lnTo>
                  <a:lnTo>
                    <a:pt x="296" y="148"/>
                  </a:lnTo>
                  <a:lnTo>
                    <a:pt x="290" y="145"/>
                  </a:lnTo>
                  <a:lnTo>
                    <a:pt x="288" y="142"/>
                  </a:lnTo>
                  <a:lnTo>
                    <a:pt x="288" y="141"/>
                  </a:lnTo>
                  <a:lnTo>
                    <a:pt x="288" y="141"/>
                  </a:lnTo>
                  <a:lnTo>
                    <a:pt x="287" y="132"/>
                  </a:lnTo>
                  <a:lnTo>
                    <a:pt x="288" y="129"/>
                  </a:lnTo>
                  <a:lnTo>
                    <a:pt x="291" y="127"/>
                  </a:lnTo>
                  <a:lnTo>
                    <a:pt x="291" y="127"/>
                  </a:lnTo>
                  <a:lnTo>
                    <a:pt x="296" y="127"/>
                  </a:lnTo>
                  <a:lnTo>
                    <a:pt x="300" y="129"/>
                  </a:lnTo>
                  <a:lnTo>
                    <a:pt x="303" y="127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17"/>
                  </a:lnTo>
                  <a:lnTo>
                    <a:pt x="302" y="114"/>
                  </a:lnTo>
                  <a:lnTo>
                    <a:pt x="302" y="114"/>
                  </a:lnTo>
                  <a:lnTo>
                    <a:pt x="297" y="113"/>
                  </a:lnTo>
                  <a:lnTo>
                    <a:pt x="291" y="111"/>
                  </a:lnTo>
                  <a:lnTo>
                    <a:pt x="291" y="111"/>
                  </a:lnTo>
                  <a:lnTo>
                    <a:pt x="285" y="111"/>
                  </a:lnTo>
                  <a:lnTo>
                    <a:pt x="281" y="110"/>
                  </a:lnTo>
                  <a:lnTo>
                    <a:pt x="278" y="110"/>
                  </a:lnTo>
                  <a:lnTo>
                    <a:pt x="278" y="107"/>
                  </a:lnTo>
                  <a:lnTo>
                    <a:pt x="277" y="105"/>
                  </a:lnTo>
                  <a:lnTo>
                    <a:pt x="278" y="102"/>
                  </a:lnTo>
                  <a:lnTo>
                    <a:pt x="278" y="102"/>
                  </a:lnTo>
                  <a:lnTo>
                    <a:pt x="281" y="86"/>
                  </a:lnTo>
                  <a:lnTo>
                    <a:pt x="282" y="77"/>
                  </a:lnTo>
                  <a:lnTo>
                    <a:pt x="280" y="71"/>
                  </a:lnTo>
                  <a:lnTo>
                    <a:pt x="280" y="71"/>
                  </a:lnTo>
                  <a:lnTo>
                    <a:pt x="277" y="68"/>
                  </a:lnTo>
                  <a:lnTo>
                    <a:pt x="274" y="67"/>
                  </a:lnTo>
                  <a:lnTo>
                    <a:pt x="272" y="65"/>
                  </a:lnTo>
                  <a:lnTo>
                    <a:pt x="275" y="61"/>
                  </a:lnTo>
                  <a:lnTo>
                    <a:pt x="275" y="61"/>
                  </a:lnTo>
                  <a:lnTo>
                    <a:pt x="285" y="53"/>
                  </a:lnTo>
                  <a:lnTo>
                    <a:pt x="290" y="47"/>
                  </a:lnTo>
                  <a:lnTo>
                    <a:pt x="291" y="41"/>
                  </a:lnTo>
                  <a:lnTo>
                    <a:pt x="291" y="41"/>
                  </a:lnTo>
                  <a:lnTo>
                    <a:pt x="291" y="38"/>
                  </a:lnTo>
                  <a:lnTo>
                    <a:pt x="291" y="36"/>
                  </a:lnTo>
                  <a:lnTo>
                    <a:pt x="288" y="33"/>
                  </a:lnTo>
                  <a:lnTo>
                    <a:pt x="284" y="28"/>
                  </a:lnTo>
                  <a:lnTo>
                    <a:pt x="277" y="30"/>
                  </a:lnTo>
                  <a:lnTo>
                    <a:pt x="277" y="30"/>
                  </a:lnTo>
                  <a:lnTo>
                    <a:pt x="272" y="33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5" y="37"/>
                  </a:lnTo>
                  <a:lnTo>
                    <a:pt x="262" y="37"/>
                  </a:lnTo>
                  <a:lnTo>
                    <a:pt x="257" y="36"/>
                  </a:lnTo>
                  <a:lnTo>
                    <a:pt x="253" y="31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48" y="15"/>
                  </a:lnTo>
                  <a:lnTo>
                    <a:pt x="247" y="12"/>
                  </a:lnTo>
                  <a:lnTo>
                    <a:pt x="245" y="12"/>
                  </a:lnTo>
                  <a:lnTo>
                    <a:pt x="245" y="12"/>
                  </a:lnTo>
                  <a:lnTo>
                    <a:pt x="231" y="9"/>
                  </a:lnTo>
                  <a:lnTo>
                    <a:pt x="222" y="7"/>
                  </a:lnTo>
                  <a:lnTo>
                    <a:pt x="214" y="7"/>
                  </a:lnTo>
                  <a:lnTo>
                    <a:pt x="214" y="7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68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58" y="6"/>
                  </a:lnTo>
                  <a:lnTo>
                    <a:pt x="158" y="6"/>
                  </a:lnTo>
                  <a:lnTo>
                    <a:pt x="146" y="1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0" y="0"/>
                  </a:lnTo>
                  <a:lnTo>
                    <a:pt x="140" y="1"/>
                  </a:lnTo>
                  <a:lnTo>
                    <a:pt x="140" y="1"/>
                  </a:lnTo>
                  <a:lnTo>
                    <a:pt x="133" y="6"/>
                  </a:lnTo>
                  <a:lnTo>
                    <a:pt x="128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09" y="10"/>
                  </a:lnTo>
                  <a:lnTo>
                    <a:pt x="103" y="10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6" y="13"/>
                  </a:lnTo>
                  <a:lnTo>
                    <a:pt x="88" y="16"/>
                  </a:lnTo>
                  <a:lnTo>
                    <a:pt x="81" y="19"/>
                  </a:lnTo>
                  <a:lnTo>
                    <a:pt x="78" y="19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68" y="19"/>
                  </a:lnTo>
                  <a:lnTo>
                    <a:pt x="63" y="22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9" y="27"/>
                  </a:lnTo>
                  <a:lnTo>
                    <a:pt x="60" y="28"/>
                  </a:lnTo>
                  <a:lnTo>
                    <a:pt x="63" y="30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3" y="38"/>
                  </a:lnTo>
                  <a:lnTo>
                    <a:pt x="81" y="43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8" y="49"/>
                  </a:lnTo>
                  <a:lnTo>
                    <a:pt x="77" y="50"/>
                  </a:lnTo>
                  <a:lnTo>
                    <a:pt x="71" y="49"/>
                  </a:lnTo>
                  <a:lnTo>
                    <a:pt x="65" y="47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0" y="46"/>
                  </a:lnTo>
                  <a:lnTo>
                    <a:pt x="46" y="47"/>
                  </a:lnTo>
                  <a:lnTo>
                    <a:pt x="43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4" y="47"/>
                  </a:lnTo>
                  <a:lnTo>
                    <a:pt x="32" y="46"/>
                  </a:lnTo>
                  <a:lnTo>
                    <a:pt x="31" y="41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0" y="36"/>
                  </a:lnTo>
                  <a:lnTo>
                    <a:pt x="17" y="36"/>
                  </a:lnTo>
                  <a:lnTo>
                    <a:pt x="14" y="37"/>
                  </a:lnTo>
                  <a:lnTo>
                    <a:pt x="13" y="40"/>
                  </a:lnTo>
                  <a:lnTo>
                    <a:pt x="9" y="4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8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3" y="68"/>
                  </a:lnTo>
                  <a:lnTo>
                    <a:pt x="6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9" y="70"/>
                  </a:lnTo>
                  <a:lnTo>
                    <a:pt x="23" y="73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3" y="84"/>
                  </a:lnTo>
                  <a:lnTo>
                    <a:pt x="49" y="92"/>
                  </a:lnTo>
                  <a:lnTo>
                    <a:pt x="51" y="101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6" y="110"/>
                  </a:lnTo>
                  <a:lnTo>
                    <a:pt x="60" y="111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81" y="117"/>
                  </a:lnTo>
                  <a:lnTo>
                    <a:pt x="87" y="118"/>
                  </a:lnTo>
                  <a:lnTo>
                    <a:pt x="91" y="118"/>
                  </a:lnTo>
                  <a:lnTo>
                    <a:pt x="94" y="118"/>
                  </a:lnTo>
                  <a:lnTo>
                    <a:pt x="94" y="118"/>
                  </a:lnTo>
                  <a:lnTo>
                    <a:pt x="106" y="127"/>
                  </a:lnTo>
                  <a:lnTo>
                    <a:pt x="114" y="133"/>
                  </a:lnTo>
                  <a:lnTo>
                    <a:pt x="118" y="138"/>
                  </a:lnTo>
                  <a:lnTo>
                    <a:pt x="118" y="138"/>
                  </a:lnTo>
                  <a:lnTo>
                    <a:pt x="120" y="139"/>
                  </a:lnTo>
                  <a:lnTo>
                    <a:pt x="118" y="141"/>
                  </a:lnTo>
                  <a:lnTo>
                    <a:pt x="114" y="145"/>
                  </a:lnTo>
                  <a:lnTo>
                    <a:pt x="108" y="150"/>
                  </a:lnTo>
                  <a:lnTo>
                    <a:pt x="106" y="151"/>
                  </a:lnTo>
                  <a:lnTo>
                    <a:pt x="105" y="154"/>
                  </a:lnTo>
                  <a:lnTo>
                    <a:pt x="105" y="154"/>
                  </a:lnTo>
                  <a:lnTo>
                    <a:pt x="105" y="160"/>
                  </a:lnTo>
                  <a:lnTo>
                    <a:pt x="106" y="167"/>
                  </a:lnTo>
                  <a:lnTo>
                    <a:pt x="111" y="173"/>
                  </a:lnTo>
                  <a:lnTo>
                    <a:pt x="115" y="178"/>
                  </a:lnTo>
                  <a:lnTo>
                    <a:pt x="115" y="178"/>
                  </a:lnTo>
                  <a:lnTo>
                    <a:pt x="118" y="182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6" y="191"/>
                  </a:lnTo>
                  <a:lnTo>
                    <a:pt x="130" y="194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3" y="209"/>
                  </a:lnTo>
                  <a:lnTo>
                    <a:pt x="136" y="221"/>
                  </a:lnTo>
                  <a:lnTo>
                    <a:pt x="136" y="221"/>
                  </a:lnTo>
                  <a:lnTo>
                    <a:pt x="139" y="234"/>
                  </a:lnTo>
                  <a:lnTo>
                    <a:pt x="142" y="237"/>
                  </a:lnTo>
                  <a:lnTo>
                    <a:pt x="143" y="240"/>
                  </a:lnTo>
                  <a:lnTo>
                    <a:pt x="143" y="240"/>
                  </a:lnTo>
                  <a:lnTo>
                    <a:pt x="145" y="238"/>
                  </a:lnTo>
                  <a:lnTo>
                    <a:pt x="148" y="237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7" y="228"/>
                  </a:lnTo>
                  <a:lnTo>
                    <a:pt x="161" y="227"/>
                  </a:lnTo>
                  <a:lnTo>
                    <a:pt x="170" y="225"/>
                  </a:lnTo>
                  <a:lnTo>
                    <a:pt x="179" y="227"/>
                  </a:lnTo>
                  <a:lnTo>
                    <a:pt x="182" y="228"/>
                  </a:lnTo>
                  <a:lnTo>
                    <a:pt x="183" y="231"/>
                  </a:lnTo>
                  <a:lnTo>
                    <a:pt x="183" y="231"/>
                  </a:lnTo>
                  <a:lnTo>
                    <a:pt x="186" y="240"/>
                  </a:lnTo>
                  <a:lnTo>
                    <a:pt x="188" y="250"/>
                  </a:lnTo>
                  <a:lnTo>
                    <a:pt x="189" y="259"/>
                  </a:lnTo>
                  <a:lnTo>
                    <a:pt x="191" y="267"/>
                  </a:lnTo>
                  <a:lnTo>
                    <a:pt x="191" y="267"/>
                  </a:lnTo>
                  <a:lnTo>
                    <a:pt x="195" y="272"/>
                  </a:lnTo>
                  <a:lnTo>
                    <a:pt x="200" y="275"/>
                  </a:lnTo>
                  <a:lnTo>
                    <a:pt x="204" y="280"/>
                  </a:lnTo>
                  <a:lnTo>
                    <a:pt x="207" y="286"/>
                  </a:lnTo>
                  <a:lnTo>
                    <a:pt x="207" y="286"/>
                  </a:lnTo>
                  <a:lnTo>
                    <a:pt x="211" y="292"/>
                  </a:lnTo>
                  <a:lnTo>
                    <a:pt x="214" y="296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5" y="308"/>
                  </a:lnTo>
                  <a:lnTo>
                    <a:pt x="226" y="312"/>
                  </a:lnTo>
                  <a:lnTo>
                    <a:pt x="228" y="317"/>
                  </a:lnTo>
                  <a:lnTo>
                    <a:pt x="228" y="317"/>
                  </a:lnTo>
                  <a:lnTo>
                    <a:pt x="232" y="332"/>
                  </a:lnTo>
                  <a:lnTo>
                    <a:pt x="234" y="339"/>
                  </a:lnTo>
                  <a:lnTo>
                    <a:pt x="234" y="347"/>
                  </a:lnTo>
                  <a:lnTo>
                    <a:pt x="234" y="347"/>
                  </a:lnTo>
                  <a:lnTo>
                    <a:pt x="232" y="352"/>
                  </a:lnTo>
                  <a:lnTo>
                    <a:pt x="229" y="357"/>
                  </a:lnTo>
                  <a:lnTo>
                    <a:pt x="229" y="360"/>
                  </a:lnTo>
                  <a:lnTo>
                    <a:pt x="231" y="364"/>
                  </a:lnTo>
                  <a:lnTo>
                    <a:pt x="231" y="364"/>
                  </a:lnTo>
                  <a:lnTo>
                    <a:pt x="234" y="367"/>
                  </a:lnTo>
                  <a:lnTo>
                    <a:pt x="235" y="370"/>
                  </a:lnTo>
                  <a:lnTo>
                    <a:pt x="235" y="378"/>
                  </a:lnTo>
                  <a:lnTo>
                    <a:pt x="235" y="378"/>
                  </a:lnTo>
                  <a:lnTo>
                    <a:pt x="235" y="384"/>
                  </a:lnTo>
                  <a:lnTo>
                    <a:pt x="235" y="385"/>
                  </a:lnTo>
                  <a:lnTo>
                    <a:pt x="238" y="385"/>
                  </a:lnTo>
                  <a:lnTo>
                    <a:pt x="238" y="385"/>
                  </a:lnTo>
                  <a:lnTo>
                    <a:pt x="259" y="357"/>
                  </a:lnTo>
                  <a:lnTo>
                    <a:pt x="274" y="338"/>
                  </a:lnTo>
                  <a:lnTo>
                    <a:pt x="280" y="330"/>
                  </a:lnTo>
                  <a:lnTo>
                    <a:pt x="280" y="330"/>
                  </a:lnTo>
                  <a:lnTo>
                    <a:pt x="293" y="329"/>
                  </a:lnTo>
                  <a:lnTo>
                    <a:pt x="302" y="326"/>
                  </a:lnTo>
                  <a:lnTo>
                    <a:pt x="305" y="323"/>
                  </a:lnTo>
                  <a:lnTo>
                    <a:pt x="306" y="321"/>
                  </a:lnTo>
                  <a:lnTo>
                    <a:pt x="306" y="321"/>
                  </a:lnTo>
                  <a:lnTo>
                    <a:pt x="309" y="315"/>
                  </a:lnTo>
                  <a:lnTo>
                    <a:pt x="309" y="310"/>
                  </a:lnTo>
                  <a:lnTo>
                    <a:pt x="308" y="293"/>
                  </a:lnTo>
                  <a:lnTo>
                    <a:pt x="308" y="293"/>
                  </a:lnTo>
                  <a:lnTo>
                    <a:pt x="308" y="286"/>
                  </a:lnTo>
                  <a:lnTo>
                    <a:pt x="311" y="281"/>
                  </a:lnTo>
                  <a:lnTo>
                    <a:pt x="314" y="280"/>
                  </a:lnTo>
                  <a:lnTo>
                    <a:pt x="318" y="281"/>
                  </a:lnTo>
                  <a:lnTo>
                    <a:pt x="318" y="281"/>
                  </a:lnTo>
                  <a:lnTo>
                    <a:pt x="325" y="286"/>
                  </a:lnTo>
                  <a:lnTo>
                    <a:pt x="334" y="290"/>
                  </a:lnTo>
                  <a:lnTo>
                    <a:pt x="334" y="290"/>
                  </a:lnTo>
                  <a:lnTo>
                    <a:pt x="339" y="293"/>
                  </a:lnTo>
                  <a:lnTo>
                    <a:pt x="343" y="292"/>
                  </a:lnTo>
                  <a:lnTo>
                    <a:pt x="348" y="290"/>
                  </a:lnTo>
                  <a:lnTo>
                    <a:pt x="348" y="290"/>
                  </a:lnTo>
                  <a:lnTo>
                    <a:pt x="358" y="292"/>
                  </a:lnTo>
                  <a:lnTo>
                    <a:pt x="365" y="293"/>
                  </a:lnTo>
                  <a:lnTo>
                    <a:pt x="370" y="292"/>
                  </a:lnTo>
                  <a:lnTo>
                    <a:pt x="370" y="292"/>
                  </a:lnTo>
                  <a:lnTo>
                    <a:pt x="374" y="287"/>
                  </a:lnTo>
                  <a:lnTo>
                    <a:pt x="382" y="278"/>
                  </a:lnTo>
                  <a:lnTo>
                    <a:pt x="382" y="278"/>
                  </a:lnTo>
                  <a:lnTo>
                    <a:pt x="389" y="268"/>
                  </a:lnTo>
                  <a:lnTo>
                    <a:pt x="395" y="264"/>
                  </a:lnTo>
                  <a:lnTo>
                    <a:pt x="395" y="264"/>
                  </a:lnTo>
                  <a:lnTo>
                    <a:pt x="395" y="262"/>
                  </a:lnTo>
                  <a:lnTo>
                    <a:pt x="396" y="259"/>
                  </a:lnTo>
                  <a:lnTo>
                    <a:pt x="395" y="252"/>
                  </a:lnTo>
                  <a:lnTo>
                    <a:pt x="394" y="238"/>
                  </a:lnTo>
                  <a:lnTo>
                    <a:pt x="394" y="238"/>
                  </a:lnTo>
                  <a:lnTo>
                    <a:pt x="394" y="233"/>
                  </a:lnTo>
                  <a:lnTo>
                    <a:pt x="395" y="230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10" y="228"/>
                  </a:lnTo>
                  <a:lnTo>
                    <a:pt x="420" y="227"/>
                  </a:lnTo>
                  <a:lnTo>
                    <a:pt x="428" y="225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8" y="218"/>
                  </a:lnTo>
                  <a:lnTo>
                    <a:pt x="426" y="216"/>
                  </a:lnTo>
                  <a:lnTo>
                    <a:pt x="425" y="216"/>
                  </a:lnTo>
                  <a:lnTo>
                    <a:pt x="425" y="216"/>
                  </a:lnTo>
                  <a:lnTo>
                    <a:pt x="414" y="213"/>
                  </a:lnTo>
                  <a:lnTo>
                    <a:pt x="408" y="212"/>
                  </a:lnTo>
                  <a:lnTo>
                    <a:pt x="408" y="210"/>
                  </a:lnTo>
                  <a:lnTo>
                    <a:pt x="408" y="209"/>
                  </a:lnTo>
                  <a:lnTo>
                    <a:pt x="408" y="209"/>
                  </a:lnTo>
                  <a:lnTo>
                    <a:pt x="408" y="206"/>
                  </a:lnTo>
                  <a:lnTo>
                    <a:pt x="407" y="198"/>
                  </a:lnTo>
                  <a:lnTo>
                    <a:pt x="404" y="190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1" y="193"/>
                  </a:lnTo>
                  <a:lnTo>
                    <a:pt x="399" y="198"/>
                  </a:lnTo>
                  <a:lnTo>
                    <a:pt x="399" y="198"/>
                  </a:lnTo>
                  <a:lnTo>
                    <a:pt x="396" y="201"/>
                  </a:lnTo>
                  <a:lnTo>
                    <a:pt x="392" y="204"/>
                  </a:lnTo>
                  <a:lnTo>
                    <a:pt x="388" y="206"/>
                  </a:lnTo>
                  <a:lnTo>
                    <a:pt x="386" y="204"/>
                  </a:lnTo>
                  <a:lnTo>
                    <a:pt x="386" y="201"/>
                  </a:lnTo>
                  <a:lnTo>
                    <a:pt x="386" y="2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2" name="Freeform 31">
              <a:extLst>
                <a:ext uri="{FF2B5EF4-FFF2-40B4-BE49-F238E27FC236}">
                  <a16:creationId xmlns:a16="http://schemas.microsoft.com/office/drawing/2014/main" id="{3DBCF105-5D04-4148-94E4-FE226CD19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350" y="6565900"/>
              <a:ext cx="255588" cy="160337"/>
            </a:xfrm>
            <a:custGeom>
              <a:avLst/>
              <a:gdLst>
                <a:gd name="T0" fmla="*/ 108 w 161"/>
                <a:gd name="T1" fmla="*/ 52 h 101"/>
                <a:gd name="T2" fmla="*/ 111 w 161"/>
                <a:gd name="T3" fmla="*/ 41 h 101"/>
                <a:gd name="T4" fmla="*/ 120 w 161"/>
                <a:gd name="T5" fmla="*/ 35 h 101"/>
                <a:gd name="T6" fmla="*/ 124 w 161"/>
                <a:gd name="T7" fmla="*/ 35 h 101"/>
                <a:gd name="T8" fmla="*/ 142 w 161"/>
                <a:gd name="T9" fmla="*/ 46 h 101"/>
                <a:gd name="T10" fmla="*/ 145 w 161"/>
                <a:gd name="T11" fmla="*/ 46 h 101"/>
                <a:gd name="T12" fmla="*/ 152 w 161"/>
                <a:gd name="T13" fmla="*/ 40 h 101"/>
                <a:gd name="T14" fmla="*/ 155 w 161"/>
                <a:gd name="T15" fmla="*/ 35 h 101"/>
                <a:gd name="T16" fmla="*/ 161 w 161"/>
                <a:gd name="T17" fmla="*/ 24 h 101"/>
                <a:gd name="T18" fmla="*/ 160 w 161"/>
                <a:gd name="T19" fmla="*/ 21 h 101"/>
                <a:gd name="T20" fmla="*/ 149 w 161"/>
                <a:gd name="T21" fmla="*/ 9 h 101"/>
                <a:gd name="T22" fmla="*/ 136 w 161"/>
                <a:gd name="T23" fmla="*/ 0 h 101"/>
                <a:gd name="T24" fmla="*/ 134 w 161"/>
                <a:gd name="T25" fmla="*/ 10 h 101"/>
                <a:gd name="T26" fmla="*/ 134 w 161"/>
                <a:gd name="T27" fmla="*/ 15 h 101"/>
                <a:gd name="T28" fmla="*/ 129 w 161"/>
                <a:gd name="T29" fmla="*/ 25 h 101"/>
                <a:gd name="T30" fmla="*/ 121 w 161"/>
                <a:gd name="T31" fmla="*/ 27 h 101"/>
                <a:gd name="T32" fmla="*/ 96 w 161"/>
                <a:gd name="T33" fmla="*/ 22 h 101"/>
                <a:gd name="T34" fmla="*/ 86 w 161"/>
                <a:gd name="T35" fmla="*/ 19 h 101"/>
                <a:gd name="T36" fmla="*/ 75 w 161"/>
                <a:gd name="T37" fmla="*/ 16 h 101"/>
                <a:gd name="T38" fmla="*/ 62 w 161"/>
                <a:gd name="T39" fmla="*/ 18 h 101"/>
                <a:gd name="T40" fmla="*/ 52 w 161"/>
                <a:gd name="T41" fmla="*/ 16 h 101"/>
                <a:gd name="T42" fmla="*/ 47 w 161"/>
                <a:gd name="T43" fmla="*/ 15 h 101"/>
                <a:gd name="T44" fmla="*/ 31 w 161"/>
                <a:gd name="T45" fmla="*/ 12 h 101"/>
                <a:gd name="T46" fmla="*/ 25 w 161"/>
                <a:gd name="T47" fmla="*/ 10 h 101"/>
                <a:gd name="T48" fmla="*/ 4 w 161"/>
                <a:gd name="T49" fmla="*/ 0 h 101"/>
                <a:gd name="T50" fmla="*/ 1 w 161"/>
                <a:gd name="T51" fmla="*/ 19 h 101"/>
                <a:gd name="T52" fmla="*/ 0 w 161"/>
                <a:gd name="T53" fmla="*/ 49 h 101"/>
                <a:gd name="T54" fmla="*/ 4 w 161"/>
                <a:gd name="T55" fmla="*/ 64 h 101"/>
                <a:gd name="T56" fmla="*/ 10 w 161"/>
                <a:gd name="T57" fmla="*/ 70 h 101"/>
                <a:gd name="T58" fmla="*/ 25 w 161"/>
                <a:gd name="T59" fmla="*/ 84 h 101"/>
                <a:gd name="T60" fmla="*/ 37 w 161"/>
                <a:gd name="T61" fmla="*/ 98 h 101"/>
                <a:gd name="T62" fmla="*/ 77 w 161"/>
                <a:gd name="T63" fmla="*/ 93 h 101"/>
                <a:gd name="T64" fmla="*/ 89 w 161"/>
                <a:gd name="T65" fmla="*/ 99 h 101"/>
                <a:gd name="T66" fmla="*/ 94 w 161"/>
                <a:gd name="T67" fmla="*/ 101 h 101"/>
                <a:gd name="T68" fmla="*/ 99 w 161"/>
                <a:gd name="T69" fmla="*/ 93 h 101"/>
                <a:gd name="T70" fmla="*/ 108 w 161"/>
                <a:gd name="T71" fmla="*/ 61 h 101"/>
                <a:gd name="T72" fmla="*/ 108 w 161"/>
                <a:gd name="T73" fmla="*/ 5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1" h="101">
                  <a:moveTo>
                    <a:pt x="108" y="52"/>
                  </a:moveTo>
                  <a:lnTo>
                    <a:pt x="108" y="52"/>
                  </a:lnTo>
                  <a:lnTo>
                    <a:pt x="108" y="46"/>
                  </a:lnTo>
                  <a:lnTo>
                    <a:pt x="111" y="41"/>
                  </a:lnTo>
                  <a:lnTo>
                    <a:pt x="115" y="38"/>
                  </a:lnTo>
                  <a:lnTo>
                    <a:pt x="120" y="35"/>
                  </a:lnTo>
                  <a:lnTo>
                    <a:pt x="120" y="35"/>
                  </a:lnTo>
                  <a:lnTo>
                    <a:pt x="124" y="35"/>
                  </a:lnTo>
                  <a:lnTo>
                    <a:pt x="130" y="38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5" y="46"/>
                  </a:lnTo>
                  <a:lnTo>
                    <a:pt x="149" y="44"/>
                  </a:lnTo>
                  <a:lnTo>
                    <a:pt x="152" y="40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8" y="30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0" y="21"/>
                  </a:lnTo>
                  <a:lnTo>
                    <a:pt x="158" y="18"/>
                  </a:lnTo>
                  <a:lnTo>
                    <a:pt x="149" y="9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4" y="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5"/>
                  </a:lnTo>
                  <a:lnTo>
                    <a:pt x="133" y="21"/>
                  </a:lnTo>
                  <a:lnTo>
                    <a:pt x="129" y="25"/>
                  </a:lnTo>
                  <a:lnTo>
                    <a:pt x="126" y="25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86" y="19"/>
                  </a:lnTo>
                  <a:lnTo>
                    <a:pt x="80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2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7" y="15"/>
                  </a:lnTo>
                  <a:lnTo>
                    <a:pt x="38" y="13"/>
                  </a:lnTo>
                  <a:lnTo>
                    <a:pt x="31" y="12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13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1" y="19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" y="58"/>
                  </a:lnTo>
                  <a:lnTo>
                    <a:pt x="4" y="64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7" y="77"/>
                  </a:lnTo>
                  <a:lnTo>
                    <a:pt x="25" y="84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83" y="96"/>
                  </a:lnTo>
                  <a:lnTo>
                    <a:pt x="89" y="99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6" y="98"/>
                  </a:lnTo>
                  <a:lnTo>
                    <a:pt x="99" y="93"/>
                  </a:lnTo>
                  <a:lnTo>
                    <a:pt x="105" y="77"/>
                  </a:lnTo>
                  <a:lnTo>
                    <a:pt x="108" y="61"/>
                  </a:lnTo>
                  <a:lnTo>
                    <a:pt x="108" y="52"/>
                  </a:lnTo>
                  <a:lnTo>
                    <a:pt x="108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3" name="Freeform 32">
              <a:extLst>
                <a:ext uri="{FF2B5EF4-FFF2-40B4-BE49-F238E27FC236}">
                  <a16:creationId xmlns:a16="http://schemas.microsoft.com/office/drawing/2014/main" id="{B627454E-40D1-C643-B704-70EB34E50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9688" y="2962275"/>
              <a:ext cx="3221038" cy="3981450"/>
            </a:xfrm>
            <a:custGeom>
              <a:avLst/>
              <a:gdLst>
                <a:gd name="T0" fmla="*/ 1976 w 2029"/>
                <a:gd name="T1" fmla="*/ 608 h 2508"/>
                <a:gd name="T2" fmla="*/ 1995 w 2029"/>
                <a:gd name="T3" fmla="*/ 491 h 2508"/>
                <a:gd name="T4" fmla="*/ 1904 w 2029"/>
                <a:gd name="T5" fmla="*/ 287 h 2508"/>
                <a:gd name="T6" fmla="*/ 1808 w 2029"/>
                <a:gd name="T7" fmla="*/ 213 h 2508"/>
                <a:gd name="T8" fmla="*/ 1693 w 2029"/>
                <a:gd name="T9" fmla="*/ 201 h 2508"/>
                <a:gd name="T10" fmla="*/ 1346 w 2029"/>
                <a:gd name="T11" fmla="*/ 388 h 2508"/>
                <a:gd name="T12" fmla="*/ 1229 w 2029"/>
                <a:gd name="T13" fmla="*/ 447 h 2508"/>
                <a:gd name="T14" fmla="*/ 1158 w 2029"/>
                <a:gd name="T15" fmla="*/ 479 h 2508"/>
                <a:gd name="T16" fmla="*/ 1020 w 2029"/>
                <a:gd name="T17" fmla="*/ 497 h 2508"/>
                <a:gd name="T18" fmla="*/ 1081 w 2029"/>
                <a:gd name="T19" fmla="*/ 620 h 2508"/>
                <a:gd name="T20" fmla="*/ 1007 w 2029"/>
                <a:gd name="T21" fmla="*/ 697 h 2508"/>
                <a:gd name="T22" fmla="*/ 869 w 2029"/>
                <a:gd name="T23" fmla="*/ 848 h 2508"/>
                <a:gd name="T24" fmla="*/ 714 w 2029"/>
                <a:gd name="T25" fmla="*/ 789 h 2508"/>
                <a:gd name="T26" fmla="*/ 672 w 2029"/>
                <a:gd name="T27" fmla="*/ 706 h 2508"/>
                <a:gd name="T28" fmla="*/ 547 w 2029"/>
                <a:gd name="T29" fmla="*/ 681 h 2508"/>
                <a:gd name="T30" fmla="*/ 476 w 2029"/>
                <a:gd name="T31" fmla="*/ 786 h 2508"/>
                <a:gd name="T32" fmla="*/ 200 w 2029"/>
                <a:gd name="T33" fmla="*/ 804 h 2508"/>
                <a:gd name="T34" fmla="*/ 113 w 2029"/>
                <a:gd name="T35" fmla="*/ 770 h 2508"/>
                <a:gd name="T36" fmla="*/ 102 w 2029"/>
                <a:gd name="T37" fmla="*/ 829 h 2508"/>
                <a:gd name="T38" fmla="*/ 176 w 2029"/>
                <a:gd name="T39" fmla="*/ 950 h 2508"/>
                <a:gd name="T40" fmla="*/ 134 w 2029"/>
                <a:gd name="T41" fmla="*/ 1128 h 2508"/>
                <a:gd name="T42" fmla="*/ 77 w 2029"/>
                <a:gd name="T43" fmla="*/ 1226 h 2508"/>
                <a:gd name="T44" fmla="*/ 30 w 2029"/>
                <a:gd name="T45" fmla="*/ 1522 h 2508"/>
                <a:gd name="T46" fmla="*/ 46 w 2029"/>
                <a:gd name="T47" fmla="*/ 1655 h 2508"/>
                <a:gd name="T48" fmla="*/ 28 w 2029"/>
                <a:gd name="T49" fmla="*/ 1824 h 2508"/>
                <a:gd name="T50" fmla="*/ 150 w 2029"/>
                <a:gd name="T51" fmla="*/ 1851 h 2508"/>
                <a:gd name="T52" fmla="*/ 175 w 2029"/>
                <a:gd name="T53" fmla="*/ 1916 h 2508"/>
                <a:gd name="T54" fmla="*/ 259 w 2029"/>
                <a:gd name="T55" fmla="*/ 2092 h 2508"/>
                <a:gd name="T56" fmla="*/ 322 w 2029"/>
                <a:gd name="T57" fmla="*/ 2217 h 2508"/>
                <a:gd name="T58" fmla="*/ 305 w 2029"/>
                <a:gd name="T59" fmla="*/ 2403 h 2508"/>
                <a:gd name="T60" fmla="*/ 425 w 2029"/>
                <a:gd name="T61" fmla="*/ 2362 h 2508"/>
                <a:gd name="T62" fmla="*/ 516 w 2029"/>
                <a:gd name="T63" fmla="*/ 2326 h 2508"/>
                <a:gd name="T64" fmla="*/ 601 w 2029"/>
                <a:gd name="T65" fmla="*/ 2180 h 2508"/>
                <a:gd name="T66" fmla="*/ 744 w 2029"/>
                <a:gd name="T67" fmla="*/ 2260 h 2508"/>
                <a:gd name="T68" fmla="*/ 832 w 2029"/>
                <a:gd name="T69" fmla="*/ 2338 h 2508"/>
                <a:gd name="T70" fmla="*/ 924 w 2029"/>
                <a:gd name="T71" fmla="*/ 2474 h 2508"/>
                <a:gd name="T72" fmla="*/ 1132 w 2029"/>
                <a:gd name="T73" fmla="*/ 2485 h 2508"/>
                <a:gd name="T74" fmla="*/ 1364 w 2029"/>
                <a:gd name="T75" fmla="*/ 2495 h 2508"/>
                <a:gd name="T76" fmla="*/ 1545 w 2029"/>
                <a:gd name="T77" fmla="*/ 2403 h 2508"/>
                <a:gd name="T78" fmla="*/ 1634 w 2029"/>
                <a:gd name="T79" fmla="*/ 2245 h 2508"/>
                <a:gd name="T80" fmla="*/ 1530 w 2029"/>
                <a:gd name="T81" fmla="*/ 2098 h 2508"/>
                <a:gd name="T82" fmla="*/ 1571 w 2029"/>
                <a:gd name="T83" fmla="*/ 1940 h 2508"/>
                <a:gd name="T84" fmla="*/ 1743 w 2029"/>
                <a:gd name="T85" fmla="*/ 1783 h 2508"/>
                <a:gd name="T86" fmla="*/ 1700 w 2029"/>
                <a:gd name="T87" fmla="*/ 1646 h 2508"/>
                <a:gd name="T88" fmla="*/ 1699 w 2029"/>
                <a:gd name="T89" fmla="*/ 1408 h 2508"/>
                <a:gd name="T90" fmla="*/ 1851 w 2029"/>
                <a:gd name="T91" fmla="*/ 1369 h 2508"/>
                <a:gd name="T92" fmla="*/ 1881 w 2029"/>
                <a:gd name="T93" fmla="*/ 1258 h 2508"/>
                <a:gd name="T94" fmla="*/ 1844 w 2029"/>
                <a:gd name="T95" fmla="*/ 1060 h 2508"/>
                <a:gd name="T96" fmla="*/ 1894 w 2029"/>
                <a:gd name="T97" fmla="*/ 940 h 2508"/>
                <a:gd name="T98" fmla="*/ 1995 w 2029"/>
                <a:gd name="T99" fmla="*/ 869 h 2508"/>
                <a:gd name="T100" fmla="*/ 923 w 2029"/>
                <a:gd name="T101" fmla="*/ 5 h 2508"/>
                <a:gd name="T102" fmla="*/ 951 w 2029"/>
                <a:gd name="T103" fmla="*/ 149 h 2508"/>
                <a:gd name="T104" fmla="*/ 1038 w 2029"/>
                <a:gd name="T105" fmla="*/ 119 h 2508"/>
                <a:gd name="T106" fmla="*/ 809 w 2029"/>
                <a:gd name="T107" fmla="*/ 225 h 2508"/>
                <a:gd name="T108" fmla="*/ 738 w 2029"/>
                <a:gd name="T109" fmla="*/ 260 h 2508"/>
                <a:gd name="T110" fmla="*/ 834 w 2029"/>
                <a:gd name="T111" fmla="*/ 373 h 2508"/>
                <a:gd name="T112" fmla="*/ 905 w 2029"/>
                <a:gd name="T113" fmla="*/ 294 h 2508"/>
                <a:gd name="T114" fmla="*/ 881 w 2029"/>
                <a:gd name="T115" fmla="*/ 201 h 2508"/>
                <a:gd name="T116" fmla="*/ 699 w 2029"/>
                <a:gd name="T117" fmla="*/ 308 h 2508"/>
                <a:gd name="T118" fmla="*/ 810 w 2029"/>
                <a:gd name="T119" fmla="*/ 462 h 2508"/>
                <a:gd name="T120" fmla="*/ 963 w 2029"/>
                <a:gd name="T121" fmla="*/ 445 h 2508"/>
                <a:gd name="T122" fmla="*/ 958 w 2029"/>
                <a:gd name="T123" fmla="*/ 388 h 2508"/>
                <a:gd name="T124" fmla="*/ 119 w 2029"/>
                <a:gd name="T125" fmla="*/ 721 h 2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9" h="2508">
                  <a:moveTo>
                    <a:pt x="1947" y="752"/>
                  </a:moveTo>
                  <a:lnTo>
                    <a:pt x="1947" y="752"/>
                  </a:lnTo>
                  <a:lnTo>
                    <a:pt x="1939" y="749"/>
                  </a:lnTo>
                  <a:lnTo>
                    <a:pt x="1930" y="743"/>
                  </a:lnTo>
                  <a:lnTo>
                    <a:pt x="1921" y="737"/>
                  </a:lnTo>
                  <a:lnTo>
                    <a:pt x="1916" y="730"/>
                  </a:lnTo>
                  <a:lnTo>
                    <a:pt x="1916" y="730"/>
                  </a:lnTo>
                  <a:lnTo>
                    <a:pt x="1913" y="722"/>
                  </a:lnTo>
                  <a:lnTo>
                    <a:pt x="1912" y="713"/>
                  </a:lnTo>
                  <a:lnTo>
                    <a:pt x="1912" y="706"/>
                  </a:lnTo>
                  <a:lnTo>
                    <a:pt x="1913" y="703"/>
                  </a:lnTo>
                  <a:lnTo>
                    <a:pt x="1916" y="702"/>
                  </a:lnTo>
                  <a:lnTo>
                    <a:pt x="1916" y="702"/>
                  </a:lnTo>
                  <a:lnTo>
                    <a:pt x="1921" y="700"/>
                  </a:lnTo>
                  <a:lnTo>
                    <a:pt x="1922" y="702"/>
                  </a:lnTo>
                  <a:lnTo>
                    <a:pt x="1925" y="702"/>
                  </a:lnTo>
                  <a:lnTo>
                    <a:pt x="1928" y="700"/>
                  </a:lnTo>
                  <a:lnTo>
                    <a:pt x="1928" y="700"/>
                  </a:lnTo>
                  <a:lnTo>
                    <a:pt x="1934" y="697"/>
                  </a:lnTo>
                  <a:lnTo>
                    <a:pt x="1934" y="694"/>
                  </a:lnTo>
                  <a:lnTo>
                    <a:pt x="1933" y="691"/>
                  </a:lnTo>
                  <a:lnTo>
                    <a:pt x="1933" y="691"/>
                  </a:lnTo>
                  <a:lnTo>
                    <a:pt x="1927" y="685"/>
                  </a:lnTo>
                  <a:lnTo>
                    <a:pt x="1918" y="679"/>
                  </a:lnTo>
                  <a:lnTo>
                    <a:pt x="1910" y="675"/>
                  </a:lnTo>
                  <a:lnTo>
                    <a:pt x="1909" y="672"/>
                  </a:lnTo>
                  <a:lnTo>
                    <a:pt x="1907" y="670"/>
                  </a:lnTo>
                  <a:lnTo>
                    <a:pt x="1907" y="670"/>
                  </a:lnTo>
                  <a:lnTo>
                    <a:pt x="1907" y="666"/>
                  </a:lnTo>
                  <a:lnTo>
                    <a:pt x="1909" y="659"/>
                  </a:lnTo>
                  <a:lnTo>
                    <a:pt x="1910" y="656"/>
                  </a:lnTo>
                  <a:lnTo>
                    <a:pt x="1913" y="651"/>
                  </a:lnTo>
                  <a:lnTo>
                    <a:pt x="1918" y="648"/>
                  </a:lnTo>
                  <a:lnTo>
                    <a:pt x="1924" y="645"/>
                  </a:lnTo>
                  <a:lnTo>
                    <a:pt x="1924" y="645"/>
                  </a:lnTo>
                  <a:lnTo>
                    <a:pt x="1934" y="642"/>
                  </a:lnTo>
                  <a:lnTo>
                    <a:pt x="1940" y="638"/>
                  </a:lnTo>
                  <a:lnTo>
                    <a:pt x="1943" y="633"/>
                  </a:lnTo>
                  <a:lnTo>
                    <a:pt x="1947" y="629"/>
                  </a:lnTo>
                  <a:lnTo>
                    <a:pt x="1947" y="629"/>
                  </a:lnTo>
                  <a:lnTo>
                    <a:pt x="1962" y="619"/>
                  </a:lnTo>
                  <a:lnTo>
                    <a:pt x="1976" y="608"/>
                  </a:lnTo>
                  <a:lnTo>
                    <a:pt x="1976" y="608"/>
                  </a:lnTo>
                  <a:lnTo>
                    <a:pt x="1981" y="605"/>
                  </a:lnTo>
                  <a:lnTo>
                    <a:pt x="1984" y="601"/>
                  </a:lnTo>
                  <a:lnTo>
                    <a:pt x="1986" y="596"/>
                  </a:lnTo>
                  <a:lnTo>
                    <a:pt x="1986" y="590"/>
                  </a:lnTo>
                  <a:lnTo>
                    <a:pt x="1986" y="590"/>
                  </a:lnTo>
                  <a:lnTo>
                    <a:pt x="1984" y="585"/>
                  </a:lnTo>
                  <a:lnTo>
                    <a:pt x="1984" y="580"/>
                  </a:lnTo>
                  <a:lnTo>
                    <a:pt x="1987" y="579"/>
                  </a:lnTo>
                  <a:lnTo>
                    <a:pt x="1990" y="579"/>
                  </a:lnTo>
                  <a:lnTo>
                    <a:pt x="1990" y="579"/>
                  </a:lnTo>
                  <a:lnTo>
                    <a:pt x="1999" y="585"/>
                  </a:lnTo>
                  <a:lnTo>
                    <a:pt x="2005" y="587"/>
                  </a:lnTo>
                  <a:lnTo>
                    <a:pt x="2010" y="587"/>
                  </a:lnTo>
                  <a:lnTo>
                    <a:pt x="2010" y="587"/>
                  </a:lnTo>
                  <a:lnTo>
                    <a:pt x="2013" y="585"/>
                  </a:lnTo>
                  <a:lnTo>
                    <a:pt x="2017" y="582"/>
                  </a:lnTo>
                  <a:lnTo>
                    <a:pt x="2020" y="576"/>
                  </a:lnTo>
                  <a:lnTo>
                    <a:pt x="2020" y="573"/>
                  </a:lnTo>
                  <a:lnTo>
                    <a:pt x="2019" y="568"/>
                  </a:lnTo>
                  <a:lnTo>
                    <a:pt x="2019" y="568"/>
                  </a:lnTo>
                  <a:lnTo>
                    <a:pt x="2016" y="561"/>
                  </a:lnTo>
                  <a:lnTo>
                    <a:pt x="2016" y="555"/>
                  </a:lnTo>
                  <a:lnTo>
                    <a:pt x="2017" y="549"/>
                  </a:lnTo>
                  <a:lnTo>
                    <a:pt x="2020" y="543"/>
                  </a:lnTo>
                  <a:lnTo>
                    <a:pt x="2020" y="543"/>
                  </a:lnTo>
                  <a:lnTo>
                    <a:pt x="2029" y="534"/>
                  </a:lnTo>
                  <a:lnTo>
                    <a:pt x="2029" y="531"/>
                  </a:lnTo>
                  <a:lnTo>
                    <a:pt x="2026" y="528"/>
                  </a:lnTo>
                  <a:lnTo>
                    <a:pt x="2026" y="528"/>
                  </a:lnTo>
                  <a:lnTo>
                    <a:pt x="2020" y="524"/>
                  </a:lnTo>
                  <a:lnTo>
                    <a:pt x="2017" y="522"/>
                  </a:lnTo>
                  <a:lnTo>
                    <a:pt x="2017" y="519"/>
                  </a:lnTo>
                  <a:lnTo>
                    <a:pt x="2017" y="519"/>
                  </a:lnTo>
                  <a:lnTo>
                    <a:pt x="2017" y="518"/>
                  </a:lnTo>
                  <a:lnTo>
                    <a:pt x="2017" y="518"/>
                  </a:lnTo>
                  <a:lnTo>
                    <a:pt x="2007" y="509"/>
                  </a:lnTo>
                  <a:lnTo>
                    <a:pt x="2001" y="500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87" y="481"/>
                  </a:lnTo>
                  <a:lnTo>
                    <a:pt x="1979" y="473"/>
                  </a:lnTo>
                  <a:lnTo>
                    <a:pt x="1968" y="469"/>
                  </a:lnTo>
                  <a:lnTo>
                    <a:pt x="1958" y="466"/>
                  </a:lnTo>
                  <a:lnTo>
                    <a:pt x="1958" y="466"/>
                  </a:lnTo>
                  <a:lnTo>
                    <a:pt x="1942" y="468"/>
                  </a:lnTo>
                  <a:lnTo>
                    <a:pt x="1922" y="470"/>
                  </a:lnTo>
                  <a:lnTo>
                    <a:pt x="1922" y="470"/>
                  </a:lnTo>
                  <a:lnTo>
                    <a:pt x="1912" y="470"/>
                  </a:lnTo>
                  <a:lnTo>
                    <a:pt x="1906" y="468"/>
                  </a:lnTo>
                  <a:lnTo>
                    <a:pt x="1893" y="457"/>
                  </a:lnTo>
                  <a:lnTo>
                    <a:pt x="1893" y="457"/>
                  </a:lnTo>
                  <a:lnTo>
                    <a:pt x="1885" y="451"/>
                  </a:lnTo>
                  <a:lnTo>
                    <a:pt x="1881" y="447"/>
                  </a:lnTo>
                  <a:lnTo>
                    <a:pt x="1878" y="442"/>
                  </a:lnTo>
                  <a:lnTo>
                    <a:pt x="1878" y="438"/>
                  </a:lnTo>
                  <a:lnTo>
                    <a:pt x="1878" y="438"/>
                  </a:lnTo>
                  <a:lnTo>
                    <a:pt x="1881" y="429"/>
                  </a:lnTo>
                  <a:lnTo>
                    <a:pt x="1881" y="426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2" y="425"/>
                  </a:lnTo>
                  <a:lnTo>
                    <a:pt x="1867" y="425"/>
                  </a:lnTo>
                  <a:lnTo>
                    <a:pt x="1865" y="422"/>
                  </a:lnTo>
                  <a:lnTo>
                    <a:pt x="1865" y="422"/>
                  </a:lnTo>
                  <a:lnTo>
                    <a:pt x="1862" y="417"/>
                  </a:lnTo>
                  <a:lnTo>
                    <a:pt x="1859" y="407"/>
                  </a:lnTo>
                  <a:lnTo>
                    <a:pt x="1859" y="396"/>
                  </a:lnTo>
                  <a:lnTo>
                    <a:pt x="1860" y="392"/>
                  </a:lnTo>
                  <a:lnTo>
                    <a:pt x="1862" y="388"/>
                  </a:lnTo>
                  <a:lnTo>
                    <a:pt x="1862" y="388"/>
                  </a:lnTo>
                  <a:lnTo>
                    <a:pt x="1869" y="374"/>
                  </a:lnTo>
                  <a:lnTo>
                    <a:pt x="1872" y="364"/>
                  </a:lnTo>
                  <a:lnTo>
                    <a:pt x="1872" y="364"/>
                  </a:lnTo>
                  <a:lnTo>
                    <a:pt x="1875" y="355"/>
                  </a:lnTo>
                  <a:lnTo>
                    <a:pt x="1884" y="343"/>
                  </a:lnTo>
                  <a:lnTo>
                    <a:pt x="1899" y="324"/>
                  </a:lnTo>
                  <a:lnTo>
                    <a:pt x="1899" y="324"/>
                  </a:lnTo>
                  <a:lnTo>
                    <a:pt x="1902" y="318"/>
                  </a:lnTo>
                  <a:lnTo>
                    <a:pt x="1904" y="309"/>
                  </a:lnTo>
                  <a:lnTo>
                    <a:pt x="1904" y="299"/>
                  </a:lnTo>
                  <a:lnTo>
                    <a:pt x="1904" y="287"/>
                  </a:lnTo>
                  <a:lnTo>
                    <a:pt x="1904" y="287"/>
                  </a:lnTo>
                  <a:lnTo>
                    <a:pt x="1904" y="282"/>
                  </a:lnTo>
                  <a:lnTo>
                    <a:pt x="1904" y="278"/>
                  </a:lnTo>
                  <a:lnTo>
                    <a:pt x="1909" y="272"/>
                  </a:lnTo>
                  <a:lnTo>
                    <a:pt x="1913" y="268"/>
                  </a:lnTo>
                  <a:lnTo>
                    <a:pt x="1918" y="262"/>
                  </a:lnTo>
                  <a:lnTo>
                    <a:pt x="1918" y="262"/>
                  </a:lnTo>
                  <a:lnTo>
                    <a:pt x="1922" y="257"/>
                  </a:lnTo>
                  <a:lnTo>
                    <a:pt x="1927" y="254"/>
                  </a:lnTo>
                  <a:lnTo>
                    <a:pt x="1931" y="253"/>
                  </a:lnTo>
                  <a:lnTo>
                    <a:pt x="1931" y="251"/>
                  </a:lnTo>
                  <a:lnTo>
                    <a:pt x="1931" y="251"/>
                  </a:lnTo>
                  <a:lnTo>
                    <a:pt x="1924" y="242"/>
                  </a:lnTo>
                  <a:lnTo>
                    <a:pt x="1907" y="228"/>
                  </a:lnTo>
                  <a:lnTo>
                    <a:pt x="1888" y="214"/>
                  </a:lnTo>
                  <a:lnTo>
                    <a:pt x="1881" y="210"/>
                  </a:lnTo>
                  <a:lnTo>
                    <a:pt x="1876" y="208"/>
                  </a:lnTo>
                  <a:lnTo>
                    <a:pt x="1876" y="208"/>
                  </a:lnTo>
                  <a:lnTo>
                    <a:pt x="1870" y="207"/>
                  </a:lnTo>
                  <a:lnTo>
                    <a:pt x="1866" y="205"/>
                  </a:lnTo>
                  <a:lnTo>
                    <a:pt x="1865" y="201"/>
                  </a:lnTo>
                  <a:lnTo>
                    <a:pt x="1865" y="195"/>
                  </a:lnTo>
                  <a:lnTo>
                    <a:pt x="1865" y="195"/>
                  </a:lnTo>
                  <a:lnTo>
                    <a:pt x="1863" y="189"/>
                  </a:lnTo>
                  <a:lnTo>
                    <a:pt x="1862" y="188"/>
                  </a:lnTo>
                  <a:lnTo>
                    <a:pt x="1859" y="186"/>
                  </a:lnTo>
                  <a:lnTo>
                    <a:pt x="1857" y="188"/>
                  </a:lnTo>
                  <a:lnTo>
                    <a:pt x="1857" y="188"/>
                  </a:lnTo>
                  <a:lnTo>
                    <a:pt x="1854" y="189"/>
                  </a:lnTo>
                  <a:lnTo>
                    <a:pt x="1850" y="191"/>
                  </a:lnTo>
                  <a:lnTo>
                    <a:pt x="1842" y="192"/>
                  </a:lnTo>
                  <a:lnTo>
                    <a:pt x="1833" y="191"/>
                  </a:lnTo>
                  <a:lnTo>
                    <a:pt x="1833" y="191"/>
                  </a:lnTo>
                  <a:lnTo>
                    <a:pt x="1829" y="189"/>
                  </a:lnTo>
                  <a:lnTo>
                    <a:pt x="1825" y="186"/>
                  </a:lnTo>
                  <a:lnTo>
                    <a:pt x="1817" y="180"/>
                  </a:lnTo>
                  <a:lnTo>
                    <a:pt x="1810" y="171"/>
                  </a:lnTo>
                  <a:lnTo>
                    <a:pt x="1810" y="171"/>
                  </a:lnTo>
                  <a:lnTo>
                    <a:pt x="1808" y="177"/>
                  </a:lnTo>
                  <a:lnTo>
                    <a:pt x="1808" y="177"/>
                  </a:lnTo>
                  <a:lnTo>
                    <a:pt x="1808" y="195"/>
                  </a:lnTo>
                  <a:lnTo>
                    <a:pt x="1808" y="213"/>
                  </a:lnTo>
                  <a:lnTo>
                    <a:pt x="1808" y="213"/>
                  </a:lnTo>
                  <a:lnTo>
                    <a:pt x="1807" y="214"/>
                  </a:lnTo>
                  <a:lnTo>
                    <a:pt x="1805" y="216"/>
                  </a:lnTo>
                  <a:lnTo>
                    <a:pt x="1799" y="213"/>
                  </a:lnTo>
                  <a:lnTo>
                    <a:pt x="1799" y="213"/>
                  </a:lnTo>
                  <a:lnTo>
                    <a:pt x="1795" y="208"/>
                  </a:lnTo>
                  <a:lnTo>
                    <a:pt x="1792" y="208"/>
                  </a:lnTo>
                  <a:lnTo>
                    <a:pt x="1790" y="210"/>
                  </a:lnTo>
                  <a:lnTo>
                    <a:pt x="1790" y="210"/>
                  </a:lnTo>
                  <a:lnTo>
                    <a:pt x="1790" y="214"/>
                  </a:lnTo>
                  <a:lnTo>
                    <a:pt x="1790" y="220"/>
                  </a:lnTo>
                  <a:lnTo>
                    <a:pt x="1792" y="226"/>
                  </a:lnTo>
                  <a:lnTo>
                    <a:pt x="1790" y="231"/>
                  </a:lnTo>
                  <a:lnTo>
                    <a:pt x="1790" y="231"/>
                  </a:lnTo>
                  <a:lnTo>
                    <a:pt x="1790" y="232"/>
                  </a:lnTo>
                  <a:lnTo>
                    <a:pt x="1789" y="232"/>
                  </a:lnTo>
                  <a:lnTo>
                    <a:pt x="1785" y="229"/>
                  </a:lnTo>
                  <a:lnTo>
                    <a:pt x="1777" y="222"/>
                  </a:lnTo>
                  <a:lnTo>
                    <a:pt x="1777" y="222"/>
                  </a:lnTo>
                  <a:lnTo>
                    <a:pt x="1774" y="220"/>
                  </a:lnTo>
                  <a:lnTo>
                    <a:pt x="1771" y="219"/>
                  </a:lnTo>
                  <a:lnTo>
                    <a:pt x="1768" y="219"/>
                  </a:lnTo>
                  <a:lnTo>
                    <a:pt x="1767" y="220"/>
                  </a:lnTo>
                  <a:lnTo>
                    <a:pt x="1767" y="220"/>
                  </a:lnTo>
                  <a:lnTo>
                    <a:pt x="1768" y="231"/>
                  </a:lnTo>
                  <a:lnTo>
                    <a:pt x="1768" y="236"/>
                  </a:lnTo>
                  <a:lnTo>
                    <a:pt x="1767" y="242"/>
                  </a:lnTo>
                  <a:lnTo>
                    <a:pt x="1767" y="242"/>
                  </a:lnTo>
                  <a:lnTo>
                    <a:pt x="1765" y="244"/>
                  </a:lnTo>
                  <a:lnTo>
                    <a:pt x="1762" y="245"/>
                  </a:lnTo>
                  <a:lnTo>
                    <a:pt x="1752" y="247"/>
                  </a:lnTo>
                  <a:lnTo>
                    <a:pt x="1740" y="247"/>
                  </a:lnTo>
                  <a:lnTo>
                    <a:pt x="1733" y="245"/>
                  </a:lnTo>
                  <a:lnTo>
                    <a:pt x="1733" y="245"/>
                  </a:lnTo>
                  <a:lnTo>
                    <a:pt x="1730" y="244"/>
                  </a:lnTo>
                  <a:lnTo>
                    <a:pt x="1727" y="241"/>
                  </a:lnTo>
                  <a:lnTo>
                    <a:pt x="1725" y="235"/>
                  </a:lnTo>
                  <a:lnTo>
                    <a:pt x="1721" y="223"/>
                  </a:lnTo>
                  <a:lnTo>
                    <a:pt x="1721" y="223"/>
                  </a:lnTo>
                  <a:lnTo>
                    <a:pt x="1715" y="216"/>
                  </a:lnTo>
                  <a:lnTo>
                    <a:pt x="1705" y="208"/>
                  </a:lnTo>
                  <a:lnTo>
                    <a:pt x="1693" y="201"/>
                  </a:lnTo>
                  <a:lnTo>
                    <a:pt x="1685" y="196"/>
                  </a:lnTo>
                  <a:lnTo>
                    <a:pt x="1685" y="196"/>
                  </a:lnTo>
                  <a:lnTo>
                    <a:pt x="1679" y="195"/>
                  </a:lnTo>
                  <a:lnTo>
                    <a:pt x="1671" y="195"/>
                  </a:lnTo>
                  <a:lnTo>
                    <a:pt x="1641" y="195"/>
                  </a:lnTo>
                  <a:lnTo>
                    <a:pt x="1641" y="195"/>
                  </a:lnTo>
                  <a:lnTo>
                    <a:pt x="1632" y="196"/>
                  </a:lnTo>
                  <a:lnTo>
                    <a:pt x="1620" y="201"/>
                  </a:lnTo>
                  <a:lnTo>
                    <a:pt x="1596" y="213"/>
                  </a:lnTo>
                  <a:lnTo>
                    <a:pt x="1576" y="226"/>
                  </a:lnTo>
                  <a:lnTo>
                    <a:pt x="1562" y="235"/>
                  </a:lnTo>
                  <a:lnTo>
                    <a:pt x="1562" y="235"/>
                  </a:lnTo>
                  <a:lnTo>
                    <a:pt x="1558" y="239"/>
                  </a:lnTo>
                  <a:lnTo>
                    <a:pt x="1552" y="247"/>
                  </a:lnTo>
                  <a:lnTo>
                    <a:pt x="1537" y="268"/>
                  </a:lnTo>
                  <a:lnTo>
                    <a:pt x="1514" y="300"/>
                  </a:lnTo>
                  <a:lnTo>
                    <a:pt x="1514" y="300"/>
                  </a:lnTo>
                  <a:lnTo>
                    <a:pt x="1454" y="391"/>
                  </a:lnTo>
                  <a:lnTo>
                    <a:pt x="1454" y="391"/>
                  </a:lnTo>
                  <a:lnTo>
                    <a:pt x="1453" y="392"/>
                  </a:lnTo>
                  <a:lnTo>
                    <a:pt x="1450" y="391"/>
                  </a:lnTo>
                  <a:lnTo>
                    <a:pt x="1447" y="389"/>
                  </a:lnTo>
                  <a:lnTo>
                    <a:pt x="1445" y="386"/>
                  </a:lnTo>
                  <a:lnTo>
                    <a:pt x="1445" y="386"/>
                  </a:lnTo>
                  <a:lnTo>
                    <a:pt x="1442" y="382"/>
                  </a:lnTo>
                  <a:lnTo>
                    <a:pt x="1437" y="377"/>
                  </a:lnTo>
                  <a:lnTo>
                    <a:pt x="1431" y="373"/>
                  </a:lnTo>
                  <a:lnTo>
                    <a:pt x="1425" y="370"/>
                  </a:lnTo>
                  <a:lnTo>
                    <a:pt x="1425" y="370"/>
                  </a:lnTo>
                  <a:lnTo>
                    <a:pt x="1417" y="368"/>
                  </a:lnTo>
                  <a:lnTo>
                    <a:pt x="1408" y="368"/>
                  </a:lnTo>
                  <a:lnTo>
                    <a:pt x="1394" y="368"/>
                  </a:lnTo>
                  <a:lnTo>
                    <a:pt x="1394" y="368"/>
                  </a:lnTo>
                  <a:lnTo>
                    <a:pt x="1389" y="371"/>
                  </a:lnTo>
                  <a:lnTo>
                    <a:pt x="1385" y="377"/>
                  </a:lnTo>
                  <a:lnTo>
                    <a:pt x="1374" y="389"/>
                  </a:lnTo>
                  <a:lnTo>
                    <a:pt x="1374" y="389"/>
                  </a:lnTo>
                  <a:lnTo>
                    <a:pt x="1373" y="391"/>
                  </a:lnTo>
                  <a:lnTo>
                    <a:pt x="1370" y="391"/>
                  </a:lnTo>
                  <a:lnTo>
                    <a:pt x="1361" y="391"/>
                  </a:lnTo>
                  <a:lnTo>
                    <a:pt x="1354" y="389"/>
                  </a:lnTo>
                  <a:lnTo>
                    <a:pt x="1346" y="388"/>
                  </a:lnTo>
                  <a:lnTo>
                    <a:pt x="1346" y="388"/>
                  </a:lnTo>
                  <a:lnTo>
                    <a:pt x="1340" y="391"/>
                  </a:lnTo>
                  <a:lnTo>
                    <a:pt x="1334" y="396"/>
                  </a:lnTo>
                  <a:lnTo>
                    <a:pt x="1324" y="407"/>
                  </a:lnTo>
                  <a:lnTo>
                    <a:pt x="1324" y="407"/>
                  </a:lnTo>
                  <a:lnTo>
                    <a:pt x="1320" y="408"/>
                  </a:lnTo>
                  <a:lnTo>
                    <a:pt x="1317" y="408"/>
                  </a:lnTo>
                  <a:lnTo>
                    <a:pt x="1314" y="405"/>
                  </a:lnTo>
                  <a:lnTo>
                    <a:pt x="1311" y="401"/>
                  </a:lnTo>
                  <a:lnTo>
                    <a:pt x="1311" y="401"/>
                  </a:lnTo>
                  <a:lnTo>
                    <a:pt x="1311" y="398"/>
                  </a:lnTo>
                  <a:lnTo>
                    <a:pt x="1312" y="393"/>
                  </a:lnTo>
                  <a:lnTo>
                    <a:pt x="1320" y="386"/>
                  </a:lnTo>
                  <a:lnTo>
                    <a:pt x="1320" y="386"/>
                  </a:lnTo>
                  <a:lnTo>
                    <a:pt x="1323" y="382"/>
                  </a:lnTo>
                  <a:lnTo>
                    <a:pt x="1324" y="376"/>
                  </a:lnTo>
                  <a:lnTo>
                    <a:pt x="1326" y="371"/>
                  </a:lnTo>
                  <a:lnTo>
                    <a:pt x="1324" y="367"/>
                  </a:lnTo>
                  <a:lnTo>
                    <a:pt x="1324" y="367"/>
                  </a:lnTo>
                  <a:lnTo>
                    <a:pt x="1318" y="362"/>
                  </a:lnTo>
                  <a:lnTo>
                    <a:pt x="1311" y="356"/>
                  </a:lnTo>
                  <a:lnTo>
                    <a:pt x="1300" y="352"/>
                  </a:lnTo>
                  <a:lnTo>
                    <a:pt x="1293" y="349"/>
                  </a:lnTo>
                  <a:lnTo>
                    <a:pt x="1293" y="349"/>
                  </a:lnTo>
                  <a:lnTo>
                    <a:pt x="1286" y="351"/>
                  </a:lnTo>
                  <a:lnTo>
                    <a:pt x="1277" y="353"/>
                  </a:lnTo>
                  <a:lnTo>
                    <a:pt x="1259" y="359"/>
                  </a:lnTo>
                  <a:lnTo>
                    <a:pt x="1259" y="359"/>
                  </a:lnTo>
                  <a:lnTo>
                    <a:pt x="1251" y="364"/>
                  </a:lnTo>
                  <a:lnTo>
                    <a:pt x="1243" y="370"/>
                  </a:lnTo>
                  <a:lnTo>
                    <a:pt x="1228" y="383"/>
                  </a:lnTo>
                  <a:lnTo>
                    <a:pt x="1228" y="383"/>
                  </a:lnTo>
                  <a:lnTo>
                    <a:pt x="1225" y="388"/>
                  </a:lnTo>
                  <a:lnTo>
                    <a:pt x="1220" y="393"/>
                  </a:lnTo>
                  <a:lnTo>
                    <a:pt x="1217" y="407"/>
                  </a:lnTo>
                  <a:lnTo>
                    <a:pt x="1217" y="407"/>
                  </a:lnTo>
                  <a:lnTo>
                    <a:pt x="1217" y="413"/>
                  </a:lnTo>
                  <a:lnTo>
                    <a:pt x="1219" y="420"/>
                  </a:lnTo>
                  <a:lnTo>
                    <a:pt x="1223" y="433"/>
                  </a:lnTo>
                  <a:lnTo>
                    <a:pt x="1223" y="433"/>
                  </a:lnTo>
                  <a:lnTo>
                    <a:pt x="1226" y="438"/>
                  </a:lnTo>
                  <a:lnTo>
                    <a:pt x="1229" y="447"/>
                  </a:lnTo>
                  <a:lnTo>
                    <a:pt x="1232" y="466"/>
                  </a:lnTo>
                  <a:lnTo>
                    <a:pt x="1232" y="466"/>
                  </a:lnTo>
                  <a:lnTo>
                    <a:pt x="1234" y="472"/>
                  </a:lnTo>
                  <a:lnTo>
                    <a:pt x="1232" y="476"/>
                  </a:lnTo>
                  <a:lnTo>
                    <a:pt x="1229" y="485"/>
                  </a:lnTo>
                  <a:lnTo>
                    <a:pt x="1226" y="493"/>
                  </a:lnTo>
                  <a:lnTo>
                    <a:pt x="1222" y="499"/>
                  </a:lnTo>
                  <a:lnTo>
                    <a:pt x="1222" y="499"/>
                  </a:lnTo>
                  <a:lnTo>
                    <a:pt x="1219" y="502"/>
                  </a:lnTo>
                  <a:lnTo>
                    <a:pt x="1214" y="502"/>
                  </a:lnTo>
                  <a:lnTo>
                    <a:pt x="1210" y="502"/>
                  </a:lnTo>
                  <a:lnTo>
                    <a:pt x="1207" y="500"/>
                  </a:lnTo>
                  <a:lnTo>
                    <a:pt x="1207" y="500"/>
                  </a:lnTo>
                  <a:lnTo>
                    <a:pt x="1204" y="497"/>
                  </a:lnTo>
                  <a:lnTo>
                    <a:pt x="1201" y="493"/>
                  </a:lnTo>
                  <a:lnTo>
                    <a:pt x="1195" y="481"/>
                  </a:lnTo>
                  <a:lnTo>
                    <a:pt x="1195" y="481"/>
                  </a:lnTo>
                  <a:lnTo>
                    <a:pt x="1195" y="476"/>
                  </a:lnTo>
                  <a:lnTo>
                    <a:pt x="1197" y="473"/>
                  </a:lnTo>
                  <a:lnTo>
                    <a:pt x="1203" y="466"/>
                  </a:lnTo>
                  <a:lnTo>
                    <a:pt x="1203" y="466"/>
                  </a:lnTo>
                  <a:lnTo>
                    <a:pt x="1206" y="463"/>
                  </a:lnTo>
                  <a:lnTo>
                    <a:pt x="1209" y="457"/>
                  </a:lnTo>
                  <a:lnTo>
                    <a:pt x="1211" y="447"/>
                  </a:lnTo>
                  <a:lnTo>
                    <a:pt x="1211" y="447"/>
                  </a:lnTo>
                  <a:lnTo>
                    <a:pt x="1211" y="442"/>
                  </a:lnTo>
                  <a:lnTo>
                    <a:pt x="1211" y="435"/>
                  </a:lnTo>
                  <a:lnTo>
                    <a:pt x="1210" y="429"/>
                  </a:lnTo>
                  <a:lnTo>
                    <a:pt x="1209" y="428"/>
                  </a:lnTo>
                  <a:lnTo>
                    <a:pt x="1207" y="426"/>
                  </a:lnTo>
                  <a:lnTo>
                    <a:pt x="1207" y="426"/>
                  </a:lnTo>
                  <a:lnTo>
                    <a:pt x="1203" y="426"/>
                  </a:lnTo>
                  <a:lnTo>
                    <a:pt x="1200" y="429"/>
                  </a:lnTo>
                  <a:lnTo>
                    <a:pt x="1197" y="433"/>
                  </a:lnTo>
                  <a:lnTo>
                    <a:pt x="1192" y="436"/>
                  </a:lnTo>
                  <a:lnTo>
                    <a:pt x="1192" y="436"/>
                  </a:lnTo>
                  <a:lnTo>
                    <a:pt x="1188" y="442"/>
                  </a:lnTo>
                  <a:lnTo>
                    <a:pt x="1180" y="450"/>
                  </a:lnTo>
                  <a:lnTo>
                    <a:pt x="1170" y="466"/>
                  </a:lnTo>
                  <a:lnTo>
                    <a:pt x="1170" y="466"/>
                  </a:lnTo>
                  <a:lnTo>
                    <a:pt x="1161" y="476"/>
                  </a:lnTo>
                  <a:lnTo>
                    <a:pt x="1158" y="479"/>
                  </a:lnTo>
                  <a:lnTo>
                    <a:pt x="1155" y="479"/>
                  </a:lnTo>
                  <a:lnTo>
                    <a:pt x="1154" y="479"/>
                  </a:lnTo>
                  <a:lnTo>
                    <a:pt x="1154" y="479"/>
                  </a:lnTo>
                  <a:lnTo>
                    <a:pt x="1152" y="476"/>
                  </a:lnTo>
                  <a:lnTo>
                    <a:pt x="1152" y="470"/>
                  </a:lnTo>
                  <a:lnTo>
                    <a:pt x="1154" y="460"/>
                  </a:lnTo>
                  <a:lnTo>
                    <a:pt x="1154" y="460"/>
                  </a:lnTo>
                  <a:lnTo>
                    <a:pt x="1155" y="456"/>
                  </a:lnTo>
                  <a:lnTo>
                    <a:pt x="1158" y="448"/>
                  </a:lnTo>
                  <a:lnTo>
                    <a:pt x="1163" y="439"/>
                  </a:lnTo>
                  <a:lnTo>
                    <a:pt x="1163" y="439"/>
                  </a:lnTo>
                  <a:lnTo>
                    <a:pt x="1174" y="430"/>
                  </a:lnTo>
                  <a:lnTo>
                    <a:pt x="1189" y="423"/>
                  </a:lnTo>
                  <a:lnTo>
                    <a:pt x="1189" y="423"/>
                  </a:lnTo>
                  <a:lnTo>
                    <a:pt x="1192" y="420"/>
                  </a:lnTo>
                  <a:lnTo>
                    <a:pt x="1194" y="417"/>
                  </a:lnTo>
                  <a:lnTo>
                    <a:pt x="1191" y="416"/>
                  </a:lnTo>
                  <a:lnTo>
                    <a:pt x="1186" y="413"/>
                  </a:lnTo>
                  <a:lnTo>
                    <a:pt x="1186" y="413"/>
                  </a:lnTo>
                  <a:lnTo>
                    <a:pt x="1180" y="413"/>
                  </a:lnTo>
                  <a:lnTo>
                    <a:pt x="1174" y="414"/>
                  </a:lnTo>
                  <a:lnTo>
                    <a:pt x="1161" y="419"/>
                  </a:lnTo>
                  <a:lnTo>
                    <a:pt x="1161" y="419"/>
                  </a:lnTo>
                  <a:lnTo>
                    <a:pt x="1143" y="425"/>
                  </a:lnTo>
                  <a:lnTo>
                    <a:pt x="1127" y="432"/>
                  </a:lnTo>
                  <a:lnTo>
                    <a:pt x="1127" y="432"/>
                  </a:lnTo>
                  <a:lnTo>
                    <a:pt x="1114" y="438"/>
                  </a:lnTo>
                  <a:lnTo>
                    <a:pt x="1096" y="450"/>
                  </a:lnTo>
                  <a:lnTo>
                    <a:pt x="1077" y="462"/>
                  </a:lnTo>
                  <a:lnTo>
                    <a:pt x="1065" y="468"/>
                  </a:lnTo>
                  <a:lnTo>
                    <a:pt x="1065" y="468"/>
                  </a:lnTo>
                  <a:lnTo>
                    <a:pt x="1046" y="475"/>
                  </a:lnTo>
                  <a:lnTo>
                    <a:pt x="1026" y="482"/>
                  </a:lnTo>
                  <a:lnTo>
                    <a:pt x="1026" y="482"/>
                  </a:lnTo>
                  <a:lnTo>
                    <a:pt x="1022" y="484"/>
                  </a:lnTo>
                  <a:lnTo>
                    <a:pt x="1018" y="487"/>
                  </a:lnTo>
                  <a:lnTo>
                    <a:pt x="1013" y="490"/>
                  </a:lnTo>
                  <a:lnTo>
                    <a:pt x="1012" y="493"/>
                  </a:lnTo>
                  <a:lnTo>
                    <a:pt x="1012" y="493"/>
                  </a:lnTo>
                  <a:lnTo>
                    <a:pt x="1012" y="494"/>
                  </a:lnTo>
                  <a:lnTo>
                    <a:pt x="1015" y="494"/>
                  </a:lnTo>
                  <a:lnTo>
                    <a:pt x="1020" y="497"/>
                  </a:lnTo>
                  <a:lnTo>
                    <a:pt x="1028" y="500"/>
                  </a:lnTo>
                  <a:lnTo>
                    <a:pt x="1035" y="503"/>
                  </a:lnTo>
                  <a:lnTo>
                    <a:pt x="1035" y="503"/>
                  </a:lnTo>
                  <a:lnTo>
                    <a:pt x="1038" y="506"/>
                  </a:lnTo>
                  <a:lnTo>
                    <a:pt x="1040" y="509"/>
                  </a:lnTo>
                  <a:lnTo>
                    <a:pt x="1041" y="516"/>
                  </a:lnTo>
                  <a:lnTo>
                    <a:pt x="1040" y="524"/>
                  </a:lnTo>
                  <a:lnTo>
                    <a:pt x="1038" y="530"/>
                  </a:lnTo>
                  <a:lnTo>
                    <a:pt x="1038" y="530"/>
                  </a:lnTo>
                  <a:lnTo>
                    <a:pt x="1032" y="533"/>
                  </a:lnTo>
                  <a:lnTo>
                    <a:pt x="1026" y="537"/>
                  </a:lnTo>
                  <a:lnTo>
                    <a:pt x="1012" y="545"/>
                  </a:lnTo>
                  <a:lnTo>
                    <a:pt x="1012" y="545"/>
                  </a:lnTo>
                  <a:lnTo>
                    <a:pt x="1007" y="547"/>
                  </a:lnTo>
                  <a:lnTo>
                    <a:pt x="1006" y="553"/>
                  </a:lnTo>
                  <a:lnTo>
                    <a:pt x="1004" y="567"/>
                  </a:lnTo>
                  <a:lnTo>
                    <a:pt x="1004" y="567"/>
                  </a:lnTo>
                  <a:lnTo>
                    <a:pt x="1006" y="571"/>
                  </a:lnTo>
                  <a:lnTo>
                    <a:pt x="1009" y="574"/>
                  </a:lnTo>
                  <a:lnTo>
                    <a:pt x="1013" y="576"/>
                  </a:lnTo>
                  <a:lnTo>
                    <a:pt x="1019" y="576"/>
                  </a:lnTo>
                  <a:lnTo>
                    <a:pt x="1019" y="576"/>
                  </a:lnTo>
                  <a:lnTo>
                    <a:pt x="1020" y="576"/>
                  </a:lnTo>
                  <a:lnTo>
                    <a:pt x="1022" y="574"/>
                  </a:lnTo>
                  <a:lnTo>
                    <a:pt x="1026" y="570"/>
                  </a:lnTo>
                  <a:lnTo>
                    <a:pt x="1032" y="561"/>
                  </a:lnTo>
                  <a:lnTo>
                    <a:pt x="1032" y="561"/>
                  </a:lnTo>
                  <a:lnTo>
                    <a:pt x="1037" y="553"/>
                  </a:lnTo>
                  <a:lnTo>
                    <a:pt x="1041" y="549"/>
                  </a:lnTo>
                  <a:lnTo>
                    <a:pt x="1044" y="547"/>
                  </a:lnTo>
                  <a:lnTo>
                    <a:pt x="1044" y="547"/>
                  </a:lnTo>
                  <a:lnTo>
                    <a:pt x="1046" y="547"/>
                  </a:lnTo>
                  <a:lnTo>
                    <a:pt x="1046" y="549"/>
                  </a:lnTo>
                  <a:lnTo>
                    <a:pt x="1047" y="555"/>
                  </a:lnTo>
                  <a:lnTo>
                    <a:pt x="1046" y="573"/>
                  </a:lnTo>
                  <a:lnTo>
                    <a:pt x="1046" y="573"/>
                  </a:lnTo>
                  <a:lnTo>
                    <a:pt x="1047" y="589"/>
                  </a:lnTo>
                  <a:lnTo>
                    <a:pt x="1050" y="601"/>
                  </a:lnTo>
                  <a:lnTo>
                    <a:pt x="1050" y="601"/>
                  </a:lnTo>
                  <a:lnTo>
                    <a:pt x="1055" y="605"/>
                  </a:lnTo>
                  <a:lnTo>
                    <a:pt x="1063" y="611"/>
                  </a:lnTo>
                  <a:lnTo>
                    <a:pt x="1081" y="620"/>
                  </a:lnTo>
                  <a:lnTo>
                    <a:pt x="1081" y="620"/>
                  </a:lnTo>
                  <a:lnTo>
                    <a:pt x="1086" y="623"/>
                  </a:lnTo>
                  <a:lnTo>
                    <a:pt x="1089" y="626"/>
                  </a:lnTo>
                  <a:lnTo>
                    <a:pt x="1092" y="629"/>
                  </a:lnTo>
                  <a:lnTo>
                    <a:pt x="1092" y="632"/>
                  </a:lnTo>
                  <a:lnTo>
                    <a:pt x="1092" y="632"/>
                  </a:lnTo>
                  <a:lnTo>
                    <a:pt x="1090" y="635"/>
                  </a:lnTo>
                  <a:lnTo>
                    <a:pt x="1086" y="638"/>
                  </a:lnTo>
                  <a:lnTo>
                    <a:pt x="1075" y="645"/>
                  </a:lnTo>
                  <a:lnTo>
                    <a:pt x="1075" y="645"/>
                  </a:lnTo>
                  <a:lnTo>
                    <a:pt x="1072" y="648"/>
                  </a:lnTo>
                  <a:lnTo>
                    <a:pt x="1071" y="651"/>
                  </a:lnTo>
                  <a:lnTo>
                    <a:pt x="1069" y="654"/>
                  </a:lnTo>
                  <a:lnTo>
                    <a:pt x="1068" y="654"/>
                  </a:lnTo>
                  <a:lnTo>
                    <a:pt x="1068" y="654"/>
                  </a:lnTo>
                  <a:lnTo>
                    <a:pt x="1059" y="651"/>
                  </a:lnTo>
                  <a:lnTo>
                    <a:pt x="1053" y="648"/>
                  </a:lnTo>
                  <a:lnTo>
                    <a:pt x="1046" y="647"/>
                  </a:lnTo>
                  <a:lnTo>
                    <a:pt x="1046" y="647"/>
                  </a:lnTo>
                  <a:lnTo>
                    <a:pt x="1043" y="647"/>
                  </a:lnTo>
                  <a:lnTo>
                    <a:pt x="1040" y="648"/>
                  </a:lnTo>
                  <a:lnTo>
                    <a:pt x="1037" y="650"/>
                  </a:lnTo>
                  <a:lnTo>
                    <a:pt x="1034" y="654"/>
                  </a:lnTo>
                  <a:lnTo>
                    <a:pt x="1032" y="662"/>
                  </a:lnTo>
                  <a:lnTo>
                    <a:pt x="1031" y="666"/>
                  </a:lnTo>
                  <a:lnTo>
                    <a:pt x="1031" y="666"/>
                  </a:lnTo>
                  <a:lnTo>
                    <a:pt x="1032" y="670"/>
                  </a:lnTo>
                  <a:lnTo>
                    <a:pt x="1035" y="675"/>
                  </a:lnTo>
                  <a:lnTo>
                    <a:pt x="1040" y="678"/>
                  </a:lnTo>
                  <a:lnTo>
                    <a:pt x="1044" y="681"/>
                  </a:lnTo>
                  <a:lnTo>
                    <a:pt x="1044" y="681"/>
                  </a:lnTo>
                  <a:lnTo>
                    <a:pt x="1047" y="682"/>
                  </a:lnTo>
                  <a:lnTo>
                    <a:pt x="1050" y="685"/>
                  </a:lnTo>
                  <a:lnTo>
                    <a:pt x="1050" y="688"/>
                  </a:lnTo>
                  <a:lnTo>
                    <a:pt x="1049" y="693"/>
                  </a:lnTo>
                  <a:lnTo>
                    <a:pt x="1049" y="693"/>
                  </a:lnTo>
                  <a:lnTo>
                    <a:pt x="1047" y="694"/>
                  </a:lnTo>
                  <a:lnTo>
                    <a:pt x="1044" y="696"/>
                  </a:lnTo>
                  <a:lnTo>
                    <a:pt x="1034" y="697"/>
                  </a:lnTo>
                  <a:lnTo>
                    <a:pt x="1020" y="697"/>
                  </a:lnTo>
                  <a:lnTo>
                    <a:pt x="1007" y="697"/>
                  </a:lnTo>
                  <a:lnTo>
                    <a:pt x="1007" y="697"/>
                  </a:lnTo>
                  <a:lnTo>
                    <a:pt x="979" y="696"/>
                  </a:lnTo>
                  <a:lnTo>
                    <a:pt x="958" y="694"/>
                  </a:lnTo>
                  <a:lnTo>
                    <a:pt x="958" y="694"/>
                  </a:lnTo>
                  <a:lnTo>
                    <a:pt x="955" y="696"/>
                  </a:lnTo>
                  <a:lnTo>
                    <a:pt x="952" y="697"/>
                  </a:lnTo>
                  <a:lnTo>
                    <a:pt x="945" y="704"/>
                  </a:lnTo>
                  <a:lnTo>
                    <a:pt x="939" y="712"/>
                  </a:lnTo>
                  <a:lnTo>
                    <a:pt x="936" y="718"/>
                  </a:lnTo>
                  <a:lnTo>
                    <a:pt x="936" y="718"/>
                  </a:lnTo>
                  <a:lnTo>
                    <a:pt x="930" y="739"/>
                  </a:lnTo>
                  <a:lnTo>
                    <a:pt x="924" y="752"/>
                  </a:lnTo>
                  <a:lnTo>
                    <a:pt x="921" y="756"/>
                  </a:lnTo>
                  <a:lnTo>
                    <a:pt x="920" y="758"/>
                  </a:lnTo>
                  <a:lnTo>
                    <a:pt x="920" y="758"/>
                  </a:lnTo>
                  <a:lnTo>
                    <a:pt x="914" y="761"/>
                  </a:lnTo>
                  <a:lnTo>
                    <a:pt x="906" y="761"/>
                  </a:lnTo>
                  <a:lnTo>
                    <a:pt x="898" y="761"/>
                  </a:lnTo>
                  <a:lnTo>
                    <a:pt x="890" y="759"/>
                  </a:lnTo>
                  <a:lnTo>
                    <a:pt x="890" y="759"/>
                  </a:lnTo>
                  <a:lnTo>
                    <a:pt x="883" y="756"/>
                  </a:lnTo>
                  <a:lnTo>
                    <a:pt x="875" y="750"/>
                  </a:lnTo>
                  <a:lnTo>
                    <a:pt x="864" y="740"/>
                  </a:lnTo>
                  <a:lnTo>
                    <a:pt x="864" y="740"/>
                  </a:lnTo>
                  <a:lnTo>
                    <a:pt x="858" y="736"/>
                  </a:lnTo>
                  <a:lnTo>
                    <a:pt x="852" y="733"/>
                  </a:lnTo>
                  <a:lnTo>
                    <a:pt x="847" y="731"/>
                  </a:lnTo>
                  <a:lnTo>
                    <a:pt x="844" y="731"/>
                  </a:lnTo>
                  <a:lnTo>
                    <a:pt x="844" y="731"/>
                  </a:lnTo>
                  <a:lnTo>
                    <a:pt x="843" y="733"/>
                  </a:lnTo>
                  <a:lnTo>
                    <a:pt x="841" y="734"/>
                  </a:lnTo>
                  <a:lnTo>
                    <a:pt x="841" y="740"/>
                  </a:lnTo>
                  <a:lnTo>
                    <a:pt x="843" y="755"/>
                  </a:lnTo>
                  <a:lnTo>
                    <a:pt x="843" y="755"/>
                  </a:lnTo>
                  <a:lnTo>
                    <a:pt x="846" y="767"/>
                  </a:lnTo>
                  <a:lnTo>
                    <a:pt x="850" y="783"/>
                  </a:lnTo>
                  <a:lnTo>
                    <a:pt x="856" y="799"/>
                  </a:lnTo>
                  <a:lnTo>
                    <a:pt x="861" y="808"/>
                  </a:lnTo>
                  <a:lnTo>
                    <a:pt x="861" y="808"/>
                  </a:lnTo>
                  <a:lnTo>
                    <a:pt x="864" y="814"/>
                  </a:lnTo>
                  <a:lnTo>
                    <a:pt x="866" y="826"/>
                  </a:lnTo>
                  <a:lnTo>
                    <a:pt x="868" y="838"/>
                  </a:lnTo>
                  <a:lnTo>
                    <a:pt x="869" y="848"/>
                  </a:lnTo>
                  <a:lnTo>
                    <a:pt x="869" y="848"/>
                  </a:lnTo>
                  <a:lnTo>
                    <a:pt x="868" y="856"/>
                  </a:lnTo>
                  <a:lnTo>
                    <a:pt x="864" y="860"/>
                  </a:lnTo>
                  <a:lnTo>
                    <a:pt x="859" y="861"/>
                  </a:lnTo>
                  <a:lnTo>
                    <a:pt x="853" y="863"/>
                  </a:lnTo>
                  <a:lnTo>
                    <a:pt x="853" y="863"/>
                  </a:lnTo>
                  <a:lnTo>
                    <a:pt x="844" y="861"/>
                  </a:lnTo>
                  <a:lnTo>
                    <a:pt x="832" y="859"/>
                  </a:lnTo>
                  <a:lnTo>
                    <a:pt x="810" y="850"/>
                  </a:lnTo>
                  <a:lnTo>
                    <a:pt x="810" y="850"/>
                  </a:lnTo>
                  <a:lnTo>
                    <a:pt x="784" y="839"/>
                  </a:lnTo>
                  <a:lnTo>
                    <a:pt x="769" y="833"/>
                  </a:lnTo>
                  <a:lnTo>
                    <a:pt x="761" y="829"/>
                  </a:lnTo>
                  <a:lnTo>
                    <a:pt x="761" y="829"/>
                  </a:lnTo>
                  <a:lnTo>
                    <a:pt x="755" y="824"/>
                  </a:lnTo>
                  <a:lnTo>
                    <a:pt x="749" y="819"/>
                  </a:lnTo>
                  <a:lnTo>
                    <a:pt x="749" y="819"/>
                  </a:lnTo>
                  <a:lnTo>
                    <a:pt x="749" y="816"/>
                  </a:lnTo>
                  <a:lnTo>
                    <a:pt x="751" y="813"/>
                  </a:lnTo>
                  <a:lnTo>
                    <a:pt x="754" y="807"/>
                  </a:lnTo>
                  <a:lnTo>
                    <a:pt x="754" y="807"/>
                  </a:lnTo>
                  <a:lnTo>
                    <a:pt x="755" y="799"/>
                  </a:lnTo>
                  <a:lnTo>
                    <a:pt x="755" y="790"/>
                  </a:lnTo>
                  <a:lnTo>
                    <a:pt x="755" y="790"/>
                  </a:lnTo>
                  <a:lnTo>
                    <a:pt x="754" y="789"/>
                  </a:lnTo>
                  <a:lnTo>
                    <a:pt x="752" y="787"/>
                  </a:lnTo>
                  <a:lnTo>
                    <a:pt x="749" y="787"/>
                  </a:lnTo>
                  <a:lnTo>
                    <a:pt x="747" y="789"/>
                  </a:lnTo>
                  <a:lnTo>
                    <a:pt x="747" y="789"/>
                  </a:lnTo>
                  <a:lnTo>
                    <a:pt x="745" y="793"/>
                  </a:lnTo>
                  <a:lnTo>
                    <a:pt x="744" y="799"/>
                  </a:lnTo>
                  <a:lnTo>
                    <a:pt x="741" y="811"/>
                  </a:lnTo>
                  <a:lnTo>
                    <a:pt x="741" y="811"/>
                  </a:lnTo>
                  <a:lnTo>
                    <a:pt x="739" y="813"/>
                  </a:lnTo>
                  <a:lnTo>
                    <a:pt x="735" y="813"/>
                  </a:lnTo>
                  <a:lnTo>
                    <a:pt x="732" y="813"/>
                  </a:lnTo>
                  <a:lnTo>
                    <a:pt x="729" y="810"/>
                  </a:lnTo>
                  <a:lnTo>
                    <a:pt x="729" y="810"/>
                  </a:lnTo>
                  <a:lnTo>
                    <a:pt x="723" y="804"/>
                  </a:lnTo>
                  <a:lnTo>
                    <a:pt x="718" y="793"/>
                  </a:lnTo>
                  <a:lnTo>
                    <a:pt x="718" y="793"/>
                  </a:lnTo>
                  <a:lnTo>
                    <a:pt x="714" y="789"/>
                  </a:lnTo>
                  <a:lnTo>
                    <a:pt x="711" y="786"/>
                  </a:lnTo>
                  <a:lnTo>
                    <a:pt x="704" y="783"/>
                  </a:lnTo>
                  <a:lnTo>
                    <a:pt x="704" y="783"/>
                  </a:lnTo>
                  <a:lnTo>
                    <a:pt x="689" y="779"/>
                  </a:lnTo>
                  <a:lnTo>
                    <a:pt x="675" y="771"/>
                  </a:lnTo>
                  <a:lnTo>
                    <a:pt x="675" y="771"/>
                  </a:lnTo>
                  <a:lnTo>
                    <a:pt x="674" y="768"/>
                  </a:lnTo>
                  <a:lnTo>
                    <a:pt x="674" y="765"/>
                  </a:lnTo>
                  <a:lnTo>
                    <a:pt x="677" y="762"/>
                  </a:lnTo>
                  <a:lnTo>
                    <a:pt x="680" y="758"/>
                  </a:lnTo>
                  <a:lnTo>
                    <a:pt x="680" y="758"/>
                  </a:lnTo>
                  <a:lnTo>
                    <a:pt x="681" y="758"/>
                  </a:lnTo>
                  <a:lnTo>
                    <a:pt x="686" y="756"/>
                  </a:lnTo>
                  <a:lnTo>
                    <a:pt x="696" y="756"/>
                  </a:lnTo>
                  <a:lnTo>
                    <a:pt x="707" y="756"/>
                  </a:lnTo>
                  <a:lnTo>
                    <a:pt x="714" y="756"/>
                  </a:lnTo>
                  <a:lnTo>
                    <a:pt x="714" y="756"/>
                  </a:lnTo>
                  <a:lnTo>
                    <a:pt x="717" y="753"/>
                  </a:lnTo>
                  <a:lnTo>
                    <a:pt x="720" y="749"/>
                  </a:lnTo>
                  <a:lnTo>
                    <a:pt x="721" y="743"/>
                  </a:lnTo>
                  <a:lnTo>
                    <a:pt x="721" y="739"/>
                  </a:lnTo>
                  <a:lnTo>
                    <a:pt x="721" y="739"/>
                  </a:lnTo>
                  <a:lnTo>
                    <a:pt x="720" y="737"/>
                  </a:lnTo>
                  <a:lnTo>
                    <a:pt x="718" y="737"/>
                  </a:lnTo>
                  <a:lnTo>
                    <a:pt x="712" y="737"/>
                  </a:lnTo>
                  <a:lnTo>
                    <a:pt x="701" y="740"/>
                  </a:lnTo>
                  <a:lnTo>
                    <a:pt x="701" y="740"/>
                  </a:lnTo>
                  <a:lnTo>
                    <a:pt x="695" y="740"/>
                  </a:lnTo>
                  <a:lnTo>
                    <a:pt x="695" y="739"/>
                  </a:lnTo>
                  <a:lnTo>
                    <a:pt x="696" y="733"/>
                  </a:lnTo>
                  <a:lnTo>
                    <a:pt x="696" y="733"/>
                  </a:lnTo>
                  <a:lnTo>
                    <a:pt x="698" y="725"/>
                  </a:lnTo>
                  <a:lnTo>
                    <a:pt x="699" y="721"/>
                  </a:lnTo>
                  <a:lnTo>
                    <a:pt x="699" y="716"/>
                  </a:lnTo>
                  <a:lnTo>
                    <a:pt x="699" y="716"/>
                  </a:lnTo>
                  <a:lnTo>
                    <a:pt x="696" y="713"/>
                  </a:lnTo>
                  <a:lnTo>
                    <a:pt x="692" y="712"/>
                  </a:lnTo>
                  <a:lnTo>
                    <a:pt x="680" y="712"/>
                  </a:lnTo>
                  <a:lnTo>
                    <a:pt x="680" y="712"/>
                  </a:lnTo>
                  <a:lnTo>
                    <a:pt x="675" y="710"/>
                  </a:lnTo>
                  <a:lnTo>
                    <a:pt x="672" y="709"/>
                  </a:lnTo>
                  <a:lnTo>
                    <a:pt x="672" y="706"/>
                  </a:lnTo>
                  <a:lnTo>
                    <a:pt x="672" y="703"/>
                  </a:lnTo>
                  <a:lnTo>
                    <a:pt x="672" y="703"/>
                  </a:lnTo>
                  <a:lnTo>
                    <a:pt x="674" y="700"/>
                  </a:lnTo>
                  <a:lnTo>
                    <a:pt x="677" y="696"/>
                  </a:lnTo>
                  <a:lnTo>
                    <a:pt x="683" y="688"/>
                  </a:lnTo>
                  <a:lnTo>
                    <a:pt x="683" y="688"/>
                  </a:lnTo>
                  <a:lnTo>
                    <a:pt x="687" y="681"/>
                  </a:lnTo>
                  <a:lnTo>
                    <a:pt x="689" y="678"/>
                  </a:lnTo>
                  <a:lnTo>
                    <a:pt x="687" y="673"/>
                  </a:lnTo>
                  <a:lnTo>
                    <a:pt x="687" y="673"/>
                  </a:lnTo>
                  <a:lnTo>
                    <a:pt x="686" y="670"/>
                  </a:lnTo>
                  <a:lnTo>
                    <a:pt x="683" y="670"/>
                  </a:lnTo>
                  <a:lnTo>
                    <a:pt x="674" y="669"/>
                  </a:lnTo>
                  <a:lnTo>
                    <a:pt x="674" y="669"/>
                  </a:lnTo>
                  <a:lnTo>
                    <a:pt x="668" y="667"/>
                  </a:lnTo>
                  <a:lnTo>
                    <a:pt x="664" y="664"/>
                  </a:lnTo>
                  <a:lnTo>
                    <a:pt x="656" y="659"/>
                  </a:lnTo>
                  <a:lnTo>
                    <a:pt x="656" y="659"/>
                  </a:lnTo>
                  <a:lnTo>
                    <a:pt x="652" y="657"/>
                  </a:lnTo>
                  <a:lnTo>
                    <a:pt x="649" y="657"/>
                  </a:lnTo>
                  <a:lnTo>
                    <a:pt x="641" y="657"/>
                  </a:lnTo>
                  <a:lnTo>
                    <a:pt x="641" y="657"/>
                  </a:lnTo>
                  <a:lnTo>
                    <a:pt x="635" y="657"/>
                  </a:lnTo>
                  <a:lnTo>
                    <a:pt x="630" y="654"/>
                  </a:lnTo>
                  <a:lnTo>
                    <a:pt x="630" y="654"/>
                  </a:lnTo>
                  <a:lnTo>
                    <a:pt x="621" y="653"/>
                  </a:lnTo>
                  <a:lnTo>
                    <a:pt x="612" y="653"/>
                  </a:lnTo>
                  <a:lnTo>
                    <a:pt x="612" y="653"/>
                  </a:lnTo>
                  <a:lnTo>
                    <a:pt x="606" y="656"/>
                  </a:lnTo>
                  <a:lnTo>
                    <a:pt x="600" y="660"/>
                  </a:lnTo>
                  <a:lnTo>
                    <a:pt x="590" y="670"/>
                  </a:lnTo>
                  <a:lnTo>
                    <a:pt x="590" y="670"/>
                  </a:lnTo>
                  <a:lnTo>
                    <a:pt x="584" y="673"/>
                  </a:lnTo>
                  <a:lnTo>
                    <a:pt x="579" y="675"/>
                  </a:lnTo>
                  <a:lnTo>
                    <a:pt x="572" y="673"/>
                  </a:lnTo>
                  <a:lnTo>
                    <a:pt x="572" y="673"/>
                  </a:lnTo>
                  <a:lnTo>
                    <a:pt x="567" y="675"/>
                  </a:lnTo>
                  <a:lnTo>
                    <a:pt x="564" y="676"/>
                  </a:lnTo>
                  <a:lnTo>
                    <a:pt x="556" y="681"/>
                  </a:lnTo>
                  <a:lnTo>
                    <a:pt x="556" y="681"/>
                  </a:lnTo>
                  <a:lnTo>
                    <a:pt x="551" y="681"/>
                  </a:lnTo>
                  <a:lnTo>
                    <a:pt x="547" y="681"/>
                  </a:lnTo>
                  <a:lnTo>
                    <a:pt x="542" y="678"/>
                  </a:lnTo>
                  <a:lnTo>
                    <a:pt x="539" y="676"/>
                  </a:lnTo>
                  <a:lnTo>
                    <a:pt x="539" y="676"/>
                  </a:lnTo>
                  <a:lnTo>
                    <a:pt x="532" y="669"/>
                  </a:lnTo>
                  <a:lnTo>
                    <a:pt x="526" y="664"/>
                  </a:lnTo>
                  <a:lnTo>
                    <a:pt x="520" y="662"/>
                  </a:lnTo>
                  <a:lnTo>
                    <a:pt x="520" y="662"/>
                  </a:lnTo>
                  <a:lnTo>
                    <a:pt x="517" y="663"/>
                  </a:lnTo>
                  <a:lnTo>
                    <a:pt x="514" y="664"/>
                  </a:lnTo>
                  <a:lnTo>
                    <a:pt x="511" y="673"/>
                  </a:lnTo>
                  <a:lnTo>
                    <a:pt x="510" y="682"/>
                  </a:lnTo>
                  <a:lnTo>
                    <a:pt x="507" y="688"/>
                  </a:lnTo>
                  <a:lnTo>
                    <a:pt x="507" y="688"/>
                  </a:lnTo>
                  <a:lnTo>
                    <a:pt x="505" y="690"/>
                  </a:lnTo>
                  <a:lnTo>
                    <a:pt x="501" y="691"/>
                  </a:lnTo>
                  <a:lnTo>
                    <a:pt x="492" y="691"/>
                  </a:lnTo>
                  <a:lnTo>
                    <a:pt x="492" y="691"/>
                  </a:lnTo>
                  <a:lnTo>
                    <a:pt x="490" y="693"/>
                  </a:lnTo>
                  <a:lnTo>
                    <a:pt x="490" y="696"/>
                  </a:lnTo>
                  <a:lnTo>
                    <a:pt x="490" y="700"/>
                  </a:lnTo>
                  <a:lnTo>
                    <a:pt x="490" y="704"/>
                  </a:lnTo>
                  <a:lnTo>
                    <a:pt x="490" y="704"/>
                  </a:lnTo>
                  <a:lnTo>
                    <a:pt x="492" y="707"/>
                  </a:lnTo>
                  <a:lnTo>
                    <a:pt x="493" y="710"/>
                  </a:lnTo>
                  <a:lnTo>
                    <a:pt x="498" y="719"/>
                  </a:lnTo>
                  <a:lnTo>
                    <a:pt x="504" y="727"/>
                  </a:lnTo>
                  <a:lnTo>
                    <a:pt x="507" y="733"/>
                  </a:lnTo>
                  <a:lnTo>
                    <a:pt x="507" y="733"/>
                  </a:lnTo>
                  <a:lnTo>
                    <a:pt x="508" y="744"/>
                  </a:lnTo>
                  <a:lnTo>
                    <a:pt x="510" y="752"/>
                  </a:lnTo>
                  <a:lnTo>
                    <a:pt x="511" y="755"/>
                  </a:lnTo>
                  <a:lnTo>
                    <a:pt x="511" y="755"/>
                  </a:lnTo>
                  <a:lnTo>
                    <a:pt x="516" y="762"/>
                  </a:lnTo>
                  <a:lnTo>
                    <a:pt x="517" y="765"/>
                  </a:lnTo>
                  <a:lnTo>
                    <a:pt x="517" y="767"/>
                  </a:lnTo>
                  <a:lnTo>
                    <a:pt x="517" y="767"/>
                  </a:lnTo>
                  <a:lnTo>
                    <a:pt x="508" y="768"/>
                  </a:lnTo>
                  <a:lnTo>
                    <a:pt x="496" y="770"/>
                  </a:lnTo>
                  <a:lnTo>
                    <a:pt x="496" y="770"/>
                  </a:lnTo>
                  <a:lnTo>
                    <a:pt x="490" y="771"/>
                  </a:lnTo>
                  <a:lnTo>
                    <a:pt x="484" y="776"/>
                  </a:lnTo>
                  <a:lnTo>
                    <a:pt x="476" y="786"/>
                  </a:lnTo>
                  <a:lnTo>
                    <a:pt x="476" y="786"/>
                  </a:lnTo>
                  <a:lnTo>
                    <a:pt x="471" y="789"/>
                  </a:lnTo>
                  <a:lnTo>
                    <a:pt x="467" y="790"/>
                  </a:lnTo>
                  <a:lnTo>
                    <a:pt x="453" y="795"/>
                  </a:lnTo>
                  <a:lnTo>
                    <a:pt x="439" y="798"/>
                  </a:lnTo>
                  <a:lnTo>
                    <a:pt x="428" y="799"/>
                  </a:lnTo>
                  <a:lnTo>
                    <a:pt x="428" y="799"/>
                  </a:lnTo>
                  <a:lnTo>
                    <a:pt x="400" y="799"/>
                  </a:lnTo>
                  <a:lnTo>
                    <a:pt x="382" y="799"/>
                  </a:lnTo>
                  <a:lnTo>
                    <a:pt x="367" y="798"/>
                  </a:lnTo>
                  <a:lnTo>
                    <a:pt x="367" y="798"/>
                  </a:lnTo>
                  <a:lnTo>
                    <a:pt x="362" y="796"/>
                  </a:lnTo>
                  <a:lnTo>
                    <a:pt x="357" y="793"/>
                  </a:lnTo>
                  <a:lnTo>
                    <a:pt x="354" y="789"/>
                  </a:lnTo>
                  <a:lnTo>
                    <a:pt x="351" y="784"/>
                  </a:lnTo>
                  <a:lnTo>
                    <a:pt x="350" y="777"/>
                  </a:lnTo>
                  <a:lnTo>
                    <a:pt x="350" y="770"/>
                  </a:lnTo>
                  <a:lnTo>
                    <a:pt x="350" y="770"/>
                  </a:lnTo>
                  <a:lnTo>
                    <a:pt x="351" y="765"/>
                  </a:lnTo>
                  <a:lnTo>
                    <a:pt x="356" y="762"/>
                  </a:lnTo>
                  <a:lnTo>
                    <a:pt x="360" y="755"/>
                  </a:lnTo>
                  <a:lnTo>
                    <a:pt x="360" y="755"/>
                  </a:lnTo>
                  <a:lnTo>
                    <a:pt x="360" y="753"/>
                  </a:lnTo>
                  <a:lnTo>
                    <a:pt x="357" y="750"/>
                  </a:lnTo>
                  <a:lnTo>
                    <a:pt x="347" y="747"/>
                  </a:lnTo>
                  <a:lnTo>
                    <a:pt x="347" y="747"/>
                  </a:lnTo>
                  <a:lnTo>
                    <a:pt x="341" y="747"/>
                  </a:lnTo>
                  <a:lnTo>
                    <a:pt x="335" y="750"/>
                  </a:lnTo>
                  <a:lnTo>
                    <a:pt x="325" y="758"/>
                  </a:lnTo>
                  <a:lnTo>
                    <a:pt x="325" y="758"/>
                  </a:lnTo>
                  <a:lnTo>
                    <a:pt x="314" y="759"/>
                  </a:lnTo>
                  <a:lnTo>
                    <a:pt x="296" y="761"/>
                  </a:lnTo>
                  <a:lnTo>
                    <a:pt x="268" y="761"/>
                  </a:lnTo>
                  <a:lnTo>
                    <a:pt x="268" y="761"/>
                  </a:lnTo>
                  <a:lnTo>
                    <a:pt x="258" y="764"/>
                  </a:lnTo>
                  <a:lnTo>
                    <a:pt x="240" y="771"/>
                  </a:lnTo>
                  <a:lnTo>
                    <a:pt x="212" y="783"/>
                  </a:lnTo>
                  <a:lnTo>
                    <a:pt x="212" y="783"/>
                  </a:lnTo>
                  <a:lnTo>
                    <a:pt x="208" y="787"/>
                  </a:lnTo>
                  <a:lnTo>
                    <a:pt x="203" y="793"/>
                  </a:lnTo>
                  <a:lnTo>
                    <a:pt x="200" y="799"/>
                  </a:lnTo>
                  <a:lnTo>
                    <a:pt x="200" y="804"/>
                  </a:lnTo>
                  <a:lnTo>
                    <a:pt x="200" y="804"/>
                  </a:lnTo>
                  <a:lnTo>
                    <a:pt x="200" y="808"/>
                  </a:lnTo>
                  <a:lnTo>
                    <a:pt x="203" y="811"/>
                  </a:lnTo>
                  <a:lnTo>
                    <a:pt x="205" y="814"/>
                  </a:lnTo>
                  <a:lnTo>
                    <a:pt x="205" y="819"/>
                  </a:lnTo>
                  <a:lnTo>
                    <a:pt x="205" y="819"/>
                  </a:lnTo>
                  <a:lnTo>
                    <a:pt x="203" y="821"/>
                  </a:lnTo>
                  <a:lnTo>
                    <a:pt x="200" y="824"/>
                  </a:lnTo>
                  <a:lnTo>
                    <a:pt x="196" y="827"/>
                  </a:lnTo>
                  <a:lnTo>
                    <a:pt x="196" y="827"/>
                  </a:lnTo>
                  <a:lnTo>
                    <a:pt x="193" y="829"/>
                  </a:lnTo>
                  <a:lnTo>
                    <a:pt x="191" y="827"/>
                  </a:lnTo>
                  <a:lnTo>
                    <a:pt x="190" y="821"/>
                  </a:lnTo>
                  <a:lnTo>
                    <a:pt x="190" y="821"/>
                  </a:lnTo>
                  <a:lnTo>
                    <a:pt x="187" y="796"/>
                  </a:lnTo>
                  <a:lnTo>
                    <a:pt x="187" y="796"/>
                  </a:lnTo>
                  <a:lnTo>
                    <a:pt x="182" y="781"/>
                  </a:lnTo>
                  <a:lnTo>
                    <a:pt x="176" y="767"/>
                  </a:lnTo>
                  <a:lnTo>
                    <a:pt x="176" y="767"/>
                  </a:lnTo>
                  <a:lnTo>
                    <a:pt x="169" y="758"/>
                  </a:lnTo>
                  <a:lnTo>
                    <a:pt x="166" y="755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0" y="756"/>
                  </a:lnTo>
                  <a:lnTo>
                    <a:pt x="159" y="761"/>
                  </a:lnTo>
                  <a:lnTo>
                    <a:pt x="159" y="768"/>
                  </a:lnTo>
                  <a:lnTo>
                    <a:pt x="159" y="768"/>
                  </a:lnTo>
                  <a:lnTo>
                    <a:pt x="160" y="776"/>
                  </a:lnTo>
                  <a:lnTo>
                    <a:pt x="159" y="779"/>
                  </a:lnTo>
                  <a:lnTo>
                    <a:pt x="157" y="781"/>
                  </a:lnTo>
                  <a:lnTo>
                    <a:pt x="157" y="781"/>
                  </a:lnTo>
                  <a:lnTo>
                    <a:pt x="154" y="784"/>
                  </a:lnTo>
                  <a:lnTo>
                    <a:pt x="148" y="786"/>
                  </a:lnTo>
                  <a:lnTo>
                    <a:pt x="141" y="789"/>
                  </a:lnTo>
                  <a:lnTo>
                    <a:pt x="134" y="789"/>
                  </a:lnTo>
                  <a:lnTo>
                    <a:pt x="134" y="789"/>
                  </a:lnTo>
                  <a:lnTo>
                    <a:pt x="128" y="787"/>
                  </a:lnTo>
                  <a:lnTo>
                    <a:pt x="123" y="786"/>
                  </a:lnTo>
                  <a:lnTo>
                    <a:pt x="117" y="779"/>
                  </a:lnTo>
                  <a:lnTo>
                    <a:pt x="117" y="779"/>
                  </a:lnTo>
                  <a:lnTo>
                    <a:pt x="114" y="774"/>
                  </a:lnTo>
                  <a:lnTo>
                    <a:pt x="113" y="770"/>
                  </a:lnTo>
                  <a:lnTo>
                    <a:pt x="111" y="764"/>
                  </a:lnTo>
                  <a:lnTo>
                    <a:pt x="108" y="759"/>
                  </a:lnTo>
                  <a:lnTo>
                    <a:pt x="108" y="759"/>
                  </a:lnTo>
                  <a:lnTo>
                    <a:pt x="104" y="758"/>
                  </a:lnTo>
                  <a:lnTo>
                    <a:pt x="98" y="758"/>
                  </a:lnTo>
                  <a:lnTo>
                    <a:pt x="92" y="759"/>
                  </a:lnTo>
                  <a:lnTo>
                    <a:pt x="88" y="761"/>
                  </a:lnTo>
                  <a:lnTo>
                    <a:pt x="88" y="761"/>
                  </a:lnTo>
                  <a:lnTo>
                    <a:pt x="74" y="770"/>
                  </a:lnTo>
                  <a:lnTo>
                    <a:pt x="67" y="774"/>
                  </a:lnTo>
                  <a:lnTo>
                    <a:pt x="61" y="779"/>
                  </a:lnTo>
                  <a:lnTo>
                    <a:pt x="61" y="779"/>
                  </a:lnTo>
                  <a:lnTo>
                    <a:pt x="59" y="784"/>
                  </a:lnTo>
                  <a:lnTo>
                    <a:pt x="59" y="790"/>
                  </a:lnTo>
                  <a:lnTo>
                    <a:pt x="61" y="796"/>
                  </a:lnTo>
                  <a:lnTo>
                    <a:pt x="64" y="801"/>
                  </a:lnTo>
                  <a:lnTo>
                    <a:pt x="64" y="801"/>
                  </a:lnTo>
                  <a:lnTo>
                    <a:pt x="67" y="802"/>
                  </a:lnTo>
                  <a:lnTo>
                    <a:pt x="70" y="804"/>
                  </a:lnTo>
                  <a:lnTo>
                    <a:pt x="74" y="801"/>
                  </a:lnTo>
                  <a:lnTo>
                    <a:pt x="74" y="801"/>
                  </a:lnTo>
                  <a:lnTo>
                    <a:pt x="95" y="784"/>
                  </a:lnTo>
                  <a:lnTo>
                    <a:pt x="95" y="784"/>
                  </a:lnTo>
                  <a:lnTo>
                    <a:pt x="98" y="783"/>
                  </a:lnTo>
                  <a:lnTo>
                    <a:pt x="101" y="784"/>
                  </a:lnTo>
                  <a:lnTo>
                    <a:pt x="102" y="787"/>
                  </a:lnTo>
                  <a:lnTo>
                    <a:pt x="104" y="792"/>
                  </a:lnTo>
                  <a:lnTo>
                    <a:pt x="104" y="792"/>
                  </a:lnTo>
                  <a:lnTo>
                    <a:pt x="101" y="796"/>
                  </a:lnTo>
                  <a:lnTo>
                    <a:pt x="96" y="801"/>
                  </a:lnTo>
                  <a:lnTo>
                    <a:pt x="96" y="801"/>
                  </a:lnTo>
                  <a:lnTo>
                    <a:pt x="104" y="804"/>
                  </a:lnTo>
                  <a:lnTo>
                    <a:pt x="107" y="807"/>
                  </a:lnTo>
                  <a:lnTo>
                    <a:pt x="107" y="808"/>
                  </a:lnTo>
                  <a:lnTo>
                    <a:pt x="105" y="810"/>
                  </a:lnTo>
                  <a:lnTo>
                    <a:pt x="105" y="810"/>
                  </a:lnTo>
                  <a:lnTo>
                    <a:pt x="102" y="813"/>
                  </a:lnTo>
                  <a:lnTo>
                    <a:pt x="99" y="816"/>
                  </a:lnTo>
                  <a:lnTo>
                    <a:pt x="99" y="819"/>
                  </a:lnTo>
                  <a:lnTo>
                    <a:pt x="99" y="823"/>
                  </a:lnTo>
                  <a:lnTo>
                    <a:pt x="99" y="823"/>
                  </a:lnTo>
                  <a:lnTo>
                    <a:pt x="102" y="829"/>
                  </a:lnTo>
                  <a:lnTo>
                    <a:pt x="104" y="832"/>
                  </a:lnTo>
                  <a:lnTo>
                    <a:pt x="104" y="835"/>
                  </a:lnTo>
                  <a:lnTo>
                    <a:pt x="104" y="835"/>
                  </a:lnTo>
                  <a:lnTo>
                    <a:pt x="104" y="838"/>
                  </a:lnTo>
                  <a:lnTo>
                    <a:pt x="102" y="841"/>
                  </a:lnTo>
                  <a:lnTo>
                    <a:pt x="102" y="842"/>
                  </a:lnTo>
                  <a:lnTo>
                    <a:pt x="102" y="844"/>
                  </a:lnTo>
                  <a:lnTo>
                    <a:pt x="102" y="844"/>
                  </a:lnTo>
                  <a:lnTo>
                    <a:pt x="105" y="845"/>
                  </a:lnTo>
                  <a:lnTo>
                    <a:pt x="111" y="847"/>
                  </a:lnTo>
                  <a:lnTo>
                    <a:pt x="119" y="848"/>
                  </a:lnTo>
                  <a:lnTo>
                    <a:pt x="119" y="848"/>
                  </a:lnTo>
                  <a:lnTo>
                    <a:pt x="120" y="893"/>
                  </a:lnTo>
                  <a:lnTo>
                    <a:pt x="120" y="893"/>
                  </a:lnTo>
                  <a:lnTo>
                    <a:pt x="120" y="894"/>
                  </a:lnTo>
                  <a:lnTo>
                    <a:pt x="123" y="896"/>
                  </a:lnTo>
                  <a:lnTo>
                    <a:pt x="126" y="897"/>
                  </a:lnTo>
                  <a:lnTo>
                    <a:pt x="129" y="900"/>
                  </a:lnTo>
                  <a:lnTo>
                    <a:pt x="129" y="900"/>
                  </a:lnTo>
                  <a:lnTo>
                    <a:pt x="131" y="904"/>
                  </a:lnTo>
                  <a:lnTo>
                    <a:pt x="132" y="907"/>
                  </a:lnTo>
                  <a:lnTo>
                    <a:pt x="132" y="907"/>
                  </a:lnTo>
                  <a:lnTo>
                    <a:pt x="134" y="909"/>
                  </a:lnTo>
                  <a:lnTo>
                    <a:pt x="136" y="910"/>
                  </a:lnTo>
                  <a:lnTo>
                    <a:pt x="141" y="910"/>
                  </a:lnTo>
                  <a:lnTo>
                    <a:pt x="145" y="912"/>
                  </a:lnTo>
                  <a:lnTo>
                    <a:pt x="145" y="912"/>
                  </a:lnTo>
                  <a:lnTo>
                    <a:pt x="147" y="915"/>
                  </a:lnTo>
                  <a:lnTo>
                    <a:pt x="145" y="916"/>
                  </a:lnTo>
                  <a:lnTo>
                    <a:pt x="141" y="922"/>
                  </a:lnTo>
                  <a:lnTo>
                    <a:pt x="141" y="922"/>
                  </a:lnTo>
                  <a:lnTo>
                    <a:pt x="138" y="925"/>
                  </a:lnTo>
                  <a:lnTo>
                    <a:pt x="138" y="928"/>
                  </a:lnTo>
                  <a:lnTo>
                    <a:pt x="139" y="931"/>
                  </a:lnTo>
                  <a:lnTo>
                    <a:pt x="141" y="933"/>
                  </a:lnTo>
                  <a:lnTo>
                    <a:pt x="141" y="933"/>
                  </a:lnTo>
                  <a:lnTo>
                    <a:pt x="145" y="936"/>
                  </a:lnTo>
                  <a:lnTo>
                    <a:pt x="154" y="938"/>
                  </a:lnTo>
                  <a:lnTo>
                    <a:pt x="165" y="941"/>
                  </a:lnTo>
                  <a:lnTo>
                    <a:pt x="173" y="946"/>
                  </a:lnTo>
                  <a:lnTo>
                    <a:pt x="173" y="946"/>
                  </a:lnTo>
                  <a:lnTo>
                    <a:pt x="176" y="950"/>
                  </a:lnTo>
                  <a:lnTo>
                    <a:pt x="179" y="955"/>
                  </a:lnTo>
                  <a:lnTo>
                    <a:pt x="181" y="959"/>
                  </a:lnTo>
                  <a:lnTo>
                    <a:pt x="181" y="965"/>
                  </a:lnTo>
                  <a:lnTo>
                    <a:pt x="179" y="984"/>
                  </a:lnTo>
                  <a:lnTo>
                    <a:pt x="179" y="984"/>
                  </a:lnTo>
                  <a:lnTo>
                    <a:pt x="184" y="1007"/>
                  </a:lnTo>
                  <a:lnTo>
                    <a:pt x="191" y="1032"/>
                  </a:lnTo>
                  <a:lnTo>
                    <a:pt x="191" y="1032"/>
                  </a:lnTo>
                  <a:lnTo>
                    <a:pt x="193" y="1035"/>
                  </a:lnTo>
                  <a:lnTo>
                    <a:pt x="196" y="1036"/>
                  </a:lnTo>
                  <a:lnTo>
                    <a:pt x="200" y="1038"/>
                  </a:lnTo>
                  <a:lnTo>
                    <a:pt x="206" y="1036"/>
                  </a:lnTo>
                  <a:lnTo>
                    <a:pt x="209" y="1038"/>
                  </a:lnTo>
                  <a:lnTo>
                    <a:pt x="209" y="1038"/>
                  </a:lnTo>
                  <a:lnTo>
                    <a:pt x="211" y="1041"/>
                  </a:lnTo>
                  <a:lnTo>
                    <a:pt x="212" y="1047"/>
                  </a:lnTo>
                  <a:lnTo>
                    <a:pt x="211" y="1057"/>
                  </a:lnTo>
                  <a:lnTo>
                    <a:pt x="211" y="1057"/>
                  </a:lnTo>
                  <a:lnTo>
                    <a:pt x="209" y="1066"/>
                  </a:lnTo>
                  <a:lnTo>
                    <a:pt x="206" y="1070"/>
                  </a:lnTo>
                  <a:lnTo>
                    <a:pt x="202" y="1076"/>
                  </a:lnTo>
                  <a:lnTo>
                    <a:pt x="202" y="1076"/>
                  </a:lnTo>
                  <a:lnTo>
                    <a:pt x="196" y="1081"/>
                  </a:lnTo>
                  <a:lnTo>
                    <a:pt x="190" y="1084"/>
                  </a:lnTo>
                  <a:lnTo>
                    <a:pt x="184" y="1087"/>
                  </a:lnTo>
                  <a:lnTo>
                    <a:pt x="178" y="1093"/>
                  </a:lnTo>
                  <a:lnTo>
                    <a:pt x="178" y="1093"/>
                  </a:lnTo>
                  <a:lnTo>
                    <a:pt x="175" y="1097"/>
                  </a:lnTo>
                  <a:lnTo>
                    <a:pt x="171" y="1101"/>
                  </a:lnTo>
                  <a:lnTo>
                    <a:pt x="165" y="1104"/>
                  </a:lnTo>
                  <a:lnTo>
                    <a:pt x="157" y="1104"/>
                  </a:lnTo>
                  <a:lnTo>
                    <a:pt x="157" y="1104"/>
                  </a:lnTo>
                  <a:lnTo>
                    <a:pt x="153" y="1104"/>
                  </a:lnTo>
                  <a:lnTo>
                    <a:pt x="151" y="1106"/>
                  </a:lnTo>
                  <a:lnTo>
                    <a:pt x="148" y="1110"/>
                  </a:lnTo>
                  <a:lnTo>
                    <a:pt x="145" y="1116"/>
                  </a:lnTo>
                  <a:lnTo>
                    <a:pt x="144" y="1118"/>
                  </a:lnTo>
                  <a:lnTo>
                    <a:pt x="139" y="1121"/>
                  </a:lnTo>
                  <a:lnTo>
                    <a:pt x="139" y="1121"/>
                  </a:lnTo>
                  <a:lnTo>
                    <a:pt x="136" y="1122"/>
                  </a:lnTo>
                  <a:lnTo>
                    <a:pt x="134" y="1125"/>
                  </a:lnTo>
                  <a:lnTo>
                    <a:pt x="134" y="1128"/>
                  </a:lnTo>
                  <a:lnTo>
                    <a:pt x="135" y="1131"/>
                  </a:lnTo>
                  <a:lnTo>
                    <a:pt x="141" y="1135"/>
                  </a:lnTo>
                  <a:lnTo>
                    <a:pt x="145" y="1141"/>
                  </a:lnTo>
                  <a:lnTo>
                    <a:pt x="145" y="1141"/>
                  </a:lnTo>
                  <a:lnTo>
                    <a:pt x="147" y="1146"/>
                  </a:lnTo>
                  <a:lnTo>
                    <a:pt x="147" y="1149"/>
                  </a:lnTo>
                  <a:lnTo>
                    <a:pt x="144" y="1150"/>
                  </a:lnTo>
                  <a:lnTo>
                    <a:pt x="139" y="1150"/>
                  </a:lnTo>
                  <a:lnTo>
                    <a:pt x="139" y="1150"/>
                  </a:lnTo>
                  <a:lnTo>
                    <a:pt x="134" y="1152"/>
                  </a:lnTo>
                  <a:lnTo>
                    <a:pt x="129" y="1155"/>
                  </a:lnTo>
                  <a:lnTo>
                    <a:pt x="126" y="1159"/>
                  </a:lnTo>
                  <a:lnTo>
                    <a:pt x="125" y="1164"/>
                  </a:lnTo>
                  <a:lnTo>
                    <a:pt x="125" y="1164"/>
                  </a:lnTo>
                  <a:lnTo>
                    <a:pt x="125" y="1168"/>
                  </a:lnTo>
                  <a:lnTo>
                    <a:pt x="123" y="1171"/>
                  </a:lnTo>
                  <a:lnTo>
                    <a:pt x="120" y="1174"/>
                  </a:lnTo>
                  <a:lnTo>
                    <a:pt x="116" y="1177"/>
                  </a:lnTo>
                  <a:lnTo>
                    <a:pt x="116" y="1177"/>
                  </a:lnTo>
                  <a:lnTo>
                    <a:pt x="111" y="1180"/>
                  </a:lnTo>
                  <a:lnTo>
                    <a:pt x="111" y="1181"/>
                  </a:lnTo>
                  <a:lnTo>
                    <a:pt x="113" y="1181"/>
                  </a:lnTo>
                  <a:lnTo>
                    <a:pt x="123" y="1187"/>
                  </a:lnTo>
                  <a:lnTo>
                    <a:pt x="123" y="1187"/>
                  </a:lnTo>
                  <a:lnTo>
                    <a:pt x="126" y="1192"/>
                  </a:lnTo>
                  <a:lnTo>
                    <a:pt x="128" y="1195"/>
                  </a:lnTo>
                  <a:lnTo>
                    <a:pt x="126" y="1198"/>
                  </a:lnTo>
                  <a:lnTo>
                    <a:pt x="123" y="1201"/>
                  </a:lnTo>
                  <a:lnTo>
                    <a:pt x="123" y="1201"/>
                  </a:lnTo>
                  <a:lnTo>
                    <a:pt x="122" y="1205"/>
                  </a:lnTo>
                  <a:lnTo>
                    <a:pt x="120" y="1211"/>
                  </a:lnTo>
                  <a:lnTo>
                    <a:pt x="120" y="1217"/>
                  </a:lnTo>
                  <a:lnTo>
                    <a:pt x="120" y="1221"/>
                  </a:lnTo>
                  <a:lnTo>
                    <a:pt x="120" y="1221"/>
                  </a:lnTo>
                  <a:lnTo>
                    <a:pt x="117" y="1224"/>
                  </a:lnTo>
                  <a:lnTo>
                    <a:pt x="113" y="1226"/>
                  </a:lnTo>
                  <a:lnTo>
                    <a:pt x="107" y="1227"/>
                  </a:lnTo>
                  <a:lnTo>
                    <a:pt x="101" y="1226"/>
                  </a:lnTo>
                  <a:lnTo>
                    <a:pt x="101" y="1226"/>
                  </a:lnTo>
                  <a:lnTo>
                    <a:pt x="88" y="1224"/>
                  </a:lnTo>
                  <a:lnTo>
                    <a:pt x="82" y="1224"/>
                  </a:lnTo>
                  <a:lnTo>
                    <a:pt x="77" y="1226"/>
                  </a:lnTo>
                  <a:lnTo>
                    <a:pt x="77" y="1226"/>
                  </a:lnTo>
                  <a:lnTo>
                    <a:pt x="71" y="1233"/>
                  </a:lnTo>
                  <a:lnTo>
                    <a:pt x="68" y="1238"/>
                  </a:lnTo>
                  <a:lnTo>
                    <a:pt x="65" y="1241"/>
                  </a:lnTo>
                  <a:lnTo>
                    <a:pt x="65" y="1241"/>
                  </a:lnTo>
                  <a:lnTo>
                    <a:pt x="52" y="1247"/>
                  </a:lnTo>
                  <a:lnTo>
                    <a:pt x="36" y="1255"/>
                  </a:lnTo>
                  <a:lnTo>
                    <a:pt x="36" y="1255"/>
                  </a:lnTo>
                  <a:lnTo>
                    <a:pt x="24" y="1264"/>
                  </a:lnTo>
                  <a:lnTo>
                    <a:pt x="12" y="1267"/>
                  </a:lnTo>
                  <a:lnTo>
                    <a:pt x="12" y="1267"/>
                  </a:lnTo>
                  <a:lnTo>
                    <a:pt x="2" y="1269"/>
                  </a:lnTo>
                  <a:lnTo>
                    <a:pt x="2" y="1269"/>
                  </a:lnTo>
                  <a:lnTo>
                    <a:pt x="2" y="1273"/>
                  </a:lnTo>
                  <a:lnTo>
                    <a:pt x="0" y="1278"/>
                  </a:lnTo>
                  <a:lnTo>
                    <a:pt x="2" y="1288"/>
                  </a:lnTo>
                  <a:lnTo>
                    <a:pt x="2" y="1288"/>
                  </a:lnTo>
                  <a:lnTo>
                    <a:pt x="6" y="1295"/>
                  </a:lnTo>
                  <a:lnTo>
                    <a:pt x="15" y="1306"/>
                  </a:lnTo>
                  <a:lnTo>
                    <a:pt x="25" y="1316"/>
                  </a:lnTo>
                  <a:lnTo>
                    <a:pt x="33" y="1327"/>
                  </a:lnTo>
                  <a:lnTo>
                    <a:pt x="33" y="1327"/>
                  </a:lnTo>
                  <a:lnTo>
                    <a:pt x="36" y="1335"/>
                  </a:lnTo>
                  <a:lnTo>
                    <a:pt x="39" y="1346"/>
                  </a:lnTo>
                  <a:lnTo>
                    <a:pt x="39" y="1365"/>
                  </a:lnTo>
                  <a:lnTo>
                    <a:pt x="39" y="1365"/>
                  </a:lnTo>
                  <a:lnTo>
                    <a:pt x="40" y="1374"/>
                  </a:lnTo>
                  <a:lnTo>
                    <a:pt x="42" y="1381"/>
                  </a:lnTo>
                  <a:lnTo>
                    <a:pt x="45" y="1402"/>
                  </a:lnTo>
                  <a:lnTo>
                    <a:pt x="45" y="1402"/>
                  </a:lnTo>
                  <a:lnTo>
                    <a:pt x="48" y="1446"/>
                  </a:lnTo>
                  <a:lnTo>
                    <a:pt x="49" y="1472"/>
                  </a:lnTo>
                  <a:lnTo>
                    <a:pt x="52" y="1489"/>
                  </a:lnTo>
                  <a:lnTo>
                    <a:pt x="52" y="1489"/>
                  </a:lnTo>
                  <a:lnTo>
                    <a:pt x="54" y="1500"/>
                  </a:lnTo>
                  <a:lnTo>
                    <a:pt x="52" y="1509"/>
                  </a:lnTo>
                  <a:lnTo>
                    <a:pt x="49" y="1516"/>
                  </a:lnTo>
                  <a:lnTo>
                    <a:pt x="46" y="1518"/>
                  </a:lnTo>
                  <a:lnTo>
                    <a:pt x="43" y="1519"/>
                  </a:lnTo>
                  <a:lnTo>
                    <a:pt x="43" y="1519"/>
                  </a:lnTo>
                  <a:lnTo>
                    <a:pt x="33" y="1521"/>
                  </a:lnTo>
                  <a:lnTo>
                    <a:pt x="30" y="1522"/>
                  </a:lnTo>
                  <a:lnTo>
                    <a:pt x="27" y="1528"/>
                  </a:lnTo>
                  <a:lnTo>
                    <a:pt x="27" y="1528"/>
                  </a:lnTo>
                  <a:lnTo>
                    <a:pt x="25" y="1534"/>
                  </a:lnTo>
                  <a:lnTo>
                    <a:pt x="24" y="1538"/>
                  </a:lnTo>
                  <a:lnTo>
                    <a:pt x="22" y="1541"/>
                  </a:lnTo>
                  <a:lnTo>
                    <a:pt x="17" y="1544"/>
                  </a:lnTo>
                  <a:lnTo>
                    <a:pt x="17" y="1544"/>
                  </a:lnTo>
                  <a:lnTo>
                    <a:pt x="3" y="1550"/>
                  </a:lnTo>
                  <a:lnTo>
                    <a:pt x="2" y="1553"/>
                  </a:lnTo>
                  <a:lnTo>
                    <a:pt x="2" y="1556"/>
                  </a:lnTo>
                  <a:lnTo>
                    <a:pt x="2" y="1556"/>
                  </a:lnTo>
                  <a:lnTo>
                    <a:pt x="5" y="1558"/>
                  </a:lnTo>
                  <a:lnTo>
                    <a:pt x="6" y="1559"/>
                  </a:lnTo>
                  <a:lnTo>
                    <a:pt x="12" y="1561"/>
                  </a:lnTo>
                  <a:lnTo>
                    <a:pt x="18" y="1561"/>
                  </a:lnTo>
                  <a:lnTo>
                    <a:pt x="21" y="1562"/>
                  </a:lnTo>
                  <a:lnTo>
                    <a:pt x="21" y="1562"/>
                  </a:lnTo>
                  <a:lnTo>
                    <a:pt x="22" y="1563"/>
                  </a:lnTo>
                  <a:lnTo>
                    <a:pt x="22" y="1566"/>
                  </a:lnTo>
                  <a:lnTo>
                    <a:pt x="22" y="1568"/>
                  </a:lnTo>
                  <a:lnTo>
                    <a:pt x="24" y="1571"/>
                  </a:lnTo>
                  <a:lnTo>
                    <a:pt x="24" y="1571"/>
                  </a:lnTo>
                  <a:lnTo>
                    <a:pt x="28" y="1574"/>
                  </a:lnTo>
                  <a:lnTo>
                    <a:pt x="31" y="1575"/>
                  </a:lnTo>
                  <a:lnTo>
                    <a:pt x="36" y="1577"/>
                  </a:lnTo>
                  <a:lnTo>
                    <a:pt x="37" y="1578"/>
                  </a:lnTo>
                  <a:lnTo>
                    <a:pt x="37" y="1578"/>
                  </a:lnTo>
                  <a:lnTo>
                    <a:pt x="37" y="1583"/>
                  </a:lnTo>
                  <a:lnTo>
                    <a:pt x="37" y="1590"/>
                  </a:lnTo>
                  <a:lnTo>
                    <a:pt x="36" y="1605"/>
                  </a:lnTo>
                  <a:lnTo>
                    <a:pt x="36" y="1605"/>
                  </a:lnTo>
                  <a:lnTo>
                    <a:pt x="34" y="1611"/>
                  </a:lnTo>
                  <a:lnTo>
                    <a:pt x="31" y="1618"/>
                  </a:lnTo>
                  <a:lnTo>
                    <a:pt x="30" y="1627"/>
                  </a:lnTo>
                  <a:lnTo>
                    <a:pt x="31" y="1630"/>
                  </a:lnTo>
                  <a:lnTo>
                    <a:pt x="33" y="1635"/>
                  </a:lnTo>
                  <a:lnTo>
                    <a:pt x="33" y="1635"/>
                  </a:lnTo>
                  <a:lnTo>
                    <a:pt x="36" y="1640"/>
                  </a:lnTo>
                  <a:lnTo>
                    <a:pt x="40" y="1643"/>
                  </a:lnTo>
                  <a:lnTo>
                    <a:pt x="43" y="1648"/>
                  </a:lnTo>
                  <a:lnTo>
                    <a:pt x="46" y="1655"/>
                  </a:lnTo>
                  <a:lnTo>
                    <a:pt x="46" y="1655"/>
                  </a:lnTo>
                  <a:lnTo>
                    <a:pt x="46" y="1666"/>
                  </a:lnTo>
                  <a:lnTo>
                    <a:pt x="45" y="1678"/>
                  </a:lnTo>
                  <a:lnTo>
                    <a:pt x="45" y="1689"/>
                  </a:lnTo>
                  <a:lnTo>
                    <a:pt x="46" y="1694"/>
                  </a:lnTo>
                  <a:lnTo>
                    <a:pt x="48" y="1697"/>
                  </a:lnTo>
                  <a:lnTo>
                    <a:pt x="48" y="1697"/>
                  </a:lnTo>
                  <a:lnTo>
                    <a:pt x="55" y="1701"/>
                  </a:lnTo>
                  <a:lnTo>
                    <a:pt x="65" y="1706"/>
                  </a:lnTo>
                  <a:lnTo>
                    <a:pt x="76" y="1710"/>
                  </a:lnTo>
                  <a:lnTo>
                    <a:pt x="80" y="1715"/>
                  </a:lnTo>
                  <a:lnTo>
                    <a:pt x="80" y="1715"/>
                  </a:lnTo>
                  <a:lnTo>
                    <a:pt x="79" y="1717"/>
                  </a:lnTo>
                  <a:lnTo>
                    <a:pt x="74" y="1722"/>
                  </a:lnTo>
                  <a:lnTo>
                    <a:pt x="64" y="1729"/>
                  </a:lnTo>
                  <a:lnTo>
                    <a:pt x="64" y="1729"/>
                  </a:lnTo>
                  <a:lnTo>
                    <a:pt x="59" y="1732"/>
                  </a:lnTo>
                  <a:lnTo>
                    <a:pt x="58" y="1737"/>
                  </a:lnTo>
                  <a:lnTo>
                    <a:pt x="58" y="1746"/>
                  </a:lnTo>
                  <a:lnTo>
                    <a:pt x="58" y="1746"/>
                  </a:lnTo>
                  <a:lnTo>
                    <a:pt x="57" y="1752"/>
                  </a:lnTo>
                  <a:lnTo>
                    <a:pt x="52" y="1757"/>
                  </a:lnTo>
                  <a:lnTo>
                    <a:pt x="43" y="1769"/>
                  </a:lnTo>
                  <a:lnTo>
                    <a:pt x="43" y="1769"/>
                  </a:lnTo>
                  <a:lnTo>
                    <a:pt x="40" y="1771"/>
                  </a:lnTo>
                  <a:lnTo>
                    <a:pt x="37" y="1772"/>
                  </a:lnTo>
                  <a:lnTo>
                    <a:pt x="36" y="1774"/>
                  </a:lnTo>
                  <a:lnTo>
                    <a:pt x="36" y="1775"/>
                  </a:lnTo>
                  <a:lnTo>
                    <a:pt x="39" y="1780"/>
                  </a:lnTo>
                  <a:lnTo>
                    <a:pt x="39" y="1780"/>
                  </a:lnTo>
                  <a:lnTo>
                    <a:pt x="46" y="1789"/>
                  </a:lnTo>
                  <a:lnTo>
                    <a:pt x="49" y="1793"/>
                  </a:lnTo>
                  <a:lnTo>
                    <a:pt x="49" y="1793"/>
                  </a:lnTo>
                  <a:lnTo>
                    <a:pt x="48" y="1795"/>
                  </a:lnTo>
                  <a:lnTo>
                    <a:pt x="48" y="1795"/>
                  </a:lnTo>
                  <a:lnTo>
                    <a:pt x="45" y="1795"/>
                  </a:lnTo>
                  <a:lnTo>
                    <a:pt x="42" y="1793"/>
                  </a:lnTo>
                  <a:lnTo>
                    <a:pt x="39" y="1793"/>
                  </a:lnTo>
                  <a:lnTo>
                    <a:pt x="37" y="1793"/>
                  </a:lnTo>
                  <a:lnTo>
                    <a:pt x="37" y="1793"/>
                  </a:lnTo>
                  <a:lnTo>
                    <a:pt x="33" y="1806"/>
                  </a:lnTo>
                  <a:lnTo>
                    <a:pt x="28" y="1817"/>
                  </a:lnTo>
                  <a:lnTo>
                    <a:pt x="28" y="1824"/>
                  </a:lnTo>
                  <a:lnTo>
                    <a:pt x="28" y="1824"/>
                  </a:lnTo>
                  <a:lnTo>
                    <a:pt x="28" y="1827"/>
                  </a:lnTo>
                  <a:lnTo>
                    <a:pt x="31" y="1830"/>
                  </a:lnTo>
                  <a:lnTo>
                    <a:pt x="34" y="1830"/>
                  </a:lnTo>
                  <a:lnTo>
                    <a:pt x="39" y="1829"/>
                  </a:lnTo>
                  <a:lnTo>
                    <a:pt x="39" y="1829"/>
                  </a:lnTo>
                  <a:lnTo>
                    <a:pt x="46" y="1824"/>
                  </a:lnTo>
                  <a:lnTo>
                    <a:pt x="48" y="1823"/>
                  </a:lnTo>
                  <a:lnTo>
                    <a:pt x="51" y="1824"/>
                  </a:lnTo>
                  <a:lnTo>
                    <a:pt x="51" y="1824"/>
                  </a:lnTo>
                  <a:lnTo>
                    <a:pt x="52" y="1829"/>
                  </a:lnTo>
                  <a:lnTo>
                    <a:pt x="55" y="1833"/>
                  </a:lnTo>
                  <a:lnTo>
                    <a:pt x="57" y="1834"/>
                  </a:lnTo>
                  <a:lnTo>
                    <a:pt x="58" y="1836"/>
                  </a:lnTo>
                  <a:lnTo>
                    <a:pt x="61" y="1834"/>
                  </a:lnTo>
                  <a:lnTo>
                    <a:pt x="62" y="1833"/>
                  </a:lnTo>
                  <a:lnTo>
                    <a:pt x="62" y="1833"/>
                  </a:lnTo>
                  <a:lnTo>
                    <a:pt x="71" y="1824"/>
                  </a:lnTo>
                  <a:lnTo>
                    <a:pt x="74" y="1823"/>
                  </a:lnTo>
                  <a:lnTo>
                    <a:pt x="77" y="1824"/>
                  </a:lnTo>
                  <a:lnTo>
                    <a:pt x="77" y="1824"/>
                  </a:lnTo>
                  <a:lnTo>
                    <a:pt x="80" y="1832"/>
                  </a:lnTo>
                  <a:lnTo>
                    <a:pt x="82" y="1834"/>
                  </a:lnTo>
                  <a:lnTo>
                    <a:pt x="86" y="1834"/>
                  </a:lnTo>
                  <a:lnTo>
                    <a:pt x="86" y="1834"/>
                  </a:lnTo>
                  <a:lnTo>
                    <a:pt x="94" y="1836"/>
                  </a:lnTo>
                  <a:lnTo>
                    <a:pt x="98" y="1837"/>
                  </a:lnTo>
                  <a:lnTo>
                    <a:pt x="102" y="1840"/>
                  </a:lnTo>
                  <a:lnTo>
                    <a:pt x="102" y="1840"/>
                  </a:lnTo>
                  <a:lnTo>
                    <a:pt x="107" y="1843"/>
                  </a:lnTo>
                  <a:lnTo>
                    <a:pt x="111" y="1843"/>
                  </a:lnTo>
                  <a:lnTo>
                    <a:pt x="119" y="1843"/>
                  </a:lnTo>
                  <a:lnTo>
                    <a:pt x="119" y="1843"/>
                  </a:lnTo>
                  <a:lnTo>
                    <a:pt x="120" y="1845"/>
                  </a:lnTo>
                  <a:lnTo>
                    <a:pt x="122" y="1846"/>
                  </a:lnTo>
                  <a:lnTo>
                    <a:pt x="125" y="1848"/>
                  </a:lnTo>
                  <a:lnTo>
                    <a:pt x="129" y="1849"/>
                  </a:lnTo>
                  <a:lnTo>
                    <a:pt x="129" y="1849"/>
                  </a:lnTo>
                  <a:lnTo>
                    <a:pt x="136" y="1852"/>
                  </a:lnTo>
                  <a:lnTo>
                    <a:pt x="142" y="1852"/>
                  </a:lnTo>
                  <a:lnTo>
                    <a:pt x="147" y="1852"/>
                  </a:lnTo>
                  <a:lnTo>
                    <a:pt x="150" y="1851"/>
                  </a:lnTo>
                  <a:lnTo>
                    <a:pt x="150" y="1851"/>
                  </a:lnTo>
                  <a:lnTo>
                    <a:pt x="151" y="1845"/>
                  </a:lnTo>
                  <a:lnTo>
                    <a:pt x="153" y="1840"/>
                  </a:lnTo>
                  <a:lnTo>
                    <a:pt x="154" y="1837"/>
                  </a:lnTo>
                  <a:lnTo>
                    <a:pt x="154" y="1837"/>
                  </a:lnTo>
                  <a:lnTo>
                    <a:pt x="157" y="1836"/>
                  </a:lnTo>
                  <a:lnTo>
                    <a:pt x="162" y="1836"/>
                  </a:lnTo>
                  <a:lnTo>
                    <a:pt x="166" y="1837"/>
                  </a:lnTo>
                  <a:lnTo>
                    <a:pt x="169" y="1839"/>
                  </a:lnTo>
                  <a:lnTo>
                    <a:pt x="169" y="1839"/>
                  </a:lnTo>
                  <a:lnTo>
                    <a:pt x="169" y="1842"/>
                  </a:lnTo>
                  <a:lnTo>
                    <a:pt x="168" y="1846"/>
                  </a:lnTo>
                  <a:lnTo>
                    <a:pt x="168" y="1851"/>
                  </a:lnTo>
                  <a:lnTo>
                    <a:pt x="168" y="1854"/>
                  </a:lnTo>
                  <a:lnTo>
                    <a:pt x="168" y="1854"/>
                  </a:lnTo>
                  <a:lnTo>
                    <a:pt x="172" y="1861"/>
                  </a:lnTo>
                  <a:lnTo>
                    <a:pt x="173" y="1866"/>
                  </a:lnTo>
                  <a:lnTo>
                    <a:pt x="176" y="1872"/>
                  </a:lnTo>
                  <a:lnTo>
                    <a:pt x="176" y="1872"/>
                  </a:lnTo>
                  <a:lnTo>
                    <a:pt x="179" y="1877"/>
                  </a:lnTo>
                  <a:lnTo>
                    <a:pt x="181" y="1880"/>
                  </a:lnTo>
                  <a:lnTo>
                    <a:pt x="184" y="1883"/>
                  </a:lnTo>
                  <a:lnTo>
                    <a:pt x="184" y="1885"/>
                  </a:lnTo>
                  <a:lnTo>
                    <a:pt x="184" y="1885"/>
                  </a:lnTo>
                  <a:lnTo>
                    <a:pt x="181" y="1886"/>
                  </a:lnTo>
                  <a:lnTo>
                    <a:pt x="176" y="1888"/>
                  </a:lnTo>
                  <a:lnTo>
                    <a:pt x="171" y="1889"/>
                  </a:lnTo>
                  <a:lnTo>
                    <a:pt x="168" y="1891"/>
                  </a:lnTo>
                  <a:lnTo>
                    <a:pt x="168" y="1891"/>
                  </a:lnTo>
                  <a:lnTo>
                    <a:pt x="166" y="1894"/>
                  </a:lnTo>
                  <a:lnTo>
                    <a:pt x="166" y="1897"/>
                  </a:lnTo>
                  <a:lnTo>
                    <a:pt x="166" y="1901"/>
                  </a:lnTo>
                  <a:lnTo>
                    <a:pt x="166" y="1904"/>
                  </a:lnTo>
                  <a:lnTo>
                    <a:pt x="166" y="1904"/>
                  </a:lnTo>
                  <a:lnTo>
                    <a:pt x="160" y="1909"/>
                  </a:lnTo>
                  <a:lnTo>
                    <a:pt x="159" y="1912"/>
                  </a:lnTo>
                  <a:lnTo>
                    <a:pt x="160" y="1913"/>
                  </a:lnTo>
                  <a:lnTo>
                    <a:pt x="162" y="1913"/>
                  </a:lnTo>
                  <a:lnTo>
                    <a:pt x="162" y="1913"/>
                  </a:lnTo>
                  <a:lnTo>
                    <a:pt x="165" y="1914"/>
                  </a:lnTo>
                  <a:lnTo>
                    <a:pt x="169" y="1916"/>
                  </a:lnTo>
                  <a:lnTo>
                    <a:pt x="175" y="1916"/>
                  </a:lnTo>
                  <a:lnTo>
                    <a:pt x="182" y="1917"/>
                  </a:lnTo>
                  <a:lnTo>
                    <a:pt x="182" y="1917"/>
                  </a:lnTo>
                  <a:lnTo>
                    <a:pt x="193" y="1920"/>
                  </a:lnTo>
                  <a:lnTo>
                    <a:pt x="203" y="1925"/>
                  </a:lnTo>
                  <a:lnTo>
                    <a:pt x="203" y="1925"/>
                  </a:lnTo>
                  <a:lnTo>
                    <a:pt x="211" y="1929"/>
                  </a:lnTo>
                  <a:lnTo>
                    <a:pt x="216" y="1934"/>
                  </a:lnTo>
                  <a:lnTo>
                    <a:pt x="224" y="1941"/>
                  </a:lnTo>
                  <a:lnTo>
                    <a:pt x="224" y="1941"/>
                  </a:lnTo>
                  <a:lnTo>
                    <a:pt x="227" y="1944"/>
                  </a:lnTo>
                  <a:lnTo>
                    <a:pt x="228" y="1949"/>
                  </a:lnTo>
                  <a:lnTo>
                    <a:pt x="231" y="1960"/>
                  </a:lnTo>
                  <a:lnTo>
                    <a:pt x="231" y="1960"/>
                  </a:lnTo>
                  <a:lnTo>
                    <a:pt x="233" y="1966"/>
                  </a:lnTo>
                  <a:lnTo>
                    <a:pt x="236" y="1974"/>
                  </a:lnTo>
                  <a:lnTo>
                    <a:pt x="243" y="1984"/>
                  </a:lnTo>
                  <a:lnTo>
                    <a:pt x="243" y="1984"/>
                  </a:lnTo>
                  <a:lnTo>
                    <a:pt x="243" y="1989"/>
                  </a:lnTo>
                  <a:lnTo>
                    <a:pt x="240" y="1994"/>
                  </a:lnTo>
                  <a:lnTo>
                    <a:pt x="237" y="2002"/>
                  </a:lnTo>
                  <a:lnTo>
                    <a:pt x="236" y="2009"/>
                  </a:lnTo>
                  <a:lnTo>
                    <a:pt x="236" y="2009"/>
                  </a:lnTo>
                  <a:lnTo>
                    <a:pt x="234" y="2017"/>
                  </a:lnTo>
                  <a:lnTo>
                    <a:pt x="231" y="2026"/>
                  </a:lnTo>
                  <a:lnTo>
                    <a:pt x="230" y="2029"/>
                  </a:lnTo>
                  <a:lnTo>
                    <a:pt x="231" y="2033"/>
                  </a:lnTo>
                  <a:lnTo>
                    <a:pt x="233" y="2036"/>
                  </a:lnTo>
                  <a:lnTo>
                    <a:pt x="236" y="2037"/>
                  </a:lnTo>
                  <a:lnTo>
                    <a:pt x="236" y="2037"/>
                  </a:lnTo>
                  <a:lnTo>
                    <a:pt x="245" y="2039"/>
                  </a:lnTo>
                  <a:lnTo>
                    <a:pt x="252" y="2040"/>
                  </a:lnTo>
                  <a:lnTo>
                    <a:pt x="259" y="2040"/>
                  </a:lnTo>
                  <a:lnTo>
                    <a:pt x="262" y="2042"/>
                  </a:lnTo>
                  <a:lnTo>
                    <a:pt x="262" y="2042"/>
                  </a:lnTo>
                  <a:lnTo>
                    <a:pt x="265" y="2049"/>
                  </a:lnTo>
                  <a:lnTo>
                    <a:pt x="270" y="2061"/>
                  </a:lnTo>
                  <a:lnTo>
                    <a:pt x="271" y="2073"/>
                  </a:lnTo>
                  <a:lnTo>
                    <a:pt x="271" y="2080"/>
                  </a:lnTo>
                  <a:lnTo>
                    <a:pt x="271" y="2080"/>
                  </a:lnTo>
                  <a:lnTo>
                    <a:pt x="268" y="2085"/>
                  </a:lnTo>
                  <a:lnTo>
                    <a:pt x="264" y="2088"/>
                  </a:lnTo>
                  <a:lnTo>
                    <a:pt x="259" y="2092"/>
                  </a:lnTo>
                  <a:lnTo>
                    <a:pt x="256" y="2098"/>
                  </a:lnTo>
                  <a:lnTo>
                    <a:pt x="256" y="2098"/>
                  </a:lnTo>
                  <a:lnTo>
                    <a:pt x="253" y="2107"/>
                  </a:lnTo>
                  <a:lnTo>
                    <a:pt x="250" y="2117"/>
                  </a:lnTo>
                  <a:lnTo>
                    <a:pt x="250" y="2126"/>
                  </a:lnTo>
                  <a:lnTo>
                    <a:pt x="252" y="2131"/>
                  </a:lnTo>
                  <a:lnTo>
                    <a:pt x="252" y="2131"/>
                  </a:lnTo>
                  <a:lnTo>
                    <a:pt x="259" y="2131"/>
                  </a:lnTo>
                  <a:lnTo>
                    <a:pt x="264" y="2131"/>
                  </a:lnTo>
                  <a:lnTo>
                    <a:pt x="267" y="2134"/>
                  </a:lnTo>
                  <a:lnTo>
                    <a:pt x="270" y="2135"/>
                  </a:lnTo>
                  <a:lnTo>
                    <a:pt x="270" y="2135"/>
                  </a:lnTo>
                  <a:lnTo>
                    <a:pt x="271" y="2143"/>
                  </a:lnTo>
                  <a:lnTo>
                    <a:pt x="273" y="2148"/>
                  </a:lnTo>
                  <a:lnTo>
                    <a:pt x="273" y="2154"/>
                  </a:lnTo>
                  <a:lnTo>
                    <a:pt x="274" y="2157"/>
                  </a:lnTo>
                  <a:lnTo>
                    <a:pt x="277" y="2159"/>
                  </a:lnTo>
                  <a:lnTo>
                    <a:pt x="277" y="2159"/>
                  </a:lnTo>
                  <a:lnTo>
                    <a:pt x="282" y="2160"/>
                  </a:lnTo>
                  <a:lnTo>
                    <a:pt x="286" y="2162"/>
                  </a:lnTo>
                  <a:lnTo>
                    <a:pt x="290" y="2162"/>
                  </a:lnTo>
                  <a:lnTo>
                    <a:pt x="295" y="2165"/>
                  </a:lnTo>
                  <a:lnTo>
                    <a:pt x="295" y="2165"/>
                  </a:lnTo>
                  <a:lnTo>
                    <a:pt x="302" y="2172"/>
                  </a:lnTo>
                  <a:lnTo>
                    <a:pt x="304" y="2172"/>
                  </a:lnTo>
                  <a:lnTo>
                    <a:pt x="305" y="2172"/>
                  </a:lnTo>
                  <a:lnTo>
                    <a:pt x="305" y="2172"/>
                  </a:lnTo>
                  <a:lnTo>
                    <a:pt x="308" y="2171"/>
                  </a:lnTo>
                  <a:lnTo>
                    <a:pt x="313" y="2168"/>
                  </a:lnTo>
                  <a:lnTo>
                    <a:pt x="319" y="2168"/>
                  </a:lnTo>
                  <a:lnTo>
                    <a:pt x="320" y="2168"/>
                  </a:lnTo>
                  <a:lnTo>
                    <a:pt x="322" y="2169"/>
                  </a:lnTo>
                  <a:lnTo>
                    <a:pt x="322" y="2169"/>
                  </a:lnTo>
                  <a:lnTo>
                    <a:pt x="323" y="2175"/>
                  </a:lnTo>
                  <a:lnTo>
                    <a:pt x="323" y="2183"/>
                  </a:lnTo>
                  <a:lnTo>
                    <a:pt x="320" y="2196"/>
                  </a:lnTo>
                  <a:lnTo>
                    <a:pt x="320" y="2196"/>
                  </a:lnTo>
                  <a:lnTo>
                    <a:pt x="317" y="2203"/>
                  </a:lnTo>
                  <a:lnTo>
                    <a:pt x="317" y="2208"/>
                  </a:lnTo>
                  <a:lnTo>
                    <a:pt x="320" y="2212"/>
                  </a:lnTo>
                  <a:lnTo>
                    <a:pt x="320" y="2212"/>
                  </a:lnTo>
                  <a:lnTo>
                    <a:pt x="322" y="2217"/>
                  </a:lnTo>
                  <a:lnTo>
                    <a:pt x="323" y="2221"/>
                  </a:lnTo>
                  <a:lnTo>
                    <a:pt x="322" y="2225"/>
                  </a:lnTo>
                  <a:lnTo>
                    <a:pt x="320" y="2228"/>
                  </a:lnTo>
                  <a:lnTo>
                    <a:pt x="320" y="2228"/>
                  </a:lnTo>
                  <a:lnTo>
                    <a:pt x="317" y="2231"/>
                  </a:lnTo>
                  <a:lnTo>
                    <a:pt x="316" y="2234"/>
                  </a:lnTo>
                  <a:lnTo>
                    <a:pt x="313" y="2240"/>
                  </a:lnTo>
                  <a:lnTo>
                    <a:pt x="313" y="2240"/>
                  </a:lnTo>
                  <a:lnTo>
                    <a:pt x="311" y="2246"/>
                  </a:lnTo>
                  <a:lnTo>
                    <a:pt x="305" y="2255"/>
                  </a:lnTo>
                  <a:lnTo>
                    <a:pt x="305" y="2255"/>
                  </a:lnTo>
                  <a:lnTo>
                    <a:pt x="301" y="2263"/>
                  </a:lnTo>
                  <a:lnTo>
                    <a:pt x="298" y="2273"/>
                  </a:lnTo>
                  <a:lnTo>
                    <a:pt x="295" y="2283"/>
                  </a:lnTo>
                  <a:lnTo>
                    <a:pt x="292" y="2291"/>
                  </a:lnTo>
                  <a:lnTo>
                    <a:pt x="292" y="2291"/>
                  </a:lnTo>
                  <a:lnTo>
                    <a:pt x="292" y="2297"/>
                  </a:lnTo>
                  <a:lnTo>
                    <a:pt x="293" y="2300"/>
                  </a:lnTo>
                  <a:lnTo>
                    <a:pt x="296" y="2304"/>
                  </a:lnTo>
                  <a:lnTo>
                    <a:pt x="296" y="2304"/>
                  </a:lnTo>
                  <a:lnTo>
                    <a:pt x="298" y="2307"/>
                  </a:lnTo>
                  <a:lnTo>
                    <a:pt x="299" y="2313"/>
                  </a:lnTo>
                  <a:lnTo>
                    <a:pt x="298" y="2320"/>
                  </a:lnTo>
                  <a:lnTo>
                    <a:pt x="298" y="2325"/>
                  </a:lnTo>
                  <a:lnTo>
                    <a:pt x="298" y="2325"/>
                  </a:lnTo>
                  <a:lnTo>
                    <a:pt x="293" y="2332"/>
                  </a:lnTo>
                  <a:lnTo>
                    <a:pt x="293" y="2335"/>
                  </a:lnTo>
                  <a:lnTo>
                    <a:pt x="293" y="2341"/>
                  </a:lnTo>
                  <a:lnTo>
                    <a:pt x="293" y="2341"/>
                  </a:lnTo>
                  <a:lnTo>
                    <a:pt x="295" y="2350"/>
                  </a:lnTo>
                  <a:lnTo>
                    <a:pt x="293" y="2356"/>
                  </a:lnTo>
                  <a:lnTo>
                    <a:pt x="289" y="2362"/>
                  </a:lnTo>
                  <a:lnTo>
                    <a:pt x="289" y="2362"/>
                  </a:lnTo>
                  <a:lnTo>
                    <a:pt x="285" y="2369"/>
                  </a:lnTo>
                  <a:lnTo>
                    <a:pt x="283" y="2378"/>
                  </a:lnTo>
                  <a:lnTo>
                    <a:pt x="282" y="2388"/>
                  </a:lnTo>
                  <a:lnTo>
                    <a:pt x="282" y="2388"/>
                  </a:lnTo>
                  <a:lnTo>
                    <a:pt x="288" y="2388"/>
                  </a:lnTo>
                  <a:lnTo>
                    <a:pt x="295" y="2391"/>
                  </a:lnTo>
                  <a:lnTo>
                    <a:pt x="301" y="2397"/>
                  </a:lnTo>
                  <a:lnTo>
                    <a:pt x="301" y="2397"/>
                  </a:lnTo>
                  <a:lnTo>
                    <a:pt x="305" y="2403"/>
                  </a:lnTo>
                  <a:lnTo>
                    <a:pt x="307" y="2409"/>
                  </a:lnTo>
                  <a:lnTo>
                    <a:pt x="310" y="2414"/>
                  </a:lnTo>
                  <a:lnTo>
                    <a:pt x="313" y="2417"/>
                  </a:lnTo>
                  <a:lnTo>
                    <a:pt x="317" y="2418"/>
                  </a:lnTo>
                  <a:lnTo>
                    <a:pt x="317" y="2418"/>
                  </a:lnTo>
                  <a:lnTo>
                    <a:pt x="327" y="2421"/>
                  </a:lnTo>
                  <a:lnTo>
                    <a:pt x="336" y="2421"/>
                  </a:lnTo>
                  <a:lnTo>
                    <a:pt x="345" y="2419"/>
                  </a:lnTo>
                  <a:lnTo>
                    <a:pt x="345" y="2419"/>
                  </a:lnTo>
                  <a:lnTo>
                    <a:pt x="347" y="2418"/>
                  </a:lnTo>
                  <a:lnTo>
                    <a:pt x="348" y="2415"/>
                  </a:lnTo>
                  <a:lnTo>
                    <a:pt x="350" y="2412"/>
                  </a:lnTo>
                  <a:lnTo>
                    <a:pt x="353" y="2411"/>
                  </a:lnTo>
                  <a:lnTo>
                    <a:pt x="353" y="2411"/>
                  </a:lnTo>
                  <a:lnTo>
                    <a:pt x="357" y="2409"/>
                  </a:lnTo>
                  <a:lnTo>
                    <a:pt x="359" y="2406"/>
                  </a:lnTo>
                  <a:lnTo>
                    <a:pt x="360" y="2403"/>
                  </a:lnTo>
                  <a:lnTo>
                    <a:pt x="362" y="2399"/>
                  </a:lnTo>
                  <a:lnTo>
                    <a:pt x="362" y="2399"/>
                  </a:lnTo>
                  <a:lnTo>
                    <a:pt x="362" y="2393"/>
                  </a:lnTo>
                  <a:lnTo>
                    <a:pt x="360" y="2387"/>
                  </a:lnTo>
                  <a:lnTo>
                    <a:pt x="360" y="2381"/>
                  </a:lnTo>
                  <a:lnTo>
                    <a:pt x="362" y="2381"/>
                  </a:lnTo>
                  <a:lnTo>
                    <a:pt x="365" y="2380"/>
                  </a:lnTo>
                  <a:lnTo>
                    <a:pt x="365" y="2380"/>
                  </a:lnTo>
                  <a:lnTo>
                    <a:pt x="378" y="2381"/>
                  </a:lnTo>
                  <a:lnTo>
                    <a:pt x="384" y="2380"/>
                  </a:lnTo>
                  <a:lnTo>
                    <a:pt x="388" y="2378"/>
                  </a:lnTo>
                  <a:lnTo>
                    <a:pt x="388" y="2378"/>
                  </a:lnTo>
                  <a:lnTo>
                    <a:pt x="397" y="2372"/>
                  </a:lnTo>
                  <a:lnTo>
                    <a:pt x="402" y="2371"/>
                  </a:lnTo>
                  <a:lnTo>
                    <a:pt x="402" y="2371"/>
                  </a:lnTo>
                  <a:lnTo>
                    <a:pt x="403" y="2369"/>
                  </a:lnTo>
                  <a:lnTo>
                    <a:pt x="404" y="2366"/>
                  </a:lnTo>
                  <a:lnTo>
                    <a:pt x="406" y="2365"/>
                  </a:lnTo>
                  <a:lnTo>
                    <a:pt x="410" y="2365"/>
                  </a:lnTo>
                  <a:lnTo>
                    <a:pt x="410" y="2365"/>
                  </a:lnTo>
                  <a:lnTo>
                    <a:pt x="416" y="2366"/>
                  </a:lnTo>
                  <a:lnTo>
                    <a:pt x="419" y="2365"/>
                  </a:lnTo>
                  <a:lnTo>
                    <a:pt x="424" y="2363"/>
                  </a:lnTo>
                  <a:lnTo>
                    <a:pt x="425" y="2362"/>
                  </a:lnTo>
                  <a:lnTo>
                    <a:pt x="425" y="2362"/>
                  </a:lnTo>
                  <a:lnTo>
                    <a:pt x="427" y="2360"/>
                  </a:lnTo>
                  <a:lnTo>
                    <a:pt x="431" y="2359"/>
                  </a:lnTo>
                  <a:lnTo>
                    <a:pt x="434" y="2359"/>
                  </a:lnTo>
                  <a:lnTo>
                    <a:pt x="436" y="2356"/>
                  </a:lnTo>
                  <a:lnTo>
                    <a:pt x="436" y="2356"/>
                  </a:lnTo>
                  <a:lnTo>
                    <a:pt x="440" y="2347"/>
                  </a:lnTo>
                  <a:lnTo>
                    <a:pt x="443" y="2344"/>
                  </a:lnTo>
                  <a:lnTo>
                    <a:pt x="446" y="2344"/>
                  </a:lnTo>
                  <a:lnTo>
                    <a:pt x="446" y="2344"/>
                  </a:lnTo>
                  <a:lnTo>
                    <a:pt x="449" y="2345"/>
                  </a:lnTo>
                  <a:lnTo>
                    <a:pt x="452" y="2351"/>
                  </a:lnTo>
                  <a:lnTo>
                    <a:pt x="452" y="2351"/>
                  </a:lnTo>
                  <a:lnTo>
                    <a:pt x="453" y="2354"/>
                  </a:lnTo>
                  <a:lnTo>
                    <a:pt x="456" y="2356"/>
                  </a:lnTo>
                  <a:lnTo>
                    <a:pt x="461" y="2357"/>
                  </a:lnTo>
                  <a:lnTo>
                    <a:pt x="465" y="2359"/>
                  </a:lnTo>
                  <a:lnTo>
                    <a:pt x="468" y="2360"/>
                  </a:lnTo>
                  <a:lnTo>
                    <a:pt x="470" y="2363"/>
                  </a:lnTo>
                  <a:lnTo>
                    <a:pt x="470" y="2363"/>
                  </a:lnTo>
                  <a:lnTo>
                    <a:pt x="474" y="2368"/>
                  </a:lnTo>
                  <a:lnTo>
                    <a:pt x="477" y="2371"/>
                  </a:lnTo>
                  <a:lnTo>
                    <a:pt x="480" y="2372"/>
                  </a:lnTo>
                  <a:lnTo>
                    <a:pt x="486" y="2372"/>
                  </a:lnTo>
                  <a:lnTo>
                    <a:pt x="486" y="2372"/>
                  </a:lnTo>
                  <a:lnTo>
                    <a:pt x="492" y="2374"/>
                  </a:lnTo>
                  <a:lnTo>
                    <a:pt x="495" y="2372"/>
                  </a:lnTo>
                  <a:lnTo>
                    <a:pt x="504" y="2366"/>
                  </a:lnTo>
                  <a:lnTo>
                    <a:pt x="504" y="2366"/>
                  </a:lnTo>
                  <a:lnTo>
                    <a:pt x="508" y="2362"/>
                  </a:lnTo>
                  <a:lnTo>
                    <a:pt x="513" y="2360"/>
                  </a:lnTo>
                  <a:lnTo>
                    <a:pt x="516" y="2359"/>
                  </a:lnTo>
                  <a:lnTo>
                    <a:pt x="516" y="2357"/>
                  </a:lnTo>
                  <a:lnTo>
                    <a:pt x="516" y="2357"/>
                  </a:lnTo>
                  <a:lnTo>
                    <a:pt x="519" y="2350"/>
                  </a:lnTo>
                  <a:lnTo>
                    <a:pt x="520" y="2345"/>
                  </a:lnTo>
                  <a:lnTo>
                    <a:pt x="519" y="2342"/>
                  </a:lnTo>
                  <a:lnTo>
                    <a:pt x="519" y="2342"/>
                  </a:lnTo>
                  <a:lnTo>
                    <a:pt x="514" y="2337"/>
                  </a:lnTo>
                  <a:lnTo>
                    <a:pt x="513" y="2335"/>
                  </a:lnTo>
                  <a:lnTo>
                    <a:pt x="514" y="2332"/>
                  </a:lnTo>
                  <a:lnTo>
                    <a:pt x="514" y="2332"/>
                  </a:lnTo>
                  <a:lnTo>
                    <a:pt x="516" y="2326"/>
                  </a:lnTo>
                  <a:lnTo>
                    <a:pt x="517" y="2322"/>
                  </a:lnTo>
                  <a:lnTo>
                    <a:pt x="517" y="2319"/>
                  </a:lnTo>
                  <a:lnTo>
                    <a:pt x="517" y="2319"/>
                  </a:lnTo>
                  <a:lnTo>
                    <a:pt x="514" y="2310"/>
                  </a:lnTo>
                  <a:lnTo>
                    <a:pt x="514" y="2305"/>
                  </a:lnTo>
                  <a:lnTo>
                    <a:pt x="516" y="2304"/>
                  </a:lnTo>
                  <a:lnTo>
                    <a:pt x="519" y="2304"/>
                  </a:lnTo>
                  <a:lnTo>
                    <a:pt x="519" y="2304"/>
                  </a:lnTo>
                  <a:lnTo>
                    <a:pt x="526" y="2302"/>
                  </a:lnTo>
                  <a:lnTo>
                    <a:pt x="527" y="2300"/>
                  </a:lnTo>
                  <a:lnTo>
                    <a:pt x="530" y="2294"/>
                  </a:lnTo>
                  <a:lnTo>
                    <a:pt x="530" y="2294"/>
                  </a:lnTo>
                  <a:lnTo>
                    <a:pt x="536" y="2283"/>
                  </a:lnTo>
                  <a:lnTo>
                    <a:pt x="538" y="2280"/>
                  </a:lnTo>
                  <a:lnTo>
                    <a:pt x="541" y="2279"/>
                  </a:lnTo>
                  <a:lnTo>
                    <a:pt x="541" y="2279"/>
                  </a:lnTo>
                  <a:lnTo>
                    <a:pt x="542" y="2279"/>
                  </a:lnTo>
                  <a:lnTo>
                    <a:pt x="545" y="2277"/>
                  </a:lnTo>
                  <a:lnTo>
                    <a:pt x="547" y="2274"/>
                  </a:lnTo>
                  <a:lnTo>
                    <a:pt x="548" y="2267"/>
                  </a:lnTo>
                  <a:lnTo>
                    <a:pt x="548" y="2267"/>
                  </a:lnTo>
                  <a:lnTo>
                    <a:pt x="553" y="2249"/>
                  </a:lnTo>
                  <a:lnTo>
                    <a:pt x="556" y="2243"/>
                  </a:lnTo>
                  <a:lnTo>
                    <a:pt x="557" y="2239"/>
                  </a:lnTo>
                  <a:lnTo>
                    <a:pt x="557" y="2239"/>
                  </a:lnTo>
                  <a:lnTo>
                    <a:pt x="563" y="2233"/>
                  </a:lnTo>
                  <a:lnTo>
                    <a:pt x="566" y="2230"/>
                  </a:lnTo>
                  <a:lnTo>
                    <a:pt x="572" y="2230"/>
                  </a:lnTo>
                  <a:lnTo>
                    <a:pt x="572" y="2230"/>
                  </a:lnTo>
                  <a:lnTo>
                    <a:pt x="576" y="2228"/>
                  </a:lnTo>
                  <a:lnTo>
                    <a:pt x="579" y="2225"/>
                  </a:lnTo>
                  <a:lnTo>
                    <a:pt x="581" y="2217"/>
                  </a:lnTo>
                  <a:lnTo>
                    <a:pt x="581" y="2217"/>
                  </a:lnTo>
                  <a:lnTo>
                    <a:pt x="581" y="2211"/>
                  </a:lnTo>
                  <a:lnTo>
                    <a:pt x="579" y="2206"/>
                  </a:lnTo>
                  <a:lnTo>
                    <a:pt x="579" y="2200"/>
                  </a:lnTo>
                  <a:lnTo>
                    <a:pt x="579" y="2197"/>
                  </a:lnTo>
                  <a:lnTo>
                    <a:pt x="579" y="2197"/>
                  </a:lnTo>
                  <a:lnTo>
                    <a:pt x="582" y="2193"/>
                  </a:lnTo>
                  <a:lnTo>
                    <a:pt x="587" y="2187"/>
                  </a:lnTo>
                  <a:lnTo>
                    <a:pt x="594" y="2183"/>
                  </a:lnTo>
                  <a:lnTo>
                    <a:pt x="601" y="2180"/>
                  </a:lnTo>
                  <a:lnTo>
                    <a:pt x="601" y="2180"/>
                  </a:lnTo>
                  <a:lnTo>
                    <a:pt x="606" y="2180"/>
                  </a:lnTo>
                  <a:lnTo>
                    <a:pt x="609" y="2181"/>
                  </a:lnTo>
                  <a:lnTo>
                    <a:pt x="612" y="2183"/>
                  </a:lnTo>
                  <a:lnTo>
                    <a:pt x="619" y="2185"/>
                  </a:lnTo>
                  <a:lnTo>
                    <a:pt x="619" y="2185"/>
                  </a:lnTo>
                  <a:lnTo>
                    <a:pt x="640" y="2187"/>
                  </a:lnTo>
                  <a:lnTo>
                    <a:pt x="655" y="2187"/>
                  </a:lnTo>
                  <a:lnTo>
                    <a:pt x="655" y="2187"/>
                  </a:lnTo>
                  <a:lnTo>
                    <a:pt x="659" y="2187"/>
                  </a:lnTo>
                  <a:lnTo>
                    <a:pt x="662" y="2188"/>
                  </a:lnTo>
                  <a:lnTo>
                    <a:pt x="671" y="2194"/>
                  </a:lnTo>
                  <a:lnTo>
                    <a:pt x="671" y="2194"/>
                  </a:lnTo>
                  <a:lnTo>
                    <a:pt x="677" y="2199"/>
                  </a:lnTo>
                  <a:lnTo>
                    <a:pt x="684" y="2202"/>
                  </a:lnTo>
                  <a:lnTo>
                    <a:pt x="696" y="2205"/>
                  </a:lnTo>
                  <a:lnTo>
                    <a:pt x="696" y="2205"/>
                  </a:lnTo>
                  <a:lnTo>
                    <a:pt x="702" y="2206"/>
                  </a:lnTo>
                  <a:lnTo>
                    <a:pt x="707" y="2211"/>
                  </a:lnTo>
                  <a:lnTo>
                    <a:pt x="710" y="2215"/>
                  </a:lnTo>
                  <a:lnTo>
                    <a:pt x="710" y="2218"/>
                  </a:lnTo>
                  <a:lnTo>
                    <a:pt x="710" y="2220"/>
                  </a:lnTo>
                  <a:lnTo>
                    <a:pt x="710" y="2220"/>
                  </a:lnTo>
                  <a:lnTo>
                    <a:pt x="707" y="2223"/>
                  </a:lnTo>
                  <a:lnTo>
                    <a:pt x="704" y="2225"/>
                  </a:lnTo>
                  <a:lnTo>
                    <a:pt x="702" y="2227"/>
                  </a:lnTo>
                  <a:lnTo>
                    <a:pt x="704" y="2230"/>
                  </a:lnTo>
                  <a:lnTo>
                    <a:pt x="704" y="2230"/>
                  </a:lnTo>
                  <a:lnTo>
                    <a:pt x="708" y="2233"/>
                  </a:lnTo>
                  <a:lnTo>
                    <a:pt x="710" y="2239"/>
                  </a:lnTo>
                  <a:lnTo>
                    <a:pt x="711" y="2246"/>
                  </a:lnTo>
                  <a:lnTo>
                    <a:pt x="712" y="2254"/>
                  </a:lnTo>
                  <a:lnTo>
                    <a:pt x="712" y="2254"/>
                  </a:lnTo>
                  <a:lnTo>
                    <a:pt x="714" y="2260"/>
                  </a:lnTo>
                  <a:lnTo>
                    <a:pt x="717" y="2264"/>
                  </a:lnTo>
                  <a:lnTo>
                    <a:pt x="723" y="2267"/>
                  </a:lnTo>
                  <a:lnTo>
                    <a:pt x="727" y="2267"/>
                  </a:lnTo>
                  <a:lnTo>
                    <a:pt x="727" y="2267"/>
                  </a:lnTo>
                  <a:lnTo>
                    <a:pt x="730" y="2265"/>
                  </a:lnTo>
                  <a:lnTo>
                    <a:pt x="735" y="2263"/>
                  </a:lnTo>
                  <a:lnTo>
                    <a:pt x="738" y="2261"/>
                  </a:lnTo>
                  <a:lnTo>
                    <a:pt x="744" y="2260"/>
                  </a:lnTo>
                  <a:lnTo>
                    <a:pt x="744" y="2260"/>
                  </a:lnTo>
                  <a:lnTo>
                    <a:pt x="749" y="2260"/>
                  </a:lnTo>
                  <a:lnTo>
                    <a:pt x="752" y="2261"/>
                  </a:lnTo>
                  <a:lnTo>
                    <a:pt x="755" y="2263"/>
                  </a:lnTo>
                  <a:lnTo>
                    <a:pt x="758" y="2263"/>
                  </a:lnTo>
                  <a:lnTo>
                    <a:pt x="758" y="2263"/>
                  </a:lnTo>
                  <a:lnTo>
                    <a:pt x="760" y="2261"/>
                  </a:lnTo>
                  <a:lnTo>
                    <a:pt x="763" y="2258"/>
                  </a:lnTo>
                  <a:lnTo>
                    <a:pt x="766" y="2254"/>
                  </a:lnTo>
                  <a:lnTo>
                    <a:pt x="766" y="2249"/>
                  </a:lnTo>
                  <a:lnTo>
                    <a:pt x="766" y="2249"/>
                  </a:lnTo>
                  <a:lnTo>
                    <a:pt x="766" y="2248"/>
                  </a:lnTo>
                  <a:lnTo>
                    <a:pt x="767" y="2246"/>
                  </a:lnTo>
                  <a:lnTo>
                    <a:pt x="772" y="2243"/>
                  </a:lnTo>
                  <a:lnTo>
                    <a:pt x="778" y="2243"/>
                  </a:lnTo>
                  <a:lnTo>
                    <a:pt x="781" y="2243"/>
                  </a:lnTo>
                  <a:lnTo>
                    <a:pt x="781" y="2243"/>
                  </a:lnTo>
                  <a:lnTo>
                    <a:pt x="784" y="2246"/>
                  </a:lnTo>
                  <a:lnTo>
                    <a:pt x="785" y="2249"/>
                  </a:lnTo>
                  <a:lnTo>
                    <a:pt x="787" y="2252"/>
                  </a:lnTo>
                  <a:lnTo>
                    <a:pt x="791" y="2252"/>
                  </a:lnTo>
                  <a:lnTo>
                    <a:pt x="791" y="2252"/>
                  </a:lnTo>
                  <a:lnTo>
                    <a:pt x="798" y="2254"/>
                  </a:lnTo>
                  <a:lnTo>
                    <a:pt x="804" y="2255"/>
                  </a:lnTo>
                  <a:lnTo>
                    <a:pt x="809" y="2258"/>
                  </a:lnTo>
                  <a:lnTo>
                    <a:pt x="812" y="2261"/>
                  </a:lnTo>
                  <a:lnTo>
                    <a:pt x="812" y="2261"/>
                  </a:lnTo>
                  <a:lnTo>
                    <a:pt x="812" y="2267"/>
                  </a:lnTo>
                  <a:lnTo>
                    <a:pt x="812" y="2276"/>
                  </a:lnTo>
                  <a:lnTo>
                    <a:pt x="813" y="2286"/>
                  </a:lnTo>
                  <a:lnTo>
                    <a:pt x="813" y="2294"/>
                  </a:lnTo>
                  <a:lnTo>
                    <a:pt x="813" y="2294"/>
                  </a:lnTo>
                  <a:lnTo>
                    <a:pt x="818" y="2302"/>
                  </a:lnTo>
                  <a:lnTo>
                    <a:pt x="822" y="2311"/>
                  </a:lnTo>
                  <a:lnTo>
                    <a:pt x="822" y="2311"/>
                  </a:lnTo>
                  <a:lnTo>
                    <a:pt x="825" y="2319"/>
                  </a:lnTo>
                  <a:lnTo>
                    <a:pt x="829" y="2325"/>
                  </a:lnTo>
                  <a:lnTo>
                    <a:pt x="829" y="2325"/>
                  </a:lnTo>
                  <a:lnTo>
                    <a:pt x="831" y="2328"/>
                  </a:lnTo>
                  <a:lnTo>
                    <a:pt x="831" y="2332"/>
                  </a:lnTo>
                  <a:lnTo>
                    <a:pt x="831" y="2337"/>
                  </a:lnTo>
                  <a:lnTo>
                    <a:pt x="832" y="2338"/>
                  </a:lnTo>
                  <a:lnTo>
                    <a:pt x="835" y="2341"/>
                  </a:lnTo>
                  <a:lnTo>
                    <a:pt x="835" y="2341"/>
                  </a:lnTo>
                  <a:lnTo>
                    <a:pt x="838" y="2342"/>
                  </a:lnTo>
                  <a:lnTo>
                    <a:pt x="840" y="2342"/>
                  </a:lnTo>
                  <a:lnTo>
                    <a:pt x="843" y="2341"/>
                  </a:lnTo>
                  <a:lnTo>
                    <a:pt x="844" y="2340"/>
                  </a:lnTo>
                  <a:lnTo>
                    <a:pt x="847" y="2341"/>
                  </a:lnTo>
                  <a:lnTo>
                    <a:pt x="853" y="2347"/>
                  </a:lnTo>
                  <a:lnTo>
                    <a:pt x="853" y="2347"/>
                  </a:lnTo>
                  <a:lnTo>
                    <a:pt x="864" y="2359"/>
                  </a:lnTo>
                  <a:lnTo>
                    <a:pt x="865" y="2363"/>
                  </a:lnTo>
                  <a:lnTo>
                    <a:pt x="866" y="2368"/>
                  </a:lnTo>
                  <a:lnTo>
                    <a:pt x="866" y="2368"/>
                  </a:lnTo>
                  <a:lnTo>
                    <a:pt x="868" y="2372"/>
                  </a:lnTo>
                  <a:lnTo>
                    <a:pt x="866" y="2375"/>
                  </a:lnTo>
                  <a:lnTo>
                    <a:pt x="866" y="2375"/>
                  </a:lnTo>
                  <a:lnTo>
                    <a:pt x="872" y="2384"/>
                  </a:lnTo>
                  <a:lnTo>
                    <a:pt x="875" y="2393"/>
                  </a:lnTo>
                  <a:lnTo>
                    <a:pt x="877" y="2399"/>
                  </a:lnTo>
                  <a:lnTo>
                    <a:pt x="877" y="2406"/>
                  </a:lnTo>
                  <a:lnTo>
                    <a:pt x="877" y="2406"/>
                  </a:lnTo>
                  <a:lnTo>
                    <a:pt x="878" y="2417"/>
                  </a:lnTo>
                  <a:lnTo>
                    <a:pt x="881" y="2424"/>
                  </a:lnTo>
                  <a:lnTo>
                    <a:pt x="889" y="2437"/>
                  </a:lnTo>
                  <a:lnTo>
                    <a:pt x="889" y="2437"/>
                  </a:lnTo>
                  <a:lnTo>
                    <a:pt x="895" y="2448"/>
                  </a:lnTo>
                  <a:lnTo>
                    <a:pt x="896" y="2449"/>
                  </a:lnTo>
                  <a:lnTo>
                    <a:pt x="898" y="2448"/>
                  </a:lnTo>
                  <a:lnTo>
                    <a:pt x="898" y="2448"/>
                  </a:lnTo>
                  <a:lnTo>
                    <a:pt x="898" y="2443"/>
                  </a:lnTo>
                  <a:lnTo>
                    <a:pt x="899" y="2439"/>
                  </a:lnTo>
                  <a:lnTo>
                    <a:pt x="899" y="2436"/>
                  </a:lnTo>
                  <a:lnTo>
                    <a:pt x="901" y="2434"/>
                  </a:lnTo>
                  <a:lnTo>
                    <a:pt x="902" y="2436"/>
                  </a:lnTo>
                  <a:lnTo>
                    <a:pt x="902" y="2436"/>
                  </a:lnTo>
                  <a:lnTo>
                    <a:pt x="905" y="2437"/>
                  </a:lnTo>
                  <a:lnTo>
                    <a:pt x="906" y="2440"/>
                  </a:lnTo>
                  <a:lnTo>
                    <a:pt x="908" y="2446"/>
                  </a:lnTo>
                  <a:lnTo>
                    <a:pt x="911" y="2454"/>
                  </a:lnTo>
                  <a:lnTo>
                    <a:pt x="911" y="2454"/>
                  </a:lnTo>
                  <a:lnTo>
                    <a:pt x="915" y="2464"/>
                  </a:lnTo>
                  <a:lnTo>
                    <a:pt x="924" y="2474"/>
                  </a:lnTo>
                  <a:lnTo>
                    <a:pt x="924" y="2474"/>
                  </a:lnTo>
                  <a:lnTo>
                    <a:pt x="930" y="2482"/>
                  </a:lnTo>
                  <a:lnTo>
                    <a:pt x="933" y="2486"/>
                  </a:lnTo>
                  <a:lnTo>
                    <a:pt x="935" y="2489"/>
                  </a:lnTo>
                  <a:lnTo>
                    <a:pt x="936" y="2494"/>
                  </a:lnTo>
                  <a:lnTo>
                    <a:pt x="936" y="2494"/>
                  </a:lnTo>
                  <a:lnTo>
                    <a:pt x="939" y="2495"/>
                  </a:lnTo>
                  <a:lnTo>
                    <a:pt x="943" y="2497"/>
                  </a:lnTo>
                  <a:lnTo>
                    <a:pt x="946" y="2498"/>
                  </a:lnTo>
                  <a:lnTo>
                    <a:pt x="949" y="2501"/>
                  </a:lnTo>
                  <a:lnTo>
                    <a:pt x="949" y="2501"/>
                  </a:lnTo>
                  <a:lnTo>
                    <a:pt x="972" y="2483"/>
                  </a:lnTo>
                  <a:lnTo>
                    <a:pt x="972" y="2483"/>
                  </a:lnTo>
                  <a:lnTo>
                    <a:pt x="980" y="2473"/>
                  </a:lnTo>
                  <a:lnTo>
                    <a:pt x="986" y="2468"/>
                  </a:lnTo>
                  <a:lnTo>
                    <a:pt x="994" y="2465"/>
                  </a:lnTo>
                  <a:lnTo>
                    <a:pt x="994" y="2465"/>
                  </a:lnTo>
                  <a:lnTo>
                    <a:pt x="1013" y="2459"/>
                  </a:lnTo>
                  <a:lnTo>
                    <a:pt x="1023" y="2458"/>
                  </a:lnTo>
                  <a:lnTo>
                    <a:pt x="1034" y="2458"/>
                  </a:lnTo>
                  <a:lnTo>
                    <a:pt x="1034" y="2458"/>
                  </a:lnTo>
                  <a:lnTo>
                    <a:pt x="1041" y="2459"/>
                  </a:lnTo>
                  <a:lnTo>
                    <a:pt x="1046" y="2461"/>
                  </a:lnTo>
                  <a:lnTo>
                    <a:pt x="1052" y="2467"/>
                  </a:lnTo>
                  <a:lnTo>
                    <a:pt x="1052" y="2467"/>
                  </a:lnTo>
                  <a:lnTo>
                    <a:pt x="1056" y="2471"/>
                  </a:lnTo>
                  <a:lnTo>
                    <a:pt x="1060" y="2474"/>
                  </a:lnTo>
                  <a:lnTo>
                    <a:pt x="1065" y="2474"/>
                  </a:lnTo>
                  <a:lnTo>
                    <a:pt x="1074" y="2474"/>
                  </a:lnTo>
                  <a:lnTo>
                    <a:pt x="1074" y="2474"/>
                  </a:lnTo>
                  <a:lnTo>
                    <a:pt x="1081" y="2474"/>
                  </a:lnTo>
                  <a:lnTo>
                    <a:pt x="1086" y="2474"/>
                  </a:lnTo>
                  <a:lnTo>
                    <a:pt x="1092" y="2477"/>
                  </a:lnTo>
                  <a:lnTo>
                    <a:pt x="1099" y="2482"/>
                  </a:lnTo>
                  <a:lnTo>
                    <a:pt x="1099" y="2482"/>
                  </a:lnTo>
                  <a:lnTo>
                    <a:pt x="1109" y="2488"/>
                  </a:lnTo>
                  <a:lnTo>
                    <a:pt x="1118" y="2492"/>
                  </a:lnTo>
                  <a:lnTo>
                    <a:pt x="1126" y="2494"/>
                  </a:lnTo>
                  <a:lnTo>
                    <a:pt x="1129" y="2492"/>
                  </a:lnTo>
                  <a:lnTo>
                    <a:pt x="1130" y="2491"/>
                  </a:lnTo>
                  <a:lnTo>
                    <a:pt x="1130" y="2491"/>
                  </a:lnTo>
                  <a:lnTo>
                    <a:pt x="1132" y="2485"/>
                  </a:lnTo>
                  <a:lnTo>
                    <a:pt x="1132" y="2480"/>
                  </a:lnTo>
                  <a:lnTo>
                    <a:pt x="1133" y="2477"/>
                  </a:lnTo>
                  <a:lnTo>
                    <a:pt x="1136" y="2476"/>
                  </a:lnTo>
                  <a:lnTo>
                    <a:pt x="1137" y="2476"/>
                  </a:lnTo>
                  <a:lnTo>
                    <a:pt x="1137" y="2476"/>
                  </a:lnTo>
                  <a:lnTo>
                    <a:pt x="1146" y="2480"/>
                  </a:lnTo>
                  <a:lnTo>
                    <a:pt x="1151" y="2482"/>
                  </a:lnTo>
                  <a:lnTo>
                    <a:pt x="1157" y="2482"/>
                  </a:lnTo>
                  <a:lnTo>
                    <a:pt x="1157" y="2482"/>
                  </a:lnTo>
                  <a:lnTo>
                    <a:pt x="1166" y="2482"/>
                  </a:lnTo>
                  <a:lnTo>
                    <a:pt x="1176" y="2479"/>
                  </a:lnTo>
                  <a:lnTo>
                    <a:pt x="1192" y="2474"/>
                  </a:lnTo>
                  <a:lnTo>
                    <a:pt x="1192" y="2474"/>
                  </a:lnTo>
                  <a:lnTo>
                    <a:pt x="1195" y="2474"/>
                  </a:lnTo>
                  <a:lnTo>
                    <a:pt x="1201" y="2477"/>
                  </a:lnTo>
                  <a:lnTo>
                    <a:pt x="1214" y="2485"/>
                  </a:lnTo>
                  <a:lnTo>
                    <a:pt x="1214" y="2485"/>
                  </a:lnTo>
                  <a:lnTo>
                    <a:pt x="1222" y="2488"/>
                  </a:lnTo>
                  <a:lnTo>
                    <a:pt x="1226" y="2491"/>
                  </a:lnTo>
                  <a:lnTo>
                    <a:pt x="1238" y="2499"/>
                  </a:lnTo>
                  <a:lnTo>
                    <a:pt x="1238" y="2499"/>
                  </a:lnTo>
                  <a:lnTo>
                    <a:pt x="1247" y="2504"/>
                  </a:lnTo>
                  <a:lnTo>
                    <a:pt x="1256" y="2507"/>
                  </a:lnTo>
                  <a:lnTo>
                    <a:pt x="1263" y="2508"/>
                  </a:lnTo>
                  <a:lnTo>
                    <a:pt x="1268" y="2508"/>
                  </a:lnTo>
                  <a:lnTo>
                    <a:pt x="1268" y="2508"/>
                  </a:lnTo>
                  <a:lnTo>
                    <a:pt x="1296" y="2499"/>
                  </a:lnTo>
                  <a:lnTo>
                    <a:pt x="1296" y="2499"/>
                  </a:lnTo>
                  <a:lnTo>
                    <a:pt x="1302" y="2498"/>
                  </a:lnTo>
                  <a:lnTo>
                    <a:pt x="1308" y="2498"/>
                  </a:lnTo>
                  <a:lnTo>
                    <a:pt x="1314" y="2498"/>
                  </a:lnTo>
                  <a:lnTo>
                    <a:pt x="1318" y="2497"/>
                  </a:lnTo>
                  <a:lnTo>
                    <a:pt x="1318" y="2497"/>
                  </a:lnTo>
                  <a:lnTo>
                    <a:pt x="1326" y="2491"/>
                  </a:lnTo>
                  <a:lnTo>
                    <a:pt x="1330" y="2488"/>
                  </a:lnTo>
                  <a:lnTo>
                    <a:pt x="1336" y="2486"/>
                  </a:lnTo>
                  <a:lnTo>
                    <a:pt x="1336" y="2486"/>
                  </a:lnTo>
                  <a:lnTo>
                    <a:pt x="1343" y="2488"/>
                  </a:lnTo>
                  <a:lnTo>
                    <a:pt x="1349" y="2489"/>
                  </a:lnTo>
                  <a:lnTo>
                    <a:pt x="1361" y="2494"/>
                  </a:lnTo>
                  <a:lnTo>
                    <a:pt x="1361" y="2494"/>
                  </a:lnTo>
                  <a:lnTo>
                    <a:pt x="1364" y="2495"/>
                  </a:lnTo>
                  <a:lnTo>
                    <a:pt x="1367" y="2494"/>
                  </a:lnTo>
                  <a:lnTo>
                    <a:pt x="1376" y="2491"/>
                  </a:lnTo>
                  <a:lnTo>
                    <a:pt x="1392" y="2480"/>
                  </a:lnTo>
                  <a:lnTo>
                    <a:pt x="1392" y="2480"/>
                  </a:lnTo>
                  <a:lnTo>
                    <a:pt x="1404" y="2474"/>
                  </a:lnTo>
                  <a:lnTo>
                    <a:pt x="1411" y="2470"/>
                  </a:lnTo>
                  <a:lnTo>
                    <a:pt x="1411" y="2470"/>
                  </a:lnTo>
                  <a:lnTo>
                    <a:pt x="1416" y="2467"/>
                  </a:lnTo>
                  <a:lnTo>
                    <a:pt x="1420" y="2465"/>
                  </a:lnTo>
                  <a:lnTo>
                    <a:pt x="1432" y="2464"/>
                  </a:lnTo>
                  <a:lnTo>
                    <a:pt x="1432" y="2464"/>
                  </a:lnTo>
                  <a:lnTo>
                    <a:pt x="1440" y="2464"/>
                  </a:lnTo>
                  <a:lnTo>
                    <a:pt x="1441" y="2462"/>
                  </a:lnTo>
                  <a:lnTo>
                    <a:pt x="1442" y="2459"/>
                  </a:lnTo>
                  <a:lnTo>
                    <a:pt x="1442" y="2459"/>
                  </a:lnTo>
                  <a:lnTo>
                    <a:pt x="1444" y="2455"/>
                  </a:lnTo>
                  <a:lnTo>
                    <a:pt x="1450" y="2451"/>
                  </a:lnTo>
                  <a:lnTo>
                    <a:pt x="1456" y="2449"/>
                  </a:lnTo>
                  <a:lnTo>
                    <a:pt x="1460" y="2449"/>
                  </a:lnTo>
                  <a:lnTo>
                    <a:pt x="1460" y="2449"/>
                  </a:lnTo>
                  <a:lnTo>
                    <a:pt x="1465" y="2449"/>
                  </a:lnTo>
                  <a:lnTo>
                    <a:pt x="1469" y="2448"/>
                  </a:lnTo>
                  <a:lnTo>
                    <a:pt x="1475" y="2445"/>
                  </a:lnTo>
                  <a:lnTo>
                    <a:pt x="1481" y="2440"/>
                  </a:lnTo>
                  <a:lnTo>
                    <a:pt x="1481" y="2440"/>
                  </a:lnTo>
                  <a:lnTo>
                    <a:pt x="1482" y="2439"/>
                  </a:lnTo>
                  <a:lnTo>
                    <a:pt x="1485" y="2437"/>
                  </a:lnTo>
                  <a:lnTo>
                    <a:pt x="1493" y="2437"/>
                  </a:lnTo>
                  <a:lnTo>
                    <a:pt x="1502" y="2439"/>
                  </a:lnTo>
                  <a:lnTo>
                    <a:pt x="1514" y="2439"/>
                  </a:lnTo>
                  <a:lnTo>
                    <a:pt x="1514" y="2439"/>
                  </a:lnTo>
                  <a:lnTo>
                    <a:pt x="1533" y="2437"/>
                  </a:lnTo>
                  <a:lnTo>
                    <a:pt x="1534" y="2436"/>
                  </a:lnTo>
                  <a:lnTo>
                    <a:pt x="1536" y="2434"/>
                  </a:lnTo>
                  <a:lnTo>
                    <a:pt x="1537" y="2431"/>
                  </a:lnTo>
                  <a:lnTo>
                    <a:pt x="1536" y="2428"/>
                  </a:lnTo>
                  <a:lnTo>
                    <a:pt x="1536" y="2428"/>
                  </a:lnTo>
                  <a:lnTo>
                    <a:pt x="1534" y="2421"/>
                  </a:lnTo>
                  <a:lnTo>
                    <a:pt x="1534" y="2415"/>
                  </a:lnTo>
                  <a:lnTo>
                    <a:pt x="1537" y="2409"/>
                  </a:lnTo>
                  <a:lnTo>
                    <a:pt x="1545" y="2403"/>
                  </a:lnTo>
                  <a:lnTo>
                    <a:pt x="1545" y="2403"/>
                  </a:lnTo>
                  <a:lnTo>
                    <a:pt x="1565" y="2390"/>
                  </a:lnTo>
                  <a:lnTo>
                    <a:pt x="1574" y="2385"/>
                  </a:lnTo>
                  <a:lnTo>
                    <a:pt x="1582" y="2382"/>
                  </a:lnTo>
                  <a:lnTo>
                    <a:pt x="1582" y="2382"/>
                  </a:lnTo>
                  <a:lnTo>
                    <a:pt x="1589" y="2381"/>
                  </a:lnTo>
                  <a:lnTo>
                    <a:pt x="1592" y="2381"/>
                  </a:lnTo>
                  <a:lnTo>
                    <a:pt x="1596" y="2378"/>
                  </a:lnTo>
                  <a:lnTo>
                    <a:pt x="1596" y="2378"/>
                  </a:lnTo>
                  <a:lnTo>
                    <a:pt x="1610" y="2371"/>
                  </a:lnTo>
                  <a:lnTo>
                    <a:pt x="1617" y="2366"/>
                  </a:lnTo>
                  <a:lnTo>
                    <a:pt x="1625" y="2365"/>
                  </a:lnTo>
                  <a:lnTo>
                    <a:pt x="1625" y="2365"/>
                  </a:lnTo>
                  <a:lnTo>
                    <a:pt x="1629" y="2365"/>
                  </a:lnTo>
                  <a:lnTo>
                    <a:pt x="1629" y="2365"/>
                  </a:lnTo>
                  <a:lnTo>
                    <a:pt x="1628" y="2360"/>
                  </a:lnTo>
                  <a:lnTo>
                    <a:pt x="1622" y="2350"/>
                  </a:lnTo>
                  <a:lnTo>
                    <a:pt x="1622" y="2350"/>
                  </a:lnTo>
                  <a:lnTo>
                    <a:pt x="1620" y="2345"/>
                  </a:lnTo>
                  <a:lnTo>
                    <a:pt x="1619" y="2341"/>
                  </a:lnTo>
                  <a:lnTo>
                    <a:pt x="1617" y="2338"/>
                  </a:lnTo>
                  <a:lnTo>
                    <a:pt x="1616" y="2334"/>
                  </a:lnTo>
                  <a:lnTo>
                    <a:pt x="1616" y="2334"/>
                  </a:lnTo>
                  <a:lnTo>
                    <a:pt x="1611" y="2328"/>
                  </a:lnTo>
                  <a:lnTo>
                    <a:pt x="1608" y="2320"/>
                  </a:lnTo>
                  <a:lnTo>
                    <a:pt x="1607" y="2311"/>
                  </a:lnTo>
                  <a:lnTo>
                    <a:pt x="1607" y="2308"/>
                  </a:lnTo>
                  <a:lnTo>
                    <a:pt x="1608" y="2307"/>
                  </a:lnTo>
                  <a:lnTo>
                    <a:pt x="1608" y="2307"/>
                  </a:lnTo>
                  <a:lnTo>
                    <a:pt x="1611" y="2304"/>
                  </a:lnTo>
                  <a:lnTo>
                    <a:pt x="1613" y="2300"/>
                  </a:lnTo>
                  <a:lnTo>
                    <a:pt x="1613" y="2286"/>
                  </a:lnTo>
                  <a:lnTo>
                    <a:pt x="1613" y="2286"/>
                  </a:lnTo>
                  <a:lnTo>
                    <a:pt x="1614" y="2280"/>
                  </a:lnTo>
                  <a:lnTo>
                    <a:pt x="1616" y="2274"/>
                  </a:lnTo>
                  <a:lnTo>
                    <a:pt x="1620" y="2268"/>
                  </a:lnTo>
                  <a:lnTo>
                    <a:pt x="1625" y="2263"/>
                  </a:lnTo>
                  <a:lnTo>
                    <a:pt x="1625" y="2263"/>
                  </a:lnTo>
                  <a:lnTo>
                    <a:pt x="1635" y="2255"/>
                  </a:lnTo>
                  <a:lnTo>
                    <a:pt x="1636" y="2252"/>
                  </a:lnTo>
                  <a:lnTo>
                    <a:pt x="1636" y="2248"/>
                  </a:lnTo>
                  <a:lnTo>
                    <a:pt x="1636" y="2248"/>
                  </a:lnTo>
                  <a:lnTo>
                    <a:pt x="1634" y="2245"/>
                  </a:lnTo>
                  <a:lnTo>
                    <a:pt x="1631" y="2242"/>
                  </a:lnTo>
                  <a:lnTo>
                    <a:pt x="1629" y="2240"/>
                  </a:lnTo>
                  <a:lnTo>
                    <a:pt x="1626" y="2237"/>
                  </a:lnTo>
                  <a:lnTo>
                    <a:pt x="1626" y="2237"/>
                  </a:lnTo>
                  <a:lnTo>
                    <a:pt x="1626" y="2230"/>
                  </a:lnTo>
                  <a:lnTo>
                    <a:pt x="1625" y="2227"/>
                  </a:lnTo>
                  <a:lnTo>
                    <a:pt x="1623" y="2221"/>
                  </a:lnTo>
                  <a:lnTo>
                    <a:pt x="1620" y="2217"/>
                  </a:lnTo>
                  <a:lnTo>
                    <a:pt x="1616" y="2212"/>
                  </a:lnTo>
                  <a:lnTo>
                    <a:pt x="1608" y="2208"/>
                  </a:lnTo>
                  <a:lnTo>
                    <a:pt x="1598" y="2205"/>
                  </a:lnTo>
                  <a:lnTo>
                    <a:pt x="1598" y="2205"/>
                  </a:lnTo>
                  <a:lnTo>
                    <a:pt x="1577" y="2200"/>
                  </a:lnTo>
                  <a:lnTo>
                    <a:pt x="1564" y="2194"/>
                  </a:lnTo>
                  <a:lnTo>
                    <a:pt x="1558" y="2190"/>
                  </a:lnTo>
                  <a:lnTo>
                    <a:pt x="1557" y="2188"/>
                  </a:lnTo>
                  <a:lnTo>
                    <a:pt x="1557" y="2187"/>
                  </a:lnTo>
                  <a:lnTo>
                    <a:pt x="1557" y="2187"/>
                  </a:lnTo>
                  <a:lnTo>
                    <a:pt x="1562" y="2181"/>
                  </a:lnTo>
                  <a:lnTo>
                    <a:pt x="1567" y="2178"/>
                  </a:lnTo>
                  <a:lnTo>
                    <a:pt x="1567" y="2178"/>
                  </a:lnTo>
                  <a:lnTo>
                    <a:pt x="1568" y="2175"/>
                  </a:lnTo>
                  <a:lnTo>
                    <a:pt x="1570" y="2171"/>
                  </a:lnTo>
                  <a:lnTo>
                    <a:pt x="1570" y="2162"/>
                  </a:lnTo>
                  <a:lnTo>
                    <a:pt x="1570" y="2162"/>
                  </a:lnTo>
                  <a:lnTo>
                    <a:pt x="1568" y="2150"/>
                  </a:lnTo>
                  <a:lnTo>
                    <a:pt x="1568" y="2146"/>
                  </a:lnTo>
                  <a:lnTo>
                    <a:pt x="1571" y="2143"/>
                  </a:lnTo>
                  <a:lnTo>
                    <a:pt x="1571" y="2143"/>
                  </a:lnTo>
                  <a:lnTo>
                    <a:pt x="1576" y="2141"/>
                  </a:lnTo>
                  <a:lnTo>
                    <a:pt x="1579" y="2138"/>
                  </a:lnTo>
                  <a:lnTo>
                    <a:pt x="1580" y="2135"/>
                  </a:lnTo>
                  <a:lnTo>
                    <a:pt x="1580" y="2134"/>
                  </a:lnTo>
                  <a:lnTo>
                    <a:pt x="1577" y="2132"/>
                  </a:lnTo>
                  <a:lnTo>
                    <a:pt x="1577" y="2132"/>
                  </a:lnTo>
                  <a:lnTo>
                    <a:pt x="1561" y="2123"/>
                  </a:lnTo>
                  <a:lnTo>
                    <a:pt x="1543" y="2116"/>
                  </a:lnTo>
                  <a:lnTo>
                    <a:pt x="1543" y="2116"/>
                  </a:lnTo>
                  <a:lnTo>
                    <a:pt x="1539" y="2111"/>
                  </a:lnTo>
                  <a:lnTo>
                    <a:pt x="1533" y="2106"/>
                  </a:lnTo>
                  <a:lnTo>
                    <a:pt x="1530" y="2100"/>
                  </a:lnTo>
                  <a:lnTo>
                    <a:pt x="1530" y="2098"/>
                  </a:lnTo>
                  <a:lnTo>
                    <a:pt x="1531" y="2098"/>
                  </a:lnTo>
                  <a:lnTo>
                    <a:pt x="1531" y="2098"/>
                  </a:lnTo>
                  <a:lnTo>
                    <a:pt x="1537" y="2098"/>
                  </a:lnTo>
                  <a:lnTo>
                    <a:pt x="1545" y="2100"/>
                  </a:lnTo>
                  <a:lnTo>
                    <a:pt x="1552" y="2100"/>
                  </a:lnTo>
                  <a:lnTo>
                    <a:pt x="1554" y="2100"/>
                  </a:lnTo>
                  <a:lnTo>
                    <a:pt x="1555" y="2098"/>
                  </a:lnTo>
                  <a:lnTo>
                    <a:pt x="1555" y="2098"/>
                  </a:lnTo>
                  <a:lnTo>
                    <a:pt x="1557" y="2094"/>
                  </a:lnTo>
                  <a:lnTo>
                    <a:pt x="1557" y="2091"/>
                  </a:lnTo>
                  <a:lnTo>
                    <a:pt x="1557" y="2083"/>
                  </a:lnTo>
                  <a:lnTo>
                    <a:pt x="1557" y="2083"/>
                  </a:lnTo>
                  <a:lnTo>
                    <a:pt x="1557" y="2080"/>
                  </a:lnTo>
                  <a:lnTo>
                    <a:pt x="1557" y="2077"/>
                  </a:lnTo>
                  <a:lnTo>
                    <a:pt x="1557" y="2073"/>
                  </a:lnTo>
                  <a:lnTo>
                    <a:pt x="1555" y="2068"/>
                  </a:lnTo>
                  <a:lnTo>
                    <a:pt x="1555" y="2068"/>
                  </a:lnTo>
                  <a:lnTo>
                    <a:pt x="1552" y="2063"/>
                  </a:lnTo>
                  <a:lnTo>
                    <a:pt x="1548" y="2060"/>
                  </a:lnTo>
                  <a:lnTo>
                    <a:pt x="1546" y="2057"/>
                  </a:lnTo>
                  <a:lnTo>
                    <a:pt x="1546" y="2054"/>
                  </a:lnTo>
                  <a:lnTo>
                    <a:pt x="1548" y="2052"/>
                  </a:lnTo>
                  <a:lnTo>
                    <a:pt x="1548" y="2052"/>
                  </a:lnTo>
                  <a:lnTo>
                    <a:pt x="1551" y="2046"/>
                  </a:lnTo>
                  <a:lnTo>
                    <a:pt x="1554" y="2040"/>
                  </a:lnTo>
                  <a:lnTo>
                    <a:pt x="1555" y="2036"/>
                  </a:lnTo>
                  <a:lnTo>
                    <a:pt x="1555" y="2031"/>
                  </a:lnTo>
                  <a:lnTo>
                    <a:pt x="1555" y="2031"/>
                  </a:lnTo>
                  <a:lnTo>
                    <a:pt x="1552" y="2020"/>
                  </a:lnTo>
                  <a:lnTo>
                    <a:pt x="1549" y="2012"/>
                  </a:lnTo>
                  <a:lnTo>
                    <a:pt x="1549" y="2006"/>
                  </a:lnTo>
                  <a:lnTo>
                    <a:pt x="1549" y="2006"/>
                  </a:lnTo>
                  <a:lnTo>
                    <a:pt x="1548" y="1994"/>
                  </a:lnTo>
                  <a:lnTo>
                    <a:pt x="1549" y="1980"/>
                  </a:lnTo>
                  <a:lnTo>
                    <a:pt x="1549" y="1980"/>
                  </a:lnTo>
                  <a:lnTo>
                    <a:pt x="1551" y="1971"/>
                  </a:lnTo>
                  <a:lnTo>
                    <a:pt x="1554" y="1965"/>
                  </a:lnTo>
                  <a:lnTo>
                    <a:pt x="1558" y="1953"/>
                  </a:lnTo>
                  <a:lnTo>
                    <a:pt x="1558" y="1953"/>
                  </a:lnTo>
                  <a:lnTo>
                    <a:pt x="1559" y="1950"/>
                  </a:lnTo>
                  <a:lnTo>
                    <a:pt x="1562" y="1947"/>
                  </a:lnTo>
                  <a:lnTo>
                    <a:pt x="1571" y="1940"/>
                  </a:lnTo>
                  <a:lnTo>
                    <a:pt x="1582" y="1932"/>
                  </a:lnTo>
                  <a:lnTo>
                    <a:pt x="1592" y="1928"/>
                  </a:lnTo>
                  <a:lnTo>
                    <a:pt x="1592" y="1928"/>
                  </a:lnTo>
                  <a:lnTo>
                    <a:pt x="1601" y="1925"/>
                  </a:lnTo>
                  <a:lnTo>
                    <a:pt x="1607" y="1923"/>
                  </a:lnTo>
                  <a:lnTo>
                    <a:pt x="1613" y="1923"/>
                  </a:lnTo>
                  <a:lnTo>
                    <a:pt x="1619" y="1922"/>
                  </a:lnTo>
                  <a:lnTo>
                    <a:pt x="1619" y="1922"/>
                  </a:lnTo>
                  <a:lnTo>
                    <a:pt x="1622" y="1919"/>
                  </a:lnTo>
                  <a:lnTo>
                    <a:pt x="1625" y="1916"/>
                  </a:lnTo>
                  <a:lnTo>
                    <a:pt x="1628" y="1913"/>
                  </a:lnTo>
                  <a:lnTo>
                    <a:pt x="1632" y="1910"/>
                  </a:lnTo>
                  <a:lnTo>
                    <a:pt x="1632" y="1910"/>
                  </a:lnTo>
                  <a:lnTo>
                    <a:pt x="1642" y="1906"/>
                  </a:lnTo>
                  <a:lnTo>
                    <a:pt x="1648" y="1904"/>
                  </a:lnTo>
                  <a:lnTo>
                    <a:pt x="1651" y="1901"/>
                  </a:lnTo>
                  <a:lnTo>
                    <a:pt x="1651" y="1901"/>
                  </a:lnTo>
                  <a:lnTo>
                    <a:pt x="1654" y="1897"/>
                  </a:lnTo>
                  <a:lnTo>
                    <a:pt x="1656" y="1894"/>
                  </a:lnTo>
                  <a:lnTo>
                    <a:pt x="1656" y="1888"/>
                  </a:lnTo>
                  <a:lnTo>
                    <a:pt x="1656" y="1888"/>
                  </a:lnTo>
                  <a:lnTo>
                    <a:pt x="1660" y="1867"/>
                  </a:lnTo>
                  <a:lnTo>
                    <a:pt x="1663" y="1855"/>
                  </a:lnTo>
                  <a:lnTo>
                    <a:pt x="1666" y="1846"/>
                  </a:lnTo>
                  <a:lnTo>
                    <a:pt x="1666" y="1846"/>
                  </a:lnTo>
                  <a:lnTo>
                    <a:pt x="1669" y="1845"/>
                  </a:lnTo>
                  <a:lnTo>
                    <a:pt x="1675" y="1843"/>
                  </a:lnTo>
                  <a:lnTo>
                    <a:pt x="1684" y="1842"/>
                  </a:lnTo>
                  <a:lnTo>
                    <a:pt x="1693" y="1839"/>
                  </a:lnTo>
                  <a:lnTo>
                    <a:pt x="1693" y="1839"/>
                  </a:lnTo>
                  <a:lnTo>
                    <a:pt x="1702" y="1836"/>
                  </a:lnTo>
                  <a:lnTo>
                    <a:pt x="1709" y="1834"/>
                  </a:lnTo>
                  <a:lnTo>
                    <a:pt x="1715" y="1833"/>
                  </a:lnTo>
                  <a:lnTo>
                    <a:pt x="1718" y="1832"/>
                  </a:lnTo>
                  <a:lnTo>
                    <a:pt x="1721" y="1827"/>
                  </a:lnTo>
                  <a:lnTo>
                    <a:pt x="1721" y="1827"/>
                  </a:lnTo>
                  <a:lnTo>
                    <a:pt x="1727" y="1821"/>
                  </a:lnTo>
                  <a:lnTo>
                    <a:pt x="1733" y="1818"/>
                  </a:lnTo>
                  <a:lnTo>
                    <a:pt x="1737" y="1814"/>
                  </a:lnTo>
                  <a:lnTo>
                    <a:pt x="1739" y="1805"/>
                  </a:lnTo>
                  <a:lnTo>
                    <a:pt x="1739" y="1805"/>
                  </a:lnTo>
                  <a:lnTo>
                    <a:pt x="1743" y="1783"/>
                  </a:lnTo>
                  <a:lnTo>
                    <a:pt x="1743" y="1783"/>
                  </a:lnTo>
                  <a:lnTo>
                    <a:pt x="1743" y="1775"/>
                  </a:lnTo>
                  <a:lnTo>
                    <a:pt x="1745" y="1772"/>
                  </a:lnTo>
                  <a:lnTo>
                    <a:pt x="1748" y="1768"/>
                  </a:lnTo>
                  <a:lnTo>
                    <a:pt x="1748" y="1768"/>
                  </a:lnTo>
                  <a:lnTo>
                    <a:pt x="1750" y="1760"/>
                  </a:lnTo>
                  <a:lnTo>
                    <a:pt x="1753" y="1753"/>
                  </a:lnTo>
                  <a:lnTo>
                    <a:pt x="1753" y="1753"/>
                  </a:lnTo>
                  <a:lnTo>
                    <a:pt x="1755" y="1750"/>
                  </a:lnTo>
                  <a:lnTo>
                    <a:pt x="1758" y="1749"/>
                  </a:lnTo>
                  <a:lnTo>
                    <a:pt x="1762" y="1749"/>
                  </a:lnTo>
                  <a:lnTo>
                    <a:pt x="1764" y="1750"/>
                  </a:lnTo>
                  <a:lnTo>
                    <a:pt x="1764" y="1750"/>
                  </a:lnTo>
                  <a:lnTo>
                    <a:pt x="1768" y="1757"/>
                  </a:lnTo>
                  <a:lnTo>
                    <a:pt x="1771" y="1759"/>
                  </a:lnTo>
                  <a:lnTo>
                    <a:pt x="1774" y="1760"/>
                  </a:lnTo>
                  <a:lnTo>
                    <a:pt x="1774" y="1760"/>
                  </a:lnTo>
                  <a:lnTo>
                    <a:pt x="1782" y="1757"/>
                  </a:lnTo>
                  <a:lnTo>
                    <a:pt x="1782" y="1756"/>
                  </a:lnTo>
                  <a:lnTo>
                    <a:pt x="1782" y="1753"/>
                  </a:lnTo>
                  <a:lnTo>
                    <a:pt x="1782" y="1753"/>
                  </a:lnTo>
                  <a:lnTo>
                    <a:pt x="1777" y="1749"/>
                  </a:lnTo>
                  <a:lnTo>
                    <a:pt x="1770" y="1744"/>
                  </a:lnTo>
                  <a:lnTo>
                    <a:pt x="1761" y="1737"/>
                  </a:lnTo>
                  <a:lnTo>
                    <a:pt x="1755" y="1729"/>
                  </a:lnTo>
                  <a:lnTo>
                    <a:pt x="1755" y="1729"/>
                  </a:lnTo>
                  <a:lnTo>
                    <a:pt x="1749" y="1722"/>
                  </a:lnTo>
                  <a:lnTo>
                    <a:pt x="1745" y="1716"/>
                  </a:lnTo>
                  <a:lnTo>
                    <a:pt x="1740" y="1710"/>
                  </a:lnTo>
                  <a:lnTo>
                    <a:pt x="1739" y="1706"/>
                  </a:lnTo>
                  <a:lnTo>
                    <a:pt x="1739" y="1706"/>
                  </a:lnTo>
                  <a:lnTo>
                    <a:pt x="1737" y="1685"/>
                  </a:lnTo>
                  <a:lnTo>
                    <a:pt x="1736" y="1675"/>
                  </a:lnTo>
                  <a:lnTo>
                    <a:pt x="1733" y="1667"/>
                  </a:lnTo>
                  <a:lnTo>
                    <a:pt x="1733" y="1667"/>
                  </a:lnTo>
                  <a:lnTo>
                    <a:pt x="1727" y="1663"/>
                  </a:lnTo>
                  <a:lnTo>
                    <a:pt x="1722" y="1658"/>
                  </a:lnTo>
                  <a:lnTo>
                    <a:pt x="1715" y="1655"/>
                  </a:lnTo>
                  <a:lnTo>
                    <a:pt x="1709" y="1652"/>
                  </a:lnTo>
                  <a:lnTo>
                    <a:pt x="1709" y="1652"/>
                  </a:lnTo>
                  <a:lnTo>
                    <a:pt x="1703" y="1649"/>
                  </a:lnTo>
                  <a:lnTo>
                    <a:pt x="1700" y="1646"/>
                  </a:lnTo>
                  <a:lnTo>
                    <a:pt x="1694" y="1636"/>
                  </a:lnTo>
                  <a:lnTo>
                    <a:pt x="1694" y="1636"/>
                  </a:lnTo>
                  <a:lnTo>
                    <a:pt x="1691" y="1632"/>
                  </a:lnTo>
                  <a:lnTo>
                    <a:pt x="1690" y="1626"/>
                  </a:lnTo>
                  <a:lnTo>
                    <a:pt x="1690" y="1621"/>
                  </a:lnTo>
                  <a:lnTo>
                    <a:pt x="1691" y="1617"/>
                  </a:lnTo>
                  <a:lnTo>
                    <a:pt x="1691" y="1617"/>
                  </a:lnTo>
                  <a:lnTo>
                    <a:pt x="1696" y="1606"/>
                  </a:lnTo>
                  <a:lnTo>
                    <a:pt x="1697" y="1602"/>
                  </a:lnTo>
                  <a:lnTo>
                    <a:pt x="1697" y="1598"/>
                  </a:lnTo>
                  <a:lnTo>
                    <a:pt x="1697" y="1598"/>
                  </a:lnTo>
                  <a:lnTo>
                    <a:pt x="1697" y="1592"/>
                  </a:lnTo>
                  <a:lnTo>
                    <a:pt x="1699" y="1583"/>
                  </a:lnTo>
                  <a:lnTo>
                    <a:pt x="1702" y="1569"/>
                  </a:lnTo>
                  <a:lnTo>
                    <a:pt x="1702" y="1569"/>
                  </a:lnTo>
                  <a:lnTo>
                    <a:pt x="1702" y="1566"/>
                  </a:lnTo>
                  <a:lnTo>
                    <a:pt x="1702" y="1563"/>
                  </a:lnTo>
                  <a:lnTo>
                    <a:pt x="1703" y="1559"/>
                  </a:lnTo>
                  <a:lnTo>
                    <a:pt x="1706" y="1552"/>
                  </a:lnTo>
                  <a:lnTo>
                    <a:pt x="1706" y="1552"/>
                  </a:lnTo>
                  <a:lnTo>
                    <a:pt x="1713" y="1544"/>
                  </a:lnTo>
                  <a:lnTo>
                    <a:pt x="1713" y="1541"/>
                  </a:lnTo>
                  <a:lnTo>
                    <a:pt x="1713" y="1537"/>
                  </a:lnTo>
                  <a:lnTo>
                    <a:pt x="1713" y="1537"/>
                  </a:lnTo>
                  <a:lnTo>
                    <a:pt x="1711" y="1531"/>
                  </a:lnTo>
                  <a:lnTo>
                    <a:pt x="1709" y="1523"/>
                  </a:lnTo>
                  <a:lnTo>
                    <a:pt x="1709" y="1523"/>
                  </a:lnTo>
                  <a:lnTo>
                    <a:pt x="1708" y="1503"/>
                  </a:lnTo>
                  <a:lnTo>
                    <a:pt x="1708" y="1492"/>
                  </a:lnTo>
                  <a:lnTo>
                    <a:pt x="1708" y="1482"/>
                  </a:lnTo>
                  <a:lnTo>
                    <a:pt x="1708" y="1482"/>
                  </a:lnTo>
                  <a:lnTo>
                    <a:pt x="1709" y="1475"/>
                  </a:lnTo>
                  <a:lnTo>
                    <a:pt x="1709" y="1467"/>
                  </a:lnTo>
                  <a:lnTo>
                    <a:pt x="1708" y="1460"/>
                  </a:lnTo>
                  <a:lnTo>
                    <a:pt x="1706" y="1454"/>
                  </a:lnTo>
                  <a:lnTo>
                    <a:pt x="1706" y="1454"/>
                  </a:lnTo>
                  <a:lnTo>
                    <a:pt x="1702" y="1444"/>
                  </a:lnTo>
                  <a:lnTo>
                    <a:pt x="1699" y="1427"/>
                  </a:lnTo>
                  <a:lnTo>
                    <a:pt x="1699" y="1427"/>
                  </a:lnTo>
                  <a:lnTo>
                    <a:pt x="1696" y="1412"/>
                  </a:lnTo>
                  <a:lnTo>
                    <a:pt x="1696" y="1409"/>
                  </a:lnTo>
                  <a:lnTo>
                    <a:pt x="1699" y="1408"/>
                  </a:lnTo>
                  <a:lnTo>
                    <a:pt x="1699" y="1408"/>
                  </a:lnTo>
                  <a:lnTo>
                    <a:pt x="1712" y="1408"/>
                  </a:lnTo>
                  <a:lnTo>
                    <a:pt x="1731" y="1411"/>
                  </a:lnTo>
                  <a:lnTo>
                    <a:pt x="1731" y="1411"/>
                  </a:lnTo>
                  <a:lnTo>
                    <a:pt x="1752" y="1415"/>
                  </a:lnTo>
                  <a:lnTo>
                    <a:pt x="1764" y="1417"/>
                  </a:lnTo>
                  <a:lnTo>
                    <a:pt x="1771" y="1417"/>
                  </a:lnTo>
                  <a:lnTo>
                    <a:pt x="1771" y="1417"/>
                  </a:lnTo>
                  <a:lnTo>
                    <a:pt x="1780" y="1417"/>
                  </a:lnTo>
                  <a:lnTo>
                    <a:pt x="1782" y="1415"/>
                  </a:lnTo>
                  <a:lnTo>
                    <a:pt x="1783" y="1412"/>
                  </a:lnTo>
                  <a:lnTo>
                    <a:pt x="1783" y="1412"/>
                  </a:lnTo>
                  <a:lnTo>
                    <a:pt x="1786" y="1408"/>
                  </a:lnTo>
                  <a:lnTo>
                    <a:pt x="1789" y="1406"/>
                  </a:lnTo>
                  <a:lnTo>
                    <a:pt x="1792" y="1406"/>
                  </a:lnTo>
                  <a:lnTo>
                    <a:pt x="1796" y="1408"/>
                  </a:lnTo>
                  <a:lnTo>
                    <a:pt x="1796" y="1408"/>
                  </a:lnTo>
                  <a:lnTo>
                    <a:pt x="1805" y="1412"/>
                  </a:lnTo>
                  <a:lnTo>
                    <a:pt x="1808" y="1412"/>
                  </a:lnTo>
                  <a:lnTo>
                    <a:pt x="1810" y="1412"/>
                  </a:lnTo>
                  <a:lnTo>
                    <a:pt x="1810" y="1412"/>
                  </a:lnTo>
                  <a:lnTo>
                    <a:pt x="1813" y="1409"/>
                  </a:lnTo>
                  <a:lnTo>
                    <a:pt x="1814" y="1404"/>
                  </a:lnTo>
                  <a:lnTo>
                    <a:pt x="1817" y="1399"/>
                  </a:lnTo>
                  <a:lnTo>
                    <a:pt x="1822" y="1395"/>
                  </a:lnTo>
                  <a:lnTo>
                    <a:pt x="1822" y="1395"/>
                  </a:lnTo>
                  <a:lnTo>
                    <a:pt x="1826" y="1393"/>
                  </a:lnTo>
                  <a:lnTo>
                    <a:pt x="1829" y="1390"/>
                  </a:lnTo>
                  <a:lnTo>
                    <a:pt x="1830" y="1387"/>
                  </a:lnTo>
                  <a:lnTo>
                    <a:pt x="1830" y="1383"/>
                  </a:lnTo>
                  <a:lnTo>
                    <a:pt x="1830" y="1383"/>
                  </a:lnTo>
                  <a:lnTo>
                    <a:pt x="1830" y="1377"/>
                  </a:lnTo>
                  <a:lnTo>
                    <a:pt x="1833" y="1374"/>
                  </a:lnTo>
                  <a:lnTo>
                    <a:pt x="1836" y="1371"/>
                  </a:lnTo>
                  <a:lnTo>
                    <a:pt x="1839" y="1371"/>
                  </a:lnTo>
                  <a:lnTo>
                    <a:pt x="1839" y="1371"/>
                  </a:lnTo>
                  <a:lnTo>
                    <a:pt x="1841" y="1372"/>
                  </a:lnTo>
                  <a:lnTo>
                    <a:pt x="1842" y="1371"/>
                  </a:lnTo>
                  <a:lnTo>
                    <a:pt x="1844" y="1369"/>
                  </a:lnTo>
                  <a:lnTo>
                    <a:pt x="1847" y="1368"/>
                  </a:lnTo>
                  <a:lnTo>
                    <a:pt x="1847" y="1368"/>
                  </a:lnTo>
                  <a:lnTo>
                    <a:pt x="1851" y="1369"/>
                  </a:lnTo>
                  <a:lnTo>
                    <a:pt x="1856" y="1371"/>
                  </a:lnTo>
                  <a:lnTo>
                    <a:pt x="1862" y="1374"/>
                  </a:lnTo>
                  <a:lnTo>
                    <a:pt x="1862" y="1374"/>
                  </a:lnTo>
                  <a:lnTo>
                    <a:pt x="1863" y="1374"/>
                  </a:lnTo>
                  <a:lnTo>
                    <a:pt x="1863" y="1372"/>
                  </a:lnTo>
                  <a:lnTo>
                    <a:pt x="1863" y="1369"/>
                  </a:lnTo>
                  <a:lnTo>
                    <a:pt x="1865" y="1366"/>
                  </a:lnTo>
                  <a:lnTo>
                    <a:pt x="1865" y="1366"/>
                  </a:lnTo>
                  <a:lnTo>
                    <a:pt x="1867" y="1364"/>
                  </a:lnTo>
                  <a:lnTo>
                    <a:pt x="1872" y="1361"/>
                  </a:lnTo>
                  <a:lnTo>
                    <a:pt x="1876" y="1361"/>
                  </a:lnTo>
                  <a:lnTo>
                    <a:pt x="1878" y="1361"/>
                  </a:lnTo>
                  <a:lnTo>
                    <a:pt x="1879" y="1362"/>
                  </a:lnTo>
                  <a:lnTo>
                    <a:pt x="1879" y="1362"/>
                  </a:lnTo>
                  <a:lnTo>
                    <a:pt x="1881" y="1366"/>
                  </a:lnTo>
                  <a:lnTo>
                    <a:pt x="1879" y="1371"/>
                  </a:lnTo>
                  <a:lnTo>
                    <a:pt x="1879" y="1375"/>
                  </a:lnTo>
                  <a:lnTo>
                    <a:pt x="1881" y="1375"/>
                  </a:lnTo>
                  <a:lnTo>
                    <a:pt x="1882" y="1375"/>
                  </a:lnTo>
                  <a:lnTo>
                    <a:pt x="1882" y="1375"/>
                  </a:lnTo>
                  <a:lnTo>
                    <a:pt x="1887" y="1375"/>
                  </a:lnTo>
                  <a:lnTo>
                    <a:pt x="1891" y="1375"/>
                  </a:lnTo>
                  <a:lnTo>
                    <a:pt x="1893" y="1375"/>
                  </a:lnTo>
                  <a:lnTo>
                    <a:pt x="1894" y="1371"/>
                  </a:lnTo>
                  <a:lnTo>
                    <a:pt x="1894" y="1371"/>
                  </a:lnTo>
                  <a:lnTo>
                    <a:pt x="1894" y="1364"/>
                  </a:lnTo>
                  <a:lnTo>
                    <a:pt x="1896" y="1358"/>
                  </a:lnTo>
                  <a:lnTo>
                    <a:pt x="1896" y="1358"/>
                  </a:lnTo>
                  <a:lnTo>
                    <a:pt x="1896" y="1335"/>
                  </a:lnTo>
                  <a:lnTo>
                    <a:pt x="1894" y="1315"/>
                  </a:lnTo>
                  <a:lnTo>
                    <a:pt x="1894" y="1315"/>
                  </a:lnTo>
                  <a:lnTo>
                    <a:pt x="1893" y="1304"/>
                  </a:lnTo>
                  <a:lnTo>
                    <a:pt x="1890" y="1292"/>
                  </a:lnTo>
                  <a:lnTo>
                    <a:pt x="1887" y="1281"/>
                  </a:lnTo>
                  <a:lnTo>
                    <a:pt x="1884" y="1276"/>
                  </a:lnTo>
                  <a:lnTo>
                    <a:pt x="1884" y="1276"/>
                  </a:lnTo>
                  <a:lnTo>
                    <a:pt x="1879" y="1273"/>
                  </a:lnTo>
                  <a:lnTo>
                    <a:pt x="1879" y="1270"/>
                  </a:lnTo>
                  <a:lnTo>
                    <a:pt x="1879" y="1267"/>
                  </a:lnTo>
                  <a:lnTo>
                    <a:pt x="1879" y="1267"/>
                  </a:lnTo>
                  <a:lnTo>
                    <a:pt x="1881" y="1263"/>
                  </a:lnTo>
                  <a:lnTo>
                    <a:pt x="1881" y="1258"/>
                  </a:lnTo>
                  <a:lnTo>
                    <a:pt x="1881" y="1257"/>
                  </a:lnTo>
                  <a:lnTo>
                    <a:pt x="1878" y="1254"/>
                  </a:lnTo>
                  <a:lnTo>
                    <a:pt x="1872" y="1249"/>
                  </a:lnTo>
                  <a:lnTo>
                    <a:pt x="1872" y="1249"/>
                  </a:lnTo>
                  <a:lnTo>
                    <a:pt x="1860" y="1241"/>
                  </a:lnTo>
                  <a:lnTo>
                    <a:pt x="1847" y="1227"/>
                  </a:lnTo>
                  <a:lnTo>
                    <a:pt x="1838" y="1214"/>
                  </a:lnTo>
                  <a:lnTo>
                    <a:pt x="1832" y="1205"/>
                  </a:lnTo>
                  <a:lnTo>
                    <a:pt x="1832" y="1205"/>
                  </a:lnTo>
                  <a:lnTo>
                    <a:pt x="1829" y="1192"/>
                  </a:lnTo>
                  <a:lnTo>
                    <a:pt x="1823" y="1180"/>
                  </a:lnTo>
                  <a:lnTo>
                    <a:pt x="1823" y="1180"/>
                  </a:lnTo>
                  <a:lnTo>
                    <a:pt x="1817" y="1171"/>
                  </a:lnTo>
                  <a:lnTo>
                    <a:pt x="1810" y="1162"/>
                  </a:lnTo>
                  <a:lnTo>
                    <a:pt x="1798" y="1149"/>
                  </a:lnTo>
                  <a:lnTo>
                    <a:pt x="1798" y="1149"/>
                  </a:lnTo>
                  <a:lnTo>
                    <a:pt x="1798" y="1147"/>
                  </a:lnTo>
                  <a:lnTo>
                    <a:pt x="1799" y="1144"/>
                  </a:lnTo>
                  <a:lnTo>
                    <a:pt x="1805" y="1135"/>
                  </a:lnTo>
                  <a:lnTo>
                    <a:pt x="1805" y="1135"/>
                  </a:lnTo>
                  <a:lnTo>
                    <a:pt x="1810" y="1124"/>
                  </a:lnTo>
                  <a:lnTo>
                    <a:pt x="1810" y="1118"/>
                  </a:lnTo>
                  <a:lnTo>
                    <a:pt x="1808" y="1112"/>
                  </a:lnTo>
                  <a:lnTo>
                    <a:pt x="1808" y="1112"/>
                  </a:lnTo>
                  <a:lnTo>
                    <a:pt x="1799" y="1095"/>
                  </a:lnTo>
                  <a:lnTo>
                    <a:pt x="1798" y="1090"/>
                  </a:lnTo>
                  <a:lnTo>
                    <a:pt x="1798" y="1087"/>
                  </a:lnTo>
                  <a:lnTo>
                    <a:pt x="1799" y="1087"/>
                  </a:lnTo>
                  <a:lnTo>
                    <a:pt x="1799" y="1087"/>
                  </a:lnTo>
                  <a:lnTo>
                    <a:pt x="1808" y="1087"/>
                  </a:lnTo>
                  <a:lnTo>
                    <a:pt x="1814" y="1085"/>
                  </a:lnTo>
                  <a:lnTo>
                    <a:pt x="1819" y="1084"/>
                  </a:lnTo>
                  <a:lnTo>
                    <a:pt x="1819" y="1084"/>
                  </a:lnTo>
                  <a:lnTo>
                    <a:pt x="1825" y="1079"/>
                  </a:lnTo>
                  <a:lnTo>
                    <a:pt x="1830" y="1078"/>
                  </a:lnTo>
                  <a:lnTo>
                    <a:pt x="1838" y="1073"/>
                  </a:lnTo>
                  <a:lnTo>
                    <a:pt x="1838" y="1073"/>
                  </a:lnTo>
                  <a:lnTo>
                    <a:pt x="1839" y="1072"/>
                  </a:lnTo>
                  <a:lnTo>
                    <a:pt x="1839" y="1069"/>
                  </a:lnTo>
                  <a:lnTo>
                    <a:pt x="1841" y="1064"/>
                  </a:lnTo>
                  <a:lnTo>
                    <a:pt x="1844" y="1060"/>
                  </a:lnTo>
                  <a:lnTo>
                    <a:pt x="1844" y="1060"/>
                  </a:lnTo>
                  <a:lnTo>
                    <a:pt x="1847" y="1055"/>
                  </a:lnTo>
                  <a:lnTo>
                    <a:pt x="1851" y="1054"/>
                  </a:lnTo>
                  <a:lnTo>
                    <a:pt x="1856" y="1054"/>
                  </a:lnTo>
                  <a:lnTo>
                    <a:pt x="1859" y="1055"/>
                  </a:lnTo>
                  <a:lnTo>
                    <a:pt x="1859" y="1055"/>
                  </a:lnTo>
                  <a:lnTo>
                    <a:pt x="1863" y="1057"/>
                  </a:lnTo>
                  <a:lnTo>
                    <a:pt x="1867" y="1057"/>
                  </a:lnTo>
                  <a:lnTo>
                    <a:pt x="1870" y="1057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50"/>
                  </a:lnTo>
                  <a:lnTo>
                    <a:pt x="1866" y="1039"/>
                  </a:lnTo>
                  <a:lnTo>
                    <a:pt x="1860" y="1030"/>
                  </a:lnTo>
                  <a:lnTo>
                    <a:pt x="1857" y="1026"/>
                  </a:lnTo>
                  <a:lnTo>
                    <a:pt x="1854" y="1023"/>
                  </a:lnTo>
                  <a:lnTo>
                    <a:pt x="1854" y="1023"/>
                  </a:lnTo>
                  <a:lnTo>
                    <a:pt x="1842" y="1018"/>
                  </a:lnTo>
                  <a:lnTo>
                    <a:pt x="1839" y="1015"/>
                  </a:lnTo>
                  <a:lnTo>
                    <a:pt x="1839" y="1014"/>
                  </a:lnTo>
                  <a:lnTo>
                    <a:pt x="1839" y="1011"/>
                  </a:lnTo>
                  <a:lnTo>
                    <a:pt x="1839" y="1011"/>
                  </a:lnTo>
                  <a:lnTo>
                    <a:pt x="1841" y="1007"/>
                  </a:lnTo>
                  <a:lnTo>
                    <a:pt x="1845" y="1002"/>
                  </a:lnTo>
                  <a:lnTo>
                    <a:pt x="1850" y="999"/>
                  </a:lnTo>
                  <a:lnTo>
                    <a:pt x="1854" y="998"/>
                  </a:lnTo>
                  <a:lnTo>
                    <a:pt x="1854" y="998"/>
                  </a:lnTo>
                  <a:lnTo>
                    <a:pt x="1859" y="998"/>
                  </a:lnTo>
                  <a:lnTo>
                    <a:pt x="1863" y="995"/>
                  </a:lnTo>
                  <a:lnTo>
                    <a:pt x="1867" y="989"/>
                  </a:lnTo>
                  <a:lnTo>
                    <a:pt x="1872" y="984"/>
                  </a:lnTo>
                  <a:lnTo>
                    <a:pt x="1872" y="984"/>
                  </a:lnTo>
                  <a:lnTo>
                    <a:pt x="1875" y="981"/>
                  </a:lnTo>
                  <a:lnTo>
                    <a:pt x="1878" y="980"/>
                  </a:lnTo>
                  <a:lnTo>
                    <a:pt x="1881" y="978"/>
                  </a:lnTo>
                  <a:lnTo>
                    <a:pt x="1884" y="976"/>
                  </a:lnTo>
                  <a:lnTo>
                    <a:pt x="1884" y="976"/>
                  </a:lnTo>
                  <a:lnTo>
                    <a:pt x="1885" y="970"/>
                  </a:lnTo>
                  <a:lnTo>
                    <a:pt x="1887" y="962"/>
                  </a:lnTo>
                  <a:lnTo>
                    <a:pt x="1887" y="949"/>
                  </a:lnTo>
                  <a:lnTo>
                    <a:pt x="1887" y="949"/>
                  </a:lnTo>
                  <a:lnTo>
                    <a:pt x="1890" y="944"/>
                  </a:lnTo>
                  <a:lnTo>
                    <a:pt x="1894" y="940"/>
                  </a:lnTo>
                  <a:lnTo>
                    <a:pt x="1900" y="938"/>
                  </a:lnTo>
                  <a:lnTo>
                    <a:pt x="1906" y="940"/>
                  </a:lnTo>
                  <a:lnTo>
                    <a:pt x="1906" y="940"/>
                  </a:lnTo>
                  <a:lnTo>
                    <a:pt x="1921" y="950"/>
                  </a:lnTo>
                  <a:lnTo>
                    <a:pt x="1928" y="953"/>
                  </a:lnTo>
                  <a:lnTo>
                    <a:pt x="1933" y="953"/>
                  </a:lnTo>
                  <a:lnTo>
                    <a:pt x="1936" y="953"/>
                  </a:lnTo>
                  <a:lnTo>
                    <a:pt x="1936" y="953"/>
                  </a:lnTo>
                  <a:lnTo>
                    <a:pt x="1942" y="952"/>
                  </a:lnTo>
                  <a:lnTo>
                    <a:pt x="1946" y="950"/>
                  </a:lnTo>
                  <a:lnTo>
                    <a:pt x="1947" y="947"/>
                  </a:lnTo>
                  <a:lnTo>
                    <a:pt x="1946" y="943"/>
                  </a:lnTo>
                  <a:lnTo>
                    <a:pt x="1946" y="943"/>
                  </a:lnTo>
                  <a:lnTo>
                    <a:pt x="1943" y="941"/>
                  </a:lnTo>
                  <a:lnTo>
                    <a:pt x="1939" y="940"/>
                  </a:lnTo>
                  <a:lnTo>
                    <a:pt x="1937" y="938"/>
                  </a:lnTo>
                  <a:lnTo>
                    <a:pt x="1937" y="938"/>
                  </a:lnTo>
                  <a:lnTo>
                    <a:pt x="1940" y="933"/>
                  </a:lnTo>
                  <a:lnTo>
                    <a:pt x="1940" y="933"/>
                  </a:lnTo>
                  <a:lnTo>
                    <a:pt x="1943" y="927"/>
                  </a:lnTo>
                  <a:lnTo>
                    <a:pt x="1946" y="921"/>
                  </a:lnTo>
                  <a:lnTo>
                    <a:pt x="1947" y="916"/>
                  </a:lnTo>
                  <a:lnTo>
                    <a:pt x="1950" y="913"/>
                  </a:lnTo>
                  <a:lnTo>
                    <a:pt x="1950" y="913"/>
                  </a:lnTo>
                  <a:lnTo>
                    <a:pt x="1955" y="913"/>
                  </a:lnTo>
                  <a:lnTo>
                    <a:pt x="1958" y="915"/>
                  </a:lnTo>
                  <a:lnTo>
                    <a:pt x="1959" y="915"/>
                  </a:lnTo>
                  <a:lnTo>
                    <a:pt x="1961" y="912"/>
                  </a:lnTo>
                  <a:lnTo>
                    <a:pt x="1961" y="912"/>
                  </a:lnTo>
                  <a:lnTo>
                    <a:pt x="1961" y="904"/>
                  </a:lnTo>
                  <a:lnTo>
                    <a:pt x="1962" y="896"/>
                  </a:lnTo>
                  <a:lnTo>
                    <a:pt x="1965" y="887"/>
                  </a:lnTo>
                  <a:lnTo>
                    <a:pt x="1967" y="881"/>
                  </a:lnTo>
                  <a:lnTo>
                    <a:pt x="1967" y="881"/>
                  </a:lnTo>
                  <a:lnTo>
                    <a:pt x="1970" y="879"/>
                  </a:lnTo>
                  <a:lnTo>
                    <a:pt x="1974" y="879"/>
                  </a:lnTo>
                  <a:lnTo>
                    <a:pt x="1979" y="878"/>
                  </a:lnTo>
                  <a:lnTo>
                    <a:pt x="1986" y="876"/>
                  </a:lnTo>
                  <a:lnTo>
                    <a:pt x="1986" y="876"/>
                  </a:lnTo>
                  <a:lnTo>
                    <a:pt x="1992" y="875"/>
                  </a:lnTo>
                  <a:lnTo>
                    <a:pt x="1995" y="872"/>
                  </a:lnTo>
                  <a:lnTo>
                    <a:pt x="1995" y="869"/>
                  </a:lnTo>
                  <a:lnTo>
                    <a:pt x="1990" y="866"/>
                  </a:lnTo>
                  <a:lnTo>
                    <a:pt x="1990" y="866"/>
                  </a:lnTo>
                  <a:lnTo>
                    <a:pt x="1986" y="864"/>
                  </a:lnTo>
                  <a:lnTo>
                    <a:pt x="1981" y="864"/>
                  </a:lnTo>
                  <a:lnTo>
                    <a:pt x="1981" y="864"/>
                  </a:lnTo>
                  <a:lnTo>
                    <a:pt x="1980" y="863"/>
                  </a:lnTo>
                  <a:lnTo>
                    <a:pt x="1980" y="856"/>
                  </a:lnTo>
                  <a:lnTo>
                    <a:pt x="1980" y="856"/>
                  </a:lnTo>
                  <a:lnTo>
                    <a:pt x="1983" y="838"/>
                  </a:lnTo>
                  <a:lnTo>
                    <a:pt x="1983" y="833"/>
                  </a:lnTo>
                  <a:lnTo>
                    <a:pt x="1983" y="832"/>
                  </a:lnTo>
                  <a:lnTo>
                    <a:pt x="1981" y="830"/>
                  </a:lnTo>
                  <a:lnTo>
                    <a:pt x="1979" y="830"/>
                  </a:lnTo>
                  <a:lnTo>
                    <a:pt x="1979" y="830"/>
                  </a:lnTo>
                  <a:lnTo>
                    <a:pt x="1974" y="830"/>
                  </a:lnTo>
                  <a:lnTo>
                    <a:pt x="1970" y="829"/>
                  </a:lnTo>
                  <a:lnTo>
                    <a:pt x="1961" y="824"/>
                  </a:lnTo>
                  <a:lnTo>
                    <a:pt x="1952" y="819"/>
                  </a:lnTo>
                  <a:lnTo>
                    <a:pt x="1946" y="813"/>
                  </a:lnTo>
                  <a:lnTo>
                    <a:pt x="1946" y="813"/>
                  </a:lnTo>
                  <a:lnTo>
                    <a:pt x="1942" y="808"/>
                  </a:lnTo>
                  <a:lnTo>
                    <a:pt x="1937" y="802"/>
                  </a:lnTo>
                  <a:lnTo>
                    <a:pt x="1936" y="799"/>
                  </a:lnTo>
                  <a:lnTo>
                    <a:pt x="1936" y="795"/>
                  </a:lnTo>
                  <a:lnTo>
                    <a:pt x="1936" y="790"/>
                  </a:lnTo>
                  <a:lnTo>
                    <a:pt x="1937" y="787"/>
                  </a:lnTo>
                  <a:lnTo>
                    <a:pt x="1937" y="787"/>
                  </a:lnTo>
                  <a:lnTo>
                    <a:pt x="1943" y="777"/>
                  </a:lnTo>
                  <a:lnTo>
                    <a:pt x="1949" y="765"/>
                  </a:lnTo>
                  <a:lnTo>
                    <a:pt x="1950" y="759"/>
                  </a:lnTo>
                  <a:lnTo>
                    <a:pt x="1952" y="756"/>
                  </a:lnTo>
                  <a:lnTo>
                    <a:pt x="1950" y="752"/>
                  </a:lnTo>
                  <a:lnTo>
                    <a:pt x="1947" y="752"/>
                  </a:lnTo>
                  <a:lnTo>
                    <a:pt x="1947" y="752"/>
                  </a:lnTo>
                  <a:close/>
                  <a:moveTo>
                    <a:pt x="917" y="25"/>
                  </a:moveTo>
                  <a:lnTo>
                    <a:pt x="917" y="25"/>
                  </a:lnTo>
                  <a:lnTo>
                    <a:pt x="920" y="23"/>
                  </a:lnTo>
                  <a:lnTo>
                    <a:pt x="921" y="20"/>
                  </a:lnTo>
                  <a:lnTo>
                    <a:pt x="924" y="13"/>
                  </a:lnTo>
                  <a:lnTo>
                    <a:pt x="924" y="13"/>
                  </a:lnTo>
                  <a:lnTo>
                    <a:pt x="924" y="8"/>
                  </a:lnTo>
                  <a:lnTo>
                    <a:pt x="923" y="5"/>
                  </a:lnTo>
                  <a:lnTo>
                    <a:pt x="918" y="0"/>
                  </a:lnTo>
                  <a:lnTo>
                    <a:pt x="918" y="0"/>
                  </a:lnTo>
                  <a:lnTo>
                    <a:pt x="918" y="0"/>
                  </a:lnTo>
                  <a:lnTo>
                    <a:pt x="917" y="0"/>
                  </a:lnTo>
                  <a:lnTo>
                    <a:pt x="915" y="2"/>
                  </a:lnTo>
                  <a:lnTo>
                    <a:pt x="912" y="7"/>
                  </a:lnTo>
                  <a:lnTo>
                    <a:pt x="912" y="7"/>
                  </a:lnTo>
                  <a:lnTo>
                    <a:pt x="909" y="13"/>
                  </a:lnTo>
                  <a:lnTo>
                    <a:pt x="909" y="16"/>
                  </a:lnTo>
                  <a:lnTo>
                    <a:pt x="909" y="16"/>
                  </a:lnTo>
                  <a:lnTo>
                    <a:pt x="912" y="20"/>
                  </a:lnTo>
                  <a:lnTo>
                    <a:pt x="915" y="23"/>
                  </a:lnTo>
                  <a:lnTo>
                    <a:pt x="917" y="25"/>
                  </a:lnTo>
                  <a:lnTo>
                    <a:pt x="917" y="25"/>
                  </a:lnTo>
                  <a:close/>
                  <a:moveTo>
                    <a:pt x="1031" y="128"/>
                  </a:moveTo>
                  <a:lnTo>
                    <a:pt x="1031" y="128"/>
                  </a:lnTo>
                  <a:lnTo>
                    <a:pt x="1026" y="136"/>
                  </a:lnTo>
                  <a:lnTo>
                    <a:pt x="1022" y="142"/>
                  </a:lnTo>
                  <a:lnTo>
                    <a:pt x="1016" y="146"/>
                  </a:lnTo>
                  <a:lnTo>
                    <a:pt x="1016" y="146"/>
                  </a:lnTo>
                  <a:lnTo>
                    <a:pt x="1010" y="142"/>
                  </a:lnTo>
                  <a:lnTo>
                    <a:pt x="1006" y="137"/>
                  </a:lnTo>
                  <a:lnTo>
                    <a:pt x="1006" y="137"/>
                  </a:lnTo>
                  <a:lnTo>
                    <a:pt x="1003" y="136"/>
                  </a:lnTo>
                  <a:lnTo>
                    <a:pt x="1000" y="136"/>
                  </a:lnTo>
                  <a:lnTo>
                    <a:pt x="989" y="140"/>
                  </a:lnTo>
                  <a:lnTo>
                    <a:pt x="989" y="140"/>
                  </a:lnTo>
                  <a:lnTo>
                    <a:pt x="986" y="142"/>
                  </a:lnTo>
                  <a:lnTo>
                    <a:pt x="985" y="145"/>
                  </a:lnTo>
                  <a:lnTo>
                    <a:pt x="983" y="151"/>
                  </a:lnTo>
                  <a:lnTo>
                    <a:pt x="982" y="158"/>
                  </a:lnTo>
                  <a:lnTo>
                    <a:pt x="979" y="162"/>
                  </a:lnTo>
                  <a:lnTo>
                    <a:pt x="979" y="162"/>
                  </a:lnTo>
                  <a:lnTo>
                    <a:pt x="976" y="164"/>
                  </a:lnTo>
                  <a:lnTo>
                    <a:pt x="973" y="162"/>
                  </a:lnTo>
                  <a:lnTo>
                    <a:pt x="963" y="154"/>
                  </a:lnTo>
                  <a:lnTo>
                    <a:pt x="963" y="154"/>
                  </a:lnTo>
                  <a:lnTo>
                    <a:pt x="958" y="149"/>
                  </a:lnTo>
                  <a:lnTo>
                    <a:pt x="955" y="148"/>
                  </a:lnTo>
                  <a:lnTo>
                    <a:pt x="952" y="148"/>
                  </a:lnTo>
                  <a:lnTo>
                    <a:pt x="951" y="149"/>
                  </a:lnTo>
                  <a:lnTo>
                    <a:pt x="951" y="149"/>
                  </a:lnTo>
                  <a:lnTo>
                    <a:pt x="951" y="152"/>
                  </a:lnTo>
                  <a:lnTo>
                    <a:pt x="952" y="158"/>
                  </a:lnTo>
                  <a:lnTo>
                    <a:pt x="957" y="171"/>
                  </a:lnTo>
                  <a:lnTo>
                    <a:pt x="957" y="171"/>
                  </a:lnTo>
                  <a:lnTo>
                    <a:pt x="960" y="176"/>
                  </a:lnTo>
                  <a:lnTo>
                    <a:pt x="964" y="182"/>
                  </a:lnTo>
                  <a:lnTo>
                    <a:pt x="970" y="188"/>
                  </a:lnTo>
                  <a:lnTo>
                    <a:pt x="975" y="191"/>
                  </a:lnTo>
                  <a:lnTo>
                    <a:pt x="975" y="191"/>
                  </a:lnTo>
                  <a:lnTo>
                    <a:pt x="982" y="191"/>
                  </a:lnTo>
                  <a:lnTo>
                    <a:pt x="992" y="191"/>
                  </a:lnTo>
                  <a:lnTo>
                    <a:pt x="1006" y="189"/>
                  </a:lnTo>
                  <a:lnTo>
                    <a:pt x="1016" y="191"/>
                  </a:lnTo>
                  <a:lnTo>
                    <a:pt x="1016" y="191"/>
                  </a:lnTo>
                  <a:lnTo>
                    <a:pt x="1025" y="191"/>
                  </a:lnTo>
                  <a:lnTo>
                    <a:pt x="1035" y="188"/>
                  </a:lnTo>
                  <a:lnTo>
                    <a:pt x="1052" y="183"/>
                  </a:lnTo>
                  <a:lnTo>
                    <a:pt x="1052" y="183"/>
                  </a:lnTo>
                  <a:lnTo>
                    <a:pt x="1057" y="180"/>
                  </a:lnTo>
                  <a:lnTo>
                    <a:pt x="1065" y="176"/>
                  </a:lnTo>
                  <a:lnTo>
                    <a:pt x="1080" y="165"/>
                  </a:lnTo>
                  <a:lnTo>
                    <a:pt x="1080" y="165"/>
                  </a:lnTo>
                  <a:lnTo>
                    <a:pt x="1084" y="159"/>
                  </a:lnTo>
                  <a:lnTo>
                    <a:pt x="1087" y="152"/>
                  </a:lnTo>
                  <a:lnTo>
                    <a:pt x="1089" y="145"/>
                  </a:lnTo>
                  <a:lnTo>
                    <a:pt x="1092" y="139"/>
                  </a:lnTo>
                  <a:lnTo>
                    <a:pt x="1092" y="139"/>
                  </a:lnTo>
                  <a:lnTo>
                    <a:pt x="1092" y="136"/>
                  </a:lnTo>
                  <a:lnTo>
                    <a:pt x="1092" y="133"/>
                  </a:lnTo>
                  <a:lnTo>
                    <a:pt x="1090" y="122"/>
                  </a:lnTo>
                  <a:lnTo>
                    <a:pt x="1086" y="112"/>
                  </a:lnTo>
                  <a:lnTo>
                    <a:pt x="1083" y="106"/>
                  </a:lnTo>
                  <a:lnTo>
                    <a:pt x="1083" y="106"/>
                  </a:lnTo>
                  <a:lnTo>
                    <a:pt x="1078" y="103"/>
                  </a:lnTo>
                  <a:lnTo>
                    <a:pt x="1075" y="102"/>
                  </a:lnTo>
                  <a:lnTo>
                    <a:pt x="1072" y="103"/>
                  </a:lnTo>
                  <a:lnTo>
                    <a:pt x="1068" y="106"/>
                  </a:lnTo>
                  <a:lnTo>
                    <a:pt x="1068" y="106"/>
                  </a:lnTo>
                  <a:lnTo>
                    <a:pt x="1049" y="114"/>
                  </a:lnTo>
                  <a:lnTo>
                    <a:pt x="1049" y="114"/>
                  </a:lnTo>
                  <a:lnTo>
                    <a:pt x="1043" y="117"/>
                  </a:lnTo>
                  <a:lnTo>
                    <a:pt x="1038" y="119"/>
                  </a:lnTo>
                  <a:lnTo>
                    <a:pt x="1034" y="122"/>
                  </a:lnTo>
                  <a:lnTo>
                    <a:pt x="1031" y="128"/>
                  </a:lnTo>
                  <a:lnTo>
                    <a:pt x="1031" y="128"/>
                  </a:lnTo>
                  <a:close/>
                  <a:moveTo>
                    <a:pt x="939" y="185"/>
                  </a:moveTo>
                  <a:lnTo>
                    <a:pt x="939" y="185"/>
                  </a:lnTo>
                  <a:lnTo>
                    <a:pt x="942" y="182"/>
                  </a:lnTo>
                  <a:lnTo>
                    <a:pt x="942" y="180"/>
                  </a:lnTo>
                  <a:lnTo>
                    <a:pt x="941" y="177"/>
                  </a:lnTo>
                  <a:lnTo>
                    <a:pt x="938" y="176"/>
                  </a:lnTo>
                  <a:lnTo>
                    <a:pt x="938" y="176"/>
                  </a:lnTo>
                  <a:lnTo>
                    <a:pt x="923" y="174"/>
                  </a:lnTo>
                  <a:lnTo>
                    <a:pt x="909" y="171"/>
                  </a:lnTo>
                  <a:lnTo>
                    <a:pt x="909" y="171"/>
                  </a:lnTo>
                  <a:lnTo>
                    <a:pt x="895" y="173"/>
                  </a:lnTo>
                  <a:lnTo>
                    <a:pt x="878" y="177"/>
                  </a:lnTo>
                  <a:lnTo>
                    <a:pt x="878" y="177"/>
                  </a:lnTo>
                  <a:lnTo>
                    <a:pt x="874" y="179"/>
                  </a:lnTo>
                  <a:lnTo>
                    <a:pt x="871" y="183"/>
                  </a:lnTo>
                  <a:lnTo>
                    <a:pt x="868" y="188"/>
                  </a:lnTo>
                  <a:lnTo>
                    <a:pt x="864" y="192"/>
                  </a:lnTo>
                  <a:lnTo>
                    <a:pt x="864" y="192"/>
                  </a:lnTo>
                  <a:lnTo>
                    <a:pt x="859" y="195"/>
                  </a:lnTo>
                  <a:lnTo>
                    <a:pt x="852" y="198"/>
                  </a:lnTo>
                  <a:lnTo>
                    <a:pt x="846" y="198"/>
                  </a:lnTo>
                  <a:lnTo>
                    <a:pt x="840" y="198"/>
                  </a:lnTo>
                  <a:lnTo>
                    <a:pt x="840" y="198"/>
                  </a:lnTo>
                  <a:lnTo>
                    <a:pt x="834" y="198"/>
                  </a:lnTo>
                  <a:lnTo>
                    <a:pt x="828" y="195"/>
                  </a:lnTo>
                  <a:lnTo>
                    <a:pt x="822" y="192"/>
                  </a:lnTo>
                  <a:lnTo>
                    <a:pt x="818" y="191"/>
                  </a:lnTo>
                  <a:lnTo>
                    <a:pt x="818" y="191"/>
                  </a:lnTo>
                  <a:lnTo>
                    <a:pt x="815" y="191"/>
                  </a:lnTo>
                  <a:lnTo>
                    <a:pt x="813" y="192"/>
                  </a:lnTo>
                  <a:lnTo>
                    <a:pt x="809" y="196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1" y="207"/>
                  </a:lnTo>
                  <a:lnTo>
                    <a:pt x="801" y="210"/>
                  </a:lnTo>
                  <a:lnTo>
                    <a:pt x="803" y="216"/>
                  </a:lnTo>
                  <a:lnTo>
                    <a:pt x="803" y="216"/>
                  </a:lnTo>
                  <a:lnTo>
                    <a:pt x="804" y="220"/>
                  </a:lnTo>
                  <a:lnTo>
                    <a:pt x="809" y="225"/>
                  </a:lnTo>
                  <a:lnTo>
                    <a:pt x="822" y="234"/>
                  </a:lnTo>
                  <a:lnTo>
                    <a:pt x="822" y="234"/>
                  </a:lnTo>
                  <a:lnTo>
                    <a:pt x="826" y="238"/>
                  </a:lnTo>
                  <a:lnTo>
                    <a:pt x="828" y="241"/>
                  </a:lnTo>
                  <a:lnTo>
                    <a:pt x="828" y="245"/>
                  </a:lnTo>
                  <a:lnTo>
                    <a:pt x="826" y="248"/>
                  </a:lnTo>
                  <a:lnTo>
                    <a:pt x="826" y="248"/>
                  </a:lnTo>
                  <a:lnTo>
                    <a:pt x="825" y="251"/>
                  </a:lnTo>
                  <a:lnTo>
                    <a:pt x="822" y="253"/>
                  </a:lnTo>
                  <a:lnTo>
                    <a:pt x="818" y="253"/>
                  </a:lnTo>
                  <a:lnTo>
                    <a:pt x="818" y="253"/>
                  </a:lnTo>
                  <a:lnTo>
                    <a:pt x="815" y="251"/>
                  </a:lnTo>
                  <a:lnTo>
                    <a:pt x="812" y="248"/>
                  </a:lnTo>
                  <a:lnTo>
                    <a:pt x="809" y="247"/>
                  </a:lnTo>
                  <a:lnTo>
                    <a:pt x="806" y="245"/>
                  </a:lnTo>
                  <a:lnTo>
                    <a:pt x="806" y="245"/>
                  </a:lnTo>
                  <a:lnTo>
                    <a:pt x="801" y="245"/>
                  </a:lnTo>
                  <a:lnTo>
                    <a:pt x="795" y="242"/>
                  </a:lnTo>
                  <a:lnTo>
                    <a:pt x="795" y="242"/>
                  </a:lnTo>
                  <a:lnTo>
                    <a:pt x="789" y="238"/>
                  </a:lnTo>
                  <a:lnTo>
                    <a:pt x="784" y="236"/>
                  </a:lnTo>
                  <a:lnTo>
                    <a:pt x="779" y="236"/>
                  </a:lnTo>
                  <a:lnTo>
                    <a:pt x="779" y="236"/>
                  </a:lnTo>
                  <a:lnTo>
                    <a:pt x="775" y="235"/>
                  </a:lnTo>
                  <a:lnTo>
                    <a:pt x="770" y="234"/>
                  </a:lnTo>
                  <a:lnTo>
                    <a:pt x="766" y="232"/>
                  </a:lnTo>
                  <a:lnTo>
                    <a:pt x="760" y="231"/>
                  </a:lnTo>
                  <a:lnTo>
                    <a:pt x="760" y="231"/>
                  </a:lnTo>
                  <a:lnTo>
                    <a:pt x="752" y="229"/>
                  </a:lnTo>
                  <a:lnTo>
                    <a:pt x="748" y="229"/>
                  </a:lnTo>
                  <a:lnTo>
                    <a:pt x="745" y="231"/>
                  </a:lnTo>
                  <a:lnTo>
                    <a:pt x="744" y="232"/>
                  </a:lnTo>
                  <a:lnTo>
                    <a:pt x="744" y="232"/>
                  </a:lnTo>
                  <a:lnTo>
                    <a:pt x="738" y="239"/>
                  </a:lnTo>
                  <a:lnTo>
                    <a:pt x="733" y="244"/>
                  </a:lnTo>
                  <a:lnTo>
                    <a:pt x="732" y="248"/>
                  </a:lnTo>
                  <a:lnTo>
                    <a:pt x="732" y="248"/>
                  </a:lnTo>
                  <a:lnTo>
                    <a:pt x="733" y="251"/>
                  </a:lnTo>
                  <a:lnTo>
                    <a:pt x="735" y="254"/>
                  </a:lnTo>
                  <a:lnTo>
                    <a:pt x="738" y="256"/>
                  </a:lnTo>
                  <a:lnTo>
                    <a:pt x="738" y="260"/>
                  </a:lnTo>
                  <a:lnTo>
                    <a:pt x="738" y="260"/>
                  </a:lnTo>
                  <a:lnTo>
                    <a:pt x="735" y="263"/>
                  </a:lnTo>
                  <a:lnTo>
                    <a:pt x="732" y="266"/>
                  </a:lnTo>
                  <a:lnTo>
                    <a:pt x="729" y="271"/>
                  </a:lnTo>
                  <a:lnTo>
                    <a:pt x="727" y="275"/>
                  </a:lnTo>
                  <a:lnTo>
                    <a:pt x="727" y="275"/>
                  </a:lnTo>
                  <a:lnTo>
                    <a:pt x="727" y="279"/>
                  </a:lnTo>
                  <a:lnTo>
                    <a:pt x="727" y="282"/>
                  </a:lnTo>
                  <a:lnTo>
                    <a:pt x="735" y="284"/>
                  </a:lnTo>
                  <a:lnTo>
                    <a:pt x="735" y="284"/>
                  </a:lnTo>
                  <a:lnTo>
                    <a:pt x="741" y="285"/>
                  </a:lnTo>
                  <a:lnTo>
                    <a:pt x="742" y="287"/>
                  </a:lnTo>
                  <a:lnTo>
                    <a:pt x="742" y="288"/>
                  </a:lnTo>
                  <a:lnTo>
                    <a:pt x="742" y="288"/>
                  </a:lnTo>
                  <a:lnTo>
                    <a:pt x="741" y="290"/>
                  </a:lnTo>
                  <a:lnTo>
                    <a:pt x="738" y="293"/>
                  </a:lnTo>
                  <a:lnTo>
                    <a:pt x="735" y="296"/>
                  </a:lnTo>
                  <a:lnTo>
                    <a:pt x="733" y="297"/>
                  </a:lnTo>
                  <a:lnTo>
                    <a:pt x="733" y="297"/>
                  </a:lnTo>
                  <a:lnTo>
                    <a:pt x="733" y="299"/>
                  </a:lnTo>
                  <a:lnTo>
                    <a:pt x="735" y="302"/>
                  </a:lnTo>
                  <a:lnTo>
                    <a:pt x="738" y="305"/>
                  </a:lnTo>
                  <a:lnTo>
                    <a:pt x="742" y="308"/>
                  </a:lnTo>
                  <a:lnTo>
                    <a:pt x="742" y="308"/>
                  </a:lnTo>
                  <a:lnTo>
                    <a:pt x="748" y="312"/>
                  </a:lnTo>
                  <a:lnTo>
                    <a:pt x="749" y="316"/>
                  </a:lnTo>
                  <a:lnTo>
                    <a:pt x="749" y="327"/>
                  </a:lnTo>
                  <a:lnTo>
                    <a:pt x="749" y="327"/>
                  </a:lnTo>
                  <a:lnTo>
                    <a:pt x="751" y="331"/>
                  </a:lnTo>
                  <a:lnTo>
                    <a:pt x="752" y="336"/>
                  </a:lnTo>
                  <a:lnTo>
                    <a:pt x="760" y="343"/>
                  </a:lnTo>
                  <a:lnTo>
                    <a:pt x="760" y="343"/>
                  </a:lnTo>
                  <a:lnTo>
                    <a:pt x="766" y="348"/>
                  </a:lnTo>
                  <a:lnTo>
                    <a:pt x="773" y="352"/>
                  </a:lnTo>
                  <a:lnTo>
                    <a:pt x="789" y="356"/>
                  </a:lnTo>
                  <a:lnTo>
                    <a:pt x="789" y="356"/>
                  </a:lnTo>
                  <a:lnTo>
                    <a:pt x="797" y="359"/>
                  </a:lnTo>
                  <a:lnTo>
                    <a:pt x="804" y="362"/>
                  </a:lnTo>
                  <a:lnTo>
                    <a:pt x="816" y="370"/>
                  </a:lnTo>
                  <a:lnTo>
                    <a:pt x="816" y="370"/>
                  </a:lnTo>
                  <a:lnTo>
                    <a:pt x="825" y="373"/>
                  </a:lnTo>
                  <a:lnTo>
                    <a:pt x="829" y="373"/>
                  </a:lnTo>
                  <a:lnTo>
                    <a:pt x="834" y="373"/>
                  </a:lnTo>
                  <a:lnTo>
                    <a:pt x="834" y="373"/>
                  </a:lnTo>
                  <a:lnTo>
                    <a:pt x="840" y="370"/>
                  </a:lnTo>
                  <a:lnTo>
                    <a:pt x="852" y="370"/>
                  </a:lnTo>
                  <a:lnTo>
                    <a:pt x="852" y="370"/>
                  </a:lnTo>
                  <a:lnTo>
                    <a:pt x="858" y="370"/>
                  </a:lnTo>
                  <a:lnTo>
                    <a:pt x="859" y="368"/>
                  </a:lnTo>
                  <a:lnTo>
                    <a:pt x="859" y="367"/>
                  </a:lnTo>
                  <a:lnTo>
                    <a:pt x="859" y="356"/>
                  </a:lnTo>
                  <a:lnTo>
                    <a:pt x="859" y="356"/>
                  </a:lnTo>
                  <a:lnTo>
                    <a:pt x="858" y="353"/>
                  </a:lnTo>
                  <a:lnTo>
                    <a:pt x="856" y="349"/>
                  </a:lnTo>
                  <a:lnTo>
                    <a:pt x="852" y="343"/>
                  </a:lnTo>
                  <a:lnTo>
                    <a:pt x="846" y="337"/>
                  </a:lnTo>
                  <a:lnTo>
                    <a:pt x="846" y="337"/>
                  </a:lnTo>
                  <a:lnTo>
                    <a:pt x="846" y="333"/>
                  </a:lnTo>
                  <a:lnTo>
                    <a:pt x="847" y="330"/>
                  </a:lnTo>
                  <a:lnTo>
                    <a:pt x="852" y="327"/>
                  </a:lnTo>
                  <a:lnTo>
                    <a:pt x="855" y="327"/>
                  </a:lnTo>
                  <a:lnTo>
                    <a:pt x="855" y="327"/>
                  </a:lnTo>
                  <a:lnTo>
                    <a:pt x="859" y="328"/>
                  </a:lnTo>
                  <a:lnTo>
                    <a:pt x="861" y="331"/>
                  </a:lnTo>
                  <a:lnTo>
                    <a:pt x="864" y="336"/>
                  </a:lnTo>
                  <a:lnTo>
                    <a:pt x="865" y="339"/>
                  </a:lnTo>
                  <a:lnTo>
                    <a:pt x="865" y="339"/>
                  </a:lnTo>
                  <a:lnTo>
                    <a:pt x="866" y="340"/>
                  </a:lnTo>
                  <a:lnTo>
                    <a:pt x="869" y="339"/>
                  </a:lnTo>
                  <a:lnTo>
                    <a:pt x="874" y="334"/>
                  </a:lnTo>
                  <a:lnTo>
                    <a:pt x="880" y="324"/>
                  </a:lnTo>
                  <a:lnTo>
                    <a:pt x="880" y="324"/>
                  </a:lnTo>
                  <a:lnTo>
                    <a:pt x="886" y="315"/>
                  </a:lnTo>
                  <a:lnTo>
                    <a:pt x="889" y="311"/>
                  </a:lnTo>
                  <a:lnTo>
                    <a:pt x="890" y="305"/>
                  </a:lnTo>
                  <a:lnTo>
                    <a:pt x="890" y="305"/>
                  </a:lnTo>
                  <a:lnTo>
                    <a:pt x="890" y="300"/>
                  </a:lnTo>
                  <a:lnTo>
                    <a:pt x="892" y="297"/>
                  </a:lnTo>
                  <a:lnTo>
                    <a:pt x="898" y="291"/>
                  </a:lnTo>
                  <a:lnTo>
                    <a:pt x="898" y="291"/>
                  </a:lnTo>
                  <a:lnTo>
                    <a:pt x="899" y="290"/>
                  </a:lnTo>
                  <a:lnTo>
                    <a:pt x="901" y="290"/>
                  </a:lnTo>
                  <a:lnTo>
                    <a:pt x="903" y="293"/>
                  </a:lnTo>
                  <a:lnTo>
                    <a:pt x="903" y="293"/>
                  </a:lnTo>
                  <a:lnTo>
                    <a:pt x="905" y="294"/>
                  </a:lnTo>
                  <a:lnTo>
                    <a:pt x="908" y="296"/>
                  </a:lnTo>
                  <a:lnTo>
                    <a:pt x="920" y="296"/>
                  </a:lnTo>
                  <a:lnTo>
                    <a:pt x="920" y="296"/>
                  </a:lnTo>
                  <a:lnTo>
                    <a:pt x="924" y="296"/>
                  </a:lnTo>
                  <a:lnTo>
                    <a:pt x="927" y="294"/>
                  </a:lnTo>
                  <a:lnTo>
                    <a:pt x="927" y="291"/>
                  </a:lnTo>
                  <a:lnTo>
                    <a:pt x="927" y="288"/>
                  </a:lnTo>
                  <a:lnTo>
                    <a:pt x="927" y="288"/>
                  </a:lnTo>
                  <a:lnTo>
                    <a:pt x="927" y="282"/>
                  </a:lnTo>
                  <a:lnTo>
                    <a:pt x="929" y="279"/>
                  </a:lnTo>
                  <a:lnTo>
                    <a:pt x="930" y="278"/>
                  </a:lnTo>
                  <a:lnTo>
                    <a:pt x="930" y="278"/>
                  </a:lnTo>
                  <a:lnTo>
                    <a:pt x="936" y="273"/>
                  </a:lnTo>
                  <a:lnTo>
                    <a:pt x="939" y="271"/>
                  </a:lnTo>
                  <a:lnTo>
                    <a:pt x="939" y="266"/>
                  </a:lnTo>
                  <a:lnTo>
                    <a:pt x="939" y="266"/>
                  </a:lnTo>
                  <a:lnTo>
                    <a:pt x="939" y="263"/>
                  </a:lnTo>
                  <a:lnTo>
                    <a:pt x="936" y="263"/>
                  </a:lnTo>
                  <a:lnTo>
                    <a:pt x="929" y="263"/>
                  </a:lnTo>
                  <a:lnTo>
                    <a:pt x="929" y="263"/>
                  </a:lnTo>
                  <a:lnTo>
                    <a:pt x="923" y="265"/>
                  </a:lnTo>
                  <a:lnTo>
                    <a:pt x="918" y="266"/>
                  </a:lnTo>
                  <a:lnTo>
                    <a:pt x="914" y="269"/>
                  </a:lnTo>
                  <a:lnTo>
                    <a:pt x="908" y="269"/>
                  </a:lnTo>
                  <a:lnTo>
                    <a:pt x="908" y="269"/>
                  </a:lnTo>
                  <a:lnTo>
                    <a:pt x="905" y="269"/>
                  </a:lnTo>
                  <a:lnTo>
                    <a:pt x="901" y="268"/>
                  </a:lnTo>
                  <a:lnTo>
                    <a:pt x="892" y="262"/>
                  </a:lnTo>
                  <a:lnTo>
                    <a:pt x="878" y="250"/>
                  </a:lnTo>
                  <a:lnTo>
                    <a:pt x="878" y="250"/>
                  </a:lnTo>
                  <a:lnTo>
                    <a:pt x="872" y="244"/>
                  </a:lnTo>
                  <a:lnTo>
                    <a:pt x="869" y="235"/>
                  </a:lnTo>
                  <a:lnTo>
                    <a:pt x="865" y="225"/>
                  </a:lnTo>
                  <a:lnTo>
                    <a:pt x="864" y="213"/>
                  </a:lnTo>
                  <a:lnTo>
                    <a:pt x="864" y="213"/>
                  </a:lnTo>
                  <a:lnTo>
                    <a:pt x="865" y="205"/>
                  </a:lnTo>
                  <a:lnTo>
                    <a:pt x="868" y="201"/>
                  </a:lnTo>
                  <a:lnTo>
                    <a:pt x="872" y="198"/>
                  </a:lnTo>
                  <a:lnTo>
                    <a:pt x="877" y="198"/>
                  </a:lnTo>
                  <a:lnTo>
                    <a:pt x="877" y="198"/>
                  </a:lnTo>
                  <a:lnTo>
                    <a:pt x="880" y="198"/>
                  </a:lnTo>
                  <a:lnTo>
                    <a:pt x="881" y="201"/>
                  </a:lnTo>
                  <a:lnTo>
                    <a:pt x="883" y="204"/>
                  </a:lnTo>
                  <a:lnTo>
                    <a:pt x="883" y="207"/>
                  </a:lnTo>
                  <a:lnTo>
                    <a:pt x="883" y="207"/>
                  </a:lnTo>
                  <a:lnTo>
                    <a:pt x="883" y="220"/>
                  </a:lnTo>
                  <a:lnTo>
                    <a:pt x="883" y="228"/>
                  </a:lnTo>
                  <a:lnTo>
                    <a:pt x="884" y="234"/>
                  </a:lnTo>
                  <a:lnTo>
                    <a:pt x="884" y="234"/>
                  </a:lnTo>
                  <a:lnTo>
                    <a:pt x="887" y="238"/>
                  </a:lnTo>
                  <a:lnTo>
                    <a:pt x="893" y="244"/>
                  </a:lnTo>
                  <a:lnTo>
                    <a:pt x="905" y="254"/>
                  </a:lnTo>
                  <a:lnTo>
                    <a:pt x="905" y="254"/>
                  </a:lnTo>
                  <a:lnTo>
                    <a:pt x="911" y="256"/>
                  </a:lnTo>
                  <a:lnTo>
                    <a:pt x="918" y="256"/>
                  </a:lnTo>
                  <a:lnTo>
                    <a:pt x="932" y="251"/>
                  </a:lnTo>
                  <a:lnTo>
                    <a:pt x="932" y="251"/>
                  </a:lnTo>
                  <a:lnTo>
                    <a:pt x="935" y="250"/>
                  </a:lnTo>
                  <a:lnTo>
                    <a:pt x="939" y="245"/>
                  </a:lnTo>
                  <a:lnTo>
                    <a:pt x="943" y="236"/>
                  </a:lnTo>
                  <a:lnTo>
                    <a:pt x="943" y="236"/>
                  </a:lnTo>
                  <a:lnTo>
                    <a:pt x="948" y="226"/>
                  </a:lnTo>
                  <a:lnTo>
                    <a:pt x="951" y="220"/>
                  </a:lnTo>
                  <a:lnTo>
                    <a:pt x="952" y="214"/>
                  </a:lnTo>
                  <a:lnTo>
                    <a:pt x="952" y="214"/>
                  </a:lnTo>
                  <a:lnTo>
                    <a:pt x="952" y="211"/>
                  </a:lnTo>
                  <a:lnTo>
                    <a:pt x="951" y="210"/>
                  </a:lnTo>
                  <a:lnTo>
                    <a:pt x="946" y="207"/>
                  </a:lnTo>
                  <a:lnTo>
                    <a:pt x="936" y="201"/>
                  </a:lnTo>
                  <a:lnTo>
                    <a:pt x="936" y="201"/>
                  </a:lnTo>
                  <a:lnTo>
                    <a:pt x="935" y="199"/>
                  </a:lnTo>
                  <a:lnTo>
                    <a:pt x="933" y="198"/>
                  </a:lnTo>
                  <a:lnTo>
                    <a:pt x="935" y="194"/>
                  </a:lnTo>
                  <a:lnTo>
                    <a:pt x="936" y="189"/>
                  </a:lnTo>
                  <a:lnTo>
                    <a:pt x="939" y="185"/>
                  </a:lnTo>
                  <a:lnTo>
                    <a:pt x="939" y="185"/>
                  </a:lnTo>
                  <a:close/>
                  <a:moveTo>
                    <a:pt x="729" y="336"/>
                  </a:moveTo>
                  <a:lnTo>
                    <a:pt x="729" y="336"/>
                  </a:lnTo>
                  <a:lnTo>
                    <a:pt x="726" y="327"/>
                  </a:lnTo>
                  <a:lnTo>
                    <a:pt x="720" y="318"/>
                  </a:lnTo>
                  <a:lnTo>
                    <a:pt x="720" y="318"/>
                  </a:lnTo>
                  <a:lnTo>
                    <a:pt x="715" y="315"/>
                  </a:lnTo>
                  <a:lnTo>
                    <a:pt x="710" y="312"/>
                  </a:lnTo>
                  <a:lnTo>
                    <a:pt x="699" y="308"/>
                  </a:lnTo>
                  <a:lnTo>
                    <a:pt x="699" y="308"/>
                  </a:lnTo>
                  <a:lnTo>
                    <a:pt x="695" y="309"/>
                  </a:lnTo>
                  <a:lnTo>
                    <a:pt x="693" y="313"/>
                  </a:lnTo>
                  <a:lnTo>
                    <a:pt x="696" y="319"/>
                  </a:lnTo>
                  <a:lnTo>
                    <a:pt x="696" y="319"/>
                  </a:lnTo>
                  <a:lnTo>
                    <a:pt x="698" y="324"/>
                  </a:lnTo>
                  <a:lnTo>
                    <a:pt x="701" y="325"/>
                  </a:lnTo>
                  <a:lnTo>
                    <a:pt x="707" y="331"/>
                  </a:lnTo>
                  <a:lnTo>
                    <a:pt x="707" y="331"/>
                  </a:lnTo>
                  <a:lnTo>
                    <a:pt x="710" y="334"/>
                  </a:lnTo>
                  <a:lnTo>
                    <a:pt x="714" y="342"/>
                  </a:lnTo>
                  <a:lnTo>
                    <a:pt x="721" y="352"/>
                  </a:lnTo>
                  <a:lnTo>
                    <a:pt x="721" y="352"/>
                  </a:lnTo>
                  <a:lnTo>
                    <a:pt x="724" y="353"/>
                  </a:lnTo>
                  <a:lnTo>
                    <a:pt x="726" y="352"/>
                  </a:lnTo>
                  <a:lnTo>
                    <a:pt x="732" y="348"/>
                  </a:lnTo>
                  <a:lnTo>
                    <a:pt x="732" y="348"/>
                  </a:lnTo>
                  <a:lnTo>
                    <a:pt x="732" y="345"/>
                  </a:lnTo>
                  <a:lnTo>
                    <a:pt x="732" y="342"/>
                  </a:lnTo>
                  <a:lnTo>
                    <a:pt x="729" y="336"/>
                  </a:lnTo>
                  <a:lnTo>
                    <a:pt x="729" y="336"/>
                  </a:lnTo>
                  <a:close/>
                  <a:moveTo>
                    <a:pt x="804" y="459"/>
                  </a:moveTo>
                  <a:lnTo>
                    <a:pt x="804" y="459"/>
                  </a:lnTo>
                  <a:lnTo>
                    <a:pt x="792" y="457"/>
                  </a:lnTo>
                  <a:lnTo>
                    <a:pt x="788" y="457"/>
                  </a:lnTo>
                  <a:lnTo>
                    <a:pt x="787" y="459"/>
                  </a:lnTo>
                  <a:lnTo>
                    <a:pt x="787" y="460"/>
                  </a:lnTo>
                  <a:lnTo>
                    <a:pt x="787" y="460"/>
                  </a:lnTo>
                  <a:lnTo>
                    <a:pt x="789" y="463"/>
                  </a:lnTo>
                  <a:lnTo>
                    <a:pt x="794" y="468"/>
                  </a:lnTo>
                  <a:lnTo>
                    <a:pt x="804" y="473"/>
                  </a:lnTo>
                  <a:lnTo>
                    <a:pt x="804" y="473"/>
                  </a:lnTo>
                  <a:lnTo>
                    <a:pt x="813" y="479"/>
                  </a:lnTo>
                  <a:lnTo>
                    <a:pt x="818" y="481"/>
                  </a:lnTo>
                  <a:lnTo>
                    <a:pt x="822" y="479"/>
                  </a:lnTo>
                  <a:lnTo>
                    <a:pt x="822" y="479"/>
                  </a:lnTo>
                  <a:lnTo>
                    <a:pt x="825" y="478"/>
                  </a:lnTo>
                  <a:lnTo>
                    <a:pt x="825" y="476"/>
                  </a:lnTo>
                  <a:lnTo>
                    <a:pt x="819" y="469"/>
                  </a:lnTo>
                  <a:lnTo>
                    <a:pt x="819" y="469"/>
                  </a:lnTo>
                  <a:lnTo>
                    <a:pt x="816" y="466"/>
                  </a:lnTo>
                  <a:lnTo>
                    <a:pt x="810" y="462"/>
                  </a:lnTo>
                  <a:lnTo>
                    <a:pt x="804" y="459"/>
                  </a:lnTo>
                  <a:lnTo>
                    <a:pt x="804" y="459"/>
                  </a:lnTo>
                  <a:close/>
                  <a:moveTo>
                    <a:pt x="909" y="388"/>
                  </a:moveTo>
                  <a:lnTo>
                    <a:pt x="909" y="388"/>
                  </a:lnTo>
                  <a:lnTo>
                    <a:pt x="914" y="392"/>
                  </a:lnTo>
                  <a:lnTo>
                    <a:pt x="920" y="396"/>
                  </a:lnTo>
                  <a:lnTo>
                    <a:pt x="929" y="401"/>
                  </a:lnTo>
                  <a:lnTo>
                    <a:pt x="932" y="402"/>
                  </a:lnTo>
                  <a:lnTo>
                    <a:pt x="933" y="402"/>
                  </a:lnTo>
                  <a:lnTo>
                    <a:pt x="933" y="402"/>
                  </a:lnTo>
                  <a:lnTo>
                    <a:pt x="936" y="399"/>
                  </a:lnTo>
                  <a:lnTo>
                    <a:pt x="939" y="395"/>
                  </a:lnTo>
                  <a:lnTo>
                    <a:pt x="941" y="386"/>
                  </a:lnTo>
                  <a:lnTo>
                    <a:pt x="941" y="386"/>
                  </a:lnTo>
                  <a:lnTo>
                    <a:pt x="941" y="383"/>
                  </a:lnTo>
                  <a:lnTo>
                    <a:pt x="938" y="380"/>
                  </a:lnTo>
                  <a:lnTo>
                    <a:pt x="932" y="373"/>
                  </a:lnTo>
                  <a:lnTo>
                    <a:pt x="923" y="365"/>
                  </a:lnTo>
                  <a:lnTo>
                    <a:pt x="923" y="365"/>
                  </a:lnTo>
                  <a:lnTo>
                    <a:pt x="915" y="367"/>
                  </a:lnTo>
                  <a:lnTo>
                    <a:pt x="911" y="368"/>
                  </a:lnTo>
                  <a:lnTo>
                    <a:pt x="908" y="374"/>
                  </a:lnTo>
                  <a:lnTo>
                    <a:pt x="908" y="374"/>
                  </a:lnTo>
                  <a:lnTo>
                    <a:pt x="906" y="377"/>
                  </a:lnTo>
                  <a:lnTo>
                    <a:pt x="906" y="382"/>
                  </a:lnTo>
                  <a:lnTo>
                    <a:pt x="909" y="388"/>
                  </a:lnTo>
                  <a:lnTo>
                    <a:pt x="909" y="388"/>
                  </a:lnTo>
                  <a:close/>
                  <a:moveTo>
                    <a:pt x="958" y="388"/>
                  </a:moveTo>
                  <a:lnTo>
                    <a:pt x="958" y="388"/>
                  </a:lnTo>
                  <a:lnTo>
                    <a:pt x="954" y="395"/>
                  </a:lnTo>
                  <a:lnTo>
                    <a:pt x="951" y="401"/>
                  </a:lnTo>
                  <a:lnTo>
                    <a:pt x="951" y="401"/>
                  </a:lnTo>
                  <a:lnTo>
                    <a:pt x="951" y="405"/>
                  </a:lnTo>
                  <a:lnTo>
                    <a:pt x="951" y="411"/>
                  </a:lnTo>
                  <a:lnTo>
                    <a:pt x="952" y="416"/>
                  </a:lnTo>
                  <a:lnTo>
                    <a:pt x="955" y="420"/>
                  </a:lnTo>
                  <a:lnTo>
                    <a:pt x="955" y="420"/>
                  </a:lnTo>
                  <a:lnTo>
                    <a:pt x="958" y="426"/>
                  </a:lnTo>
                  <a:lnTo>
                    <a:pt x="961" y="433"/>
                  </a:lnTo>
                  <a:lnTo>
                    <a:pt x="963" y="441"/>
                  </a:lnTo>
                  <a:lnTo>
                    <a:pt x="963" y="445"/>
                  </a:lnTo>
                  <a:lnTo>
                    <a:pt x="963" y="445"/>
                  </a:lnTo>
                  <a:lnTo>
                    <a:pt x="961" y="451"/>
                  </a:lnTo>
                  <a:lnTo>
                    <a:pt x="958" y="456"/>
                  </a:lnTo>
                  <a:lnTo>
                    <a:pt x="955" y="460"/>
                  </a:lnTo>
                  <a:lnTo>
                    <a:pt x="954" y="463"/>
                  </a:lnTo>
                  <a:lnTo>
                    <a:pt x="954" y="463"/>
                  </a:lnTo>
                  <a:lnTo>
                    <a:pt x="955" y="465"/>
                  </a:lnTo>
                  <a:lnTo>
                    <a:pt x="958" y="465"/>
                  </a:lnTo>
                  <a:lnTo>
                    <a:pt x="966" y="463"/>
                  </a:lnTo>
                  <a:lnTo>
                    <a:pt x="966" y="463"/>
                  </a:lnTo>
                  <a:lnTo>
                    <a:pt x="970" y="460"/>
                  </a:lnTo>
                  <a:lnTo>
                    <a:pt x="975" y="456"/>
                  </a:lnTo>
                  <a:lnTo>
                    <a:pt x="979" y="451"/>
                  </a:lnTo>
                  <a:lnTo>
                    <a:pt x="986" y="447"/>
                  </a:lnTo>
                  <a:lnTo>
                    <a:pt x="986" y="447"/>
                  </a:lnTo>
                  <a:lnTo>
                    <a:pt x="1003" y="441"/>
                  </a:lnTo>
                  <a:lnTo>
                    <a:pt x="1012" y="438"/>
                  </a:lnTo>
                  <a:lnTo>
                    <a:pt x="1018" y="438"/>
                  </a:lnTo>
                  <a:lnTo>
                    <a:pt x="1018" y="438"/>
                  </a:lnTo>
                  <a:lnTo>
                    <a:pt x="1023" y="438"/>
                  </a:lnTo>
                  <a:lnTo>
                    <a:pt x="1028" y="435"/>
                  </a:lnTo>
                  <a:lnTo>
                    <a:pt x="1037" y="429"/>
                  </a:lnTo>
                  <a:lnTo>
                    <a:pt x="1037" y="429"/>
                  </a:lnTo>
                  <a:lnTo>
                    <a:pt x="1060" y="407"/>
                  </a:lnTo>
                  <a:lnTo>
                    <a:pt x="1060" y="407"/>
                  </a:lnTo>
                  <a:lnTo>
                    <a:pt x="1062" y="404"/>
                  </a:lnTo>
                  <a:lnTo>
                    <a:pt x="1059" y="401"/>
                  </a:lnTo>
                  <a:lnTo>
                    <a:pt x="1050" y="395"/>
                  </a:lnTo>
                  <a:lnTo>
                    <a:pt x="1050" y="395"/>
                  </a:lnTo>
                  <a:lnTo>
                    <a:pt x="1046" y="392"/>
                  </a:lnTo>
                  <a:lnTo>
                    <a:pt x="1041" y="388"/>
                  </a:lnTo>
                  <a:lnTo>
                    <a:pt x="1038" y="385"/>
                  </a:lnTo>
                  <a:lnTo>
                    <a:pt x="1032" y="380"/>
                  </a:lnTo>
                  <a:lnTo>
                    <a:pt x="1032" y="380"/>
                  </a:lnTo>
                  <a:lnTo>
                    <a:pt x="1028" y="377"/>
                  </a:lnTo>
                  <a:lnTo>
                    <a:pt x="1022" y="376"/>
                  </a:lnTo>
                  <a:lnTo>
                    <a:pt x="1004" y="374"/>
                  </a:lnTo>
                  <a:lnTo>
                    <a:pt x="986" y="376"/>
                  </a:lnTo>
                  <a:lnTo>
                    <a:pt x="975" y="377"/>
                  </a:lnTo>
                  <a:lnTo>
                    <a:pt x="975" y="377"/>
                  </a:lnTo>
                  <a:lnTo>
                    <a:pt x="969" y="379"/>
                  </a:lnTo>
                  <a:lnTo>
                    <a:pt x="963" y="383"/>
                  </a:lnTo>
                  <a:lnTo>
                    <a:pt x="958" y="388"/>
                  </a:lnTo>
                  <a:lnTo>
                    <a:pt x="958" y="388"/>
                  </a:lnTo>
                  <a:close/>
                  <a:moveTo>
                    <a:pt x="134" y="730"/>
                  </a:moveTo>
                  <a:lnTo>
                    <a:pt x="134" y="730"/>
                  </a:lnTo>
                  <a:lnTo>
                    <a:pt x="145" y="731"/>
                  </a:lnTo>
                  <a:lnTo>
                    <a:pt x="156" y="731"/>
                  </a:lnTo>
                  <a:lnTo>
                    <a:pt x="156" y="731"/>
                  </a:lnTo>
                  <a:lnTo>
                    <a:pt x="159" y="731"/>
                  </a:lnTo>
                  <a:lnTo>
                    <a:pt x="160" y="730"/>
                  </a:lnTo>
                  <a:lnTo>
                    <a:pt x="159" y="724"/>
                  </a:lnTo>
                  <a:lnTo>
                    <a:pt x="159" y="724"/>
                  </a:lnTo>
                  <a:lnTo>
                    <a:pt x="160" y="721"/>
                  </a:lnTo>
                  <a:lnTo>
                    <a:pt x="165" y="716"/>
                  </a:lnTo>
                  <a:lnTo>
                    <a:pt x="165" y="716"/>
                  </a:lnTo>
                  <a:lnTo>
                    <a:pt x="165" y="715"/>
                  </a:lnTo>
                  <a:lnTo>
                    <a:pt x="166" y="712"/>
                  </a:lnTo>
                  <a:lnTo>
                    <a:pt x="163" y="704"/>
                  </a:lnTo>
                  <a:lnTo>
                    <a:pt x="160" y="699"/>
                  </a:lnTo>
                  <a:lnTo>
                    <a:pt x="157" y="693"/>
                  </a:lnTo>
                  <a:lnTo>
                    <a:pt x="157" y="693"/>
                  </a:lnTo>
                  <a:lnTo>
                    <a:pt x="154" y="691"/>
                  </a:lnTo>
                  <a:lnTo>
                    <a:pt x="150" y="691"/>
                  </a:lnTo>
                  <a:lnTo>
                    <a:pt x="139" y="691"/>
                  </a:lnTo>
                  <a:lnTo>
                    <a:pt x="126" y="693"/>
                  </a:lnTo>
                  <a:lnTo>
                    <a:pt x="126" y="693"/>
                  </a:lnTo>
                  <a:lnTo>
                    <a:pt x="123" y="696"/>
                  </a:lnTo>
                  <a:lnTo>
                    <a:pt x="123" y="700"/>
                  </a:lnTo>
                  <a:lnTo>
                    <a:pt x="123" y="700"/>
                  </a:lnTo>
                  <a:lnTo>
                    <a:pt x="125" y="702"/>
                  </a:lnTo>
                  <a:lnTo>
                    <a:pt x="126" y="704"/>
                  </a:lnTo>
                  <a:lnTo>
                    <a:pt x="129" y="707"/>
                  </a:lnTo>
                  <a:lnTo>
                    <a:pt x="129" y="707"/>
                  </a:lnTo>
                  <a:lnTo>
                    <a:pt x="131" y="710"/>
                  </a:lnTo>
                  <a:lnTo>
                    <a:pt x="129" y="710"/>
                  </a:lnTo>
                  <a:lnTo>
                    <a:pt x="122" y="710"/>
                  </a:lnTo>
                  <a:lnTo>
                    <a:pt x="122" y="710"/>
                  </a:lnTo>
                  <a:lnTo>
                    <a:pt x="116" y="712"/>
                  </a:lnTo>
                  <a:lnTo>
                    <a:pt x="114" y="712"/>
                  </a:lnTo>
                  <a:lnTo>
                    <a:pt x="113" y="715"/>
                  </a:lnTo>
                  <a:lnTo>
                    <a:pt x="113" y="715"/>
                  </a:lnTo>
                  <a:lnTo>
                    <a:pt x="114" y="716"/>
                  </a:lnTo>
                  <a:lnTo>
                    <a:pt x="116" y="719"/>
                  </a:lnTo>
                  <a:lnTo>
                    <a:pt x="119" y="721"/>
                  </a:lnTo>
                  <a:lnTo>
                    <a:pt x="122" y="722"/>
                  </a:lnTo>
                  <a:lnTo>
                    <a:pt x="122" y="722"/>
                  </a:lnTo>
                  <a:lnTo>
                    <a:pt x="125" y="724"/>
                  </a:lnTo>
                  <a:lnTo>
                    <a:pt x="128" y="725"/>
                  </a:lnTo>
                  <a:lnTo>
                    <a:pt x="131" y="728"/>
                  </a:lnTo>
                  <a:lnTo>
                    <a:pt x="134" y="730"/>
                  </a:lnTo>
                  <a:lnTo>
                    <a:pt x="134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4" name="Freeform 33">
              <a:extLst>
                <a:ext uri="{FF2B5EF4-FFF2-40B4-BE49-F238E27FC236}">
                  <a16:creationId xmlns:a16="http://schemas.microsoft.com/office/drawing/2014/main" id="{9182B550-0702-ED4E-906B-FEEDABD19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9688" y="3233738"/>
              <a:ext cx="3221038" cy="3709987"/>
            </a:xfrm>
            <a:custGeom>
              <a:avLst/>
              <a:gdLst>
                <a:gd name="T0" fmla="*/ 936 w 2029"/>
                <a:gd name="T1" fmla="*/ 2321 h 2337"/>
                <a:gd name="T2" fmla="*/ 1130 w 2029"/>
                <a:gd name="T3" fmla="*/ 2320 h 2337"/>
                <a:gd name="T4" fmla="*/ 1318 w 2029"/>
                <a:gd name="T5" fmla="*/ 2326 h 2337"/>
                <a:gd name="T6" fmla="*/ 1481 w 2029"/>
                <a:gd name="T7" fmla="*/ 2269 h 2337"/>
                <a:gd name="T8" fmla="*/ 1622 w 2029"/>
                <a:gd name="T9" fmla="*/ 2179 h 2337"/>
                <a:gd name="T10" fmla="*/ 1620 w 2029"/>
                <a:gd name="T11" fmla="*/ 2046 h 2337"/>
                <a:gd name="T12" fmla="*/ 1530 w 2029"/>
                <a:gd name="T13" fmla="*/ 1927 h 2337"/>
                <a:gd name="T14" fmla="*/ 1549 w 2029"/>
                <a:gd name="T15" fmla="*/ 1809 h 2337"/>
                <a:gd name="T16" fmla="*/ 1669 w 2029"/>
                <a:gd name="T17" fmla="*/ 1674 h 2337"/>
                <a:gd name="T18" fmla="*/ 1782 w 2029"/>
                <a:gd name="T19" fmla="*/ 1586 h 2337"/>
                <a:gd name="T20" fmla="*/ 1697 w 2029"/>
                <a:gd name="T21" fmla="*/ 1427 h 2337"/>
                <a:gd name="T22" fmla="*/ 1712 w 2029"/>
                <a:gd name="T23" fmla="*/ 1237 h 2337"/>
                <a:gd name="T24" fmla="*/ 1839 w 2029"/>
                <a:gd name="T25" fmla="*/ 1200 h 2337"/>
                <a:gd name="T26" fmla="*/ 1896 w 2029"/>
                <a:gd name="T27" fmla="*/ 1187 h 2337"/>
                <a:gd name="T28" fmla="*/ 1805 w 2029"/>
                <a:gd name="T29" fmla="*/ 964 h 2337"/>
                <a:gd name="T30" fmla="*/ 1866 w 2029"/>
                <a:gd name="T31" fmla="*/ 868 h 2337"/>
                <a:gd name="T32" fmla="*/ 1921 w 2029"/>
                <a:gd name="T33" fmla="*/ 779 h 2337"/>
                <a:gd name="T34" fmla="*/ 1986 w 2029"/>
                <a:gd name="T35" fmla="*/ 705 h 2337"/>
                <a:gd name="T36" fmla="*/ 1950 w 2029"/>
                <a:gd name="T37" fmla="*/ 588 h 2337"/>
                <a:gd name="T38" fmla="*/ 1913 w 2029"/>
                <a:gd name="T39" fmla="*/ 480 h 2337"/>
                <a:gd name="T40" fmla="*/ 2017 w 2029"/>
                <a:gd name="T41" fmla="*/ 378 h 2337"/>
                <a:gd name="T42" fmla="*/ 1881 w 2029"/>
                <a:gd name="T43" fmla="*/ 258 h 2337"/>
                <a:gd name="T44" fmla="*/ 1931 w 2029"/>
                <a:gd name="T45" fmla="*/ 82 h 2337"/>
                <a:gd name="T46" fmla="*/ 1807 w 2029"/>
                <a:gd name="T47" fmla="*/ 43 h 2337"/>
                <a:gd name="T48" fmla="*/ 1727 w 2029"/>
                <a:gd name="T49" fmla="*/ 70 h 2337"/>
                <a:gd name="T50" fmla="*/ 1425 w 2029"/>
                <a:gd name="T51" fmla="*/ 199 h 2337"/>
                <a:gd name="T52" fmla="*/ 1318 w 2029"/>
                <a:gd name="T53" fmla="*/ 191 h 2337"/>
                <a:gd name="T54" fmla="*/ 1207 w 2029"/>
                <a:gd name="T55" fmla="*/ 329 h 2337"/>
                <a:gd name="T56" fmla="*/ 1152 w 2029"/>
                <a:gd name="T57" fmla="*/ 305 h 2337"/>
                <a:gd name="T58" fmla="*/ 1012 w 2029"/>
                <a:gd name="T59" fmla="*/ 322 h 2337"/>
                <a:gd name="T60" fmla="*/ 1044 w 2029"/>
                <a:gd name="T61" fmla="*/ 376 h 2337"/>
                <a:gd name="T62" fmla="*/ 1037 w 2029"/>
                <a:gd name="T63" fmla="*/ 479 h 2337"/>
                <a:gd name="T64" fmla="*/ 920 w 2029"/>
                <a:gd name="T65" fmla="*/ 587 h 2337"/>
                <a:gd name="T66" fmla="*/ 853 w 2029"/>
                <a:gd name="T67" fmla="*/ 692 h 2337"/>
                <a:gd name="T68" fmla="*/ 718 w 2029"/>
                <a:gd name="T69" fmla="*/ 622 h 2337"/>
                <a:gd name="T70" fmla="*/ 698 w 2029"/>
                <a:gd name="T71" fmla="*/ 554 h 2337"/>
                <a:gd name="T72" fmla="*/ 630 w 2029"/>
                <a:gd name="T73" fmla="*/ 483 h 2337"/>
                <a:gd name="T74" fmla="*/ 492 w 2029"/>
                <a:gd name="T75" fmla="*/ 520 h 2337"/>
                <a:gd name="T76" fmla="*/ 400 w 2029"/>
                <a:gd name="T77" fmla="*/ 628 h 2337"/>
                <a:gd name="T78" fmla="*/ 200 w 2029"/>
                <a:gd name="T79" fmla="*/ 633 h 2337"/>
                <a:gd name="T80" fmla="*/ 141 w 2029"/>
                <a:gd name="T81" fmla="*/ 618 h 2337"/>
                <a:gd name="T82" fmla="*/ 102 w 2029"/>
                <a:gd name="T83" fmla="*/ 616 h 2337"/>
                <a:gd name="T84" fmla="*/ 129 w 2029"/>
                <a:gd name="T85" fmla="*/ 729 h 2337"/>
                <a:gd name="T86" fmla="*/ 196 w 2029"/>
                <a:gd name="T87" fmla="*/ 865 h 2337"/>
                <a:gd name="T88" fmla="*/ 141 w 2029"/>
                <a:gd name="T89" fmla="*/ 964 h 2337"/>
                <a:gd name="T90" fmla="*/ 113 w 2029"/>
                <a:gd name="T91" fmla="*/ 1055 h 2337"/>
                <a:gd name="T92" fmla="*/ 42 w 2029"/>
                <a:gd name="T93" fmla="*/ 1210 h 2337"/>
                <a:gd name="T94" fmla="*/ 22 w 2029"/>
                <a:gd name="T95" fmla="*/ 1397 h 2337"/>
                <a:gd name="T96" fmla="*/ 79 w 2029"/>
                <a:gd name="T97" fmla="*/ 1546 h 2337"/>
                <a:gd name="T98" fmla="*/ 34 w 2029"/>
                <a:gd name="T99" fmla="*/ 1659 h 2337"/>
                <a:gd name="T100" fmla="*/ 129 w 2029"/>
                <a:gd name="T101" fmla="*/ 1678 h 2337"/>
                <a:gd name="T102" fmla="*/ 166 w 2029"/>
                <a:gd name="T103" fmla="*/ 1723 h 2337"/>
                <a:gd name="T104" fmla="*/ 236 w 2029"/>
                <a:gd name="T105" fmla="*/ 1838 h 2337"/>
                <a:gd name="T106" fmla="*/ 273 w 2029"/>
                <a:gd name="T107" fmla="*/ 1977 h 2337"/>
                <a:gd name="T108" fmla="*/ 313 w 2029"/>
                <a:gd name="T109" fmla="*/ 2069 h 2337"/>
                <a:gd name="T110" fmla="*/ 301 w 2029"/>
                <a:gd name="T111" fmla="*/ 2226 h 2337"/>
                <a:gd name="T112" fmla="*/ 403 w 2029"/>
                <a:gd name="T113" fmla="*/ 2198 h 2337"/>
                <a:gd name="T114" fmla="*/ 492 w 2029"/>
                <a:gd name="T115" fmla="*/ 2203 h 2337"/>
                <a:gd name="T116" fmla="*/ 542 w 2029"/>
                <a:gd name="T117" fmla="*/ 2108 h 2337"/>
                <a:gd name="T118" fmla="*/ 655 w 2029"/>
                <a:gd name="T119" fmla="*/ 2016 h 2337"/>
                <a:gd name="T120" fmla="*/ 744 w 2029"/>
                <a:gd name="T121" fmla="*/ 2089 h 2337"/>
                <a:gd name="T122" fmla="*/ 822 w 2029"/>
                <a:gd name="T123" fmla="*/ 2140 h 2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9" h="2337">
                  <a:moveTo>
                    <a:pt x="866" y="2204"/>
                  </a:moveTo>
                  <a:lnTo>
                    <a:pt x="866" y="2204"/>
                  </a:lnTo>
                  <a:lnTo>
                    <a:pt x="872" y="2213"/>
                  </a:lnTo>
                  <a:lnTo>
                    <a:pt x="875" y="2222"/>
                  </a:lnTo>
                  <a:lnTo>
                    <a:pt x="877" y="2228"/>
                  </a:lnTo>
                  <a:lnTo>
                    <a:pt x="877" y="2235"/>
                  </a:lnTo>
                  <a:lnTo>
                    <a:pt x="877" y="2235"/>
                  </a:lnTo>
                  <a:lnTo>
                    <a:pt x="878" y="2246"/>
                  </a:lnTo>
                  <a:lnTo>
                    <a:pt x="881" y="2253"/>
                  </a:lnTo>
                  <a:lnTo>
                    <a:pt x="889" y="2266"/>
                  </a:lnTo>
                  <a:lnTo>
                    <a:pt x="889" y="2266"/>
                  </a:lnTo>
                  <a:lnTo>
                    <a:pt x="895" y="2277"/>
                  </a:lnTo>
                  <a:lnTo>
                    <a:pt x="896" y="2278"/>
                  </a:lnTo>
                  <a:lnTo>
                    <a:pt x="898" y="2277"/>
                  </a:lnTo>
                  <a:lnTo>
                    <a:pt x="898" y="2277"/>
                  </a:lnTo>
                  <a:lnTo>
                    <a:pt x="898" y="2272"/>
                  </a:lnTo>
                  <a:lnTo>
                    <a:pt x="899" y="2268"/>
                  </a:lnTo>
                  <a:lnTo>
                    <a:pt x="899" y="2265"/>
                  </a:lnTo>
                  <a:lnTo>
                    <a:pt x="901" y="2263"/>
                  </a:lnTo>
                  <a:lnTo>
                    <a:pt x="902" y="2265"/>
                  </a:lnTo>
                  <a:lnTo>
                    <a:pt x="902" y="2265"/>
                  </a:lnTo>
                  <a:lnTo>
                    <a:pt x="905" y="2266"/>
                  </a:lnTo>
                  <a:lnTo>
                    <a:pt x="906" y="2269"/>
                  </a:lnTo>
                  <a:lnTo>
                    <a:pt x="908" y="2275"/>
                  </a:lnTo>
                  <a:lnTo>
                    <a:pt x="911" y="2283"/>
                  </a:lnTo>
                  <a:lnTo>
                    <a:pt x="911" y="2283"/>
                  </a:lnTo>
                  <a:lnTo>
                    <a:pt x="915" y="2293"/>
                  </a:lnTo>
                  <a:lnTo>
                    <a:pt x="924" y="2302"/>
                  </a:lnTo>
                  <a:lnTo>
                    <a:pt x="924" y="2302"/>
                  </a:lnTo>
                  <a:lnTo>
                    <a:pt x="930" y="2311"/>
                  </a:lnTo>
                  <a:lnTo>
                    <a:pt x="933" y="2315"/>
                  </a:lnTo>
                  <a:lnTo>
                    <a:pt x="935" y="2318"/>
                  </a:lnTo>
                  <a:lnTo>
                    <a:pt x="936" y="2321"/>
                  </a:lnTo>
                  <a:lnTo>
                    <a:pt x="936" y="2321"/>
                  </a:lnTo>
                  <a:lnTo>
                    <a:pt x="939" y="2324"/>
                  </a:lnTo>
                  <a:lnTo>
                    <a:pt x="943" y="2326"/>
                  </a:lnTo>
                  <a:lnTo>
                    <a:pt x="946" y="2327"/>
                  </a:lnTo>
                  <a:lnTo>
                    <a:pt x="949" y="2330"/>
                  </a:lnTo>
                  <a:lnTo>
                    <a:pt x="949" y="2330"/>
                  </a:lnTo>
                  <a:lnTo>
                    <a:pt x="972" y="2312"/>
                  </a:lnTo>
                  <a:lnTo>
                    <a:pt x="972" y="2312"/>
                  </a:lnTo>
                  <a:lnTo>
                    <a:pt x="980" y="2302"/>
                  </a:lnTo>
                  <a:lnTo>
                    <a:pt x="986" y="2297"/>
                  </a:lnTo>
                  <a:lnTo>
                    <a:pt x="994" y="2294"/>
                  </a:lnTo>
                  <a:lnTo>
                    <a:pt x="994" y="2294"/>
                  </a:lnTo>
                  <a:lnTo>
                    <a:pt x="1013" y="2288"/>
                  </a:lnTo>
                  <a:lnTo>
                    <a:pt x="1023" y="2287"/>
                  </a:lnTo>
                  <a:lnTo>
                    <a:pt x="1034" y="2287"/>
                  </a:lnTo>
                  <a:lnTo>
                    <a:pt x="1034" y="2287"/>
                  </a:lnTo>
                  <a:lnTo>
                    <a:pt x="1041" y="2288"/>
                  </a:lnTo>
                  <a:lnTo>
                    <a:pt x="1046" y="2290"/>
                  </a:lnTo>
                  <a:lnTo>
                    <a:pt x="1052" y="2296"/>
                  </a:lnTo>
                  <a:lnTo>
                    <a:pt x="1052" y="2296"/>
                  </a:lnTo>
                  <a:lnTo>
                    <a:pt x="1056" y="2300"/>
                  </a:lnTo>
                  <a:lnTo>
                    <a:pt x="1060" y="2303"/>
                  </a:lnTo>
                  <a:lnTo>
                    <a:pt x="1065" y="2303"/>
                  </a:lnTo>
                  <a:lnTo>
                    <a:pt x="1074" y="2303"/>
                  </a:lnTo>
                  <a:lnTo>
                    <a:pt x="1074" y="2303"/>
                  </a:lnTo>
                  <a:lnTo>
                    <a:pt x="1081" y="2303"/>
                  </a:lnTo>
                  <a:lnTo>
                    <a:pt x="1086" y="2303"/>
                  </a:lnTo>
                  <a:lnTo>
                    <a:pt x="1092" y="2306"/>
                  </a:lnTo>
                  <a:lnTo>
                    <a:pt x="1099" y="2311"/>
                  </a:lnTo>
                  <a:lnTo>
                    <a:pt x="1099" y="2311"/>
                  </a:lnTo>
                  <a:lnTo>
                    <a:pt x="1109" y="2317"/>
                  </a:lnTo>
                  <a:lnTo>
                    <a:pt x="1118" y="2321"/>
                  </a:lnTo>
                  <a:lnTo>
                    <a:pt x="1126" y="2323"/>
                  </a:lnTo>
                  <a:lnTo>
                    <a:pt x="1129" y="2321"/>
                  </a:lnTo>
                  <a:lnTo>
                    <a:pt x="1130" y="2320"/>
                  </a:lnTo>
                  <a:lnTo>
                    <a:pt x="1130" y="2320"/>
                  </a:lnTo>
                  <a:lnTo>
                    <a:pt x="1132" y="2314"/>
                  </a:lnTo>
                  <a:lnTo>
                    <a:pt x="1132" y="2309"/>
                  </a:lnTo>
                  <a:lnTo>
                    <a:pt x="1133" y="2306"/>
                  </a:lnTo>
                  <a:lnTo>
                    <a:pt x="1136" y="2305"/>
                  </a:lnTo>
                  <a:lnTo>
                    <a:pt x="1137" y="2305"/>
                  </a:lnTo>
                  <a:lnTo>
                    <a:pt x="1137" y="2305"/>
                  </a:lnTo>
                  <a:lnTo>
                    <a:pt x="1146" y="2309"/>
                  </a:lnTo>
                  <a:lnTo>
                    <a:pt x="1151" y="2311"/>
                  </a:lnTo>
                  <a:lnTo>
                    <a:pt x="1157" y="2311"/>
                  </a:lnTo>
                  <a:lnTo>
                    <a:pt x="1157" y="2311"/>
                  </a:lnTo>
                  <a:lnTo>
                    <a:pt x="1166" y="2311"/>
                  </a:lnTo>
                  <a:lnTo>
                    <a:pt x="1176" y="2308"/>
                  </a:lnTo>
                  <a:lnTo>
                    <a:pt x="1192" y="2303"/>
                  </a:lnTo>
                  <a:lnTo>
                    <a:pt x="1192" y="2303"/>
                  </a:lnTo>
                  <a:lnTo>
                    <a:pt x="1195" y="2303"/>
                  </a:lnTo>
                  <a:lnTo>
                    <a:pt x="1201" y="2306"/>
                  </a:lnTo>
                  <a:lnTo>
                    <a:pt x="1214" y="2314"/>
                  </a:lnTo>
                  <a:lnTo>
                    <a:pt x="1214" y="2314"/>
                  </a:lnTo>
                  <a:lnTo>
                    <a:pt x="1222" y="2317"/>
                  </a:lnTo>
                  <a:lnTo>
                    <a:pt x="1226" y="2320"/>
                  </a:lnTo>
                  <a:lnTo>
                    <a:pt x="1238" y="2328"/>
                  </a:lnTo>
                  <a:lnTo>
                    <a:pt x="1238" y="2328"/>
                  </a:lnTo>
                  <a:lnTo>
                    <a:pt x="1247" y="2333"/>
                  </a:lnTo>
                  <a:lnTo>
                    <a:pt x="1256" y="2336"/>
                  </a:lnTo>
                  <a:lnTo>
                    <a:pt x="1263" y="2337"/>
                  </a:lnTo>
                  <a:lnTo>
                    <a:pt x="1268" y="2337"/>
                  </a:lnTo>
                  <a:lnTo>
                    <a:pt x="1268" y="2337"/>
                  </a:lnTo>
                  <a:lnTo>
                    <a:pt x="1296" y="2328"/>
                  </a:lnTo>
                  <a:lnTo>
                    <a:pt x="1296" y="2328"/>
                  </a:lnTo>
                  <a:lnTo>
                    <a:pt x="1302" y="2327"/>
                  </a:lnTo>
                  <a:lnTo>
                    <a:pt x="1308" y="2327"/>
                  </a:lnTo>
                  <a:lnTo>
                    <a:pt x="1314" y="2327"/>
                  </a:lnTo>
                  <a:lnTo>
                    <a:pt x="1318" y="2326"/>
                  </a:lnTo>
                  <a:lnTo>
                    <a:pt x="1318" y="2326"/>
                  </a:lnTo>
                  <a:lnTo>
                    <a:pt x="1326" y="2320"/>
                  </a:lnTo>
                  <a:lnTo>
                    <a:pt x="1330" y="2317"/>
                  </a:lnTo>
                  <a:lnTo>
                    <a:pt x="1336" y="2315"/>
                  </a:lnTo>
                  <a:lnTo>
                    <a:pt x="1336" y="2315"/>
                  </a:lnTo>
                  <a:lnTo>
                    <a:pt x="1343" y="2317"/>
                  </a:lnTo>
                  <a:lnTo>
                    <a:pt x="1349" y="2318"/>
                  </a:lnTo>
                  <a:lnTo>
                    <a:pt x="1361" y="2323"/>
                  </a:lnTo>
                  <a:lnTo>
                    <a:pt x="1361" y="2323"/>
                  </a:lnTo>
                  <a:lnTo>
                    <a:pt x="1364" y="2324"/>
                  </a:lnTo>
                  <a:lnTo>
                    <a:pt x="1367" y="2323"/>
                  </a:lnTo>
                  <a:lnTo>
                    <a:pt x="1376" y="2320"/>
                  </a:lnTo>
                  <a:lnTo>
                    <a:pt x="1392" y="2309"/>
                  </a:lnTo>
                  <a:lnTo>
                    <a:pt x="1392" y="2309"/>
                  </a:lnTo>
                  <a:lnTo>
                    <a:pt x="1404" y="2303"/>
                  </a:lnTo>
                  <a:lnTo>
                    <a:pt x="1411" y="2299"/>
                  </a:lnTo>
                  <a:lnTo>
                    <a:pt x="1411" y="2299"/>
                  </a:lnTo>
                  <a:lnTo>
                    <a:pt x="1416" y="2296"/>
                  </a:lnTo>
                  <a:lnTo>
                    <a:pt x="1420" y="2294"/>
                  </a:lnTo>
                  <a:lnTo>
                    <a:pt x="1432" y="2293"/>
                  </a:lnTo>
                  <a:lnTo>
                    <a:pt x="1432" y="2293"/>
                  </a:lnTo>
                  <a:lnTo>
                    <a:pt x="1440" y="2293"/>
                  </a:lnTo>
                  <a:lnTo>
                    <a:pt x="1441" y="2291"/>
                  </a:lnTo>
                  <a:lnTo>
                    <a:pt x="1442" y="2288"/>
                  </a:lnTo>
                  <a:lnTo>
                    <a:pt x="1442" y="2288"/>
                  </a:lnTo>
                  <a:lnTo>
                    <a:pt x="1444" y="2284"/>
                  </a:lnTo>
                  <a:lnTo>
                    <a:pt x="1450" y="2280"/>
                  </a:lnTo>
                  <a:lnTo>
                    <a:pt x="1456" y="2278"/>
                  </a:lnTo>
                  <a:lnTo>
                    <a:pt x="1460" y="2277"/>
                  </a:lnTo>
                  <a:lnTo>
                    <a:pt x="1460" y="2277"/>
                  </a:lnTo>
                  <a:lnTo>
                    <a:pt x="1465" y="2278"/>
                  </a:lnTo>
                  <a:lnTo>
                    <a:pt x="1469" y="2277"/>
                  </a:lnTo>
                  <a:lnTo>
                    <a:pt x="1475" y="2274"/>
                  </a:lnTo>
                  <a:lnTo>
                    <a:pt x="1481" y="2269"/>
                  </a:lnTo>
                  <a:lnTo>
                    <a:pt x="1481" y="2269"/>
                  </a:lnTo>
                  <a:lnTo>
                    <a:pt x="1482" y="2268"/>
                  </a:lnTo>
                  <a:lnTo>
                    <a:pt x="1485" y="2266"/>
                  </a:lnTo>
                  <a:lnTo>
                    <a:pt x="1493" y="2266"/>
                  </a:lnTo>
                  <a:lnTo>
                    <a:pt x="1502" y="2268"/>
                  </a:lnTo>
                  <a:lnTo>
                    <a:pt x="1514" y="2268"/>
                  </a:lnTo>
                  <a:lnTo>
                    <a:pt x="1514" y="2268"/>
                  </a:lnTo>
                  <a:lnTo>
                    <a:pt x="1533" y="2266"/>
                  </a:lnTo>
                  <a:lnTo>
                    <a:pt x="1534" y="2265"/>
                  </a:lnTo>
                  <a:lnTo>
                    <a:pt x="1536" y="2263"/>
                  </a:lnTo>
                  <a:lnTo>
                    <a:pt x="1537" y="2260"/>
                  </a:lnTo>
                  <a:lnTo>
                    <a:pt x="1536" y="2257"/>
                  </a:lnTo>
                  <a:lnTo>
                    <a:pt x="1536" y="2257"/>
                  </a:lnTo>
                  <a:lnTo>
                    <a:pt x="1534" y="2250"/>
                  </a:lnTo>
                  <a:lnTo>
                    <a:pt x="1534" y="2244"/>
                  </a:lnTo>
                  <a:lnTo>
                    <a:pt x="1537" y="2238"/>
                  </a:lnTo>
                  <a:lnTo>
                    <a:pt x="1545" y="2232"/>
                  </a:lnTo>
                  <a:lnTo>
                    <a:pt x="1545" y="2232"/>
                  </a:lnTo>
                  <a:lnTo>
                    <a:pt x="1565" y="2219"/>
                  </a:lnTo>
                  <a:lnTo>
                    <a:pt x="1574" y="2214"/>
                  </a:lnTo>
                  <a:lnTo>
                    <a:pt x="1582" y="2211"/>
                  </a:lnTo>
                  <a:lnTo>
                    <a:pt x="1582" y="2211"/>
                  </a:lnTo>
                  <a:lnTo>
                    <a:pt x="1589" y="2210"/>
                  </a:lnTo>
                  <a:lnTo>
                    <a:pt x="1592" y="2210"/>
                  </a:lnTo>
                  <a:lnTo>
                    <a:pt x="1596" y="2207"/>
                  </a:lnTo>
                  <a:lnTo>
                    <a:pt x="1596" y="2207"/>
                  </a:lnTo>
                  <a:lnTo>
                    <a:pt x="1610" y="2198"/>
                  </a:lnTo>
                  <a:lnTo>
                    <a:pt x="1617" y="2195"/>
                  </a:lnTo>
                  <a:lnTo>
                    <a:pt x="1625" y="2194"/>
                  </a:lnTo>
                  <a:lnTo>
                    <a:pt x="1625" y="2194"/>
                  </a:lnTo>
                  <a:lnTo>
                    <a:pt x="1629" y="2194"/>
                  </a:lnTo>
                  <a:lnTo>
                    <a:pt x="1629" y="2194"/>
                  </a:lnTo>
                  <a:lnTo>
                    <a:pt x="1628" y="2189"/>
                  </a:lnTo>
                  <a:lnTo>
                    <a:pt x="1622" y="2179"/>
                  </a:lnTo>
                  <a:lnTo>
                    <a:pt x="1622" y="2179"/>
                  </a:lnTo>
                  <a:lnTo>
                    <a:pt x="1620" y="2174"/>
                  </a:lnTo>
                  <a:lnTo>
                    <a:pt x="1619" y="2170"/>
                  </a:lnTo>
                  <a:lnTo>
                    <a:pt x="1617" y="2167"/>
                  </a:lnTo>
                  <a:lnTo>
                    <a:pt x="1616" y="2163"/>
                  </a:lnTo>
                  <a:lnTo>
                    <a:pt x="1616" y="2163"/>
                  </a:lnTo>
                  <a:lnTo>
                    <a:pt x="1611" y="2157"/>
                  </a:lnTo>
                  <a:lnTo>
                    <a:pt x="1608" y="2149"/>
                  </a:lnTo>
                  <a:lnTo>
                    <a:pt x="1607" y="2140"/>
                  </a:lnTo>
                  <a:lnTo>
                    <a:pt x="1607" y="2137"/>
                  </a:lnTo>
                  <a:lnTo>
                    <a:pt x="1608" y="2136"/>
                  </a:lnTo>
                  <a:lnTo>
                    <a:pt x="1608" y="2136"/>
                  </a:lnTo>
                  <a:lnTo>
                    <a:pt x="1611" y="2133"/>
                  </a:lnTo>
                  <a:lnTo>
                    <a:pt x="1613" y="2129"/>
                  </a:lnTo>
                  <a:lnTo>
                    <a:pt x="1613" y="2115"/>
                  </a:lnTo>
                  <a:lnTo>
                    <a:pt x="1613" y="2115"/>
                  </a:lnTo>
                  <a:lnTo>
                    <a:pt x="1614" y="2109"/>
                  </a:lnTo>
                  <a:lnTo>
                    <a:pt x="1616" y="2103"/>
                  </a:lnTo>
                  <a:lnTo>
                    <a:pt x="1620" y="2097"/>
                  </a:lnTo>
                  <a:lnTo>
                    <a:pt x="1625" y="2092"/>
                  </a:lnTo>
                  <a:lnTo>
                    <a:pt x="1625" y="2092"/>
                  </a:lnTo>
                  <a:lnTo>
                    <a:pt x="1635" y="2084"/>
                  </a:lnTo>
                  <a:lnTo>
                    <a:pt x="1636" y="2081"/>
                  </a:lnTo>
                  <a:lnTo>
                    <a:pt x="1636" y="2077"/>
                  </a:lnTo>
                  <a:lnTo>
                    <a:pt x="1636" y="2077"/>
                  </a:lnTo>
                  <a:lnTo>
                    <a:pt x="1634" y="2074"/>
                  </a:lnTo>
                  <a:lnTo>
                    <a:pt x="1631" y="2071"/>
                  </a:lnTo>
                  <a:lnTo>
                    <a:pt x="1629" y="2069"/>
                  </a:lnTo>
                  <a:lnTo>
                    <a:pt x="1626" y="2066"/>
                  </a:lnTo>
                  <a:lnTo>
                    <a:pt x="1626" y="2066"/>
                  </a:lnTo>
                  <a:lnTo>
                    <a:pt x="1626" y="2059"/>
                  </a:lnTo>
                  <a:lnTo>
                    <a:pt x="1625" y="2054"/>
                  </a:lnTo>
                  <a:lnTo>
                    <a:pt x="1623" y="2050"/>
                  </a:lnTo>
                  <a:lnTo>
                    <a:pt x="1620" y="2046"/>
                  </a:lnTo>
                  <a:lnTo>
                    <a:pt x="1616" y="2041"/>
                  </a:lnTo>
                  <a:lnTo>
                    <a:pt x="1608" y="2037"/>
                  </a:lnTo>
                  <a:lnTo>
                    <a:pt x="1598" y="2034"/>
                  </a:lnTo>
                  <a:lnTo>
                    <a:pt x="1598" y="2034"/>
                  </a:lnTo>
                  <a:lnTo>
                    <a:pt x="1577" y="2029"/>
                  </a:lnTo>
                  <a:lnTo>
                    <a:pt x="1564" y="2023"/>
                  </a:lnTo>
                  <a:lnTo>
                    <a:pt x="1558" y="2019"/>
                  </a:lnTo>
                  <a:lnTo>
                    <a:pt x="1557" y="2017"/>
                  </a:lnTo>
                  <a:lnTo>
                    <a:pt x="1557" y="2016"/>
                  </a:lnTo>
                  <a:lnTo>
                    <a:pt x="1557" y="2016"/>
                  </a:lnTo>
                  <a:lnTo>
                    <a:pt x="1562" y="2010"/>
                  </a:lnTo>
                  <a:lnTo>
                    <a:pt x="1567" y="2007"/>
                  </a:lnTo>
                  <a:lnTo>
                    <a:pt x="1567" y="2007"/>
                  </a:lnTo>
                  <a:lnTo>
                    <a:pt x="1568" y="2004"/>
                  </a:lnTo>
                  <a:lnTo>
                    <a:pt x="1570" y="2000"/>
                  </a:lnTo>
                  <a:lnTo>
                    <a:pt x="1570" y="1989"/>
                  </a:lnTo>
                  <a:lnTo>
                    <a:pt x="1570" y="1989"/>
                  </a:lnTo>
                  <a:lnTo>
                    <a:pt x="1568" y="1979"/>
                  </a:lnTo>
                  <a:lnTo>
                    <a:pt x="1568" y="1975"/>
                  </a:lnTo>
                  <a:lnTo>
                    <a:pt x="1571" y="1972"/>
                  </a:lnTo>
                  <a:lnTo>
                    <a:pt x="1571" y="1972"/>
                  </a:lnTo>
                  <a:lnTo>
                    <a:pt x="1576" y="1970"/>
                  </a:lnTo>
                  <a:lnTo>
                    <a:pt x="1579" y="1967"/>
                  </a:lnTo>
                  <a:lnTo>
                    <a:pt x="1580" y="1964"/>
                  </a:lnTo>
                  <a:lnTo>
                    <a:pt x="1580" y="1963"/>
                  </a:lnTo>
                  <a:lnTo>
                    <a:pt x="1577" y="1961"/>
                  </a:lnTo>
                  <a:lnTo>
                    <a:pt x="1577" y="1961"/>
                  </a:lnTo>
                  <a:lnTo>
                    <a:pt x="1561" y="1952"/>
                  </a:lnTo>
                  <a:lnTo>
                    <a:pt x="1543" y="1945"/>
                  </a:lnTo>
                  <a:lnTo>
                    <a:pt x="1543" y="1945"/>
                  </a:lnTo>
                  <a:lnTo>
                    <a:pt x="1539" y="1940"/>
                  </a:lnTo>
                  <a:lnTo>
                    <a:pt x="1533" y="1935"/>
                  </a:lnTo>
                  <a:lnTo>
                    <a:pt x="1530" y="1929"/>
                  </a:lnTo>
                  <a:lnTo>
                    <a:pt x="1530" y="1927"/>
                  </a:lnTo>
                  <a:lnTo>
                    <a:pt x="1531" y="1926"/>
                  </a:lnTo>
                  <a:lnTo>
                    <a:pt x="1531" y="1926"/>
                  </a:lnTo>
                  <a:lnTo>
                    <a:pt x="1537" y="1927"/>
                  </a:lnTo>
                  <a:lnTo>
                    <a:pt x="1545" y="1929"/>
                  </a:lnTo>
                  <a:lnTo>
                    <a:pt x="1551" y="1929"/>
                  </a:lnTo>
                  <a:lnTo>
                    <a:pt x="1554" y="1929"/>
                  </a:lnTo>
                  <a:lnTo>
                    <a:pt x="1555" y="1927"/>
                  </a:lnTo>
                  <a:lnTo>
                    <a:pt x="1555" y="1927"/>
                  </a:lnTo>
                  <a:lnTo>
                    <a:pt x="1557" y="1923"/>
                  </a:lnTo>
                  <a:lnTo>
                    <a:pt x="1557" y="1920"/>
                  </a:lnTo>
                  <a:lnTo>
                    <a:pt x="1557" y="1912"/>
                  </a:lnTo>
                  <a:lnTo>
                    <a:pt x="1557" y="1912"/>
                  </a:lnTo>
                  <a:lnTo>
                    <a:pt x="1557" y="1909"/>
                  </a:lnTo>
                  <a:lnTo>
                    <a:pt x="1557" y="1906"/>
                  </a:lnTo>
                  <a:lnTo>
                    <a:pt x="1557" y="1902"/>
                  </a:lnTo>
                  <a:lnTo>
                    <a:pt x="1555" y="1897"/>
                  </a:lnTo>
                  <a:lnTo>
                    <a:pt x="1555" y="1897"/>
                  </a:lnTo>
                  <a:lnTo>
                    <a:pt x="1552" y="1892"/>
                  </a:lnTo>
                  <a:lnTo>
                    <a:pt x="1548" y="1889"/>
                  </a:lnTo>
                  <a:lnTo>
                    <a:pt x="1546" y="1886"/>
                  </a:lnTo>
                  <a:lnTo>
                    <a:pt x="1546" y="1883"/>
                  </a:lnTo>
                  <a:lnTo>
                    <a:pt x="1548" y="1881"/>
                  </a:lnTo>
                  <a:lnTo>
                    <a:pt x="1548" y="1881"/>
                  </a:lnTo>
                  <a:lnTo>
                    <a:pt x="1551" y="1875"/>
                  </a:lnTo>
                  <a:lnTo>
                    <a:pt x="1554" y="1869"/>
                  </a:lnTo>
                  <a:lnTo>
                    <a:pt x="1555" y="1865"/>
                  </a:lnTo>
                  <a:lnTo>
                    <a:pt x="1555" y="1860"/>
                  </a:lnTo>
                  <a:lnTo>
                    <a:pt x="1555" y="1860"/>
                  </a:lnTo>
                  <a:lnTo>
                    <a:pt x="1552" y="1849"/>
                  </a:lnTo>
                  <a:lnTo>
                    <a:pt x="1549" y="1841"/>
                  </a:lnTo>
                  <a:lnTo>
                    <a:pt x="1548" y="1835"/>
                  </a:lnTo>
                  <a:lnTo>
                    <a:pt x="1548" y="1835"/>
                  </a:lnTo>
                  <a:lnTo>
                    <a:pt x="1548" y="1823"/>
                  </a:lnTo>
                  <a:lnTo>
                    <a:pt x="1549" y="1809"/>
                  </a:lnTo>
                  <a:lnTo>
                    <a:pt x="1549" y="1809"/>
                  </a:lnTo>
                  <a:lnTo>
                    <a:pt x="1551" y="1800"/>
                  </a:lnTo>
                  <a:lnTo>
                    <a:pt x="1554" y="1794"/>
                  </a:lnTo>
                  <a:lnTo>
                    <a:pt x="1558" y="1782"/>
                  </a:lnTo>
                  <a:lnTo>
                    <a:pt x="1558" y="1782"/>
                  </a:lnTo>
                  <a:lnTo>
                    <a:pt x="1559" y="1779"/>
                  </a:lnTo>
                  <a:lnTo>
                    <a:pt x="1562" y="1776"/>
                  </a:lnTo>
                  <a:lnTo>
                    <a:pt x="1571" y="1769"/>
                  </a:lnTo>
                  <a:lnTo>
                    <a:pt x="1582" y="1761"/>
                  </a:lnTo>
                  <a:lnTo>
                    <a:pt x="1592" y="1757"/>
                  </a:lnTo>
                  <a:lnTo>
                    <a:pt x="1592" y="1757"/>
                  </a:lnTo>
                  <a:lnTo>
                    <a:pt x="1601" y="1754"/>
                  </a:lnTo>
                  <a:lnTo>
                    <a:pt x="1607" y="1752"/>
                  </a:lnTo>
                  <a:lnTo>
                    <a:pt x="1613" y="1752"/>
                  </a:lnTo>
                  <a:lnTo>
                    <a:pt x="1619" y="1751"/>
                  </a:lnTo>
                  <a:lnTo>
                    <a:pt x="1619" y="1751"/>
                  </a:lnTo>
                  <a:lnTo>
                    <a:pt x="1622" y="1748"/>
                  </a:lnTo>
                  <a:lnTo>
                    <a:pt x="1625" y="1745"/>
                  </a:lnTo>
                  <a:lnTo>
                    <a:pt x="1628" y="1742"/>
                  </a:lnTo>
                  <a:lnTo>
                    <a:pt x="1632" y="1739"/>
                  </a:lnTo>
                  <a:lnTo>
                    <a:pt x="1632" y="1739"/>
                  </a:lnTo>
                  <a:lnTo>
                    <a:pt x="1642" y="1735"/>
                  </a:lnTo>
                  <a:lnTo>
                    <a:pt x="1648" y="1733"/>
                  </a:lnTo>
                  <a:lnTo>
                    <a:pt x="1651" y="1730"/>
                  </a:lnTo>
                  <a:lnTo>
                    <a:pt x="1651" y="1730"/>
                  </a:lnTo>
                  <a:lnTo>
                    <a:pt x="1654" y="1726"/>
                  </a:lnTo>
                  <a:lnTo>
                    <a:pt x="1656" y="1723"/>
                  </a:lnTo>
                  <a:lnTo>
                    <a:pt x="1656" y="1717"/>
                  </a:lnTo>
                  <a:lnTo>
                    <a:pt x="1656" y="1717"/>
                  </a:lnTo>
                  <a:lnTo>
                    <a:pt x="1660" y="1696"/>
                  </a:lnTo>
                  <a:lnTo>
                    <a:pt x="1663" y="1684"/>
                  </a:lnTo>
                  <a:lnTo>
                    <a:pt x="1666" y="1675"/>
                  </a:lnTo>
                  <a:lnTo>
                    <a:pt x="1666" y="1675"/>
                  </a:lnTo>
                  <a:lnTo>
                    <a:pt x="1669" y="1674"/>
                  </a:lnTo>
                  <a:lnTo>
                    <a:pt x="1675" y="1672"/>
                  </a:lnTo>
                  <a:lnTo>
                    <a:pt x="1684" y="1671"/>
                  </a:lnTo>
                  <a:lnTo>
                    <a:pt x="1693" y="1668"/>
                  </a:lnTo>
                  <a:lnTo>
                    <a:pt x="1693" y="1668"/>
                  </a:lnTo>
                  <a:lnTo>
                    <a:pt x="1702" y="1665"/>
                  </a:lnTo>
                  <a:lnTo>
                    <a:pt x="1709" y="1663"/>
                  </a:lnTo>
                  <a:lnTo>
                    <a:pt x="1715" y="1662"/>
                  </a:lnTo>
                  <a:lnTo>
                    <a:pt x="1718" y="1661"/>
                  </a:lnTo>
                  <a:lnTo>
                    <a:pt x="1721" y="1656"/>
                  </a:lnTo>
                  <a:lnTo>
                    <a:pt x="1721" y="1656"/>
                  </a:lnTo>
                  <a:lnTo>
                    <a:pt x="1727" y="1650"/>
                  </a:lnTo>
                  <a:lnTo>
                    <a:pt x="1733" y="1647"/>
                  </a:lnTo>
                  <a:lnTo>
                    <a:pt x="1737" y="1643"/>
                  </a:lnTo>
                  <a:lnTo>
                    <a:pt x="1739" y="1634"/>
                  </a:lnTo>
                  <a:lnTo>
                    <a:pt x="1739" y="1634"/>
                  </a:lnTo>
                  <a:lnTo>
                    <a:pt x="1743" y="1612"/>
                  </a:lnTo>
                  <a:lnTo>
                    <a:pt x="1743" y="1612"/>
                  </a:lnTo>
                  <a:lnTo>
                    <a:pt x="1743" y="1604"/>
                  </a:lnTo>
                  <a:lnTo>
                    <a:pt x="1745" y="1601"/>
                  </a:lnTo>
                  <a:lnTo>
                    <a:pt x="1748" y="1597"/>
                  </a:lnTo>
                  <a:lnTo>
                    <a:pt x="1748" y="1597"/>
                  </a:lnTo>
                  <a:lnTo>
                    <a:pt x="1750" y="1588"/>
                  </a:lnTo>
                  <a:lnTo>
                    <a:pt x="1753" y="1582"/>
                  </a:lnTo>
                  <a:lnTo>
                    <a:pt x="1753" y="1582"/>
                  </a:lnTo>
                  <a:lnTo>
                    <a:pt x="1755" y="1579"/>
                  </a:lnTo>
                  <a:lnTo>
                    <a:pt x="1758" y="1578"/>
                  </a:lnTo>
                  <a:lnTo>
                    <a:pt x="1762" y="1578"/>
                  </a:lnTo>
                  <a:lnTo>
                    <a:pt x="1764" y="1579"/>
                  </a:lnTo>
                  <a:lnTo>
                    <a:pt x="1764" y="1579"/>
                  </a:lnTo>
                  <a:lnTo>
                    <a:pt x="1768" y="1586"/>
                  </a:lnTo>
                  <a:lnTo>
                    <a:pt x="1771" y="1588"/>
                  </a:lnTo>
                  <a:lnTo>
                    <a:pt x="1774" y="1589"/>
                  </a:lnTo>
                  <a:lnTo>
                    <a:pt x="1774" y="1589"/>
                  </a:lnTo>
                  <a:lnTo>
                    <a:pt x="1782" y="1586"/>
                  </a:lnTo>
                  <a:lnTo>
                    <a:pt x="1782" y="1585"/>
                  </a:lnTo>
                  <a:lnTo>
                    <a:pt x="1782" y="1582"/>
                  </a:lnTo>
                  <a:lnTo>
                    <a:pt x="1782" y="1582"/>
                  </a:lnTo>
                  <a:lnTo>
                    <a:pt x="1777" y="1578"/>
                  </a:lnTo>
                  <a:lnTo>
                    <a:pt x="1770" y="1573"/>
                  </a:lnTo>
                  <a:lnTo>
                    <a:pt x="1761" y="1566"/>
                  </a:lnTo>
                  <a:lnTo>
                    <a:pt x="1755" y="1558"/>
                  </a:lnTo>
                  <a:lnTo>
                    <a:pt x="1755" y="1558"/>
                  </a:lnTo>
                  <a:lnTo>
                    <a:pt x="1749" y="1551"/>
                  </a:lnTo>
                  <a:lnTo>
                    <a:pt x="1745" y="1545"/>
                  </a:lnTo>
                  <a:lnTo>
                    <a:pt x="1740" y="1539"/>
                  </a:lnTo>
                  <a:lnTo>
                    <a:pt x="1739" y="1533"/>
                  </a:lnTo>
                  <a:lnTo>
                    <a:pt x="1739" y="1533"/>
                  </a:lnTo>
                  <a:lnTo>
                    <a:pt x="1737" y="1514"/>
                  </a:lnTo>
                  <a:lnTo>
                    <a:pt x="1736" y="1504"/>
                  </a:lnTo>
                  <a:lnTo>
                    <a:pt x="1733" y="1496"/>
                  </a:lnTo>
                  <a:lnTo>
                    <a:pt x="1733" y="1496"/>
                  </a:lnTo>
                  <a:lnTo>
                    <a:pt x="1727" y="1492"/>
                  </a:lnTo>
                  <a:lnTo>
                    <a:pt x="1722" y="1487"/>
                  </a:lnTo>
                  <a:lnTo>
                    <a:pt x="1715" y="1483"/>
                  </a:lnTo>
                  <a:lnTo>
                    <a:pt x="1709" y="1481"/>
                  </a:lnTo>
                  <a:lnTo>
                    <a:pt x="1709" y="1481"/>
                  </a:lnTo>
                  <a:lnTo>
                    <a:pt x="1703" y="1478"/>
                  </a:lnTo>
                  <a:lnTo>
                    <a:pt x="1700" y="1475"/>
                  </a:lnTo>
                  <a:lnTo>
                    <a:pt x="1694" y="1465"/>
                  </a:lnTo>
                  <a:lnTo>
                    <a:pt x="1694" y="1465"/>
                  </a:lnTo>
                  <a:lnTo>
                    <a:pt x="1691" y="1461"/>
                  </a:lnTo>
                  <a:lnTo>
                    <a:pt x="1690" y="1455"/>
                  </a:lnTo>
                  <a:lnTo>
                    <a:pt x="1690" y="1450"/>
                  </a:lnTo>
                  <a:lnTo>
                    <a:pt x="1691" y="1446"/>
                  </a:lnTo>
                  <a:lnTo>
                    <a:pt x="1691" y="1446"/>
                  </a:lnTo>
                  <a:lnTo>
                    <a:pt x="1696" y="1435"/>
                  </a:lnTo>
                  <a:lnTo>
                    <a:pt x="1697" y="1431"/>
                  </a:lnTo>
                  <a:lnTo>
                    <a:pt x="1697" y="1427"/>
                  </a:lnTo>
                  <a:lnTo>
                    <a:pt x="1697" y="1427"/>
                  </a:lnTo>
                  <a:lnTo>
                    <a:pt x="1697" y="1421"/>
                  </a:lnTo>
                  <a:lnTo>
                    <a:pt x="1699" y="1412"/>
                  </a:lnTo>
                  <a:lnTo>
                    <a:pt x="1702" y="1398"/>
                  </a:lnTo>
                  <a:lnTo>
                    <a:pt x="1702" y="1398"/>
                  </a:lnTo>
                  <a:lnTo>
                    <a:pt x="1702" y="1395"/>
                  </a:lnTo>
                  <a:lnTo>
                    <a:pt x="1702" y="1392"/>
                  </a:lnTo>
                  <a:lnTo>
                    <a:pt x="1703" y="1388"/>
                  </a:lnTo>
                  <a:lnTo>
                    <a:pt x="1706" y="1381"/>
                  </a:lnTo>
                  <a:lnTo>
                    <a:pt x="1706" y="1381"/>
                  </a:lnTo>
                  <a:lnTo>
                    <a:pt x="1713" y="1372"/>
                  </a:lnTo>
                  <a:lnTo>
                    <a:pt x="1713" y="1370"/>
                  </a:lnTo>
                  <a:lnTo>
                    <a:pt x="1713" y="1366"/>
                  </a:lnTo>
                  <a:lnTo>
                    <a:pt x="1713" y="1366"/>
                  </a:lnTo>
                  <a:lnTo>
                    <a:pt x="1711" y="1360"/>
                  </a:lnTo>
                  <a:lnTo>
                    <a:pt x="1709" y="1352"/>
                  </a:lnTo>
                  <a:lnTo>
                    <a:pt x="1709" y="1352"/>
                  </a:lnTo>
                  <a:lnTo>
                    <a:pt x="1708" y="1332"/>
                  </a:lnTo>
                  <a:lnTo>
                    <a:pt x="1708" y="1321"/>
                  </a:lnTo>
                  <a:lnTo>
                    <a:pt x="1708" y="1311"/>
                  </a:lnTo>
                  <a:lnTo>
                    <a:pt x="1708" y="1311"/>
                  </a:lnTo>
                  <a:lnTo>
                    <a:pt x="1709" y="1304"/>
                  </a:lnTo>
                  <a:lnTo>
                    <a:pt x="1709" y="1296"/>
                  </a:lnTo>
                  <a:lnTo>
                    <a:pt x="1708" y="1289"/>
                  </a:lnTo>
                  <a:lnTo>
                    <a:pt x="1706" y="1283"/>
                  </a:lnTo>
                  <a:lnTo>
                    <a:pt x="1706" y="1283"/>
                  </a:lnTo>
                  <a:lnTo>
                    <a:pt x="1702" y="1273"/>
                  </a:lnTo>
                  <a:lnTo>
                    <a:pt x="1699" y="1256"/>
                  </a:lnTo>
                  <a:lnTo>
                    <a:pt x="1699" y="1256"/>
                  </a:lnTo>
                  <a:lnTo>
                    <a:pt x="1696" y="1241"/>
                  </a:lnTo>
                  <a:lnTo>
                    <a:pt x="1696" y="1238"/>
                  </a:lnTo>
                  <a:lnTo>
                    <a:pt x="1699" y="1237"/>
                  </a:lnTo>
                  <a:lnTo>
                    <a:pt x="1699" y="1237"/>
                  </a:lnTo>
                  <a:lnTo>
                    <a:pt x="1712" y="1237"/>
                  </a:lnTo>
                  <a:lnTo>
                    <a:pt x="1731" y="1240"/>
                  </a:lnTo>
                  <a:lnTo>
                    <a:pt x="1731" y="1240"/>
                  </a:lnTo>
                  <a:lnTo>
                    <a:pt x="1752" y="1244"/>
                  </a:lnTo>
                  <a:lnTo>
                    <a:pt x="1764" y="1246"/>
                  </a:lnTo>
                  <a:lnTo>
                    <a:pt x="1771" y="1246"/>
                  </a:lnTo>
                  <a:lnTo>
                    <a:pt x="1771" y="1246"/>
                  </a:lnTo>
                  <a:lnTo>
                    <a:pt x="1780" y="1246"/>
                  </a:lnTo>
                  <a:lnTo>
                    <a:pt x="1782" y="1244"/>
                  </a:lnTo>
                  <a:lnTo>
                    <a:pt x="1783" y="1241"/>
                  </a:lnTo>
                  <a:lnTo>
                    <a:pt x="1783" y="1241"/>
                  </a:lnTo>
                  <a:lnTo>
                    <a:pt x="1786" y="1237"/>
                  </a:lnTo>
                  <a:lnTo>
                    <a:pt x="1789" y="1235"/>
                  </a:lnTo>
                  <a:lnTo>
                    <a:pt x="1792" y="1235"/>
                  </a:lnTo>
                  <a:lnTo>
                    <a:pt x="1796" y="1237"/>
                  </a:lnTo>
                  <a:lnTo>
                    <a:pt x="1796" y="1237"/>
                  </a:lnTo>
                  <a:lnTo>
                    <a:pt x="1805" y="1241"/>
                  </a:lnTo>
                  <a:lnTo>
                    <a:pt x="1808" y="1241"/>
                  </a:lnTo>
                  <a:lnTo>
                    <a:pt x="1810" y="1241"/>
                  </a:lnTo>
                  <a:lnTo>
                    <a:pt x="1810" y="1241"/>
                  </a:lnTo>
                  <a:lnTo>
                    <a:pt x="1813" y="1238"/>
                  </a:lnTo>
                  <a:lnTo>
                    <a:pt x="1814" y="1233"/>
                  </a:lnTo>
                  <a:lnTo>
                    <a:pt x="1817" y="1228"/>
                  </a:lnTo>
                  <a:lnTo>
                    <a:pt x="1822" y="1224"/>
                  </a:lnTo>
                  <a:lnTo>
                    <a:pt x="1822" y="1224"/>
                  </a:lnTo>
                  <a:lnTo>
                    <a:pt x="1826" y="1222"/>
                  </a:lnTo>
                  <a:lnTo>
                    <a:pt x="1829" y="1219"/>
                  </a:lnTo>
                  <a:lnTo>
                    <a:pt x="1830" y="1216"/>
                  </a:lnTo>
                  <a:lnTo>
                    <a:pt x="1830" y="1212"/>
                  </a:lnTo>
                  <a:lnTo>
                    <a:pt x="1830" y="1212"/>
                  </a:lnTo>
                  <a:lnTo>
                    <a:pt x="1830" y="1206"/>
                  </a:lnTo>
                  <a:lnTo>
                    <a:pt x="1833" y="1203"/>
                  </a:lnTo>
                  <a:lnTo>
                    <a:pt x="1836" y="1200"/>
                  </a:lnTo>
                  <a:lnTo>
                    <a:pt x="1839" y="1200"/>
                  </a:lnTo>
                  <a:lnTo>
                    <a:pt x="1839" y="1200"/>
                  </a:lnTo>
                  <a:lnTo>
                    <a:pt x="1841" y="1201"/>
                  </a:lnTo>
                  <a:lnTo>
                    <a:pt x="1842" y="1200"/>
                  </a:lnTo>
                  <a:lnTo>
                    <a:pt x="1844" y="1198"/>
                  </a:lnTo>
                  <a:lnTo>
                    <a:pt x="1847" y="1197"/>
                  </a:lnTo>
                  <a:lnTo>
                    <a:pt x="1847" y="1197"/>
                  </a:lnTo>
                  <a:lnTo>
                    <a:pt x="1851" y="1198"/>
                  </a:lnTo>
                  <a:lnTo>
                    <a:pt x="1856" y="1200"/>
                  </a:lnTo>
                  <a:lnTo>
                    <a:pt x="1862" y="1203"/>
                  </a:lnTo>
                  <a:lnTo>
                    <a:pt x="1862" y="1203"/>
                  </a:lnTo>
                  <a:lnTo>
                    <a:pt x="1863" y="1203"/>
                  </a:lnTo>
                  <a:lnTo>
                    <a:pt x="1863" y="1201"/>
                  </a:lnTo>
                  <a:lnTo>
                    <a:pt x="1863" y="1198"/>
                  </a:lnTo>
                  <a:lnTo>
                    <a:pt x="1865" y="1195"/>
                  </a:lnTo>
                  <a:lnTo>
                    <a:pt x="1865" y="1195"/>
                  </a:lnTo>
                  <a:lnTo>
                    <a:pt x="1867" y="1193"/>
                  </a:lnTo>
                  <a:lnTo>
                    <a:pt x="1872" y="1190"/>
                  </a:lnTo>
                  <a:lnTo>
                    <a:pt x="1876" y="1190"/>
                  </a:lnTo>
                  <a:lnTo>
                    <a:pt x="1878" y="1190"/>
                  </a:lnTo>
                  <a:lnTo>
                    <a:pt x="1879" y="1191"/>
                  </a:lnTo>
                  <a:lnTo>
                    <a:pt x="1879" y="1191"/>
                  </a:lnTo>
                  <a:lnTo>
                    <a:pt x="1881" y="1195"/>
                  </a:lnTo>
                  <a:lnTo>
                    <a:pt x="1879" y="1200"/>
                  </a:lnTo>
                  <a:lnTo>
                    <a:pt x="1879" y="1204"/>
                  </a:lnTo>
                  <a:lnTo>
                    <a:pt x="1881" y="1204"/>
                  </a:lnTo>
                  <a:lnTo>
                    <a:pt x="1882" y="1204"/>
                  </a:lnTo>
                  <a:lnTo>
                    <a:pt x="1882" y="1204"/>
                  </a:lnTo>
                  <a:lnTo>
                    <a:pt x="1887" y="1204"/>
                  </a:lnTo>
                  <a:lnTo>
                    <a:pt x="1891" y="1204"/>
                  </a:lnTo>
                  <a:lnTo>
                    <a:pt x="1893" y="1204"/>
                  </a:lnTo>
                  <a:lnTo>
                    <a:pt x="1894" y="1200"/>
                  </a:lnTo>
                  <a:lnTo>
                    <a:pt x="1894" y="1200"/>
                  </a:lnTo>
                  <a:lnTo>
                    <a:pt x="1894" y="1193"/>
                  </a:lnTo>
                  <a:lnTo>
                    <a:pt x="1896" y="1187"/>
                  </a:lnTo>
                  <a:lnTo>
                    <a:pt x="1896" y="1187"/>
                  </a:lnTo>
                  <a:lnTo>
                    <a:pt x="1896" y="1164"/>
                  </a:lnTo>
                  <a:lnTo>
                    <a:pt x="1894" y="1144"/>
                  </a:lnTo>
                  <a:lnTo>
                    <a:pt x="1894" y="1144"/>
                  </a:lnTo>
                  <a:lnTo>
                    <a:pt x="1893" y="1133"/>
                  </a:lnTo>
                  <a:lnTo>
                    <a:pt x="1890" y="1121"/>
                  </a:lnTo>
                  <a:lnTo>
                    <a:pt x="1887" y="1110"/>
                  </a:lnTo>
                  <a:lnTo>
                    <a:pt x="1884" y="1105"/>
                  </a:lnTo>
                  <a:lnTo>
                    <a:pt x="1884" y="1105"/>
                  </a:lnTo>
                  <a:lnTo>
                    <a:pt x="1879" y="1102"/>
                  </a:lnTo>
                  <a:lnTo>
                    <a:pt x="1879" y="1099"/>
                  </a:lnTo>
                  <a:lnTo>
                    <a:pt x="1879" y="1096"/>
                  </a:lnTo>
                  <a:lnTo>
                    <a:pt x="1879" y="1096"/>
                  </a:lnTo>
                  <a:lnTo>
                    <a:pt x="1881" y="1092"/>
                  </a:lnTo>
                  <a:lnTo>
                    <a:pt x="1881" y="1087"/>
                  </a:lnTo>
                  <a:lnTo>
                    <a:pt x="1881" y="1086"/>
                  </a:lnTo>
                  <a:lnTo>
                    <a:pt x="1878" y="1083"/>
                  </a:lnTo>
                  <a:lnTo>
                    <a:pt x="1872" y="1078"/>
                  </a:lnTo>
                  <a:lnTo>
                    <a:pt x="1872" y="1078"/>
                  </a:lnTo>
                  <a:lnTo>
                    <a:pt x="1860" y="1070"/>
                  </a:lnTo>
                  <a:lnTo>
                    <a:pt x="1847" y="1056"/>
                  </a:lnTo>
                  <a:lnTo>
                    <a:pt x="1838" y="1043"/>
                  </a:lnTo>
                  <a:lnTo>
                    <a:pt x="1832" y="1034"/>
                  </a:lnTo>
                  <a:lnTo>
                    <a:pt x="1832" y="1034"/>
                  </a:lnTo>
                  <a:lnTo>
                    <a:pt x="1829" y="1021"/>
                  </a:lnTo>
                  <a:lnTo>
                    <a:pt x="1823" y="1009"/>
                  </a:lnTo>
                  <a:lnTo>
                    <a:pt x="1823" y="1009"/>
                  </a:lnTo>
                  <a:lnTo>
                    <a:pt x="1817" y="1000"/>
                  </a:lnTo>
                  <a:lnTo>
                    <a:pt x="1810" y="991"/>
                  </a:lnTo>
                  <a:lnTo>
                    <a:pt x="1798" y="978"/>
                  </a:lnTo>
                  <a:lnTo>
                    <a:pt x="1798" y="978"/>
                  </a:lnTo>
                  <a:lnTo>
                    <a:pt x="1798" y="976"/>
                  </a:lnTo>
                  <a:lnTo>
                    <a:pt x="1799" y="973"/>
                  </a:lnTo>
                  <a:lnTo>
                    <a:pt x="1805" y="964"/>
                  </a:lnTo>
                  <a:lnTo>
                    <a:pt x="1805" y="964"/>
                  </a:lnTo>
                  <a:lnTo>
                    <a:pt x="1810" y="953"/>
                  </a:lnTo>
                  <a:lnTo>
                    <a:pt x="1810" y="947"/>
                  </a:lnTo>
                  <a:lnTo>
                    <a:pt x="1808" y="941"/>
                  </a:lnTo>
                  <a:lnTo>
                    <a:pt x="1808" y="941"/>
                  </a:lnTo>
                  <a:lnTo>
                    <a:pt x="1799" y="924"/>
                  </a:lnTo>
                  <a:lnTo>
                    <a:pt x="1798" y="919"/>
                  </a:lnTo>
                  <a:lnTo>
                    <a:pt x="1798" y="916"/>
                  </a:lnTo>
                  <a:lnTo>
                    <a:pt x="1799" y="916"/>
                  </a:lnTo>
                  <a:lnTo>
                    <a:pt x="1799" y="916"/>
                  </a:lnTo>
                  <a:lnTo>
                    <a:pt x="1808" y="916"/>
                  </a:lnTo>
                  <a:lnTo>
                    <a:pt x="1814" y="914"/>
                  </a:lnTo>
                  <a:lnTo>
                    <a:pt x="1819" y="913"/>
                  </a:lnTo>
                  <a:lnTo>
                    <a:pt x="1819" y="913"/>
                  </a:lnTo>
                  <a:lnTo>
                    <a:pt x="1825" y="908"/>
                  </a:lnTo>
                  <a:lnTo>
                    <a:pt x="1830" y="907"/>
                  </a:lnTo>
                  <a:lnTo>
                    <a:pt x="1838" y="902"/>
                  </a:lnTo>
                  <a:lnTo>
                    <a:pt x="1838" y="902"/>
                  </a:lnTo>
                  <a:lnTo>
                    <a:pt x="1839" y="901"/>
                  </a:lnTo>
                  <a:lnTo>
                    <a:pt x="1839" y="898"/>
                  </a:lnTo>
                  <a:lnTo>
                    <a:pt x="1841" y="893"/>
                  </a:lnTo>
                  <a:lnTo>
                    <a:pt x="1844" y="889"/>
                  </a:lnTo>
                  <a:lnTo>
                    <a:pt x="1844" y="889"/>
                  </a:lnTo>
                  <a:lnTo>
                    <a:pt x="1847" y="884"/>
                  </a:lnTo>
                  <a:lnTo>
                    <a:pt x="1851" y="883"/>
                  </a:lnTo>
                  <a:lnTo>
                    <a:pt x="1856" y="883"/>
                  </a:lnTo>
                  <a:lnTo>
                    <a:pt x="1859" y="884"/>
                  </a:lnTo>
                  <a:lnTo>
                    <a:pt x="1859" y="884"/>
                  </a:lnTo>
                  <a:lnTo>
                    <a:pt x="1863" y="886"/>
                  </a:lnTo>
                  <a:lnTo>
                    <a:pt x="1867" y="886"/>
                  </a:lnTo>
                  <a:lnTo>
                    <a:pt x="1870" y="886"/>
                  </a:lnTo>
                  <a:lnTo>
                    <a:pt x="1872" y="883"/>
                  </a:lnTo>
                  <a:lnTo>
                    <a:pt x="1872" y="883"/>
                  </a:lnTo>
                  <a:lnTo>
                    <a:pt x="1870" y="879"/>
                  </a:lnTo>
                  <a:lnTo>
                    <a:pt x="1866" y="868"/>
                  </a:lnTo>
                  <a:lnTo>
                    <a:pt x="1860" y="858"/>
                  </a:lnTo>
                  <a:lnTo>
                    <a:pt x="1857" y="855"/>
                  </a:lnTo>
                  <a:lnTo>
                    <a:pt x="1854" y="852"/>
                  </a:lnTo>
                  <a:lnTo>
                    <a:pt x="1854" y="852"/>
                  </a:lnTo>
                  <a:lnTo>
                    <a:pt x="1842" y="847"/>
                  </a:lnTo>
                  <a:lnTo>
                    <a:pt x="1839" y="844"/>
                  </a:lnTo>
                  <a:lnTo>
                    <a:pt x="1839" y="843"/>
                  </a:lnTo>
                  <a:lnTo>
                    <a:pt x="1839" y="840"/>
                  </a:lnTo>
                  <a:lnTo>
                    <a:pt x="1839" y="840"/>
                  </a:lnTo>
                  <a:lnTo>
                    <a:pt x="1841" y="836"/>
                  </a:lnTo>
                  <a:lnTo>
                    <a:pt x="1845" y="831"/>
                  </a:lnTo>
                  <a:lnTo>
                    <a:pt x="1850" y="828"/>
                  </a:lnTo>
                  <a:lnTo>
                    <a:pt x="1854" y="827"/>
                  </a:lnTo>
                  <a:lnTo>
                    <a:pt x="1854" y="827"/>
                  </a:lnTo>
                  <a:lnTo>
                    <a:pt x="1859" y="827"/>
                  </a:lnTo>
                  <a:lnTo>
                    <a:pt x="1863" y="822"/>
                  </a:lnTo>
                  <a:lnTo>
                    <a:pt x="1867" y="818"/>
                  </a:lnTo>
                  <a:lnTo>
                    <a:pt x="1872" y="813"/>
                  </a:lnTo>
                  <a:lnTo>
                    <a:pt x="1872" y="813"/>
                  </a:lnTo>
                  <a:lnTo>
                    <a:pt x="1875" y="810"/>
                  </a:lnTo>
                  <a:lnTo>
                    <a:pt x="1878" y="809"/>
                  </a:lnTo>
                  <a:lnTo>
                    <a:pt x="1881" y="807"/>
                  </a:lnTo>
                  <a:lnTo>
                    <a:pt x="1884" y="805"/>
                  </a:lnTo>
                  <a:lnTo>
                    <a:pt x="1884" y="805"/>
                  </a:lnTo>
                  <a:lnTo>
                    <a:pt x="1885" y="799"/>
                  </a:lnTo>
                  <a:lnTo>
                    <a:pt x="1885" y="791"/>
                  </a:lnTo>
                  <a:lnTo>
                    <a:pt x="1887" y="778"/>
                  </a:lnTo>
                  <a:lnTo>
                    <a:pt x="1887" y="778"/>
                  </a:lnTo>
                  <a:lnTo>
                    <a:pt x="1890" y="773"/>
                  </a:lnTo>
                  <a:lnTo>
                    <a:pt x="1894" y="769"/>
                  </a:lnTo>
                  <a:lnTo>
                    <a:pt x="1900" y="767"/>
                  </a:lnTo>
                  <a:lnTo>
                    <a:pt x="1906" y="769"/>
                  </a:lnTo>
                  <a:lnTo>
                    <a:pt x="1906" y="769"/>
                  </a:lnTo>
                  <a:lnTo>
                    <a:pt x="1921" y="779"/>
                  </a:lnTo>
                  <a:lnTo>
                    <a:pt x="1928" y="782"/>
                  </a:lnTo>
                  <a:lnTo>
                    <a:pt x="1933" y="782"/>
                  </a:lnTo>
                  <a:lnTo>
                    <a:pt x="1936" y="782"/>
                  </a:lnTo>
                  <a:lnTo>
                    <a:pt x="1936" y="782"/>
                  </a:lnTo>
                  <a:lnTo>
                    <a:pt x="1942" y="781"/>
                  </a:lnTo>
                  <a:lnTo>
                    <a:pt x="1946" y="779"/>
                  </a:lnTo>
                  <a:lnTo>
                    <a:pt x="1947" y="776"/>
                  </a:lnTo>
                  <a:lnTo>
                    <a:pt x="1946" y="772"/>
                  </a:lnTo>
                  <a:lnTo>
                    <a:pt x="1946" y="772"/>
                  </a:lnTo>
                  <a:lnTo>
                    <a:pt x="1943" y="770"/>
                  </a:lnTo>
                  <a:lnTo>
                    <a:pt x="1939" y="769"/>
                  </a:lnTo>
                  <a:lnTo>
                    <a:pt x="1937" y="767"/>
                  </a:lnTo>
                  <a:lnTo>
                    <a:pt x="1937" y="767"/>
                  </a:lnTo>
                  <a:lnTo>
                    <a:pt x="1940" y="762"/>
                  </a:lnTo>
                  <a:lnTo>
                    <a:pt x="1940" y="762"/>
                  </a:lnTo>
                  <a:lnTo>
                    <a:pt x="1943" y="756"/>
                  </a:lnTo>
                  <a:lnTo>
                    <a:pt x="1946" y="750"/>
                  </a:lnTo>
                  <a:lnTo>
                    <a:pt x="1947" y="744"/>
                  </a:lnTo>
                  <a:lnTo>
                    <a:pt x="1950" y="742"/>
                  </a:lnTo>
                  <a:lnTo>
                    <a:pt x="1950" y="742"/>
                  </a:lnTo>
                  <a:lnTo>
                    <a:pt x="1953" y="742"/>
                  </a:lnTo>
                  <a:lnTo>
                    <a:pt x="1958" y="742"/>
                  </a:lnTo>
                  <a:lnTo>
                    <a:pt x="1959" y="744"/>
                  </a:lnTo>
                  <a:lnTo>
                    <a:pt x="1961" y="741"/>
                  </a:lnTo>
                  <a:lnTo>
                    <a:pt x="1961" y="741"/>
                  </a:lnTo>
                  <a:lnTo>
                    <a:pt x="1961" y="733"/>
                  </a:lnTo>
                  <a:lnTo>
                    <a:pt x="1962" y="725"/>
                  </a:lnTo>
                  <a:lnTo>
                    <a:pt x="1965" y="716"/>
                  </a:lnTo>
                  <a:lnTo>
                    <a:pt x="1967" y="710"/>
                  </a:lnTo>
                  <a:lnTo>
                    <a:pt x="1967" y="710"/>
                  </a:lnTo>
                  <a:lnTo>
                    <a:pt x="1970" y="708"/>
                  </a:lnTo>
                  <a:lnTo>
                    <a:pt x="1974" y="708"/>
                  </a:lnTo>
                  <a:lnTo>
                    <a:pt x="1979" y="707"/>
                  </a:lnTo>
                  <a:lnTo>
                    <a:pt x="1986" y="705"/>
                  </a:lnTo>
                  <a:lnTo>
                    <a:pt x="1986" y="705"/>
                  </a:lnTo>
                  <a:lnTo>
                    <a:pt x="1992" y="704"/>
                  </a:lnTo>
                  <a:lnTo>
                    <a:pt x="1995" y="701"/>
                  </a:lnTo>
                  <a:lnTo>
                    <a:pt x="1995" y="698"/>
                  </a:lnTo>
                  <a:lnTo>
                    <a:pt x="1990" y="695"/>
                  </a:lnTo>
                  <a:lnTo>
                    <a:pt x="1990" y="695"/>
                  </a:lnTo>
                  <a:lnTo>
                    <a:pt x="1986" y="693"/>
                  </a:lnTo>
                  <a:lnTo>
                    <a:pt x="1981" y="693"/>
                  </a:lnTo>
                  <a:lnTo>
                    <a:pt x="1981" y="693"/>
                  </a:lnTo>
                  <a:lnTo>
                    <a:pt x="1980" y="692"/>
                  </a:lnTo>
                  <a:lnTo>
                    <a:pt x="1980" y="685"/>
                  </a:lnTo>
                  <a:lnTo>
                    <a:pt x="1980" y="685"/>
                  </a:lnTo>
                  <a:lnTo>
                    <a:pt x="1983" y="667"/>
                  </a:lnTo>
                  <a:lnTo>
                    <a:pt x="1983" y="662"/>
                  </a:lnTo>
                  <a:lnTo>
                    <a:pt x="1983" y="661"/>
                  </a:lnTo>
                  <a:lnTo>
                    <a:pt x="1981" y="659"/>
                  </a:lnTo>
                  <a:lnTo>
                    <a:pt x="1979" y="659"/>
                  </a:lnTo>
                  <a:lnTo>
                    <a:pt x="1979" y="659"/>
                  </a:lnTo>
                  <a:lnTo>
                    <a:pt x="1974" y="659"/>
                  </a:lnTo>
                  <a:lnTo>
                    <a:pt x="1970" y="658"/>
                  </a:lnTo>
                  <a:lnTo>
                    <a:pt x="1961" y="653"/>
                  </a:lnTo>
                  <a:lnTo>
                    <a:pt x="1952" y="648"/>
                  </a:lnTo>
                  <a:lnTo>
                    <a:pt x="1946" y="642"/>
                  </a:lnTo>
                  <a:lnTo>
                    <a:pt x="1946" y="642"/>
                  </a:lnTo>
                  <a:lnTo>
                    <a:pt x="1942" y="637"/>
                  </a:lnTo>
                  <a:lnTo>
                    <a:pt x="1937" y="631"/>
                  </a:lnTo>
                  <a:lnTo>
                    <a:pt x="1936" y="628"/>
                  </a:lnTo>
                  <a:lnTo>
                    <a:pt x="1936" y="624"/>
                  </a:lnTo>
                  <a:lnTo>
                    <a:pt x="1936" y="619"/>
                  </a:lnTo>
                  <a:lnTo>
                    <a:pt x="1937" y="616"/>
                  </a:lnTo>
                  <a:lnTo>
                    <a:pt x="1937" y="616"/>
                  </a:lnTo>
                  <a:lnTo>
                    <a:pt x="1943" y="605"/>
                  </a:lnTo>
                  <a:lnTo>
                    <a:pt x="1949" y="594"/>
                  </a:lnTo>
                  <a:lnTo>
                    <a:pt x="1950" y="588"/>
                  </a:lnTo>
                  <a:lnTo>
                    <a:pt x="1952" y="585"/>
                  </a:lnTo>
                  <a:lnTo>
                    <a:pt x="1950" y="581"/>
                  </a:lnTo>
                  <a:lnTo>
                    <a:pt x="1947" y="581"/>
                  </a:lnTo>
                  <a:lnTo>
                    <a:pt x="1947" y="581"/>
                  </a:lnTo>
                  <a:lnTo>
                    <a:pt x="1939" y="578"/>
                  </a:lnTo>
                  <a:lnTo>
                    <a:pt x="1930" y="572"/>
                  </a:lnTo>
                  <a:lnTo>
                    <a:pt x="1921" y="566"/>
                  </a:lnTo>
                  <a:lnTo>
                    <a:pt x="1916" y="559"/>
                  </a:lnTo>
                  <a:lnTo>
                    <a:pt x="1916" y="559"/>
                  </a:lnTo>
                  <a:lnTo>
                    <a:pt x="1913" y="551"/>
                  </a:lnTo>
                  <a:lnTo>
                    <a:pt x="1912" y="542"/>
                  </a:lnTo>
                  <a:lnTo>
                    <a:pt x="1912" y="535"/>
                  </a:lnTo>
                  <a:lnTo>
                    <a:pt x="1913" y="532"/>
                  </a:lnTo>
                  <a:lnTo>
                    <a:pt x="1916" y="531"/>
                  </a:lnTo>
                  <a:lnTo>
                    <a:pt x="1916" y="531"/>
                  </a:lnTo>
                  <a:lnTo>
                    <a:pt x="1921" y="529"/>
                  </a:lnTo>
                  <a:lnTo>
                    <a:pt x="1922" y="531"/>
                  </a:lnTo>
                  <a:lnTo>
                    <a:pt x="1925" y="531"/>
                  </a:lnTo>
                  <a:lnTo>
                    <a:pt x="1928" y="529"/>
                  </a:lnTo>
                  <a:lnTo>
                    <a:pt x="1928" y="529"/>
                  </a:lnTo>
                  <a:lnTo>
                    <a:pt x="1934" y="526"/>
                  </a:lnTo>
                  <a:lnTo>
                    <a:pt x="1934" y="523"/>
                  </a:lnTo>
                  <a:lnTo>
                    <a:pt x="1933" y="520"/>
                  </a:lnTo>
                  <a:lnTo>
                    <a:pt x="1933" y="520"/>
                  </a:lnTo>
                  <a:lnTo>
                    <a:pt x="1927" y="514"/>
                  </a:lnTo>
                  <a:lnTo>
                    <a:pt x="1918" y="508"/>
                  </a:lnTo>
                  <a:lnTo>
                    <a:pt x="1910" y="504"/>
                  </a:lnTo>
                  <a:lnTo>
                    <a:pt x="1909" y="501"/>
                  </a:lnTo>
                  <a:lnTo>
                    <a:pt x="1907" y="499"/>
                  </a:lnTo>
                  <a:lnTo>
                    <a:pt x="1907" y="499"/>
                  </a:lnTo>
                  <a:lnTo>
                    <a:pt x="1907" y="495"/>
                  </a:lnTo>
                  <a:lnTo>
                    <a:pt x="1909" y="488"/>
                  </a:lnTo>
                  <a:lnTo>
                    <a:pt x="1910" y="485"/>
                  </a:lnTo>
                  <a:lnTo>
                    <a:pt x="1913" y="480"/>
                  </a:lnTo>
                  <a:lnTo>
                    <a:pt x="1918" y="477"/>
                  </a:lnTo>
                  <a:lnTo>
                    <a:pt x="1924" y="474"/>
                  </a:lnTo>
                  <a:lnTo>
                    <a:pt x="1924" y="474"/>
                  </a:lnTo>
                  <a:lnTo>
                    <a:pt x="1934" y="471"/>
                  </a:lnTo>
                  <a:lnTo>
                    <a:pt x="1940" y="467"/>
                  </a:lnTo>
                  <a:lnTo>
                    <a:pt x="1943" y="462"/>
                  </a:lnTo>
                  <a:lnTo>
                    <a:pt x="1947" y="458"/>
                  </a:lnTo>
                  <a:lnTo>
                    <a:pt x="1947" y="458"/>
                  </a:lnTo>
                  <a:lnTo>
                    <a:pt x="1962" y="446"/>
                  </a:lnTo>
                  <a:lnTo>
                    <a:pt x="1976" y="437"/>
                  </a:lnTo>
                  <a:lnTo>
                    <a:pt x="1976" y="437"/>
                  </a:lnTo>
                  <a:lnTo>
                    <a:pt x="1981" y="434"/>
                  </a:lnTo>
                  <a:lnTo>
                    <a:pt x="1984" y="430"/>
                  </a:lnTo>
                  <a:lnTo>
                    <a:pt x="1986" y="425"/>
                  </a:lnTo>
                  <a:lnTo>
                    <a:pt x="1986" y="419"/>
                  </a:lnTo>
                  <a:lnTo>
                    <a:pt x="1986" y="419"/>
                  </a:lnTo>
                  <a:lnTo>
                    <a:pt x="1984" y="414"/>
                  </a:lnTo>
                  <a:lnTo>
                    <a:pt x="1984" y="409"/>
                  </a:lnTo>
                  <a:lnTo>
                    <a:pt x="1987" y="408"/>
                  </a:lnTo>
                  <a:lnTo>
                    <a:pt x="1990" y="408"/>
                  </a:lnTo>
                  <a:lnTo>
                    <a:pt x="1990" y="408"/>
                  </a:lnTo>
                  <a:lnTo>
                    <a:pt x="1999" y="414"/>
                  </a:lnTo>
                  <a:lnTo>
                    <a:pt x="2005" y="416"/>
                  </a:lnTo>
                  <a:lnTo>
                    <a:pt x="2010" y="416"/>
                  </a:lnTo>
                  <a:lnTo>
                    <a:pt x="2010" y="416"/>
                  </a:lnTo>
                  <a:lnTo>
                    <a:pt x="2013" y="414"/>
                  </a:lnTo>
                  <a:lnTo>
                    <a:pt x="2017" y="411"/>
                  </a:lnTo>
                  <a:lnTo>
                    <a:pt x="2020" y="405"/>
                  </a:lnTo>
                  <a:lnTo>
                    <a:pt x="2020" y="402"/>
                  </a:lnTo>
                  <a:lnTo>
                    <a:pt x="2019" y="397"/>
                  </a:lnTo>
                  <a:lnTo>
                    <a:pt x="2019" y="397"/>
                  </a:lnTo>
                  <a:lnTo>
                    <a:pt x="2016" y="390"/>
                  </a:lnTo>
                  <a:lnTo>
                    <a:pt x="2016" y="384"/>
                  </a:lnTo>
                  <a:lnTo>
                    <a:pt x="2017" y="378"/>
                  </a:lnTo>
                  <a:lnTo>
                    <a:pt x="2020" y="372"/>
                  </a:lnTo>
                  <a:lnTo>
                    <a:pt x="2020" y="372"/>
                  </a:lnTo>
                  <a:lnTo>
                    <a:pt x="2029" y="363"/>
                  </a:lnTo>
                  <a:lnTo>
                    <a:pt x="2029" y="360"/>
                  </a:lnTo>
                  <a:lnTo>
                    <a:pt x="2026" y="357"/>
                  </a:lnTo>
                  <a:lnTo>
                    <a:pt x="2026" y="357"/>
                  </a:lnTo>
                  <a:lnTo>
                    <a:pt x="2020" y="353"/>
                  </a:lnTo>
                  <a:lnTo>
                    <a:pt x="2017" y="351"/>
                  </a:lnTo>
                  <a:lnTo>
                    <a:pt x="2017" y="348"/>
                  </a:lnTo>
                  <a:lnTo>
                    <a:pt x="2017" y="347"/>
                  </a:lnTo>
                  <a:lnTo>
                    <a:pt x="2017" y="347"/>
                  </a:lnTo>
                  <a:lnTo>
                    <a:pt x="2007" y="338"/>
                  </a:lnTo>
                  <a:lnTo>
                    <a:pt x="2001" y="329"/>
                  </a:lnTo>
                  <a:lnTo>
                    <a:pt x="1995" y="320"/>
                  </a:lnTo>
                  <a:lnTo>
                    <a:pt x="1995" y="320"/>
                  </a:lnTo>
                  <a:lnTo>
                    <a:pt x="1995" y="320"/>
                  </a:lnTo>
                  <a:lnTo>
                    <a:pt x="1987" y="310"/>
                  </a:lnTo>
                  <a:lnTo>
                    <a:pt x="1979" y="302"/>
                  </a:lnTo>
                  <a:lnTo>
                    <a:pt x="1968" y="298"/>
                  </a:lnTo>
                  <a:lnTo>
                    <a:pt x="1958" y="295"/>
                  </a:lnTo>
                  <a:lnTo>
                    <a:pt x="1958" y="295"/>
                  </a:lnTo>
                  <a:lnTo>
                    <a:pt x="1942" y="297"/>
                  </a:lnTo>
                  <a:lnTo>
                    <a:pt x="1922" y="299"/>
                  </a:lnTo>
                  <a:lnTo>
                    <a:pt x="1922" y="299"/>
                  </a:lnTo>
                  <a:lnTo>
                    <a:pt x="1912" y="299"/>
                  </a:lnTo>
                  <a:lnTo>
                    <a:pt x="1906" y="297"/>
                  </a:lnTo>
                  <a:lnTo>
                    <a:pt x="1893" y="286"/>
                  </a:lnTo>
                  <a:lnTo>
                    <a:pt x="1893" y="286"/>
                  </a:lnTo>
                  <a:lnTo>
                    <a:pt x="1885" y="280"/>
                  </a:lnTo>
                  <a:lnTo>
                    <a:pt x="1881" y="276"/>
                  </a:lnTo>
                  <a:lnTo>
                    <a:pt x="1878" y="271"/>
                  </a:lnTo>
                  <a:lnTo>
                    <a:pt x="1878" y="267"/>
                  </a:lnTo>
                  <a:lnTo>
                    <a:pt x="1878" y="267"/>
                  </a:lnTo>
                  <a:lnTo>
                    <a:pt x="1881" y="258"/>
                  </a:lnTo>
                  <a:lnTo>
                    <a:pt x="1881" y="255"/>
                  </a:lnTo>
                  <a:lnTo>
                    <a:pt x="1879" y="254"/>
                  </a:lnTo>
                  <a:lnTo>
                    <a:pt x="1879" y="254"/>
                  </a:lnTo>
                  <a:lnTo>
                    <a:pt x="1872" y="254"/>
                  </a:lnTo>
                  <a:lnTo>
                    <a:pt x="1867" y="254"/>
                  </a:lnTo>
                  <a:lnTo>
                    <a:pt x="1865" y="251"/>
                  </a:lnTo>
                  <a:lnTo>
                    <a:pt x="1865" y="251"/>
                  </a:lnTo>
                  <a:lnTo>
                    <a:pt x="1862" y="246"/>
                  </a:lnTo>
                  <a:lnTo>
                    <a:pt x="1859" y="236"/>
                  </a:lnTo>
                  <a:lnTo>
                    <a:pt x="1859" y="225"/>
                  </a:lnTo>
                  <a:lnTo>
                    <a:pt x="1860" y="221"/>
                  </a:lnTo>
                  <a:lnTo>
                    <a:pt x="1862" y="217"/>
                  </a:lnTo>
                  <a:lnTo>
                    <a:pt x="1862" y="217"/>
                  </a:lnTo>
                  <a:lnTo>
                    <a:pt x="1869" y="203"/>
                  </a:lnTo>
                  <a:lnTo>
                    <a:pt x="1872" y="193"/>
                  </a:lnTo>
                  <a:lnTo>
                    <a:pt x="1872" y="193"/>
                  </a:lnTo>
                  <a:lnTo>
                    <a:pt x="1875" y="184"/>
                  </a:lnTo>
                  <a:lnTo>
                    <a:pt x="1884" y="172"/>
                  </a:lnTo>
                  <a:lnTo>
                    <a:pt x="1899" y="153"/>
                  </a:lnTo>
                  <a:lnTo>
                    <a:pt x="1899" y="153"/>
                  </a:lnTo>
                  <a:lnTo>
                    <a:pt x="1902" y="147"/>
                  </a:lnTo>
                  <a:lnTo>
                    <a:pt x="1904" y="138"/>
                  </a:lnTo>
                  <a:lnTo>
                    <a:pt x="1904" y="128"/>
                  </a:lnTo>
                  <a:lnTo>
                    <a:pt x="1904" y="116"/>
                  </a:lnTo>
                  <a:lnTo>
                    <a:pt x="1904" y="116"/>
                  </a:lnTo>
                  <a:lnTo>
                    <a:pt x="1904" y="111"/>
                  </a:lnTo>
                  <a:lnTo>
                    <a:pt x="1904" y="107"/>
                  </a:lnTo>
                  <a:lnTo>
                    <a:pt x="1909" y="101"/>
                  </a:lnTo>
                  <a:lnTo>
                    <a:pt x="1913" y="97"/>
                  </a:lnTo>
                  <a:lnTo>
                    <a:pt x="1918" y="91"/>
                  </a:lnTo>
                  <a:lnTo>
                    <a:pt x="1918" y="91"/>
                  </a:lnTo>
                  <a:lnTo>
                    <a:pt x="1922" y="86"/>
                  </a:lnTo>
                  <a:lnTo>
                    <a:pt x="1927" y="83"/>
                  </a:lnTo>
                  <a:lnTo>
                    <a:pt x="1931" y="82"/>
                  </a:lnTo>
                  <a:lnTo>
                    <a:pt x="1931" y="80"/>
                  </a:lnTo>
                  <a:lnTo>
                    <a:pt x="1931" y="80"/>
                  </a:lnTo>
                  <a:lnTo>
                    <a:pt x="1924" y="71"/>
                  </a:lnTo>
                  <a:lnTo>
                    <a:pt x="1907" y="57"/>
                  </a:lnTo>
                  <a:lnTo>
                    <a:pt x="1888" y="43"/>
                  </a:lnTo>
                  <a:lnTo>
                    <a:pt x="1881" y="39"/>
                  </a:lnTo>
                  <a:lnTo>
                    <a:pt x="1876" y="37"/>
                  </a:lnTo>
                  <a:lnTo>
                    <a:pt x="1876" y="37"/>
                  </a:lnTo>
                  <a:lnTo>
                    <a:pt x="1870" y="36"/>
                  </a:lnTo>
                  <a:lnTo>
                    <a:pt x="1866" y="34"/>
                  </a:lnTo>
                  <a:lnTo>
                    <a:pt x="1865" y="30"/>
                  </a:lnTo>
                  <a:lnTo>
                    <a:pt x="1865" y="24"/>
                  </a:lnTo>
                  <a:lnTo>
                    <a:pt x="1865" y="24"/>
                  </a:lnTo>
                  <a:lnTo>
                    <a:pt x="1863" y="18"/>
                  </a:lnTo>
                  <a:lnTo>
                    <a:pt x="1862" y="17"/>
                  </a:lnTo>
                  <a:lnTo>
                    <a:pt x="1859" y="15"/>
                  </a:lnTo>
                  <a:lnTo>
                    <a:pt x="1857" y="17"/>
                  </a:lnTo>
                  <a:lnTo>
                    <a:pt x="1857" y="17"/>
                  </a:lnTo>
                  <a:lnTo>
                    <a:pt x="1854" y="18"/>
                  </a:lnTo>
                  <a:lnTo>
                    <a:pt x="1848" y="20"/>
                  </a:lnTo>
                  <a:lnTo>
                    <a:pt x="1842" y="21"/>
                  </a:lnTo>
                  <a:lnTo>
                    <a:pt x="1833" y="20"/>
                  </a:lnTo>
                  <a:lnTo>
                    <a:pt x="1833" y="20"/>
                  </a:lnTo>
                  <a:lnTo>
                    <a:pt x="1829" y="18"/>
                  </a:lnTo>
                  <a:lnTo>
                    <a:pt x="1825" y="15"/>
                  </a:lnTo>
                  <a:lnTo>
                    <a:pt x="1817" y="9"/>
                  </a:lnTo>
                  <a:lnTo>
                    <a:pt x="1810" y="0"/>
                  </a:lnTo>
                  <a:lnTo>
                    <a:pt x="1810" y="0"/>
                  </a:lnTo>
                  <a:lnTo>
                    <a:pt x="1808" y="6"/>
                  </a:lnTo>
                  <a:lnTo>
                    <a:pt x="1808" y="6"/>
                  </a:lnTo>
                  <a:lnTo>
                    <a:pt x="1808" y="24"/>
                  </a:lnTo>
                  <a:lnTo>
                    <a:pt x="1808" y="42"/>
                  </a:lnTo>
                  <a:lnTo>
                    <a:pt x="1808" y="42"/>
                  </a:lnTo>
                  <a:lnTo>
                    <a:pt x="1807" y="43"/>
                  </a:lnTo>
                  <a:lnTo>
                    <a:pt x="1805" y="45"/>
                  </a:lnTo>
                  <a:lnTo>
                    <a:pt x="1799" y="42"/>
                  </a:lnTo>
                  <a:lnTo>
                    <a:pt x="1799" y="42"/>
                  </a:lnTo>
                  <a:lnTo>
                    <a:pt x="1795" y="37"/>
                  </a:lnTo>
                  <a:lnTo>
                    <a:pt x="1792" y="37"/>
                  </a:lnTo>
                  <a:lnTo>
                    <a:pt x="1790" y="39"/>
                  </a:lnTo>
                  <a:lnTo>
                    <a:pt x="1790" y="39"/>
                  </a:lnTo>
                  <a:lnTo>
                    <a:pt x="1790" y="43"/>
                  </a:lnTo>
                  <a:lnTo>
                    <a:pt x="1790" y="49"/>
                  </a:lnTo>
                  <a:lnTo>
                    <a:pt x="1792" y="55"/>
                  </a:lnTo>
                  <a:lnTo>
                    <a:pt x="1790" y="60"/>
                  </a:lnTo>
                  <a:lnTo>
                    <a:pt x="1790" y="60"/>
                  </a:lnTo>
                  <a:lnTo>
                    <a:pt x="1789" y="61"/>
                  </a:lnTo>
                  <a:lnTo>
                    <a:pt x="1789" y="61"/>
                  </a:lnTo>
                  <a:lnTo>
                    <a:pt x="1785" y="58"/>
                  </a:lnTo>
                  <a:lnTo>
                    <a:pt x="1777" y="51"/>
                  </a:lnTo>
                  <a:lnTo>
                    <a:pt x="1777" y="51"/>
                  </a:lnTo>
                  <a:lnTo>
                    <a:pt x="1774" y="49"/>
                  </a:lnTo>
                  <a:lnTo>
                    <a:pt x="1771" y="48"/>
                  </a:lnTo>
                  <a:lnTo>
                    <a:pt x="1768" y="48"/>
                  </a:lnTo>
                  <a:lnTo>
                    <a:pt x="1767" y="49"/>
                  </a:lnTo>
                  <a:lnTo>
                    <a:pt x="1767" y="49"/>
                  </a:lnTo>
                  <a:lnTo>
                    <a:pt x="1768" y="60"/>
                  </a:lnTo>
                  <a:lnTo>
                    <a:pt x="1768" y="65"/>
                  </a:lnTo>
                  <a:lnTo>
                    <a:pt x="1767" y="71"/>
                  </a:lnTo>
                  <a:lnTo>
                    <a:pt x="1767" y="71"/>
                  </a:lnTo>
                  <a:lnTo>
                    <a:pt x="1765" y="73"/>
                  </a:lnTo>
                  <a:lnTo>
                    <a:pt x="1762" y="74"/>
                  </a:lnTo>
                  <a:lnTo>
                    <a:pt x="1752" y="76"/>
                  </a:lnTo>
                  <a:lnTo>
                    <a:pt x="1740" y="76"/>
                  </a:lnTo>
                  <a:lnTo>
                    <a:pt x="1733" y="74"/>
                  </a:lnTo>
                  <a:lnTo>
                    <a:pt x="1733" y="74"/>
                  </a:lnTo>
                  <a:lnTo>
                    <a:pt x="1730" y="73"/>
                  </a:lnTo>
                  <a:lnTo>
                    <a:pt x="1727" y="70"/>
                  </a:lnTo>
                  <a:lnTo>
                    <a:pt x="1725" y="64"/>
                  </a:lnTo>
                  <a:lnTo>
                    <a:pt x="1721" y="52"/>
                  </a:lnTo>
                  <a:lnTo>
                    <a:pt x="1721" y="52"/>
                  </a:lnTo>
                  <a:lnTo>
                    <a:pt x="1715" y="45"/>
                  </a:lnTo>
                  <a:lnTo>
                    <a:pt x="1705" y="37"/>
                  </a:lnTo>
                  <a:lnTo>
                    <a:pt x="1693" y="30"/>
                  </a:lnTo>
                  <a:lnTo>
                    <a:pt x="1685" y="25"/>
                  </a:lnTo>
                  <a:lnTo>
                    <a:pt x="1685" y="25"/>
                  </a:lnTo>
                  <a:lnTo>
                    <a:pt x="1679" y="24"/>
                  </a:lnTo>
                  <a:lnTo>
                    <a:pt x="1671" y="24"/>
                  </a:lnTo>
                  <a:lnTo>
                    <a:pt x="1641" y="24"/>
                  </a:lnTo>
                  <a:lnTo>
                    <a:pt x="1641" y="24"/>
                  </a:lnTo>
                  <a:lnTo>
                    <a:pt x="1632" y="25"/>
                  </a:lnTo>
                  <a:lnTo>
                    <a:pt x="1620" y="30"/>
                  </a:lnTo>
                  <a:lnTo>
                    <a:pt x="1596" y="42"/>
                  </a:lnTo>
                  <a:lnTo>
                    <a:pt x="1576" y="55"/>
                  </a:lnTo>
                  <a:lnTo>
                    <a:pt x="1562" y="64"/>
                  </a:lnTo>
                  <a:lnTo>
                    <a:pt x="1562" y="64"/>
                  </a:lnTo>
                  <a:lnTo>
                    <a:pt x="1558" y="68"/>
                  </a:lnTo>
                  <a:lnTo>
                    <a:pt x="1552" y="76"/>
                  </a:lnTo>
                  <a:lnTo>
                    <a:pt x="1537" y="97"/>
                  </a:lnTo>
                  <a:lnTo>
                    <a:pt x="1514" y="129"/>
                  </a:lnTo>
                  <a:lnTo>
                    <a:pt x="1514" y="129"/>
                  </a:lnTo>
                  <a:lnTo>
                    <a:pt x="1454" y="220"/>
                  </a:lnTo>
                  <a:lnTo>
                    <a:pt x="1454" y="220"/>
                  </a:lnTo>
                  <a:lnTo>
                    <a:pt x="1453" y="221"/>
                  </a:lnTo>
                  <a:lnTo>
                    <a:pt x="1450" y="220"/>
                  </a:lnTo>
                  <a:lnTo>
                    <a:pt x="1447" y="218"/>
                  </a:lnTo>
                  <a:lnTo>
                    <a:pt x="1445" y="215"/>
                  </a:lnTo>
                  <a:lnTo>
                    <a:pt x="1445" y="215"/>
                  </a:lnTo>
                  <a:lnTo>
                    <a:pt x="1442" y="211"/>
                  </a:lnTo>
                  <a:lnTo>
                    <a:pt x="1437" y="206"/>
                  </a:lnTo>
                  <a:lnTo>
                    <a:pt x="1431" y="202"/>
                  </a:lnTo>
                  <a:lnTo>
                    <a:pt x="1425" y="199"/>
                  </a:lnTo>
                  <a:lnTo>
                    <a:pt x="1425" y="199"/>
                  </a:lnTo>
                  <a:lnTo>
                    <a:pt x="1417" y="197"/>
                  </a:lnTo>
                  <a:lnTo>
                    <a:pt x="1408" y="197"/>
                  </a:lnTo>
                  <a:lnTo>
                    <a:pt x="1394" y="197"/>
                  </a:lnTo>
                  <a:lnTo>
                    <a:pt x="1394" y="197"/>
                  </a:lnTo>
                  <a:lnTo>
                    <a:pt x="1389" y="200"/>
                  </a:lnTo>
                  <a:lnTo>
                    <a:pt x="1385" y="206"/>
                  </a:lnTo>
                  <a:lnTo>
                    <a:pt x="1374" y="218"/>
                  </a:lnTo>
                  <a:lnTo>
                    <a:pt x="1374" y="218"/>
                  </a:lnTo>
                  <a:lnTo>
                    <a:pt x="1373" y="220"/>
                  </a:lnTo>
                  <a:lnTo>
                    <a:pt x="1370" y="220"/>
                  </a:lnTo>
                  <a:lnTo>
                    <a:pt x="1361" y="220"/>
                  </a:lnTo>
                  <a:lnTo>
                    <a:pt x="1354" y="218"/>
                  </a:lnTo>
                  <a:lnTo>
                    <a:pt x="1346" y="217"/>
                  </a:lnTo>
                  <a:lnTo>
                    <a:pt x="1346" y="217"/>
                  </a:lnTo>
                  <a:lnTo>
                    <a:pt x="1340" y="220"/>
                  </a:lnTo>
                  <a:lnTo>
                    <a:pt x="1334" y="225"/>
                  </a:lnTo>
                  <a:lnTo>
                    <a:pt x="1324" y="236"/>
                  </a:lnTo>
                  <a:lnTo>
                    <a:pt x="1324" y="236"/>
                  </a:lnTo>
                  <a:lnTo>
                    <a:pt x="1320" y="237"/>
                  </a:lnTo>
                  <a:lnTo>
                    <a:pt x="1317" y="237"/>
                  </a:lnTo>
                  <a:lnTo>
                    <a:pt x="1314" y="234"/>
                  </a:lnTo>
                  <a:lnTo>
                    <a:pt x="1311" y="230"/>
                  </a:lnTo>
                  <a:lnTo>
                    <a:pt x="1311" y="230"/>
                  </a:lnTo>
                  <a:lnTo>
                    <a:pt x="1311" y="227"/>
                  </a:lnTo>
                  <a:lnTo>
                    <a:pt x="1312" y="222"/>
                  </a:lnTo>
                  <a:lnTo>
                    <a:pt x="1320" y="215"/>
                  </a:lnTo>
                  <a:lnTo>
                    <a:pt x="1320" y="215"/>
                  </a:lnTo>
                  <a:lnTo>
                    <a:pt x="1323" y="211"/>
                  </a:lnTo>
                  <a:lnTo>
                    <a:pt x="1324" y="205"/>
                  </a:lnTo>
                  <a:lnTo>
                    <a:pt x="1326" y="200"/>
                  </a:lnTo>
                  <a:lnTo>
                    <a:pt x="1324" y="196"/>
                  </a:lnTo>
                  <a:lnTo>
                    <a:pt x="1324" y="196"/>
                  </a:lnTo>
                  <a:lnTo>
                    <a:pt x="1318" y="191"/>
                  </a:lnTo>
                  <a:lnTo>
                    <a:pt x="1311" y="185"/>
                  </a:lnTo>
                  <a:lnTo>
                    <a:pt x="1300" y="180"/>
                  </a:lnTo>
                  <a:lnTo>
                    <a:pt x="1293" y="178"/>
                  </a:lnTo>
                  <a:lnTo>
                    <a:pt x="1293" y="178"/>
                  </a:lnTo>
                  <a:lnTo>
                    <a:pt x="1286" y="180"/>
                  </a:lnTo>
                  <a:lnTo>
                    <a:pt x="1277" y="182"/>
                  </a:lnTo>
                  <a:lnTo>
                    <a:pt x="1259" y="188"/>
                  </a:lnTo>
                  <a:lnTo>
                    <a:pt x="1259" y="188"/>
                  </a:lnTo>
                  <a:lnTo>
                    <a:pt x="1251" y="193"/>
                  </a:lnTo>
                  <a:lnTo>
                    <a:pt x="1243" y="199"/>
                  </a:lnTo>
                  <a:lnTo>
                    <a:pt x="1228" y="211"/>
                  </a:lnTo>
                  <a:lnTo>
                    <a:pt x="1228" y="211"/>
                  </a:lnTo>
                  <a:lnTo>
                    <a:pt x="1225" y="217"/>
                  </a:lnTo>
                  <a:lnTo>
                    <a:pt x="1220" y="222"/>
                  </a:lnTo>
                  <a:lnTo>
                    <a:pt x="1217" y="236"/>
                  </a:lnTo>
                  <a:lnTo>
                    <a:pt x="1217" y="236"/>
                  </a:lnTo>
                  <a:lnTo>
                    <a:pt x="1217" y="242"/>
                  </a:lnTo>
                  <a:lnTo>
                    <a:pt x="1219" y="249"/>
                  </a:lnTo>
                  <a:lnTo>
                    <a:pt x="1223" y="262"/>
                  </a:lnTo>
                  <a:lnTo>
                    <a:pt x="1223" y="262"/>
                  </a:lnTo>
                  <a:lnTo>
                    <a:pt x="1226" y="267"/>
                  </a:lnTo>
                  <a:lnTo>
                    <a:pt x="1229" y="276"/>
                  </a:lnTo>
                  <a:lnTo>
                    <a:pt x="1232" y="295"/>
                  </a:lnTo>
                  <a:lnTo>
                    <a:pt x="1232" y="295"/>
                  </a:lnTo>
                  <a:lnTo>
                    <a:pt x="1234" y="301"/>
                  </a:lnTo>
                  <a:lnTo>
                    <a:pt x="1232" y="305"/>
                  </a:lnTo>
                  <a:lnTo>
                    <a:pt x="1229" y="314"/>
                  </a:lnTo>
                  <a:lnTo>
                    <a:pt x="1226" y="322"/>
                  </a:lnTo>
                  <a:lnTo>
                    <a:pt x="1222" y="328"/>
                  </a:lnTo>
                  <a:lnTo>
                    <a:pt x="1222" y="328"/>
                  </a:lnTo>
                  <a:lnTo>
                    <a:pt x="1219" y="331"/>
                  </a:lnTo>
                  <a:lnTo>
                    <a:pt x="1214" y="331"/>
                  </a:lnTo>
                  <a:lnTo>
                    <a:pt x="1210" y="331"/>
                  </a:lnTo>
                  <a:lnTo>
                    <a:pt x="1207" y="329"/>
                  </a:lnTo>
                  <a:lnTo>
                    <a:pt x="1207" y="329"/>
                  </a:lnTo>
                  <a:lnTo>
                    <a:pt x="1204" y="326"/>
                  </a:lnTo>
                  <a:lnTo>
                    <a:pt x="1201" y="322"/>
                  </a:lnTo>
                  <a:lnTo>
                    <a:pt x="1195" y="310"/>
                  </a:lnTo>
                  <a:lnTo>
                    <a:pt x="1195" y="310"/>
                  </a:lnTo>
                  <a:lnTo>
                    <a:pt x="1194" y="305"/>
                  </a:lnTo>
                  <a:lnTo>
                    <a:pt x="1197" y="302"/>
                  </a:lnTo>
                  <a:lnTo>
                    <a:pt x="1203" y="295"/>
                  </a:lnTo>
                  <a:lnTo>
                    <a:pt x="1203" y="295"/>
                  </a:lnTo>
                  <a:lnTo>
                    <a:pt x="1206" y="292"/>
                  </a:lnTo>
                  <a:lnTo>
                    <a:pt x="1209" y="286"/>
                  </a:lnTo>
                  <a:lnTo>
                    <a:pt x="1211" y="276"/>
                  </a:lnTo>
                  <a:lnTo>
                    <a:pt x="1211" y="276"/>
                  </a:lnTo>
                  <a:lnTo>
                    <a:pt x="1211" y="271"/>
                  </a:lnTo>
                  <a:lnTo>
                    <a:pt x="1211" y="264"/>
                  </a:lnTo>
                  <a:lnTo>
                    <a:pt x="1210" y="258"/>
                  </a:lnTo>
                  <a:lnTo>
                    <a:pt x="1209" y="257"/>
                  </a:lnTo>
                  <a:lnTo>
                    <a:pt x="1207" y="255"/>
                  </a:lnTo>
                  <a:lnTo>
                    <a:pt x="1207" y="255"/>
                  </a:lnTo>
                  <a:lnTo>
                    <a:pt x="1203" y="255"/>
                  </a:lnTo>
                  <a:lnTo>
                    <a:pt x="1200" y="258"/>
                  </a:lnTo>
                  <a:lnTo>
                    <a:pt x="1197" y="262"/>
                  </a:lnTo>
                  <a:lnTo>
                    <a:pt x="1192" y="265"/>
                  </a:lnTo>
                  <a:lnTo>
                    <a:pt x="1192" y="265"/>
                  </a:lnTo>
                  <a:lnTo>
                    <a:pt x="1188" y="271"/>
                  </a:lnTo>
                  <a:lnTo>
                    <a:pt x="1180" y="279"/>
                  </a:lnTo>
                  <a:lnTo>
                    <a:pt x="1170" y="295"/>
                  </a:lnTo>
                  <a:lnTo>
                    <a:pt x="1170" y="295"/>
                  </a:lnTo>
                  <a:lnTo>
                    <a:pt x="1161" y="305"/>
                  </a:lnTo>
                  <a:lnTo>
                    <a:pt x="1158" y="308"/>
                  </a:lnTo>
                  <a:lnTo>
                    <a:pt x="1155" y="308"/>
                  </a:lnTo>
                  <a:lnTo>
                    <a:pt x="1154" y="308"/>
                  </a:lnTo>
                  <a:lnTo>
                    <a:pt x="1154" y="308"/>
                  </a:lnTo>
                  <a:lnTo>
                    <a:pt x="1152" y="305"/>
                  </a:lnTo>
                  <a:lnTo>
                    <a:pt x="1152" y="299"/>
                  </a:lnTo>
                  <a:lnTo>
                    <a:pt x="1154" y="289"/>
                  </a:lnTo>
                  <a:lnTo>
                    <a:pt x="1154" y="289"/>
                  </a:lnTo>
                  <a:lnTo>
                    <a:pt x="1155" y="285"/>
                  </a:lnTo>
                  <a:lnTo>
                    <a:pt x="1158" y="277"/>
                  </a:lnTo>
                  <a:lnTo>
                    <a:pt x="1163" y="268"/>
                  </a:lnTo>
                  <a:lnTo>
                    <a:pt x="1163" y="268"/>
                  </a:lnTo>
                  <a:lnTo>
                    <a:pt x="1174" y="259"/>
                  </a:lnTo>
                  <a:lnTo>
                    <a:pt x="1189" y="252"/>
                  </a:lnTo>
                  <a:lnTo>
                    <a:pt x="1189" y="252"/>
                  </a:lnTo>
                  <a:lnTo>
                    <a:pt x="1192" y="249"/>
                  </a:lnTo>
                  <a:lnTo>
                    <a:pt x="1194" y="246"/>
                  </a:lnTo>
                  <a:lnTo>
                    <a:pt x="1191" y="245"/>
                  </a:lnTo>
                  <a:lnTo>
                    <a:pt x="1186" y="242"/>
                  </a:lnTo>
                  <a:lnTo>
                    <a:pt x="1186" y="242"/>
                  </a:lnTo>
                  <a:lnTo>
                    <a:pt x="1180" y="242"/>
                  </a:lnTo>
                  <a:lnTo>
                    <a:pt x="1174" y="243"/>
                  </a:lnTo>
                  <a:lnTo>
                    <a:pt x="1161" y="248"/>
                  </a:lnTo>
                  <a:lnTo>
                    <a:pt x="1161" y="248"/>
                  </a:lnTo>
                  <a:lnTo>
                    <a:pt x="1143" y="254"/>
                  </a:lnTo>
                  <a:lnTo>
                    <a:pt x="1127" y="261"/>
                  </a:lnTo>
                  <a:lnTo>
                    <a:pt x="1127" y="261"/>
                  </a:lnTo>
                  <a:lnTo>
                    <a:pt x="1114" y="267"/>
                  </a:lnTo>
                  <a:lnTo>
                    <a:pt x="1096" y="279"/>
                  </a:lnTo>
                  <a:lnTo>
                    <a:pt x="1077" y="291"/>
                  </a:lnTo>
                  <a:lnTo>
                    <a:pt x="1065" y="297"/>
                  </a:lnTo>
                  <a:lnTo>
                    <a:pt x="1065" y="297"/>
                  </a:lnTo>
                  <a:lnTo>
                    <a:pt x="1046" y="304"/>
                  </a:lnTo>
                  <a:lnTo>
                    <a:pt x="1026" y="311"/>
                  </a:lnTo>
                  <a:lnTo>
                    <a:pt x="1026" y="311"/>
                  </a:lnTo>
                  <a:lnTo>
                    <a:pt x="1022" y="313"/>
                  </a:lnTo>
                  <a:lnTo>
                    <a:pt x="1018" y="316"/>
                  </a:lnTo>
                  <a:lnTo>
                    <a:pt x="1013" y="319"/>
                  </a:lnTo>
                  <a:lnTo>
                    <a:pt x="1012" y="322"/>
                  </a:lnTo>
                  <a:lnTo>
                    <a:pt x="1012" y="322"/>
                  </a:lnTo>
                  <a:lnTo>
                    <a:pt x="1012" y="323"/>
                  </a:lnTo>
                  <a:lnTo>
                    <a:pt x="1015" y="323"/>
                  </a:lnTo>
                  <a:lnTo>
                    <a:pt x="1020" y="326"/>
                  </a:lnTo>
                  <a:lnTo>
                    <a:pt x="1028" y="329"/>
                  </a:lnTo>
                  <a:lnTo>
                    <a:pt x="1035" y="332"/>
                  </a:lnTo>
                  <a:lnTo>
                    <a:pt x="1035" y="332"/>
                  </a:lnTo>
                  <a:lnTo>
                    <a:pt x="1038" y="335"/>
                  </a:lnTo>
                  <a:lnTo>
                    <a:pt x="1040" y="338"/>
                  </a:lnTo>
                  <a:lnTo>
                    <a:pt x="1041" y="345"/>
                  </a:lnTo>
                  <a:lnTo>
                    <a:pt x="1040" y="353"/>
                  </a:lnTo>
                  <a:lnTo>
                    <a:pt x="1037" y="359"/>
                  </a:lnTo>
                  <a:lnTo>
                    <a:pt x="1037" y="359"/>
                  </a:lnTo>
                  <a:lnTo>
                    <a:pt x="1032" y="362"/>
                  </a:lnTo>
                  <a:lnTo>
                    <a:pt x="1026" y="366"/>
                  </a:lnTo>
                  <a:lnTo>
                    <a:pt x="1012" y="374"/>
                  </a:lnTo>
                  <a:lnTo>
                    <a:pt x="1012" y="374"/>
                  </a:lnTo>
                  <a:lnTo>
                    <a:pt x="1007" y="376"/>
                  </a:lnTo>
                  <a:lnTo>
                    <a:pt x="1006" y="382"/>
                  </a:lnTo>
                  <a:lnTo>
                    <a:pt x="1004" y="396"/>
                  </a:lnTo>
                  <a:lnTo>
                    <a:pt x="1004" y="396"/>
                  </a:lnTo>
                  <a:lnTo>
                    <a:pt x="1006" y="400"/>
                  </a:lnTo>
                  <a:lnTo>
                    <a:pt x="1009" y="403"/>
                  </a:lnTo>
                  <a:lnTo>
                    <a:pt x="1013" y="405"/>
                  </a:lnTo>
                  <a:lnTo>
                    <a:pt x="1019" y="405"/>
                  </a:lnTo>
                  <a:lnTo>
                    <a:pt x="1019" y="405"/>
                  </a:lnTo>
                  <a:lnTo>
                    <a:pt x="1020" y="405"/>
                  </a:lnTo>
                  <a:lnTo>
                    <a:pt x="1022" y="403"/>
                  </a:lnTo>
                  <a:lnTo>
                    <a:pt x="1026" y="399"/>
                  </a:lnTo>
                  <a:lnTo>
                    <a:pt x="1032" y="390"/>
                  </a:lnTo>
                  <a:lnTo>
                    <a:pt x="1032" y="390"/>
                  </a:lnTo>
                  <a:lnTo>
                    <a:pt x="1037" y="382"/>
                  </a:lnTo>
                  <a:lnTo>
                    <a:pt x="1041" y="378"/>
                  </a:lnTo>
                  <a:lnTo>
                    <a:pt x="1044" y="376"/>
                  </a:lnTo>
                  <a:lnTo>
                    <a:pt x="1044" y="376"/>
                  </a:lnTo>
                  <a:lnTo>
                    <a:pt x="1046" y="376"/>
                  </a:lnTo>
                  <a:lnTo>
                    <a:pt x="1046" y="378"/>
                  </a:lnTo>
                  <a:lnTo>
                    <a:pt x="1047" y="384"/>
                  </a:lnTo>
                  <a:lnTo>
                    <a:pt x="1046" y="402"/>
                  </a:lnTo>
                  <a:lnTo>
                    <a:pt x="1046" y="402"/>
                  </a:lnTo>
                  <a:lnTo>
                    <a:pt x="1047" y="418"/>
                  </a:lnTo>
                  <a:lnTo>
                    <a:pt x="1050" y="430"/>
                  </a:lnTo>
                  <a:lnTo>
                    <a:pt x="1050" y="430"/>
                  </a:lnTo>
                  <a:lnTo>
                    <a:pt x="1055" y="434"/>
                  </a:lnTo>
                  <a:lnTo>
                    <a:pt x="1063" y="440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6" y="452"/>
                  </a:lnTo>
                  <a:lnTo>
                    <a:pt x="1089" y="455"/>
                  </a:lnTo>
                  <a:lnTo>
                    <a:pt x="1092" y="458"/>
                  </a:lnTo>
                  <a:lnTo>
                    <a:pt x="1092" y="461"/>
                  </a:lnTo>
                  <a:lnTo>
                    <a:pt x="1092" y="461"/>
                  </a:lnTo>
                  <a:lnTo>
                    <a:pt x="1090" y="464"/>
                  </a:lnTo>
                  <a:lnTo>
                    <a:pt x="1086" y="467"/>
                  </a:lnTo>
                  <a:lnTo>
                    <a:pt x="1075" y="474"/>
                  </a:lnTo>
                  <a:lnTo>
                    <a:pt x="1075" y="474"/>
                  </a:lnTo>
                  <a:lnTo>
                    <a:pt x="1072" y="477"/>
                  </a:lnTo>
                  <a:lnTo>
                    <a:pt x="1071" y="480"/>
                  </a:lnTo>
                  <a:lnTo>
                    <a:pt x="1069" y="483"/>
                  </a:lnTo>
                  <a:lnTo>
                    <a:pt x="1068" y="483"/>
                  </a:lnTo>
                  <a:lnTo>
                    <a:pt x="1068" y="483"/>
                  </a:lnTo>
                  <a:lnTo>
                    <a:pt x="1059" y="480"/>
                  </a:lnTo>
                  <a:lnTo>
                    <a:pt x="1053" y="477"/>
                  </a:lnTo>
                  <a:lnTo>
                    <a:pt x="1046" y="476"/>
                  </a:lnTo>
                  <a:lnTo>
                    <a:pt x="1046" y="476"/>
                  </a:lnTo>
                  <a:lnTo>
                    <a:pt x="1043" y="476"/>
                  </a:lnTo>
                  <a:lnTo>
                    <a:pt x="1040" y="477"/>
                  </a:lnTo>
                  <a:lnTo>
                    <a:pt x="1037" y="479"/>
                  </a:lnTo>
                  <a:lnTo>
                    <a:pt x="1034" y="483"/>
                  </a:lnTo>
                  <a:lnTo>
                    <a:pt x="1032" y="491"/>
                  </a:lnTo>
                  <a:lnTo>
                    <a:pt x="1031" y="495"/>
                  </a:lnTo>
                  <a:lnTo>
                    <a:pt x="1031" y="495"/>
                  </a:lnTo>
                  <a:lnTo>
                    <a:pt x="1032" y="499"/>
                  </a:lnTo>
                  <a:lnTo>
                    <a:pt x="1035" y="504"/>
                  </a:lnTo>
                  <a:lnTo>
                    <a:pt x="1040" y="507"/>
                  </a:lnTo>
                  <a:lnTo>
                    <a:pt x="1044" y="510"/>
                  </a:lnTo>
                  <a:lnTo>
                    <a:pt x="1044" y="510"/>
                  </a:lnTo>
                  <a:lnTo>
                    <a:pt x="1047" y="511"/>
                  </a:lnTo>
                  <a:lnTo>
                    <a:pt x="1050" y="514"/>
                  </a:lnTo>
                  <a:lnTo>
                    <a:pt x="1050" y="517"/>
                  </a:lnTo>
                  <a:lnTo>
                    <a:pt x="1049" y="522"/>
                  </a:lnTo>
                  <a:lnTo>
                    <a:pt x="1049" y="522"/>
                  </a:lnTo>
                  <a:lnTo>
                    <a:pt x="1047" y="523"/>
                  </a:lnTo>
                  <a:lnTo>
                    <a:pt x="1044" y="525"/>
                  </a:lnTo>
                  <a:lnTo>
                    <a:pt x="1034" y="526"/>
                  </a:lnTo>
                  <a:lnTo>
                    <a:pt x="1020" y="526"/>
                  </a:lnTo>
                  <a:lnTo>
                    <a:pt x="1007" y="526"/>
                  </a:lnTo>
                  <a:lnTo>
                    <a:pt x="1007" y="526"/>
                  </a:lnTo>
                  <a:lnTo>
                    <a:pt x="979" y="525"/>
                  </a:lnTo>
                  <a:lnTo>
                    <a:pt x="958" y="523"/>
                  </a:lnTo>
                  <a:lnTo>
                    <a:pt x="958" y="523"/>
                  </a:lnTo>
                  <a:lnTo>
                    <a:pt x="955" y="525"/>
                  </a:lnTo>
                  <a:lnTo>
                    <a:pt x="952" y="526"/>
                  </a:lnTo>
                  <a:lnTo>
                    <a:pt x="945" y="533"/>
                  </a:lnTo>
                  <a:lnTo>
                    <a:pt x="939" y="541"/>
                  </a:lnTo>
                  <a:lnTo>
                    <a:pt x="936" y="547"/>
                  </a:lnTo>
                  <a:lnTo>
                    <a:pt x="936" y="547"/>
                  </a:lnTo>
                  <a:lnTo>
                    <a:pt x="930" y="568"/>
                  </a:lnTo>
                  <a:lnTo>
                    <a:pt x="924" y="581"/>
                  </a:lnTo>
                  <a:lnTo>
                    <a:pt x="921" y="585"/>
                  </a:lnTo>
                  <a:lnTo>
                    <a:pt x="920" y="587"/>
                  </a:lnTo>
                  <a:lnTo>
                    <a:pt x="920" y="587"/>
                  </a:lnTo>
                  <a:lnTo>
                    <a:pt x="914" y="590"/>
                  </a:lnTo>
                  <a:lnTo>
                    <a:pt x="906" y="590"/>
                  </a:lnTo>
                  <a:lnTo>
                    <a:pt x="898" y="590"/>
                  </a:lnTo>
                  <a:lnTo>
                    <a:pt x="890" y="588"/>
                  </a:lnTo>
                  <a:lnTo>
                    <a:pt x="890" y="588"/>
                  </a:lnTo>
                  <a:lnTo>
                    <a:pt x="883" y="585"/>
                  </a:lnTo>
                  <a:lnTo>
                    <a:pt x="875" y="579"/>
                  </a:lnTo>
                  <a:lnTo>
                    <a:pt x="864" y="569"/>
                  </a:lnTo>
                  <a:lnTo>
                    <a:pt x="864" y="569"/>
                  </a:lnTo>
                  <a:lnTo>
                    <a:pt x="858" y="565"/>
                  </a:lnTo>
                  <a:lnTo>
                    <a:pt x="852" y="562"/>
                  </a:lnTo>
                  <a:lnTo>
                    <a:pt x="847" y="560"/>
                  </a:lnTo>
                  <a:lnTo>
                    <a:pt x="844" y="560"/>
                  </a:lnTo>
                  <a:lnTo>
                    <a:pt x="844" y="560"/>
                  </a:lnTo>
                  <a:lnTo>
                    <a:pt x="843" y="562"/>
                  </a:lnTo>
                  <a:lnTo>
                    <a:pt x="841" y="563"/>
                  </a:lnTo>
                  <a:lnTo>
                    <a:pt x="841" y="569"/>
                  </a:lnTo>
                  <a:lnTo>
                    <a:pt x="843" y="584"/>
                  </a:lnTo>
                  <a:lnTo>
                    <a:pt x="843" y="584"/>
                  </a:lnTo>
                  <a:lnTo>
                    <a:pt x="846" y="596"/>
                  </a:lnTo>
                  <a:lnTo>
                    <a:pt x="850" y="612"/>
                  </a:lnTo>
                  <a:lnTo>
                    <a:pt x="856" y="628"/>
                  </a:lnTo>
                  <a:lnTo>
                    <a:pt x="861" y="637"/>
                  </a:lnTo>
                  <a:lnTo>
                    <a:pt x="861" y="637"/>
                  </a:lnTo>
                  <a:lnTo>
                    <a:pt x="864" y="643"/>
                  </a:lnTo>
                  <a:lnTo>
                    <a:pt x="866" y="655"/>
                  </a:lnTo>
                  <a:lnTo>
                    <a:pt x="868" y="667"/>
                  </a:lnTo>
                  <a:lnTo>
                    <a:pt x="869" y="677"/>
                  </a:lnTo>
                  <a:lnTo>
                    <a:pt x="869" y="677"/>
                  </a:lnTo>
                  <a:lnTo>
                    <a:pt x="868" y="685"/>
                  </a:lnTo>
                  <a:lnTo>
                    <a:pt x="864" y="689"/>
                  </a:lnTo>
                  <a:lnTo>
                    <a:pt x="859" y="690"/>
                  </a:lnTo>
                  <a:lnTo>
                    <a:pt x="853" y="692"/>
                  </a:lnTo>
                  <a:lnTo>
                    <a:pt x="853" y="692"/>
                  </a:lnTo>
                  <a:lnTo>
                    <a:pt x="844" y="690"/>
                  </a:lnTo>
                  <a:lnTo>
                    <a:pt x="832" y="688"/>
                  </a:lnTo>
                  <a:lnTo>
                    <a:pt x="810" y="679"/>
                  </a:lnTo>
                  <a:lnTo>
                    <a:pt x="810" y="679"/>
                  </a:lnTo>
                  <a:lnTo>
                    <a:pt x="784" y="668"/>
                  </a:lnTo>
                  <a:lnTo>
                    <a:pt x="769" y="662"/>
                  </a:lnTo>
                  <a:lnTo>
                    <a:pt x="761" y="658"/>
                  </a:lnTo>
                  <a:lnTo>
                    <a:pt x="761" y="658"/>
                  </a:lnTo>
                  <a:lnTo>
                    <a:pt x="755" y="653"/>
                  </a:lnTo>
                  <a:lnTo>
                    <a:pt x="749" y="648"/>
                  </a:lnTo>
                  <a:lnTo>
                    <a:pt x="749" y="648"/>
                  </a:lnTo>
                  <a:lnTo>
                    <a:pt x="749" y="645"/>
                  </a:lnTo>
                  <a:lnTo>
                    <a:pt x="751" y="642"/>
                  </a:lnTo>
                  <a:lnTo>
                    <a:pt x="754" y="636"/>
                  </a:lnTo>
                  <a:lnTo>
                    <a:pt x="754" y="636"/>
                  </a:lnTo>
                  <a:lnTo>
                    <a:pt x="755" y="628"/>
                  </a:lnTo>
                  <a:lnTo>
                    <a:pt x="755" y="619"/>
                  </a:lnTo>
                  <a:lnTo>
                    <a:pt x="755" y="619"/>
                  </a:lnTo>
                  <a:lnTo>
                    <a:pt x="754" y="618"/>
                  </a:lnTo>
                  <a:lnTo>
                    <a:pt x="752" y="616"/>
                  </a:lnTo>
                  <a:lnTo>
                    <a:pt x="749" y="616"/>
                  </a:lnTo>
                  <a:lnTo>
                    <a:pt x="747" y="618"/>
                  </a:lnTo>
                  <a:lnTo>
                    <a:pt x="747" y="618"/>
                  </a:lnTo>
                  <a:lnTo>
                    <a:pt x="745" y="622"/>
                  </a:lnTo>
                  <a:lnTo>
                    <a:pt x="744" y="628"/>
                  </a:lnTo>
                  <a:lnTo>
                    <a:pt x="741" y="640"/>
                  </a:lnTo>
                  <a:lnTo>
                    <a:pt x="741" y="640"/>
                  </a:lnTo>
                  <a:lnTo>
                    <a:pt x="739" y="642"/>
                  </a:lnTo>
                  <a:lnTo>
                    <a:pt x="735" y="642"/>
                  </a:lnTo>
                  <a:lnTo>
                    <a:pt x="732" y="642"/>
                  </a:lnTo>
                  <a:lnTo>
                    <a:pt x="729" y="639"/>
                  </a:lnTo>
                  <a:lnTo>
                    <a:pt x="729" y="639"/>
                  </a:lnTo>
                  <a:lnTo>
                    <a:pt x="723" y="633"/>
                  </a:lnTo>
                  <a:lnTo>
                    <a:pt x="718" y="622"/>
                  </a:lnTo>
                  <a:lnTo>
                    <a:pt x="718" y="622"/>
                  </a:lnTo>
                  <a:lnTo>
                    <a:pt x="714" y="618"/>
                  </a:lnTo>
                  <a:lnTo>
                    <a:pt x="711" y="615"/>
                  </a:lnTo>
                  <a:lnTo>
                    <a:pt x="704" y="612"/>
                  </a:lnTo>
                  <a:lnTo>
                    <a:pt x="704" y="612"/>
                  </a:lnTo>
                  <a:lnTo>
                    <a:pt x="689" y="608"/>
                  </a:lnTo>
                  <a:lnTo>
                    <a:pt x="675" y="600"/>
                  </a:lnTo>
                  <a:lnTo>
                    <a:pt x="675" y="600"/>
                  </a:lnTo>
                  <a:lnTo>
                    <a:pt x="674" y="597"/>
                  </a:lnTo>
                  <a:lnTo>
                    <a:pt x="674" y="594"/>
                  </a:lnTo>
                  <a:lnTo>
                    <a:pt x="677" y="591"/>
                  </a:lnTo>
                  <a:lnTo>
                    <a:pt x="680" y="587"/>
                  </a:lnTo>
                  <a:lnTo>
                    <a:pt x="680" y="587"/>
                  </a:lnTo>
                  <a:lnTo>
                    <a:pt x="681" y="587"/>
                  </a:lnTo>
                  <a:lnTo>
                    <a:pt x="686" y="585"/>
                  </a:lnTo>
                  <a:lnTo>
                    <a:pt x="696" y="585"/>
                  </a:lnTo>
                  <a:lnTo>
                    <a:pt x="707" y="585"/>
                  </a:lnTo>
                  <a:lnTo>
                    <a:pt x="714" y="585"/>
                  </a:lnTo>
                  <a:lnTo>
                    <a:pt x="714" y="585"/>
                  </a:lnTo>
                  <a:lnTo>
                    <a:pt x="717" y="582"/>
                  </a:lnTo>
                  <a:lnTo>
                    <a:pt x="720" y="578"/>
                  </a:lnTo>
                  <a:lnTo>
                    <a:pt x="721" y="572"/>
                  </a:lnTo>
                  <a:lnTo>
                    <a:pt x="721" y="568"/>
                  </a:lnTo>
                  <a:lnTo>
                    <a:pt x="721" y="568"/>
                  </a:lnTo>
                  <a:lnTo>
                    <a:pt x="720" y="566"/>
                  </a:lnTo>
                  <a:lnTo>
                    <a:pt x="718" y="566"/>
                  </a:lnTo>
                  <a:lnTo>
                    <a:pt x="712" y="566"/>
                  </a:lnTo>
                  <a:lnTo>
                    <a:pt x="701" y="569"/>
                  </a:lnTo>
                  <a:lnTo>
                    <a:pt x="701" y="569"/>
                  </a:lnTo>
                  <a:lnTo>
                    <a:pt x="695" y="569"/>
                  </a:lnTo>
                  <a:lnTo>
                    <a:pt x="695" y="568"/>
                  </a:lnTo>
                  <a:lnTo>
                    <a:pt x="696" y="562"/>
                  </a:lnTo>
                  <a:lnTo>
                    <a:pt x="696" y="562"/>
                  </a:lnTo>
                  <a:lnTo>
                    <a:pt x="698" y="554"/>
                  </a:lnTo>
                  <a:lnTo>
                    <a:pt x="699" y="550"/>
                  </a:lnTo>
                  <a:lnTo>
                    <a:pt x="699" y="545"/>
                  </a:lnTo>
                  <a:lnTo>
                    <a:pt x="699" y="545"/>
                  </a:lnTo>
                  <a:lnTo>
                    <a:pt x="696" y="542"/>
                  </a:lnTo>
                  <a:lnTo>
                    <a:pt x="692" y="541"/>
                  </a:lnTo>
                  <a:lnTo>
                    <a:pt x="680" y="541"/>
                  </a:lnTo>
                  <a:lnTo>
                    <a:pt x="680" y="541"/>
                  </a:lnTo>
                  <a:lnTo>
                    <a:pt x="675" y="539"/>
                  </a:lnTo>
                  <a:lnTo>
                    <a:pt x="672" y="538"/>
                  </a:lnTo>
                  <a:lnTo>
                    <a:pt x="672" y="535"/>
                  </a:lnTo>
                  <a:lnTo>
                    <a:pt x="672" y="532"/>
                  </a:lnTo>
                  <a:lnTo>
                    <a:pt x="672" y="532"/>
                  </a:lnTo>
                  <a:lnTo>
                    <a:pt x="674" y="529"/>
                  </a:lnTo>
                  <a:lnTo>
                    <a:pt x="677" y="525"/>
                  </a:lnTo>
                  <a:lnTo>
                    <a:pt x="683" y="517"/>
                  </a:lnTo>
                  <a:lnTo>
                    <a:pt x="683" y="517"/>
                  </a:lnTo>
                  <a:lnTo>
                    <a:pt x="687" y="510"/>
                  </a:lnTo>
                  <a:lnTo>
                    <a:pt x="689" y="507"/>
                  </a:lnTo>
                  <a:lnTo>
                    <a:pt x="687" y="502"/>
                  </a:lnTo>
                  <a:lnTo>
                    <a:pt x="687" y="502"/>
                  </a:lnTo>
                  <a:lnTo>
                    <a:pt x="686" y="499"/>
                  </a:lnTo>
                  <a:lnTo>
                    <a:pt x="683" y="499"/>
                  </a:lnTo>
                  <a:lnTo>
                    <a:pt x="674" y="498"/>
                  </a:lnTo>
                  <a:lnTo>
                    <a:pt x="674" y="498"/>
                  </a:lnTo>
                  <a:lnTo>
                    <a:pt x="668" y="496"/>
                  </a:lnTo>
                  <a:lnTo>
                    <a:pt x="664" y="493"/>
                  </a:lnTo>
                  <a:lnTo>
                    <a:pt x="656" y="488"/>
                  </a:lnTo>
                  <a:lnTo>
                    <a:pt x="656" y="488"/>
                  </a:lnTo>
                  <a:lnTo>
                    <a:pt x="652" y="486"/>
                  </a:lnTo>
                  <a:lnTo>
                    <a:pt x="649" y="486"/>
                  </a:lnTo>
                  <a:lnTo>
                    <a:pt x="641" y="486"/>
                  </a:lnTo>
                  <a:lnTo>
                    <a:pt x="641" y="486"/>
                  </a:lnTo>
                  <a:lnTo>
                    <a:pt x="635" y="486"/>
                  </a:lnTo>
                  <a:lnTo>
                    <a:pt x="630" y="483"/>
                  </a:lnTo>
                  <a:lnTo>
                    <a:pt x="630" y="483"/>
                  </a:lnTo>
                  <a:lnTo>
                    <a:pt x="621" y="482"/>
                  </a:lnTo>
                  <a:lnTo>
                    <a:pt x="612" y="482"/>
                  </a:lnTo>
                  <a:lnTo>
                    <a:pt x="612" y="482"/>
                  </a:lnTo>
                  <a:lnTo>
                    <a:pt x="606" y="485"/>
                  </a:lnTo>
                  <a:lnTo>
                    <a:pt x="600" y="489"/>
                  </a:lnTo>
                  <a:lnTo>
                    <a:pt x="590" y="499"/>
                  </a:lnTo>
                  <a:lnTo>
                    <a:pt x="590" y="499"/>
                  </a:lnTo>
                  <a:lnTo>
                    <a:pt x="584" y="502"/>
                  </a:lnTo>
                  <a:lnTo>
                    <a:pt x="579" y="504"/>
                  </a:lnTo>
                  <a:lnTo>
                    <a:pt x="572" y="502"/>
                  </a:lnTo>
                  <a:lnTo>
                    <a:pt x="572" y="502"/>
                  </a:lnTo>
                  <a:lnTo>
                    <a:pt x="567" y="504"/>
                  </a:lnTo>
                  <a:lnTo>
                    <a:pt x="564" y="505"/>
                  </a:lnTo>
                  <a:lnTo>
                    <a:pt x="556" y="510"/>
                  </a:lnTo>
                  <a:lnTo>
                    <a:pt x="556" y="510"/>
                  </a:lnTo>
                  <a:lnTo>
                    <a:pt x="551" y="510"/>
                  </a:lnTo>
                  <a:lnTo>
                    <a:pt x="547" y="510"/>
                  </a:lnTo>
                  <a:lnTo>
                    <a:pt x="542" y="507"/>
                  </a:lnTo>
                  <a:lnTo>
                    <a:pt x="539" y="505"/>
                  </a:lnTo>
                  <a:lnTo>
                    <a:pt x="539" y="505"/>
                  </a:lnTo>
                  <a:lnTo>
                    <a:pt x="532" y="498"/>
                  </a:lnTo>
                  <a:lnTo>
                    <a:pt x="526" y="493"/>
                  </a:lnTo>
                  <a:lnTo>
                    <a:pt x="520" y="491"/>
                  </a:lnTo>
                  <a:lnTo>
                    <a:pt x="520" y="491"/>
                  </a:lnTo>
                  <a:lnTo>
                    <a:pt x="517" y="492"/>
                  </a:lnTo>
                  <a:lnTo>
                    <a:pt x="514" y="493"/>
                  </a:lnTo>
                  <a:lnTo>
                    <a:pt x="511" y="502"/>
                  </a:lnTo>
                  <a:lnTo>
                    <a:pt x="510" y="511"/>
                  </a:lnTo>
                  <a:lnTo>
                    <a:pt x="507" y="517"/>
                  </a:lnTo>
                  <a:lnTo>
                    <a:pt x="507" y="517"/>
                  </a:lnTo>
                  <a:lnTo>
                    <a:pt x="505" y="519"/>
                  </a:lnTo>
                  <a:lnTo>
                    <a:pt x="501" y="520"/>
                  </a:lnTo>
                  <a:lnTo>
                    <a:pt x="492" y="520"/>
                  </a:lnTo>
                  <a:lnTo>
                    <a:pt x="492" y="520"/>
                  </a:lnTo>
                  <a:lnTo>
                    <a:pt x="490" y="522"/>
                  </a:lnTo>
                  <a:lnTo>
                    <a:pt x="490" y="525"/>
                  </a:lnTo>
                  <a:lnTo>
                    <a:pt x="490" y="529"/>
                  </a:lnTo>
                  <a:lnTo>
                    <a:pt x="490" y="533"/>
                  </a:lnTo>
                  <a:lnTo>
                    <a:pt x="490" y="533"/>
                  </a:lnTo>
                  <a:lnTo>
                    <a:pt x="492" y="536"/>
                  </a:lnTo>
                  <a:lnTo>
                    <a:pt x="493" y="539"/>
                  </a:lnTo>
                  <a:lnTo>
                    <a:pt x="498" y="548"/>
                  </a:lnTo>
                  <a:lnTo>
                    <a:pt x="504" y="556"/>
                  </a:lnTo>
                  <a:lnTo>
                    <a:pt x="507" y="562"/>
                  </a:lnTo>
                  <a:lnTo>
                    <a:pt x="507" y="562"/>
                  </a:lnTo>
                  <a:lnTo>
                    <a:pt x="508" y="573"/>
                  </a:lnTo>
                  <a:lnTo>
                    <a:pt x="510" y="581"/>
                  </a:lnTo>
                  <a:lnTo>
                    <a:pt x="511" y="584"/>
                  </a:lnTo>
                  <a:lnTo>
                    <a:pt x="511" y="584"/>
                  </a:lnTo>
                  <a:lnTo>
                    <a:pt x="516" y="591"/>
                  </a:lnTo>
                  <a:lnTo>
                    <a:pt x="517" y="594"/>
                  </a:lnTo>
                  <a:lnTo>
                    <a:pt x="517" y="596"/>
                  </a:lnTo>
                  <a:lnTo>
                    <a:pt x="517" y="596"/>
                  </a:lnTo>
                  <a:lnTo>
                    <a:pt x="508" y="597"/>
                  </a:lnTo>
                  <a:lnTo>
                    <a:pt x="496" y="599"/>
                  </a:lnTo>
                  <a:lnTo>
                    <a:pt x="496" y="599"/>
                  </a:lnTo>
                  <a:lnTo>
                    <a:pt x="490" y="600"/>
                  </a:lnTo>
                  <a:lnTo>
                    <a:pt x="484" y="605"/>
                  </a:lnTo>
                  <a:lnTo>
                    <a:pt x="476" y="615"/>
                  </a:lnTo>
                  <a:lnTo>
                    <a:pt x="476" y="615"/>
                  </a:lnTo>
                  <a:lnTo>
                    <a:pt x="471" y="618"/>
                  </a:lnTo>
                  <a:lnTo>
                    <a:pt x="467" y="619"/>
                  </a:lnTo>
                  <a:lnTo>
                    <a:pt x="453" y="624"/>
                  </a:lnTo>
                  <a:lnTo>
                    <a:pt x="439" y="627"/>
                  </a:lnTo>
                  <a:lnTo>
                    <a:pt x="428" y="628"/>
                  </a:lnTo>
                  <a:lnTo>
                    <a:pt x="428" y="628"/>
                  </a:lnTo>
                  <a:lnTo>
                    <a:pt x="400" y="628"/>
                  </a:lnTo>
                  <a:lnTo>
                    <a:pt x="382" y="628"/>
                  </a:lnTo>
                  <a:lnTo>
                    <a:pt x="367" y="627"/>
                  </a:lnTo>
                  <a:lnTo>
                    <a:pt x="367" y="627"/>
                  </a:lnTo>
                  <a:lnTo>
                    <a:pt x="362" y="625"/>
                  </a:lnTo>
                  <a:lnTo>
                    <a:pt x="357" y="622"/>
                  </a:lnTo>
                  <a:lnTo>
                    <a:pt x="354" y="618"/>
                  </a:lnTo>
                  <a:lnTo>
                    <a:pt x="351" y="613"/>
                  </a:lnTo>
                  <a:lnTo>
                    <a:pt x="350" y="606"/>
                  </a:lnTo>
                  <a:lnTo>
                    <a:pt x="350" y="599"/>
                  </a:lnTo>
                  <a:lnTo>
                    <a:pt x="350" y="599"/>
                  </a:lnTo>
                  <a:lnTo>
                    <a:pt x="351" y="594"/>
                  </a:lnTo>
                  <a:lnTo>
                    <a:pt x="356" y="591"/>
                  </a:lnTo>
                  <a:lnTo>
                    <a:pt x="360" y="584"/>
                  </a:lnTo>
                  <a:lnTo>
                    <a:pt x="360" y="584"/>
                  </a:lnTo>
                  <a:lnTo>
                    <a:pt x="360" y="582"/>
                  </a:lnTo>
                  <a:lnTo>
                    <a:pt x="357" y="579"/>
                  </a:lnTo>
                  <a:lnTo>
                    <a:pt x="347" y="576"/>
                  </a:lnTo>
                  <a:lnTo>
                    <a:pt x="347" y="576"/>
                  </a:lnTo>
                  <a:lnTo>
                    <a:pt x="341" y="576"/>
                  </a:lnTo>
                  <a:lnTo>
                    <a:pt x="335" y="579"/>
                  </a:lnTo>
                  <a:lnTo>
                    <a:pt x="325" y="587"/>
                  </a:lnTo>
                  <a:lnTo>
                    <a:pt x="325" y="587"/>
                  </a:lnTo>
                  <a:lnTo>
                    <a:pt x="314" y="588"/>
                  </a:lnTo>
                  <a:lnTo>
                    <a:pt x="296" y="590"/>
                  </a:lnTo>
                  <a:lnTo>
                    <a:pt x="268" y="590"/>
                  </a:lnTo>
                  <a:lnTo>
                    <a:pt x="268" y="590"/>
                  </a:lnTo>
                  <a:lnTo>
                    <a:pt x="258" y="593"/>
                  </a:lnTo>
                  <a:lnTo>
                    <a:pt x="240" y="600"/>
                  </a:lnTo>
                  <a:lnTo>
                    <a:pt x="212" y="612"/>
                  </a:lnTo>
                  <a:lnTo>
                    <a:pt x="212" y="612"/>
                  </a:lnTo>
                  <a:lnTo>
                    <a:pt x="208" y="616"/>
                  </a:lnTo>
                  <a:lnTo>
                    <a:pt x="203" y="622"/>
                  </a:lnTo>
                  <a:lnTo>
                    <a:pt x="200" y="628"/>
                  </a:lnTo>
                  <a:lnTo>
                    <a:pt x="200" y="633"/>
                  </a:lnTo>
                  <a:lnTo>
                    <a:pt x="200" y="633"/>
                  </a:lnTo>
                  <a:lnTo>
                    <a:pt x="200" y="637"/>
                  </a:lnTo>
                  <a:lnTo>
                    <a:pt x="203" y="640"/>
                  </a:lnTo>
                  <a:lnTo>
                    <a:pt x="205" y="643"/>
                  </a:lnTo>
                  <a:lnTo>
                    <a:pt x="205" y="648"/>
                  </a:lnTo>
                  <a:lnTo>
                    <a:pt x="205" y="648"/>
                  </a:lnTo>
                  <a:lnTo>
                    <a:pt x="203" y="650"/>
                  </a:lnTo>
                  <a:lnTo>
                    <a:pt x="200" y="653"/>
                  </a:lnTo>
                  <a:lnTo>
                    <a:pt x="194" y="656"/>
                  </a:lnTo>
                  <a:lnTo>
                    <a:pt x="194" y="656"/>
                  </a:lnTo>
                  <a:lnTo>
                    <a:pt x="193" y="658"/>
                  </a:lnTo>
                  <a:lnTo>
                    <a:pt x="191" y="656"/>
                  </a:lnTo>
                  <a:lnTo>
                    <a:pt x="190" y="650"/>
                  </a:lnTo>
                  <a:lnTo>
                    <a:pt x="190" y="650"/>
                  </a:lnTo>
                  <a:lnTo>
                    <a:pt x="187" y="625"/>
                  </a:lnTo>
                  <a:lnTo>
                    <a:pt x="187" y="625"/>
                  </a:lnTo>
                  <a:lnTo>
                    <a:pt x="182" y="610"/>
                  </a:lnTo>
                  <a:lnTo>
                    <a:pt x="176" y="596"/>
                  </a:lnTo>
                  <a:lnTo>
                    <a:pt x="176" y="596"/>
                  </a:lnTo>
                  <a:lnTo>
                    <a:pt x="169" y="587"/>
                  </a:lnTo>
                  <a:lnTo>
                    <a:pt x="166" y="584"/>
                  </a:lnTo>
                  <a:lnTo>
                    <a:pt x="162" y="584"/>
                  </a:lnTo>
                  <a:lnTo>
                    <a:pt x="162" y="584"/>
                  </a:lnTo>
                  <a:lnTo>
                    <a:pt x="160" y="585"/>
                  </a:lnTo>
                  <a:lnTo>
                    <a:pt x="159" y="590"/>
                  </a:lnTo>
                  <a:lnTo>
                    <a:pt x="159" y="597"/>
                  </a:lnTo>
                  <a:lnTo>
                    <a:pt x="159" y="597"/>
                  </a:lnTo>
                  <a:lnTo>
                    <a:pt x="160" y="605"/>
                  </a:lnTo>
                  <a:lnTo>
                    <a:pt x="159" y="608"/>
                  </a:lnTo>
                  <a:lnTo>
                    <a:pt x="157" y="610"/>
                  </a:lnTo>
                  <a:lnTo>
                    <a:pt x="157" y="610"/>
                  </a:lnTo>
                  <a:lnTo>
                    <a:pt x="154" y="613"/>
                  </a:lnTo>
                  <a:lnTo>
                    <a:pt x="148" y="615"/>
                  </a:lnTo>
                  <a:lnTo>
                    <a:pt x="141" y="618"/>
                  </a:lnTo>
                  <a:lnTo>
                    <a:pt x="134" y="618"/>
                  </a:lnTo>
                  <a:lnTo>
                    <a:pt x="134" y="618"/>
                  </a:lnTo>
                  <a:lnTo>
                    <a:pt x="128" y="616"/>
                  </a:lnTo>
                  <a:lnTo>
                    <a:pt x="123" y="615"/>
                  </a:lnTo>
                  <a:lnTo>
                    <a:pt x="117" y="608"/>
                  </a:lnTo>
                  <a:lnTo>
                    <a:pt x="117" y="608"/>
                  </a:lnTo>
                  <a:lnTo>
                    <a:pt x="114" y="603"/>
                  </a:lnTo>
                  <a:lnTo>
                    <a:pt x="113" y="599"/>
                  </a:lnTo>
                  <a:lnTo>
                    <a:pt x="111" y="593"/>
                  </a:lnTo>
                  <a:lnTo>
                    <a:pt x="108" y="588"/>
                  </a:lnTo>
                  <a:lnTo>
                    <a:pt x="108" y="588"/>
                  </a:lnTo>
                  <a:lnTo>
                    <a:pt x="104" y="587"/>
                  </a:lnTo>
                  <a:lnTo>
                    <a:pt x="98" y="587"/>
                  </a:lnTo>
                  <a:lnTo>
                    <a:pt x="92" y="588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74" y="599"/>
                  </a:lnTo>
                  <a:lnTo>
                    <a:pt x="67" y="603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59" y="613"/>
                  </a:lnTo>
                  <a:lnTo>
                    <a:pt x="59" y="619"/>
                  </a:lnTo>
                  <a:lnTo>
                    <a:pt x="61" y="625"/>
                  </a:lnTo>
                  <a:lnTo>
                    <a:pt x="64" y="630"/>
                  </a:lnTo>
                  <a:lnTo>
                    <a:pt x="64" y="630"/>
                  </a:lnTo>
                  <a:lnTo>
                    <a:pt x="67" y="631"/>
                  </a:lnTo>
                  <a:lnTo>
                    <a:pt x="70" y="633"/>
                  </a:lnTo>
                  <a:lnTo>
                    <a:pt x="74" y="630"/>
                  </a:lnTo>
                  <a:lnTo>
                    <a:pt x="74" y="630"/>
                  </a:lnTo>
                  <a:lnTo>
                    <a:pt x="95" y="613"/>
                  </a:lnTo>
                  <a:lnTo>
                    <a:pt x="95" y="613"/>
                  </a:lnTo>
                  <a:lnTo>
                    <a:pt x="98" y="612"/>
                  </a:lnTo>
                  <a:lnTo>
                    <a:pt x="101" y="613"/>
                  </a:lnTo>
                  <a:lnTo>
                    <a:pt x="102" y="616"/>
                  </a:lnTo>
                  <a:lnTo>
                    <a:pt x="104" y="621"/>
                  </a:lnTo>
                  <a:lnTo>
                    <a:pt x="104" y="621"/>
                  </a:lnTo>
                  <a:lnTo>
                    <a:pt x="101" y="625"/>
                  </a:lnTo>
                  <a:lnTo>
                    <a:pt x="96" y="630"/>
                  </a:lnTo>
                  <a:lnTo>
                    <a:pt x="96" y="630"/>
                  </a:lnTo>
                  <a:lnTo>
                    <a:pt x="104" y="633"/>
                  </a:lnTo>
                  <a:lnTo>
                    <a:pt x="107" y="636"/>
                  </a:lnTo>
                  <a:lnTo>
                    <a:pt x="107" y="637"/>
                  </a:lnTo>
                  <a:lnTo>
                    <a:pt x="105" y="639"/>
                  </a:lnTo>
                  <a:lnTo>
                    <a:pt x="105" y="639"/>
                  </a:lnTo>
                  <a:lnTo>
                    <a:pt x="102" y="642"/>
                  </a:lnTo>
                  <a:lnTo>
                    <a:pt x="99" y="645"/>
                  </a:lnTo>
                  <a:lnTo>
                    <a:pt x="99" y="648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102" y="658"/>
                  </a:lnTo>
                  <a:lnTo>
                    <a:pt x="104" y="661"/>
                  </a:lnTo>
                  <a:lnTo>
                    <a:pt x="104" y="664"/>
                  </a:lnTo>
                  <a:lnTo>
                    <a:pt x="104" y="664"/>
                  </a:lnTo>
                  <a:lnTo>
                    <a:pt x="104" y="667"/>
                  </a:lnTo>
                  <a:lnTo>
                    <a:pt x="102" y="670"/>
                  </a:lnTo>
                  <a:lnTo>
                    <a:pt x="102" y="671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5" y="674"/>
                  </a:lnTo>
                  <a:lnTo>
                    <a:pt x="111" y="676"/>
                  </a:lnTo>
                  <a:lnTo>
                    <a:pt x="119" y="677"/>
                  </a:lnTo>
                  <a:lnTo>
                    <a:pt x="119" y="677"/>
                  </a:lnTo>
                  <a:lnTo>
                    <a:pt x="120" y="722"/>
                  </a:lnTo>
                  <a:lnTo>
                    <a:pt x="120" y="722"/>
                  </a:lnTo>
                  <a:lnTo>
                    <a:pt x="120" y="723"/>
                  </a:lnTo>
                  <a:lnTo>
                    <a:pt x="123" y="725"/>
                  </a:lnTo>
                  <a:lnTo>
                    <a:pt x="126" y="726"/>
                  </a:lnTo>
                  <a:lnTo>
                    <a:pt x="129" y="729"/>
                  </a:lnTo>
                  <a:lnTo>
                    <a:pt x="129" y="729"/>
                  </a:lnTo>
                  <a:lnTo>
                    <a:pt x="131" y="733"/>
                  </a:lnTo>
                  <a:lnTo>
                    <a:pt x="132" y="736"/>
                  </a:lnTo>
                  <a:lnTo>
                    <a:pt x="132" y="736"/>
                  </a:lnTo>
                  <a:lnTo>
                    <a:pt x="134" y="738"/>
                  </a:lnTo>
                  <a:lnTo>
                    <a:pt x="136" y="739"/>
                  </a:lnTo>
                  <a:lnTo>
                    <a:pt x="141" y="739"/>
                  </a:lnTo>
                  <a:lnTo>
                    <a:pt x="145" y="741"/>
                  </a:lnTo>
                  <a:lnTo>
                    <a:pt x="145" y="741"/>
                  </a:lnTo>
                  <a:lnTo>
                    <a:pt x="147" y="744"/>
                  </a:lnTo>
                  <a:lnTo>
                    <a:pt x="145" y="745"/>
                  </a:lnTo>
                  <a:lnTo>
                    <a:pt x="141" y="751"/>
                  </a:lnTo>
                  <a:lnTo>
                    <a:pt x="141" y="751"/>
                  </a:lnTo>
                  <a:lnTo>
                    <a:pt x="138" y="754"/>
                  </a:lnTo>
                  <a:lnTo>
                    <a:pt x="138" y="757"/>
                  </a:lnTo>
                  <a:lnTo>
                    <a:pt x="139" y="760"/>
                  </a:lnTo>
                  <a:lnTo>
                    <a:pt x="141" y="762"/>
                  </a:lnTo>
                  <a:lnTo>
                    <a:pt x="141" y="762"/>
                  </a:lnTo>
                  <a:lnTo>
                    <a:pt x="145" y="765"/>
                  </a:lnTo>
                  <a:lnTo>
                    <a:pt x="154" y="767"/>
                  </a:lnTo>
                  <a:lnTo>
                    <a:pt x="165" y="770"/>
                  </a:lnTo>
                  <a:lnTo>
                    <a:pt x="173" y="775"/>
                  </a:lnTo>
                  <a:lnTo>
                    <a:pt x="173" y="775"/>
                  </a:lnTo>
                  <a:lnTo>
                    <a:pt x="176" y="779"/>
                  </a:lnTo>
                  <a:lnTo>
                    <a:pt x="179" y="784"/>
                  </a:lnTo>
                  <a:lnTo>
                    <a:pt x="181" y="788"/>
                  </a:lnTo>
                  <a:lnTo>
                    <a:pt x="181" y="794"/>
                  </a:lnTo>
                  <a:lnTo>
                    <a:pt x="179" y="813"/>
                  </a:lnTo>
                  <a:lnTo>
                    <a:pt x="179" y="813"/>
                  </a:lnTo>
                  <a:lnTo>
                    <a:pt x="184" y="836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3" y="864"/>
                  </a:lnTo>
                  <a:lnTo>
                    <a:pt x="196" y="865"/>
                  </a:lnTo>
                  <a:lnTo>
                    <a:pt x="200" y="867"/>
                  </a:lnTo>
                  <a:lnTo>
                    <a:pt x="206" y="865"/>
                  </a:lnTo>
                  <a:lnTo>
                    <a:pt x="209" y="867"/>
                  </a:lnTo>
                  <a:lnTo>
                    <a:pt x="209" y="867"/>
                  </a:lnTo>
                  <a:lnTo>
                    <a:pt x="211" y="870"/>
                  </a:lnTo>
                  <a:lnTo>
                    <a:pt x="212" y="876"/>
                  </a:lnTo>
                  <a:lnTo>
                    <a:pt x="211" y="886"/>
                  </a:lnTo>
                  <a:lnTo>
                    <a:pt x="211" y="886"/>
                  </a:lnTo>
                  <a:lnTo>
                    <a:pt x="209" y="895"/>
                  </a:lnTo>
                  <a:lnTo>
                    <a:pt x="206" y="899"/>
                  </a:lnTo>
                  <a:lnTo>
                    <a:pt x="202" y="905"/>
                  </a:lnTo>
                  <a:lnTo>
                    <a:pt x="202" y="905"/>
                  </a:lnTo>
                  <a:lnTo>
                    <a:pt x="196" y="910"/>
                  </a:lnTo>
                  <a:lnTo>
                    <a:pt x="190" y="913"/>
                  </a:lnTo>
                  <a:lnTo>
                    <a:pt x="184" y="916"/>
                  </a:lnTo>
                  <a:lnTo>
                    <a:pt x="178" y="922"/>
                  </a:lnTo>
                  <a:lnTo>
                    <a:pt x="178" y="922"/>
                  </a:lnTo>
                  <a:lnTo>
                    <a:pt x="175" y="926"/>
                  </a:lnTo>
                  <a:lnTo>
                    <a:pt x="171" y="930"/>
                  </a:lnTo>
                  <a:lnTo>
                    <a:pt x="165" y="933"/>
                  </a:lnTo>
                  <a:lnTo>
                    <a:pt x="157" y="933"/>
                  </a:lnTo>
                  <a:lnTo>
                    <a:pt x="157" y="933"/>
                  </a:lnTo>
                  <a:lnTo>
                    <a:pt x="153" y="933"/>
                  </a:lnTo>
                  <a:lnTo>
                    <a:pt x="151" y="935"/>
                  </a:lnTo>
                  <a:lnTo>
                    <a:pt x="148" y="939"/>
                  </a:lnTo>
                  <a:lnTo>
                    <a:pt x="145" y="944"/>
                  </a:lnTo>
                  <a:lnTo>
                    <a:pt x="144" y="947"/>
                  </a:lnTo>
                  <a:lnTo>
                    <a:pt x="139" y="950"/>
                  </a:lnTo>
                  <a:lnTo>
                    <a:pt x="139" y="950"/>
                  </a:lnTo>
                  <a:lnTo>
                    <a:pt x="135" y="951"/>
                  </a:lnTo>
                  <a:lnTo>
                    <a:pt x="134" y="954"/>
                  </a:lnTo>
                  <a:lnTo>
                    <a:pt x="134" y="957"/>
                  </a:lnTo>
                  <a:lnTo>
                    <a:pt x="135" y="960"/>
                  </a:lnTo>
                  <a:lnTo>
                    <a:pt x="141" y="964"/>
                  </a:lnTo>
                  <a:lnTo>
                    <a:pt x="145" y="970"/>
                  </a:lnTo>
                  <a:lnTo>
                    <a:pt x="145" y="970"/>
                  </a:lnTo>
                  <a:lnTo>
                    <a:pt x="147" y="975"/>
                  </a:lnTo>
                  <a:lnTo>
                    <a:pt x="147" y="978"/>
                  </a:lnTo>
                  <a:lnTo>
                    <a:pt x="144" y="979"/>
                  </a:lnTo>
                  <a:lnTo>
                    <a:pt x="139" y="979"/>
                  </a:lnTo>
                  <a:lnTo>
                    <a:pt x="139" y="979"/>
                  </a:lnTo>
                  <a:lnTo>
                    <a:pt x="134" y="981"/>
                  </a:lnTo>
                  <a:lnTo>
                    <a:pt x="129" y="984"/>
                  </a:lnTo>
                  <a:lnTo>
                    <a:pt x="126" y="988"/>
                  </a:lnTo>
                  <a:lnTo>
                    <a:pt x="125" y="993"/>
                  </a:lnTo>
                  <a:lnTo>
                    <a:pt x="125" y="993"/>
                  </a:lnTo>
                  <a:lnTo>
                    <a:pt x="125" y="997"/>
                  </a:lnTo>
                  <a:lnTo>
                    <a:pt x="123" y="1000"/>
                  </a:lnTo>
                  <a:lnTo>
                    <a:pt x="120" y="1003"/>
                  </a:lnTo>
                  <a:lnTo>
                    <a:pt x="116" y="1006"/>
                  </a:lnTo>
                  <a:lnTo>
                    <a:pt x="116" y="1006"/>
                  </a:lnTo>
                  <a:lnTo>
                    <a:pt x="111" y="1009"/>
                  </a:lnTo>
                  <a:lnTo>
                    <a:pt x="111" y="1010"/>
                  </a:lnTo>
                  <a:lnTo>
                    <a:pt x="113" y="1010"/>
                  </a:lnTo>
                  <a:lnTo>
                    <a:pt x="123" y="1016"/>
                  </a:lnTo>
                  <a:lnTo>
                    <a:pt x="123" y="1016"/>
                  </a:lnTo>
                  <a:lnTo>
                    <a:pt x="126" y="1021"/>
                  </a:lnTo>
                  <a:lnTo>
                    <a:pt x="128" y="1024"/>
                  </a:lnTo>
                  <a:lnTo>
                    <a:pt x="126" y="1027"/>
                  </a:lnTo>
                  <a:lnTo>
                    <a:pt x="123" y="1030"/>
                  </a:lnTo>
                  <a:lnTo>
                    <a:pt x="123" y="1030"/>
                  </a:lnTo>
                  <a:lnTo>
                    <a:pt x="122" y="1034"/>
                  </a:lnTo>
                  <a:lnTo>
                    <a:pt x="120" y="1040"/>
                  </a:lnTo>
                  <a:lnTo>
                    <a:pt x="120" y="1046"/>
                  </a:lnTo>
                  <a:lnTo>
                    <a:pt x="120" y="1050"/>
                  </a:lnTo>
                  <a:lnTo>
                    <a:pt x="120" y="1050"/>
                  </a:lnTo>
                  <a:lnTo>
                    <a:pt x="117" y="1053"/>
                  </a:lnTo>
                  <a:lnTo>
                    <a:pt x="113" y="1055"/>
                  </a:lnTo>
                  <a:lnTo>
                    <a:pt x="107" y="1056"/>
                  </a:lnTo>
                  <a:lnTo>
                    <a:pt x="101" y="1055"/>
                  </a:lnTo>
                  <a:lnTo>
                    <a:pt x="101" y="1055"/>
                  </a:lnTo>
                  <a:lnTo>
                    <a:pt x="88" y="1053"/>
                  </a:lnTo>
                  <a:lnTo>
                    <a:pt x="82" y="1053"/>
                  </a:lnTo>
                  <a:lnTo>
                    <a:pt x="77" y="1055"/>
                  </a:lnTo>
                  <a:lnTo>
                    <a:pt x="77" y="1055"/>
                  </a:lnTo>
                  <a:lnTo>
                    <a:pt x="71" y="1062"/>
                  </a:lnTo>
                  <a:lnTo>
                    <a:pt x="68" y="1067"/>
                  </a:lnTo>
                  <a:lnTo>
                    <a:pt x="65" y="1070"/>
                  </a:lnTo>
                  <a:lnTo>
                    <a:pt x="65" y="1070"/>
                  </a:lnTo>
                  <a:lnTo>
                    <a:pt x="52" y="1076"/>
                  </a:lnTo>
                  <a:lnTo>
                    <a:pt x="36" y="1084"/>
                  </a:lnTo>
                  <a:lnTo>
                    <a:pt x="36" y="1084"/>
                  </a:lnTo>
                  <a:lnTo>
                    <a:pt x="24" y="1093"/>
                  </a:lnTo>
                  <a:lnTo>
                    <a:pt x="12" y="1096"/>
                  </a:lnTo>
                  <a:lnTo>
                    <a:pt x="12" y="1096"/>
                  </a:lnTo>
                  <a:lnTo>
                    <a:pt x="2" y="1098"/>
                  </a:lnTo>
                  <a:lnTo>
                    <a:pt x="2" y="1098"/>
                  </a:lnTo>
                  <a:lnTo>
                    <a:pt x="2" y="1102"/>
                  </a:lnTo>
                  <a:lnTo>
                    <a:pt x="0" y="1107"/>
                  </a:lnTo>
                  <a:lnTo>
                    <a:pt x="2" y="1117"/>
                  </a:lnTo>
                  <a:lnTo>
                    <a:pt x="2" y="1117"/>
                  </a:lnTo>
                  <a:lnTo>
                    <a:pt x="6" y="1124"/>
                  </a:lnTo>
                  <a:lnTo>
                    <a:pt x="15" y="1135"/>
                  </a:lnTo>
                  <a:lnTo>
                    <a:pt x="25" y="1145"/>
                  </a:lnTo>
                  <a:lnTo>
                    <a:pt x="33" y="1156"/>
                  </a:lnTo>
                  <a:lnTo>
                    <a:pt x="33" y="1156"/>
                  </a:lnTo>
                  <a:lnTo>
                    <a:pt x="36" y="1164"/>
                  </a:lnTo>
                  <a:lnTo>
                    <a:pt x="39" y="1175"/>
                  </a:lnTo>
                  <a:lnTo>
                    <a:pt x="39" y="1194"/>
                  </a:lnTo>
                  <a:lnTo>
                    <a:pt x="39" y="1194"/>
                  </a:lnTo>
                  <a:lnTo>
                    <a:pt x="40" y="1203"/>
                  </a:lnTo>
                  <a:lnTo>
                    <a:pt x="42" y="1210"/>
                  </a:lnTo>
                  <a:lnTo>
                    <a:pt x="45" y="1231"/>
                  </a:lnTo>
                  <a:lnTo>
                    <a:pt x="45" y="1231"/>
                  </a:lnTo>
                  <a:lnTo>
                    <a:pt x="48" y="1275"/>
                  </a:lnTo>
                  <a:lnTo>
                    <a:pt x="49" y="1301"/>
                  </a:lnTo>
                  <a:lnTo>
                    <a:pt x="52" y="1318"/>
                  </a:lnTo>
                  <a:lnTo>
                    <a:pt x="52" y="1318"/>
                  </a:lnTo>
                  <a:lnTo>
                    <a:pt x="54" y="1329"/>
                  </a:lnTo>
                  <a:lnTo>
                    <a:pt x="52" y="1338"/>
                  </a:lnTo>
                  <a:lnTo>
                    <a:pt x="49" y="1345"/>
                  </a:lnTo>
                  <a:lnTo>
                    <a:pt x="46" y="1347"/>
                  </a:lnTo>
                  <a:lnTo>
                    <a:pt x="43" y="1348"/>
                  </a:lnTo>
                  <a:lnTo>
                    <a:pt x="43" y="1348"/>
                  </a:lnTo>
                  <a:lnTo>
                    <a:pt x="33" y="1350"/>
                  </a:lnTo>
                  <a:lnTo>
                    <a:pt x="30" y="1351"/>
                  </a:lnTo>
                  <a:lnTo>
                    <a:pt x="27" y="1357"/>
                  </a:lnTo>
                  <a:lnTo>
                    <a:pt x="27" y="1357"/>
                  </a:lnTo>
                  <a:lnTo>
                    <a:pt x="25" y="1363"/>
                  </a:lnTo>
                  <a:lnTo>
                    <a:pt x="24" y="1367"/>
                  </a:lnTo>
                  <a:lnTo>
                    <a:pt x="22" y="1370"/>
                  </a:lnTo>
                  <a:lnTo>
                    <a:pt x="17" y="1373"/>
                  </a:lnTo>
                  <a:lnTo>
                    <a:pt x="17" y="1373"/>
                  </a:lnTo>
                  <a:lnTo>
                    <a:pt x="3" y="1379"/>
                  </a:lnTo>
                  <a:lnTo>
                    <a:pt x="2" y="1382"/>
                  </a:lnTo>
                  <a:lnTo>
                    <a:pt x="2" y="1385"/>
                  </a:lnTo>
                  <a:lnTo>
                    <a:pt x="2" y="1385"/>
                  </a:lnTo>
                  <a:lnTo>
                    <a:pt x="5" y="1387"/>
                  </a:lnTo>
                  <a:lnTo>
                    <a:pt x="6" y="1388"/>
                  </a:lnTo>
                  <a:lnTo>
                    <a:pt x="12" y="1390"/>
                  </a:lnTo>
                  <a:lnTo>
                    <a:pt x="18" y="1390"/>
                  </a:lnTo>
                  <a:lnTo>
                    <a:pt x="21" y="1391"/>
                  </a:lnTo>
                  <a:lnTo>
                    <a:pt x="21" y="1391"/>
                  </a:lnTo>
                  <a:lnTo>
                    <a:pt x="22" y="1392"/>
                  </a:lnTo>
                  <a:lnTo>
                    <a:pt x="22" y="1395"/>
                  </a:lnTo>
                  <a:lnTo>
                    <a:pt x="22" y="1397"/>
                  </a:lnTo>
                  <a:lnTo>
                    <a:pt x="24" y="1400"/>
                  </a:lnTo>
                  <a:lnTo>
                    <a:pt x="24" y="1400"/>
                  </a:lnTo>
                  <a:lnTo>
                    <a:pt x="28" y="1403"/>
                  </a:lnTo>
                  <a:lnTo>
                    <a:pt x="31" y="1404"/>
                  </a:lnTo>
                  <a:lnTo>
                    <a:pt x="36" y="1406"/>
                  </a:lnTo>
                  <a:lnTo>
                    <a:pt x="37" y="1407"/>
                  </a:lnTo>
                  <a:lnTo>
                    <a:pt x="37" y="1407"/>
                  </a:lnTo>
                  <a:lnTo>
                    <a:pt x="37" y="1412"/>
                  </a:lnTo>
                  <a:lnTo>
                    <a:pt x="37" y="1419"/>
                  </a:lnTo>
                  <a:lnTo>
                    <a:pt x="36" y="1434"/>
                  </a:lnTo>
                  <a:lnTo>
                    <a:pt x="36" y="1434"/>
                  </a:lnTo>
                  <a:lnTo>
                    <a:pt x="34" y="1440"/>
                  </a:lnTo>
                  <a:lnTo>
                    <a:pt x="31" y="1447"/>
                  </a:lnTo>
                  <a:lnTo>
                    <a:pt x="30" y="1456"/>
                  </a:lnTo>
                  <a:lnTo>
                    <a:pt x="31" y="1459"/>
                  </a:lnTo>
                  <a:lnTo>
                    <a:pt x="33" y="1464"/>
                  </a:lnTo>
                  <a:lnTo>
                    <a:pt x="33" y="1464"/>
                  </a:lnTo>
                  <a:lnTo>
                    <a:pt x="36" y="1469"/>
                  </a:lnTo>
                  <a:lnTo>
                    <a:pt x="40" y="1472"/>
                  </a:lnTo>
                  <a:lnTo>
                    <a:pt x="43" y="1477"/>
                  </a:lnTo>
                  <a:lnTo>
                    <a:pt x="46" y="1483"/>
                  </a:lnTo>
                  <a:lnTo>
                    <a:pt x="46" y="1483"/>
                  </a:lnTo>
                  <a:lnTo>
                    <a:pt x="46" y="1495"/>
                  </a:lnTo>
                  <a:lnTo>
                    <a:pt x="45" y="1507"/>
                  </a:lnTo>
                  <a:lnTo>
                    <a:pt x="45" y="1518"/>
                  </a:lnTo>
                  <a:lnTo>
                    <a:pt x="46" y="1523"/>
                  </a:lnTo>
                  <a:lnTo>
                    <a:pt x="48" y="1526"/>
                  </a:lnTo>
                  <a:lnTo>
                    <a:pt x="48" y="1526"/>
                  </a:lnTo>
                  <a:lnTo>
                    <a:pt x="55" y="1530"/>
                  </a:lnTo>
                  <a:lnTo>
                    <a:pt x="65" y="1535"/>
                  </a:lnTo>
                  <a:lnTo>
                    <a:pt x="76" y="1539"/>
                  </a:lnTo>
                  <a:lnTo>
                    <a:pt x="80" y="1544"/>
                  </a:lnTo>
                  <a:lnTo>
                    <a:pt x="80" y="1544"/>
                  </a:lnTo>
                  <a:lnTo>
                    <a:pt x="79" y="1546"/>
                  </a:lnTo>
                  <a:lnTo>
                    <a:pt x="74" y="1551"/>
                  </a:lnTo>
                  <a:lnTo>
                    <a:pt x="64" y="1558"/>
                  </a:lnTo>
                  <a:lnTo>
                    <a:pt x="64" y="1558"/>
                  </a:lnTo>
                  <a:lnTo>
                    <a:pt x="59" y="1561"/>
                  </a:lnTo>
                  <a:lnTo>
                    <a:pt x="58" y="1566"/>
                  </a:lnTo>
                  <a:lnTo>
                    <a:pt x="58" y="1575"/>
                  </a:lnTo>
                  <a:lnTo>
                    <a:pt x="58" y="1575"/>
                  </a:lnTo>
                  <a:lnTo>
                    <a:pt x="57" y="1581"/>
                  </a:lnTo>
                  <a:lnTo>
                    <a:pt x="52" y="1586"/>
                  </a:lnTo>
                  <a:lnTo>
                    <a:pt x="43" y="1598"/>
                  </a:lnTo>
                  <a:lnTo>
                    <a:pt x="43" y="1598"/>
                  </a:lnTo>
                  <a:lnTo>
                    <a:pt x="40" y="1600"/>
                  </a:lnTo>
                  <a:lnTo>
                    <a:pt x="37" y="1601"/>
                  </a:lnTo>
                  <a:lnTo>
                    <a:pt x="36" y="1603"/>
                  </a:lnTo>
                  <a:lnTo>
                    <a:pt x="36" y="1604"/>
                  </a:lnTo>
                  <a:lnTo>
                    <a:pt x="39" y="1609"/>
                  </a:lnTo>
                  <a:lnTo>
                    <a:pt x="39" y="1609"/>
                  </a:lnTo>
                  <a:lnTo>
                    <a:pt x="46" y="1618"/>
                  </a:lnTo>
                  <a:lnTo>
                    <a:pt x="49" y="1622"/>
                  </a:lnTo>
                  <a:lnTo>
                    <a:pt x="49" y="1622"/>
                  </a:lnTo>
                  <a:lnTo>
                    <a:pt x="48" y="1624"/>
                  </a:lnTo>
                  <a:lnTo>
                    <a:pt x="48" y="1624"/>
                  </a:lnTo>
                  <a:lnTo>
                    <a:pt x="45" y="1624"/>
                  </a:lnTo>
                  <a:lnTo>
                    <a:pt x="42" y="1622"/>
                  </a:lnTo>
                  <a:lnTo>
                    <a:pt x="39" y="1622"/>
                  </a:lnTo>
                  <a:lnTo>
                    <a:pt x="37" y="1622"/>
                  </a:lnTo>
                  <a:lnTo>
                    <a:pt x="37" y="1622"/>
                  </a:lnTo>
                  <a:lnTo>
                    <a:pt x="33" y="1635"/>
                  </a:lnTo>
                  <a:lnTo>
                    <a:pt x="28" y="1646"/>
                  </a:lnTo>
                  <a:lnTo>
                    <a:pt x="28" y="1653"/>
                  </a:lnTo>
                  <a:lnTo>
                    <a:pt x="28" y="1653"/>
                  </a:lnTo>
                  <a:lnTo>
                    <a:pt x="28" y="1656"/>
                  </a:lnTo>
                  <a:lnTo>
                    <a:pt x="31" y="1659"/>
                  </a:lnTo>
                  <a:lnTo>
                    <a:pt x="34" y="1659"/>
                  </a:lnTo>
                  <a:lnTo>
                    <a:pt x="39" y="1658"/>
                  </a:lnTo>
                  <a:lnTo>
                    <a:pt x="39" y="1658"/>
                  </a:lnTo>
                  <a:lnTo>
                    <a:pt x="46" y="1653"/>
                  </a:lnTo>
                  <a:lnTo>
                    <a:pt x="48" y="1652"/>
                  </a:lnTo>
                  <a:lnTo>
                    <a:pt x="51" y="1653"/>
                  </a:lnTo>
                  <a:lnTo>
                    <a:pt x="51" y="1653"/>
                  </a:lnTo>
                  <a:lnTo>
                    <a:pt x="52" y="1658"/>
                  </a:lnTo>
                  <a:lnTo>
                    <a:pt x="55" y="1662"/>
                  </a:lnTo>
                  <a:lnTo>
                    <a:pt x="57" y="1663"/>
                  </a:lnTo>
                  <a:lnTo>
                    <a:pt x="58" y="1665"/>
                  </a:lnTo>
                  <a:lnTo>
                    <a:pt x="61" y="1663"/>
                  </a:lnTo>
                  <a:lnTo>
                    <a:pt x="62" y="1662"/>
                  </a:lnTo>
                  <a:lnTo>
                    <a:pt x="62" y="1662"/>
                  </a:lnTo>
                  <a:lnTo>
                    <a:pt x="71" y="1653"/>
                  </a:lnTo>
                  <a:lnTo>
                    <a:pt x="74" y="1652"/>
                  </a:lnTo>
                  <a:lnTo>
                    <a:pt x="77" y="1653"/>
                  </a:lnTo>
                  <a:lnTo>
                    <a:pt x="77" y="1653"/>
                  </a:lnTo>
                  <a:lnTo>
                    <a:pt x="80" y="1661"/>
                  </a:lnTo>
                  <a:lnTo>
                    <a:pt x="82" y="1663"/>
                  </a:lnTo>
                  <a:lnTo>
                    <a:pt x="86" y="1663"/>
                  </a:lnTo>
                  <a:lnTo>
                    <a:pt x="86" y="1663"/>
                  </a:lnTo>
                  <a:lnTo>
                    <a:pt x="94" y="1665"/>
                  </a:lnTo>
                  <a:lnTo>
                    <a:pt x="98" y="1666"/>
                  </a:lnTo>
                  <a:lnTo>
                    <a:pt x="102" y="1669"/>
                  </a:lnTo>
                  <a:lnTo>
                    <a:pt x="102" y="1669"/>
                  </a:lnTo>
                  <a:lnTo>
                    <a:pt x="107" y="1672"/>
                  </a:lnTo>
                  <a:lnTo>
                    <a:pt x="111" y="1672"/>
                  </a:lnTo>
                  <a:lnTo>
                    <a:pt x="119" y="1672"/>
                  </a:lnTo>
                  <a:lnTo>
                    <a:pt x="119" y="1672"/>
                  </a:lnTo>
                  <a:lnTo>
                    <a:pt x="120" y="1674"/>
                  </a:lnTo>
                  <a:lnTo>
                    <a:pt x="122" y="1675"/>
                  </a:lnTo>
                  <a:lnTo>
                    <a:pt x="125" y="1677"/>
                  </a:lnTo>
                  <a:lnTo>
                    <a:pt x="129" y="1678"/>
                  </a:lnTo>
                  <a:lnTo>
                    <a:pt x="129" y="1678"/>
                  </a:lnTo>
                  <a:lnTo>
                    <a:pt x="136" y="1681"/>
                  </a:lnTo>
                  <a:lnTo>
                    <a:pt x="142" y="1681"/>
                  </a:lnTo>
                  <a:lnTo>
                    <a:pt x="147" y="1681"/>
                  </a:lnTo>
                  <a:lnTo>
                    <a:pt x="150" y="1680"/>
                  </a:lnTo>
                  <a:lnTo>
                    <a:pt x="150" y="1680"/>
                  </a:lnTo>
                  <a:lnTo>
                    <a:pt x="151" y="1674"/>
                  </a:lnTo>
                  <a:lnTo>
                    <a:pt x="153" y="1669"/>
                  </a:lnTo>
                  <a:lnTo>
                    <a:pt x="154" y="1666"/>
                  </a:lnTo>
                  <a:lnTo>
                    <a:pt x="154" y="1666"/>
                  </a:lnTo>
                  <a:lnTo>
                    <a:pt x="157" y="1665"/>
                  </a:lnTo>
                  <a:lnTo>
                    <a:pt x="162" y="1665"/>
                  </a:lnTo>
                  <a:lnTo>
                    <a:pt x="166" y="1666"/>
                  </a:lnTo>
                  <a:lnTo>
                    <a:pt x="169" y="1668"/>
                  </a:lnTo>
                  <a:lnTo>
                    <a:pt x="169" y="1668"/>
                  </a:lnTo>
                  <a:lnTo>
                    <a:pt x="169" y="1671"/>
                  </a:lnTo>
                  <a:lnTo>
                    <a:pt x="168" y="1675"/>
                  </a:lnTo>
                  <a:lnTo>
                    <a:pt x="168" y="1680"/>
                  </a:lnTo>
                  <a:lnTo>
                    <a:pt x="168" y="1683"/>
                  </a:lnTo>
                  <a:lnTo>
                    <a:pt x="168" y="1683"/>
                  </a:lnTo>
                  <a:lnTo>
                    <a:pt x="171" y="1690"/>
                  </a:lnTo>
                  <a:lnTo>
                    <a:pt x="173" y="1695"/>
                  </a:lnTo>
                  <a:lnTo>
                    <a:pt x="176" y="1701"/>
                  </a:lnTo>
                  <a:lnTo>
                    <a:pt x="176" y="1701"/>
                  </a:lnTo>
                  <a:lnTo>
                    <a:pt x="179" y="1705"/>
                  </a:lnTo>
                  <a:lnTo>
                    <a:pt x="181" y="1709"/>
                  </a:lnTo>
                  <a:lnTo>
                    <a:pt x="184" y="1712"/>
                  </a:lnTo>
                  <a:lnTo>
                    <a:pt x="184" y="1714"/>
                  </a:lnTo>
                  <a:lnTo>
                    <a:pt x="184" y="1714"/>
                  </a:lnTo>
                  <a:lnTo>
                    <a:pt x="181" y="1715"/>
                  </a:lnTo>
                  <a:lnTo>
                    <a:pt x="176" y="1717"/>
                  </a:lnTo>
                  <a:lnTo>
                    <a:pt x="171" y="1718"/>
                  </a:lnTo>
                  <a:lnTo>
                    <a:pt x="168" y="1720"/>
                  </a:lnTo>
                  <a:lnTo>
                    <a:pt x="168" y="1720"/>
                  </a:lnTo>
                  <a:lnTo>
                    <a:pt x="166" y="1723"/>
                  </a:lnTo>
                  <a:lnTo>
                    <a:pt x="166" y="1726"/>
                  </a:lnTo>
                  <a:lnTo>
                    <a:pt x="166" y="1730"/>
                  </a:lnTo>
                  <a:lnTo>
                    <a:pt x="166" y="1733"/>
                  </a:lnTo>
                  <a:lnTo>
                    <a:pt x="166" y="1733"/>
                  </a:lnTo>
                  <a:lnTo>
                    <a:pt x="160" y="1738"/>
                  </a:lnTo>
                  <a:lnTo>
                    <a:pt x="159" y="1741"/>
                  </a:lnTo>
                  <a:lnTo>
                    <a:pt x="160" y="1742"/>
                  </a:lnTo>
                  <a:lnTo>
                    <a:pt x="162" y="1742"/>
                  </a:lnTo>
                  <a:lnTo>
                    <a:pt x="162" y="1742"/>
                  </a:lnTo>
                  <a:lnTo>
                    <a:pt x="165" y="1743"/>
                  </a:lnTo>
                  <a:lnTo>
                    <a:pt x="169" y="1745"/>
                  </a:lnTo>
                  <a:lnTo>
                    <a:pt x="175" y="1745"/>
                  </a:lnTo>
                  <a:lnTo>
                    <a:pt x="182" y="1746"/>
                  </a:lnTo>
                  <a:lnTo>
                    <a:pt x="182" y="1746"/>
                  </a:lnTo>
                  <a:lnTo>
                    <a:pt x="193" y="1749"/>
                  </a:lnTo>
                  <a:lnTo>
                    <a:pt x="203" y="1754"/>
                  </a:lnTo>
                  <a:lnTo>
                    <a:pt x="203" y="1754"/>
                  </a:lnTo>
                  <a:lnTo>
                    <a:pt x="211" y="1758"/>
                  </a:lnTo>
                  <a:lnTo>
                    <a:pt x="216" y="1763"/>
                  </a:lnTo>
                  <a:lnTo>
                    <a:pt x="224" y="1770"/>
                  </a:lnTo>
                  <a:lnTo>
                    <a:pt x="224" y="1770"/>
                  </a:lnTo>
                  <a:lnTo>
                    <a:pt x="227" y="1773"/>
                  </a:lnTo>
                  <a:lnTo>
                    <a:pt x="228" y="1778"/>
                  </a:lnTo>
                  <a:lnTo>
                    <a:pt x="231" y="1789"/>
                  </a:lnTo>
                  <a:lnTo>
                    <a:pt x="231" y="1789"/>
                  </a:lnTo>
                  <a:lnTo>
                    <a:pt x="233" y="1795"/>
                  </a:lnTo>
                  <a:lnTo>
                    <a:pt x="236" y="1803"/>
                  </a:lnTo>
                  <a:lnTo>
                    <a:pt x="243" y="1813"/>
                  </a:lnTo>
                  <a:lnTo>
                    <a:pt x="243" y="1813"/>
                  </a:lnTo>
                  <a:lnTo>
                    <a:pt x="243" y="1818"/>
                  </a:lnTo>
                  <a:lnTo>
                    <a:pt x="240" y="1823"/>
                  </a:lnTo>
                  <a:lnTo>
                    <a:pt x="237" y="1831"/>
                  </a:lnTo>
                  <a:lnTo>
                    <a:pt x="236" y="1838"/>
                  </a:lnTo>
                  <a:lnTo>
                    <a:pt x="236" y="1838"/>
                  </a:lnTo>
                  <a:lnTo>
                    <a:pt x="234" y="1846"/>
                  </a:lnTo>
                  <a:lnTo>
                    <a:pt x="231" y="1855"/>
                  </a:lnTo>
                  <a:lnTo>
                    <a:pt x="230" y="1858"/>
                  </a:lnTo>
                  <a:lnTo>
                    <a:pt x="231" y="1862"/>
                  </a:lnTo>
                  <a:lnTo>
                    <a:pt x="233" y="1865"/>
                  </a:lnTo>
                  <a:lnTo>
                    <a:pt x="236" y="1866"/>
                  </a:lnTo>
                  <a:lnTo>
                    <a:pt x="236" y="1866"/>
                  </a:lnTo>
                  <a:lnTo>
                    <a:pt x="245" y="1868"/>
                  </a:lnTo>
                  <a:lnTo>
                    <a:pt x="252" y="1869"/>
                  </a:lnTo>
                  <a:lnTo>
                    <a:pt x="259" y="1869"/>
                  </a:lnTo>
                  <a:lnTo>
                    <a:pt x="262" y="1871"/>
                  </a:lnTo>
                  <a:lnTo>
                    <a:pt x="262" y="1871"/>
                  </a:lnTo>
                  <a:lnTo>
                    <a:pt x="265" y="1878"/>
                  </a:lnTo>
                  <a:lnTo>
                    <a:pt x="270" y="1890"/>
                  </a:lnTo>
                  <a:lnTo>
                    <a:pt x="271" y="1902"/>
                  </a:lnTo>
                  <a:lnTo>
                    <a:pt x="271" y="1909"/>
                  </a:lnTo>
                  <a:lnTo>
                    <a:pt x="271" y="1909"/>
                  </a:lnTo>
                  <a:lnTo>
                    <a:pt x="268" y="1914"/>
                  </a:lnTo>
                  <a:lnTo>
                    <a:pt x="264" y="1917"/>
                  </a:lnTo>
                  <a:lnTo>
                    <a:pt x="259" y="1921"/>
                  </a:lnTo>
                  <a:lnTo>
                    <a:pt x="256" y="1927"/>
                  </a:lnTo>
                  <a:lnTo>
                    <a:pt x="256" y="1927"/>
                  </a:lnTo>
                  <a:lnTo>
                    <a:pt x="253" y="1936"/>
                  </a:lnTo>
                  <a:lnTo>
                    <a:pt x="250" y="1946"/>
                  </a:lnTo>
                  <a:lnTo>
                    <a:pt x="250" y="1955"/>
                  </a:lnTo>
                  <a:lnTo>
                    <a:pt x="252" y="1960"/>
                  </a:lnTo>
                  <a:lnTo>
                    <a:pt x="252" y="1960"/>
                  </a:lnTo>
                  <a:lnTo>
                    <a:pt x="259" y="1960"/>
                  </a:lnTo>
                  <a:lnTo>
                    <a:pt x="264" y="1960"/>
                  </a:lnTo>
                  <a:lnTo>
                    <a:pt x="267" y="1963"/>
                  </a:lnTo>
                  <a:lnTo>
                    <a:pt x="270" y="1964"/>
                  </a:lnTo>
                  <a:lnTo>
                    <a:pt x="270" y="1964"/>
                  </a:lnTo>
                  <a:lnTo>
                    <a:pt x="271" y="1972"/>
                  </a:lnTo>
                  <a:lnTo>
                    <a:pt x="273" y="1977"/>
                  </a:lnTo>
                  <a:lnTo>
                    <a:pt x="273" y="1983"/>
                  </a:lnTo>
                  <a:lnTo>
                    <a:pt x="274" y="1986"/>
                  </a:lnTo>
                  <a:lnTo>
                    <a:pt x="277" y="1988"/>
                  </a:lnTo>
                  <a:lnTo>
                    <a:pt x="277" y="1988"/>
                  </a:lnTo>
                  <a:lnTo>
                    <a:pt x="282" y="1989"/>
                  </a:lnTo>
                  <a:lnTo>
                    <a:pt x="286" y="1991"/>
                  </a:lnTo>
                  <a:lnTo>
                    <a:pt x="290" y="1991"/>
                  </a:lnTo>
                  <a:lnTo>
                    <a:pt x="295" y="1994"/>
                  </a:lnTo>
                  <a:lnTo>
                    <a:pt x="295" y="1994"/>
                  </a:lnTo>
                  <a:lnTo>
                    <a:pt x="302" y="2001"/>
                  </a:lnTo>
                  <a:lnTo>
                    <a:pt x="304" y="2001"/>
                  </a:lnTo>
                  <a:lnTo>
                    <a:pt x="305" y="2001"/>
                  </a:lnTo>
                  <a:lnTo>
                    <a:pt x="305" y="2001"/>
                  </a:lnTo>
                  <a:lnTo>
                    <a:pt x="308" y="2000"/>
                  </a:lnTo>
                  <a:lnTo>
                    <a:pt x="313" y="1997"/>
                  </a:lnTo>
                  <a:lnTo>
                    <a:pt x="319" y="1997"/>
                  </a:lnTo>
                  <a:lnTo>
                    <a:pt x="320" y="1997"/>
                  </a:lnTo>
                  <a:lnTo>
                    <a:pt x="322" y="1998"/>
                  </a:lnTo>
                  <a:lnTo>
                    <a:pt x="322" y="1998"/>
                  </a:lnTo>
                  <a:lnTo>
                    <a:pt x="323" y="2004"/>
                  </a:lnTo>
                  <a:lnTo>
                    <a:pt x="323" y="2012"/>
                  </a:lnTo>
                  <a:lnTo>
                    <a:pt x="320" y="2025"/>
                  </a:lnTo>
                  <a:lnTo>
                    <a:pt x="320" y="2025"/>
                  </a:lnTo>
                  <a:lnTo>
                    <a:pt x="317" y="2032"/>
                  </a:lnTo>
                  <a:lnTo>
                    <a:pt x="317" y="2037"/>
                  </a:lnTo>
                  <a:lnTo>
                    <a:pt x="320" y="2041"/>
                  </a:lnTo>
                  <a:lnTo>
                    <a:pt x="320" y="2041"/>
                  </a:lnTo>
                  <a:lnTo>
                    <a:pt x="322" y="2046"/>
                  </a:lnTo>
                  <a:lnTo>
                    <a:pt x="323" y="2050"/>
                  </a:lnTo>
                  <a:lnTo>
                    <a:pt x="322" y="2054"/>
                  </a:lnTo>
                  <a:lnTo>
                    <a:pt x="320" y="2057"/>
                  </a:lnTo>
                  <a:lnTo>
                    <a:pt x="320" y="2057"/>
                  </a:lnTo>
                  <a:lnTo>
                    <a:pt x="316" y="2063"/>
                  </a:lnTo>
                  <a:lnTo>
                    <a:pt x="313" y="2069"/>
                  </a:lnTo>
                  <a:lnTo>
                    <a:pt x="313" y="2069"/>
                  </a:lnTo>
                  <a:lnTo>
                    <a:pt x="311" y="2075"/>
                  </a:lnTo>
                  <a:lnTo>
                    <a:pt x="305" y="2084"/>
                  </a:lnTo>
                  <a:lnTo>
                    <a:pt x="305" y="2084"/>
                  </a:lnTo>
                  <a:lnTo>
                    <a:pt x="301" y="2092"/>
                  </a:lnTo>
                  <a:lnTo>
                    <a:pt x="298" y="2102"/>
                  </a:lnTo>
                  <a:lnTo>
                    <a:pt x="295" y="2112"/>
                  </a:lnTo>
                  <a:lnTo>
                    <a:pt x="292" y="2120"/>
                  </a:lnTo>
                  <a:lnTo>
                    <a:pt x="292" y="2120"/>
                  </a:lnTo>
                  <a:lnTo>
                    <a:pt x="292" y="2126"/>
                  </a:lnTo>
                  <a:lnTo>
                    <a:pt x="293" y="2129"/>
                  </a:lnTo>
                  <a:lnTo>
                    <a:pt x="296" y="2133"/>
                  </a:lnTo>
                  <a:lnTo>
                    <a:pt x="296" y="2133"/>
                  </a:lnTo>
                  <a:lnTo>
                    <a:pt x="298" y="2136"/>
                  </a:lnTo>
                  <a:lnTo>
                    <a:pt x="299" y="2142"/>
                  </a:lnTo>
                  <a:lnTo>
                    <a:pt x="298" y="2149"/>
                  </a:lnTo>
                  <a:lnTo>
                    <a:pt x="298" y="2154"/>
                  </a:lnTo>
                  <a:lnTo>
                    <a:pt x="298" y="2154"/>
                  </a:lnTo>
                  <a:lnTo>
                    <a:pt x="293" y="2161"/>
                  </a:lnTo>
                  <a:lnTo>
                    <a:pt x="293" y="2164"/>
                  </a:lnTo>
                  <a:lnTo>
                    <a:pt x="293" y="2170"/>
                  </a:lnTo>
                  <a:lnTo>
                    <a:pt x="293" y="2170"/>
                  </a:lnTo>
                  <a:lnTo>
                    <a:pt x="295" y="2179"/>
                  </a:lnTo>
                  <a:lnTo>
                    <a:pt x="293" y="2185"/>
                  </a:lnTo>
                  <a:lnTo>
                    <a:pt x="289" y="2191"/>
                  </a:lnTo>
                  <a:lnTo>
                    <a:pt x="289" y="2191"/>
                  </a:lnTo>
                  <a:lnTo>
                    <a:pt x="285" y="2198"/>
                  </a:lnTo>
                  <a:lnTo>
                    <a:pt x="283" y="2207"/>
                  </a:lnTo>
                  <a:lnTo>
                    <a:pt x="282" y="2217"/>
                  </a:lnTo>
                  <a:lnTo>
                    <a:pt x="282" y="2217"/>
                  </a:lnTo>
                  <a:lnTo>
                    <a:pt x="288" y="2217"/>
                  </a:lnTo>
                  <a:lnTo>
                    <a:pt x="295" y="2220"/>
                  </a:lnTo>
                  <a:lnTo>
                    <a:pt x="301" y="2226"/>
                  </a:lnTo>
                  <a:lnTo>
                    <a:pt x="301" y="2226"/>
                  </a:lnTo>
                  <a:lnTo>
                    <a:pt x="305" y="2232"/>
                  </a:lnTo>
                  <a:lnTo>
                    <a:pt x="307" y="2238"/>
                  </a:lnTo>
                  <a:lnTo>
                    <a:pt x="310" y="2243"/>
                  </a:lnTo>
                  <a:lnTo>
                    <a:pt x="313" y="2246"/>
                  </a:lnTo>
                  <a:lnTo>
                    <a:pt x="317" y="2247"/>
                  </a:lnTo>
                  <a:lnTo>
                    <a:pt x="317" y="2247"/>
                  </a:lnTo>
                  <a:lnTo>
                    <a:pt x="327" y="2250"/>
                  </a:lnTo>
                  <a:lnTo>
                    <a:pt x="336" y="2250"/>
                  </a:lnTo>
                  <a:lnTo>
                    <a:pt x="345" y="2248"/>
                  </a:lnTo>
                  <a:lnTo>
                    <a:pt x="345" y="2248"/>
                  </a:lnTo>
                  <a:lnTo>
                    <a:pt x="347" y="2247"/>
                  </a:lnTo>
                  <a:lnTo>
                    <a:pt x="348" y="2244"/>
                  </a:lnTo>
                  <a:lnTo>
                    <a:pt x="350" y="2241"/>
                  </a:lnTo>
                  <a:lnTo>
                    <a:pt x="353" y="2238"/>
                  </a:lnTo>
                  <a:lnTo>
                    <a:pt x="353" y="2238"/>
                  </a:lnTo>
                  <a:lnTo>
                    <a:pt x="357" y="2238"/>
                  </a:lnTo>
                  <a:lnTo>
                    <a:pt x="359" y="2235"/>
                  </a:lnTo>
                  <a:lnTo>
                    <a:pt x="360" y="2232"/>
                  </a:lnTo>
                  <a:lnTo>
                    <a:pt x="362" y="2228"/>
                  </a:lnTo>
                  <a:lnTo>
                    <a:pt x="362" y="2228"/>
                  </a:lnTo>
                  <a:lnTo>
                    <a:pt x="362" y="2222"/>
                  </a:lnTo>
                  <a:lnTo>
                    <a:pt x="360" y="2216"/>
                  </a:lnTo>
                  <a:lnTo>
                    <a:pt x="360" y="2210"/>
                  </a:lnTo>
                  <a:lnTo>
                    <a:pt x="362" y="2210"/>
                  </a:lnTo>
                  <a:lnTo>
                    <a:pt x="365" y="2209"/>
                  </a:lnTo>
                  <a:lnTo>
                    <a:pt x="365" y="2209"/>
                  </a:lnTo>
                  <a:lnTo>
                    <a:pt x="378" y="2210"/>
                  </a:lnTo>
                  <a:lnTo>
                    <a:pt x="384" y="2209"/>
                  </a:lnTo>
                  <a:lnTo>
                    <a:pt x="388" y="2207"/>
                  </a:lnTo>
                  <a:lnTo>
                    <a:pt x="388" y="2207"/>
                  </a:lnTo>
                  <a:lnTo>
                    <a:pt x="397" y="2201"/>
                  </a:lnTo>
                  <a:lnTo>
                    <a:pt x="402" y="2200"/>
                  </a:lnTo>
                  <a:lnTo>
                    <a:pt x="402" y="2200"/>
                  </a:lnTo>
                  <a:lnTo>
                    <a:pt x="403" y="2198"/>
                  </a:lnTo>
                  <a:lnTo>
                    <a:pt x="404" y="2195"/>
                  </a:lnTo>
                  <a:lnTo>
                    <a:pt x="406" y="2194"/>
                  </a:lnTo>
                  <a:lnTo>
                    <a:pt x="410" y="2194"/>
                  </a:lnTo>
                  <a:lnTo>
                    <a:pt x="410" y="2194"/>
                  </a:lnTo>
                  <a:lnTo>
                    <a:pt x="415" y="2195"/>
                  </a:lnTo>
                  <a:lnTo>
                    <a:pt x="419" y="2194"/>
                  </a:lnTo>
                  <a:lnTo>
                    <a:pt x="424" y="2192"/>
                  </a:lnTo>
                  <a:lnTo>
                    <a:pt x="425" y="2191"/>
                  </a:lnTo>
                  <a:lnTo>
                    <a:pt x="425" y="2191"/>
                  </a:lnTo>
                  <a:lnTo>
                    <a:pt x="427" y="2189"/>
                  </a:lnTo>
                  <a:lnTo>
                    <a:pt x="431" y="2188"/>
                  </a:lnTo>
                  <a:lnTo>
                    <a:pt x="434" y="2188"/>
                  </a:lnTo>
                  <a:lnTo>
                    <a:pt x="436" y="2185"/>
                  </a:lnTo>
                  <a:lnTo>
                    <a:pt x="436" y="2185"/>
                  </a:lnTo>
                  <a:lnTo>
                    <a:pt x="440" y="2176"/>
                  </a:lnTo>
                  <a:lnTo>
                    <a:pt x="443" y="2173"/>
                  </a:lnTo>
                  <a:lnTo>
                    <a:pt x="446" y="2173"/>
                  </a:lnTo>
                  <a:lnTo>
                    <a:pt x="446" y="2173"/>
                  </a:lnTo>
                  <a:lnTo>
                    <a:pt x="449" y="2174"/>
                  </a:lnTo>
                  <a:lnTo>
                    <a:pt x="452" y="2180"/>
                  </a:lnTo>
                  <a:lnTo>
                    <a:pt x="452" y="2180"/>
                  </a:lnTo>
                  <a:lnTo>
                    <a:pt x="453" y="2183"/>
                  </a:lnTo>
                  <a:lnTo>
                    <a:pt x="456" y="2185"/>
                  </a:lnTo>
                  <a:lnTo>
                    <a:pt x="461" y="2186"/>
                  </a:lnTo>
                  <a:lnTo>
                    <a:pt x="465" y="2188"/>
                  </a:lnTo>
                  <a:lnTo>
                    <a:pt x="468" y="2189"/>
                  </a:lnTo>
                  <a:lnTo>
                    <a:pt x="470" y="2192"/>
                  </a:lnTo>
                  <a:lnTo>
                    <a:pt x="470" y="2192"/>
                  </a:lnTo>
                  <a:lnTo>
                    <a:pt x="474" y="2197"/>
                  </a:lnTo>
                  <a:lnTo>
                    <a:pt x="477" y="2200"/>
                  </a:lnTo>
                  <a:lnTo>
                    <a:pt x="480" y="2201"/>
                  </a:lnTo>
                  <a:lnTo>
                    <a:pt x="486" y="2201"/>
                  </a:lnTo>
                  <a:lnTo>
                    <a:pt x="486" y="2201"/>
                  </a:lnTo>
                  <a:lnTo>
                    <a:pt x="492" y="2203"/>
                  </a:lnTo>
                  <a:lnTo>
                    <a:pt x="495" y="2201"/>
                  </a:lnTo>
                  <a:lnTo>
                    <a:pt x="504" y="2195"/>
                  </a:lnTo>
                  <a:lnTo>
                    <a:pt x="504" y="2195"/>
                  </a:lnTo>
                  <a:lnTo>
                    <a:pt x="508" y="2191"/>
                  </a:lnTo>
                  <a:lnTo>
                    <a:pt x="513" y="2189"/>
                  </a:lnTo>
                  <a:lnTo>
                    <a:pt x="516" y="2188"/>
                  </a:lnTo>
                  <a:lnTo>
                    <a:pt x="516" y="2186"/>
                  </a:lnTo>
                  <a:lnTo>
                    <a:pt x="516" y="2186"/>
                  </a:lnTo>
                  <a:lnTo>
                    <a:pt x="519" y="2179"/>
                  </a:lnTo>
                  <a:lnTo>
                    <a:pt x="520" y="2174"/>
                  </a:lnTo>
                  <a:lnTo>
                    <a:pt x="519" y="2171"/>
                  </a:lnTo>
                  <a:lnTo>
                    <a:pt x="519" y="2171"/>
                  </a:lnTo>
                  <a:lnTo>
                    <a:pt x="514" y="2166"/>
                  </a:lnTo>
                  <a:lnTo>
                    <a:pt x="513" y="2164"/>
                  </a:lnTo>
                  <a:lnTo>
                    <a:pt x="514" y="2161"/>
                  </a:lnTo>
                  <a:lnTo>
                    <a:pt x="514" y="2161"/>
                  </a:lnTo>
                  <a:lnTo>
                    <a:pt x="516" y="2155"/>
                  </a:lnTo>
                  <a:lnTo>
                    <a:pt x="517" y="2151"/>
                  </a:lnTo>
                  <a:lnTo>
                    <a:pt x="517" y="2148"/>
                  </a:lnTo>
                  <a:lnTo>
                    <a:pt x="517" y="2148"/>
                  </a:lnTo>
                  <a:lnTo>
                    <a:pt x="514" y="2139"/>
                  </a:lnTo>
                  <a:lnTo>
                    <a:pt x="514" y="2134"/>
                  </a:lnTo>
                  <a:lnTo>
                    <a:pt x="516" y="2133"/>
                  </a:lnTo>
                  <a:lnTo>
                    <a:pt x="519" y="2133"/>
                  </a:lnTo>
                  <a:lnTo>
                    <a:pt x="519" y="2133"/>
                  </a:lnTo>
                  <a:lnTo>
                    <a:pt x="526" y="2131"/>
                  </a:lnTo>
                  <a:lnTo>
                    <a:pt x="527" y="2129"/>
                  </a:lnTo>
                  <a:lnTo>
                    <a:pt x="530" y="2123"/>
                  </a:lnTo>
                  <a:lnTo>
                    <a:pt x="530" y="2123"/>
                  </a:lnTo>
                  <a:lnTo>
                    <a:pt x="536" y="2112"/>
                  </a:lnTo>
                  <a:lnTo>
                    <a:pt x="538" y="2109"/>
                  </a:lnTo>
                  <a:lnTo>
                    <a:pt x="541" y="2108"/>
                  </a:lnTo>
                  <a:lnTo>
                    <a:pt x="541" y="2108"/>
                  </a:lnTo>
                  <a:lnTo>
                    <a:pt x="542" y="2108"/>
                  </a:lnTo>
                  <a:lnTo>
                    <a:pt x="545" y="2106"/>
                  </a:lnTo>
                  <a:lnTo>
                    <a:pt x="547" y="2103"/>
                  </a:lnTo>
                  <a:lnTo>
                    <a:pt x="548" y="2096"/>
                  </a:lnTo>
                  <a:lnTo>
                    <a:pt x="548" y="2096"/>
                  </a:lnTo>
                  <a:lnTo>
                    <a:pt x="553" y="2078"/>
                  </a:lnTo>
                  <a:lnTo>
                    <a:pt x="556" y="2072"/>
                  </a:lnTo>
                  <a:lnTo>
                    <a:pt x="557" y="2068"/>
                  </a:lnTo>
                  <a:lnTo>
                    <a:pt x="557" y="2068"/>
                  </a:lnTo>
                  <a:lnTo>
                    <a:pt x="563" y="2062"/>
                  </a:lnTo>
                  <a:lnTo>
                    <a:pt x="566" y="2059"/>
                  </a:lnTo>
                  <a:lnTo>
                    <a:pt x="572" y="2059"/>
                  </a:lnTo>
                  <a:lnTo>
                    <a:pt x="572" y="2059"/>
                  </a:lnTo>
                  <a:lnTo>
                    <a:pt x="576" y="2057"/>
                  </a:lnTo>
                  <a:lnTo>
                    <a:pt x="579" y="2054"/>
                  </a:lnTo>
                  <a:lnTo>
                    <a:pt x="581" y="2046"/>
                  </a:lnTo>
                  <a:lnTo>
                    <a:pt x="581" y="2046"/>
                  </a:lnTo>
                  <a:lnTo>
                    <a:pt x="581" y="2040"/>
                  </a:lnTo>
                  <a:lnTo>
                    <a:pt x="579" y="2035"/>
                  </a:lnTo>
                  <a:lnTo>
                    <a:pt x="579" y="2029"/>
                  </a:lnTo>
                  <a:lnTo>
                    <a:pt x="579" y="2026"/>
                  </a:lnTo>
                  <a:lnTo>
                    <a:pt x="579" y="2026"/>
                  </a:lnTo>
                  <a:lnTo>
                    <a:pt x="581" y="2022"/>
                  </a:lnTo>
                  <a:lnTo>
                    <a:pt x="587" y="2016"/>
                  </a:lnTo>
                  <a:lnTo>
                    <a:pt x="594" y="2012"/>
                  </a:lnTo>
                  <a:lnTo>
                    <a:pt x="601" y="2009"/>
                  </a:lnTo>
                  <a:lnTo>
                    <a:pt x="601" y="2009"/>
                  </a:lnTo>
                  <a:lnTo>
                    <a:pt x="606" y="2009"/>
                  </a:lnTo>
                  <a:lnTo>
                    <a:pt x="609" y="2010"/>
                  </a:lnTo>
                  <a:lnTo>
                    <a:pt x="612" y="2012"/>
                  </a:lnTo>
                  <a:lnTo>
                    <a:pt x="619" y="2014"/>
                  </a:lnTo>
                  <a:lnTo>
                    <a:pt x="619" y="2014"/>
                  </a:lnTo>
                  <a:lnTo>
                    <a:pt x="640" y="2016"/>
                  </a:lnTo>
                  <a:lnTo>
                    <a:pt x="655" y="2016"/>
                  </a:lnTo>
                  <a:lnTo>
                    <a:pt x="655" y="2016"/>
                  </a:lnTo>
                  <a:lnTo>
                    <a:pt x="659" y="2016"/>
                  </a:lnTo>
                  <a:lnTo>
                    <a:pt x="662" y="2017"/>
                  </a:lnTo>
                  <a:lnTo>
                    <a:pt x="671" y="2023"/>
                  </a:lnTo>
                  <a:lnTo>
                    <a:pt x="671" y="2023"/>
                  </a:lnTo>
                  <a:lnTo>
                    <a:pt x="677" y="2028"/>
                  </a:lnTo>
                  <a:lnTo>
                    <a:pt x="684" y="2031"/>
                  </a:lnTo>
                  <a:lnTo>
                    <a:pt x="696" y="2034"/>
                  </a:lnTo>
                  <a:lnTo>
                    <a:pt x="696" y="2034"/>
                  </a:lnTo>
                  <a:lnTo>
                    <a:pt x="702" y="2035"/>
                  </a:lnTo>
                  <a:lnTo>
                    <a:pt x="707" y="2040"/>
                  </a:lnTo>
                  <a:lnTo>
                    <a:pt x="710" y="2044"/>
                  </a:lnTo>
                  <a:lnTo>
                    <a:pt x="710" y="2047"/>
                  </a:lnTo>
                  <a:lnTo>
                    <a:pt x="710" y="2049"/>
                  </a:lnTo>
                  <a:lnTo>
                    <a:pt x="710" y="2049"/>
                  </a:lnTo>
                  <a:lnTo>
                    <a:pt x="707" y="2052"/>
                  </a:lnTo>
                  <a:lnTo>
                    <a:pt x="704" y="2054"/>
                  </a:lnTo>
                  <a:lnTo>
                    <a:pt x="702" y="2056"/>
                  </a:lnTo>
                  <a:lnTo>
                    <a:pt x="704" y="2059"/>
                  </a:lnTo>
                  <a:lnTo>
                    <a:pt x="704" y="2059"/>
                  </a:lnTo>
                  <a:lnTo>
                    <a:pt x="708" y="2062"/>
                  </a:lnTo>
                  <a:lnTo>
                    <a:pt x="710" y="2068"/>
                  </a:lnTo>
                  <a:lnTo>
                    <a:pt x="711" y="2075"/>
                  </a:lnTo>
                  <a:lnTo>
                    <a:pt x="712" y="2083"/>
                  </a:lnTo>
                  <a:lnTo>
                    <a:pt x="712" y="2083"/>
                  </a:lnTo>
                  <a:lnTo>
                    <a:pt x="714" y="2089"/>
                  </a:lnTo>
                  <a:lnTo>
                    <a:pt x="717" y="2093"/>
                  </a:lnTo>
                  <a:lnTo>
                    <a:pt x="723" y="2096"/>
                  </a:lnTo>
                  <a:lnTo>
                    <a:pt x="727" y="2096"/>
                  </a:lnTo>
                  <a:lnTo>
                    <a:pt x="727" y="2096"/>
                  </a:lnTo>
                  <a:lnTo>
                    <a:pt x="730" y="2094"/>
                  </a:lnTo>
                  <a:lnTo>
                    <a:pt x="735" y="2092"/>
                  </a:lnTo>
                  <a:lnTo>
                    <a:pt x="738" y="2090"/>
                  </a:lnTo>
                  <a:lnTo>
                    <a:pt x="744" y="2089"/>
                  </a:lnTo>
                  <a:lnTo>
                    <a:pt x="744" y="2089"/>
                  </a:lnTo>
                  <a:lnTo>
                    <a:pt x="749" y="2089"/>
                  </a:lnTo>
                  <a:lnTo>
                    <a:pt x="752" y="2090"/>
                  </a:lnTo>
                  <a:lnTo>
                    <a:pt x="755" y="2092"/>
                  </a:lnTo>
                  <a:lnTo>
                    <a:pt x="758" y="2092"/>
                  </a:lnTo>
                  <a:lnTo>
                    <a:pt x="758" y="2092"/>
                  </a:lnTo>
                  <a:lnTo>
                    <a:pt x="760" y="2090"/>
                  </a:lnTo>
                  <a:lnTo>
                    <a:pt x="763" y="2087"/>
                  </a:lnTo>
                  <a:lnTo>
                    <a:pt x="764" y="2083"/>
                  </a:lnTo>
                  <a:lnTo>
                    <a:pt x="766" y="2078"/>
                  </a:lnTo>
                  <a:lnTo>
                    <a:pt x="766" y="2078"/>
                  </a:lnTo>
                  <a:lnTo>
                    <a:pt x="766" y="2077"/>
                  </a:lnTo>
                  <a:lnTo>
                    <a:pt x="767" y="2075"/>
                  </a:lnTo>
                  <a:lnTo>
                    <a:pt x="772" y="2072"/>
                  </a:lnTo>
                  <a:lnTo>
                    <a:pt x="778" y="2072"/>
                  </a:lnTo>
                  <a:lnTo>
                    <a:pt x="781" y="2072"/>
                  </a:lnTo>
                  <a:lnTo>
                    <a:pt x="781" y="2072"/>
                  </a:lnTo>
                  <a:lnTo>
                    <a:pt x="784" y="2075"/>
                  </a:lnTo>
                  <a:lnTo>
                    <a:pt x="785" y="2078"/>
                  </a:lnTo>
                  <a:lnTo>
                    <a:pt x="787" y="2081"/>
                  </a:lnTo>
                  <a:lnTo>
                    <a:pt x="791" y="2081"/>
                  </a:lnTo>
                  <a:lnTo>
                    <a:pt x="791" y="2081"/>
                  </a:lnTo>
                  <a:lnTo>
                    <a:pt x="798" y="2083"/>
                  </a:lnTo>
                  <a:lnTo>
                    <a:pt x="804" y="2084"/>
                  </a:lnTo>
                  <a:lnTo>
                    <a:pt x="809" y="2087"/>
                  </a:lnTo>
                  <a:lnTo>
                    <a:pt x="812" y="2090"/>
                  </a:lnTo>
                  <a:lnTo>
                    <a:pt x="812" y="2090"/>
                  </a:lnTo>
                  <a:lnTo>
                    <a:pt x="812" y="2096"/>
                  </a:lnTo>
                  <a:lnTo>
                    <a:pt x="812" y="2105"/>
                  </a:lnTo>
                  <a:lnTo>
                    <a:pt x="813" y="2115"/>
                  </a:lnTo>
                  <a:lnTo>
                    <a:pt x="813" y="2123"/>
                  </a:lnTo>
                  <a:lnTo>
                    <a:pt x="813" y="2123"/>
                  </a:lnTo>
                  <a:lnTo>
                    <a:pt x="818" y="2131"/>
                  </a:lnTo>
                  <a:lnTo>
                    <a:pt x="822" y="2140"/>
                  </a:lnTo>
                  <a:lnTo>
                    <a:pt x="822" y="2140"/>
                  </a:lnTo>
                  <a:lnTo>
                    <a:pt x="825" y="2148"/>
                  </a:lnTo>
                  <a:lnTo>
                    <a:pt x="829" y="2154"/>
                  </a:lnTo>
                  <a:lnTo>
                    <a:pt x="829" y="2154"/>
                  </a:lnTo>
                  <a:lnTo>
                    <a:pt x="831" y="2157"/>
                  </a:lnTo>
                  <a:lnTo>
                    <a:pt x="831" y="2161"/>
                  </a:lnTo>
                  <a:lnTo>
                    <a:pt x="831" y="2166"/>
                  </a:lnTo>
                  <a:lnTo>
                    <a:pt x="832" y="2167"/>
                  </a:lnTo>
                  <a:lnTo>
                    <a:pt x="835" y="2170"/>
                  </a:lnTo>
                  <a:lnTo>
                    <a:pt x="835" y="2170"/>
                  </a:lnTo>
                  <a:lnTo>
                    <a:pt x="838" y="2171"/>
                  </a:lnTo>
                  <a:lnTo>
                    <a:pt x="840" y="2171"/>
                  </a:lnTo>
                  <a:lnTo>
                    <a:pt x="843" y="2170"/>
                  </a:lnTo>
                  <a:lnTo>
                    <a:pt x="844" y="2169"/>
                  </a:lnTo>
                  <a:lnTo>
                    <a:pt x="847" y="2170"/>
                  </a:lnTo>
                  <a:lnTo>
                    <a:pt x="853" y="2176"/>
                  </a:lnTo>
                  <a:lnTo>
                    <a:pt x="853" y="2176"/>
                  </a:lnTo>
                  <a:lnTo>
                    <a:pt x="864" y="2188"/>
                  </a:lnTo>
                  <a:lnTo>
                    <a:pt x="865" y="2192"/>
                  </a:lnTo>
                  <a:lnTo>
                    <a:pt x="866" y="2197"/>
                  </a:lnTo>
                  <a:lnTo>
                    <a:pt x="866" y="2197"/>
                  </a:lnTo>
                  <a:lnTo>
                    <a:pt x="868" y="2201"/>
                  </a:lnTo>
                  <a:lnTo>
                    <a:pt x="866" y="2204"/>
                  </a:lnTo>
                  <a:lnTo>
                    <a:pt x="866" y="2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5" name="Freeform 34">
              <a:extLst>
                <a:ext uri="{FF2B5EF4-FFF2-40B4-BE49-F238E27FC236}">
                  <a16:creationId xmlns:a16="http://schemas.microsoft.com/office/drawing/2014/main" id="{FEE80CE2-1DEC-EE46-AECA-FB9E64411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175" y="5148263"/>
              <a:ext cx="415925" cy="371475"/>
            </a:xfrm>
            <a:custGeom>
              <a:avLst/>
              <a:gdLst>
                <a:gd name="T0" fmla="*/ 46 w 262"/>
                <a:gd name="T1" fmla="*/ 35 h 234"/>
                <a:gd name="T2" fmla="*/ 38 w 262"/>
                <a:gd name="T3" fmla="*/ 38 h 234"/>
                <a:gd name="T4" fmla="*/ 31 w 262"/>
                <a:gd name="T5" fmla="*/ 50 h 234"/>
                <a:gd name="T6" fmla="*/ 25 w 262"/>
                <a:gd name="T7" fmla="*/ 50 h 234"/>
                <a:gd name="T8" fmla="*/ 16 w 262"/>
                <a:gd name="T9" fmla="*/ 52 h 234"/>
                <a:gd name="T10" fmla="*/ 9 w 262"/>
                <a:gd name="T11" fmla="*/ 59 h 234"/>
                <a:gd name="T12" fmla="*/ 4 w 262"/>
                <a:gd name="T13" fmla="*/ 58 h 234"/>
                <a:gd name="T14" fmla="*/ 0 w 262"/>
                <a:gd name="T15" fmla="*/ 62 h 234"/>
                <a:gd name="T16" fmla="*/ 4 w 262"/>
                <a:gd name="T17" fmla="*/ 69 h 234"/>
                <a:gd name="T18" fmla="*/ 12 w 262"/>
                <a:gd name="T19" fmla="*/ 78 h 234"/>
                <a:gd name="T20" fmla="*/ 21 w 262"/>
                <a:gd name="T21" fmla="*/ 87 h 234"/>
                <a:gd name="T22" fmla="*/ 43 w 262"/>
                <a:gd name="T23" fmla="*/ 98 h 234"/>
                <a:gd name="T24" fmla="*/ 50 w 262"/>
                <a:gd name="T25" fmla="*/ 95 h 234"/>
                <a:gd name="T26" fmla="*/ 58 w 262"/>
                <a:gd name="T27" fmla="*/ 102 h 234"/>
                <a:gd name="T28" fmla="*/ 69 w 262"/>
                <a:gd name="T29" fmla="*/ 124 h 234"/>
                <a:gd name="T30" fmla="*/ 68 w 262"/>
                <a:gd name="T31" fmla="*/ 139 h 234"/>
                <a:gd name="T32" fmla="*/ 65 w 262"/>
                <a:gd name="T33" fmla="*/ 148 h 234"/>
                <a:gd name="T34" fmla="*/ 69 w 262"/>
                <a:gd name="T35" fmla="*/ 154 h 234"/>
                <a:gd name="T36" fmla="*/ 75 w 262"/>
                <a:gd name="T37" fmla="*/ 166 h 234"/>
                <a:gd name="T38" fmla="*/ 81 w 262"/>
                <a:gd name="T39" fmla="*/ 178 h 234"/>
                <a:gd name="T40" fmla="*/ 89 w 262"/>
                <a:gd name="T41" fmla="*/ 181 h 234"/>
                <a:gd name="T42" fmla="*/ 98 w 262"/>
                <a:gd name="T43" fmla="*/ 170 h 234"/>
                <a:gd name="T44" fmla="*/ 114 w 262"/>
                <a:gd name="T45" fmla="*/ 175 h 234"/>
                <a:gd name="T46" fmla="*/ 124 w 262"/>
                <a:gd name="T47" fmla="*/ 185 h 234"/>
                <a:gd name="T48" fmla="*/ 136 w 262"/>
                <a:gd name="T49" fmla="*/ 197 h 234"/>
                <a:gd name="T50" fmla="*/ 158 w 262"/>
                <a:gd name="T51" fmla="*/ 216 h 234"/>
                <a:gd name="T52" fmla="*/ 169 w 262"/>
                <a:gd name="T53" fmla="*/ 223 h 234"/>
                <a:gd name="T54" fmla="*/ 186 w 262"/>
                <a:gd name="T55" fmla="*/ 225 h 234"/>
                <a:gd name="T56" fmla="*/ 197 w 262"/>
                <a:gd name="T57" fmla="*/ 231 h 234"/>
                <a:gd name="T58" fmla="*/ 222 w 262"/>
                <a:gd name="T59" fmla="*/ 232 h 234"/>
                <a:gd name="T60" fmla="*/ 229 w 262"/>
                <a:gd name="T61" fmla="*/ 223 h 234"/>
                <a:gd name="T62" fmla="*/ 240 w 262"/>
                <a:gd name="T63" fmla="*/ 204 h 234"/>
                <a:gd name="T64" fmla="*/ 253 w 262"/>
                <a:gd name="T65" fmla="*/ 191 h 234"/>
                <a:gd name="T66" fmla="*/ 254 w 262"/>
                <a:gd name="T67" fmla="*/ 172 h 234"/>
                <a:gd name="T68" fmla="*/ 262 w 262"/>
                <a:gd name="T69" fmla="*/ 163 h 234"/>
                <a:gd name="T70" fmla="*/ 253 w 262"/>
                <a:gd name="T71" fmla="*/ 145 h 234"/>
                <a:gd name="T72" fmla="*/ 241 w 262"/>
                <a:gd name="T73" fmla="*/ 146 h 234"/>
                <a:gd name="T74" fmla="*/ 234 w 262"/>
                <a:gd name="T75" fmla="*/ 144 h 234"/>
                <a:gd name="T76" fmla="*/ 226 w 262"/>
                <a:gd name="T77" fmla="*/ 130 h 234"/>
                <a:gd name="T78" fmla="*/ 229 w 262"/>
                <a:gd name="T79" fmla="*/ 126 h 234"/>
                <a:gd name="T80" fmla="*/ 243 w 262"/>
                <a:gd name="T81" fmla="*/ 118 h 234"/>
                <a:gd name="T82" fmla="*/ 222 w 262"/>
                <a:gd name="T83" fmla="*/ 120 h 234"/>
                <a:gd name="T84" fmla="*/ 212 w 262"/>
                <a:gd name="T85" fmla="*/ 127 h 234"/>
                <a:gd name="T86" fmla="*/ 197 w 262"/>
                <a:gd name="T87" fmla="*/ 130 h 234"/>
                <a:gd name="T88" fmla="*/ 182 w 262"/>
                <a:gd name="T89" fmla="*/ 138 h 234"/>
                <a:gd name="T90" fmla="*/ 175 w 262"/>
                <a:gd name="T91" fmla="*/ 145 h 234"/>
                <a:gd name="T92" fmla="*/ 160 w 262"/>
                <a:gd name="T93" fmla="*/ 138 h 234"/>
                <a:gd name="T94" fmla="*/ 145 w 262"/>
                <a:gd name="T95" fmla="*/ 126 h 234"/>
                <a:gd name="T96" fmla="*/ 145 w 262"/>
                <a:gd name="T97" fmla="*/ 123 h 234"/>
                <a:gd name="T98" fmla="*/ 148 w 262"/>
                <a:gd name="T99" fmla="*/ 114 h 234"/>
                <a:gd name="T100" fmla="*/ 142 w 262"/>
                <a:gd name="T101" fmla="*/ 106 h 234"/>
                <a:gd name="T102" fmla="*/ 136 w 262"/>
                <a:gd name="T103" fmla="*/ 81 h 234"/>
                <a:gd name="T104" fmla="*/ 133 w 262"/>
                <a:gd name="T105" fmla="*/ 58 h 234"/>
                <a:gd name="T106" fmla="*/ 127 w 262"/>
                <a:gd name="T107" fmla="*/ 40 h 234"/>
                <a:gd name="T108" fmla="*/ 118 w 262"/>
                <a:gd name="T109" fmla="*/ 28 h 234"/>
                <a:gd name="T110" fmla="*/ 99 w 262"/>
                <a:gd name="T111" fmla="*/ 16 h 234"/>
                <a:gd name="T112" fmla="*/ 89 w 262"/>
                <a:gd name="T113" fmla="*/ 0 h 234"/>
                <a:gd name="T114" fmla="*/ 81 w 262"/>
                <a:gd name="T115" fmla="*/ 1 h 234"/>
                <a:gd name="T116" fmla="*/ 80 w 262"/>
                <a:gd name="T117" fmla="*/ 16 h 234"/>
                <a:gd name="T118" fmla="*/ 75 w 262"/>
                <a:gd name="T119" fmla="*/ 24 h 234"/>
                <a:gd name="T120" fmla="*/ 62 w 262"/>
                <a:gd name="T121" fmla="*/ 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2" h="234">
                  <a:moveTo>
                    <a:pt x="56" y="35"/>
                  </a:moveTo>
                  <a:lnTo>
                    <a:pt x="56" y="35"/>
                  </a:lnTo>
                  <a:lnTo>
                    <a:pt x="46" y="35"/>
                  </a:lnTo>
                  <a:lnTo>
                    <a:pt x="41" y="35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7" y="44"/>
                  </a:lnTo>
                  <a:lnTo>
                    <a:pt x="34" y="49"/>
                  </a:lnTo>
                  <a:lnTo>
                    <a:pt x="31" y="50"/>
                  </a:lnTo>
                  <a:lnTo>
                    <a:pt x="28" y="52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3" y="49"/>
                  </a:lnTo>
                  <a:lnTo>
                    <a:pt x="21" y="49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7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3" y="59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0" y="65"/>
                  </a:lnTo>
                  <a:lnTo>
                    <a:pt x="1" y="67"/>
                  </a:lnTo>
                  <a:lnTo>
                    <a:pt x="4" y="69"/>
                  </a:lnTo>
                  <a:lnTo>
                    <a:pt x="4" y="69"/>
                  </a:lnTo>
                  <a:lnTo>
                    <a:pt x="9" y="75"/>
                  </a:lnTo>
                  <a:lnTo>
                    <a:pt x="12" y="78"/>
                  </a:lnTo>
                  <a:lnTo>
                    <a:pt x="13" y="83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35" y="96"/>
                  </a:lnTo>
                  <a:lnTo>
                    <a:pt x="40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7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3" y="96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66" y="117"/>
                  </a:lnTo>
                  <a:lnTo>
                    <a:pt x="69" y="124"/>
                  </a:lnTo>
                  <a:lnTo>
                    <a:pt x="71" y="132"/>
                  </a:lnTo>
                  <a:lnTo>
                    <a:pt x="71" y="132"/>
                  </a:lnTo>
                  <a:lnTo>
                    <a:pt x="68" y="139"/>
                  </a:lnTo>
                  <a:lnTo>
                    <a:pt x="65" y="145"/>
                  </a:lnTo>
                  <a:lnTo>
                    <a:pt x="65" y="146"/>
                  </a:lnTo>
                  <a:lnTo>
                    <a:pt x="65" y="148"/>
                  </a:lnTo>
                  <a:lnTo>
                    <a:pt x="66" y="151"/>
                  </a:lnTo>
                  <a:lnTo>
                    <a:pt x="69" y="154"/>
                  </a:lnTo>
                  <a:lnTo>
                    <a:pt x="69" y="154"/>
                  </a:lnTo>
                  <a:lnTo>
                    <a:pt x="72" y="157"/>
                  </a:lnTo>
                  <a:lnTo>
                    <a:pt x="74" y="160"/>
                  </a:lnTo>
                  <a:lnTo>
                    <a:pt x="75" y="166"/>
                  </a:lnTo>
                  <a:lnTo>
                    <a:pt x="78" y="172"/>
                  </a:lnTo>
                  <a:lnTo>
                    <a:pt x="80" y="175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6" y="181"/>
                  </a:lnTo>
                  <a:lnTo>
                    <a:pt x="89" y="181"/>
                  </a:lnTo>
                  <a:lnTo>
                    <a:pt x="93" y="173"/>
                  </a:lnTo>
                  <a:lnTo>
                    <a:pt x="93" y="173"/>
                  </a:lnTo>
                  <a:lnTo>
                    <a:pt x="98" y="170"/>
                  </a:lnTo>
                  <a:lnTo>
                    <a:pt x="103" y="169"/>
                  </a:lnTo>
                  <a:lnTo>
                    <a:pt x="108" y="170"/>
                  </a:lnTo>
                  <a:lnTo>
                    <a:pt x="114" y="175"/>
                  </a:lnTo>
                  <a:lnTo>
                    <a:pt x="114" y="175"/>
                  </a:lnTo>
                  <a:lnTo>
                    <a:pt x="120" y="181"/>
                  </a:lnTo>
                  <a:lnTo>
                    <a:pt x="124" y="185"/>
                  </a:lnTo>
                  <a:lnTo>
                    <a:pt x="130" y="191"/>
                  </a:lnTo>
                  <a:lnTo>
                    <a:pt x="136" y="197"/>
                  </a:lnTo>
                  <a:lnTo>
                    <a:pt x="136" y="197"/>
                  </a:lnTo>
                  <a:lnTo>
                    <a:pt x="142" y="203"/>
                  </a:lnTo>
                  <a:lnTo>
                    <a:pt x="148" y="207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76" y="222"/>
                  </a:lnTo>
                  <a:lnTo>
                    <a:pt x="183" y="223"/>
                  </a:lnTo>
                  <a:lnTo>
                    <a:pt x="186" y="225"/>
                  </a:lnTo>
                  <a:lnTo>
                    <a:pt x="189" y="226"/>
                  </a:lnTo>
                  <a:lnTo>
                    <a:pt x="189" y="226"/>
                  </a:lnTo>
                  <a:lnTo>
                    <a:pt x="197" y="231"/>
                  </a:lnTo>
                  <a:lnTo>
                    <a:pt x="207" y="232"/>
                  </a:lnTo>
                  <a:lnTo>
                    <a:pt x="216" y="234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6" y="228"/>
                  </a:lnTo>
                  <a:lnTo>
                    <a:pt x="229" y="223"/>
                  </a:lnTo>
                  <a:lnTo>
                    <a:pt x="234" y="213"/>
                  </a:lnTo>
                  <a:lnTo>
                    <a:pt x="234" y="213"/>
                  </a:lnTo>
                  <a:lnTo>
                    <a:pt x="240" y="204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53" y="191"/>
                  </a:lnTo>
                  <a:lnTo>
                    <a:pt x="254" y="184"/>
                  </a:lnTo>
                  <a:lnTo>
                    <a:pt x="254" y="172"/>
                  </a:lnTo>
                  <a:lnTo>
                    <a:pt x="254" y="172"/>
                  </a:lnTo>
                  <a:lnTo>
                    <a:pt x="257" y="169"/>
                  </a:lnTo>
                  <a:lnTo>
                    <a:pt x="259" y="166"/>
                  </a:lnTo>
                  <a:lnTo>
                    <a:pt x="262" y="163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53" y="145"/>
                  </a:lnTo>
                  <a:lnTo>
                    <a:pt x="253" y="145"/>
                  </a:lnTo>
                  <a:lnTo>
                    <a:pt x="246" y="146"/>
                  </a:lnTo>
                  <a:lnTo>
                    <a:pt x="241" y="146"/>
                  </a:lnTo>
                  <a:lnTo>
                    <a:pt x="238" y="145"/>
                  </a:lnTo>
                  <a:lnTo>
                    <a:pt x="238" y="145"/>
                  </a:lnTo>
                  <a:lnTo>
                    <a:pt x="234" y="144"/>
                  </a:lnTo>
                  <a:lnTo>
                    <a:pt x="229" y="139"/>
                  </a:lnTo>
                  <a:lnTo>
                    <a:pt x="226" y="135"/>
                  </a:lnTo>
                  <a:lnTo>
                    <a:pt x="226" y="130"/>
                  </a:lnTo>
                  <a:lnTo>
                    <a:pt x="226" y="130"/>
                  </a:lnTo>
                  <a:lnTo>
                    <a:pt x="228" y="127"/>
                  </a:lnTo>
                  <a:lnTo>
                    <a:pt x="229" y="126"/>
                  </a:lnTo>
                  <a:lnTo>
                    <a:pt x="235" y="121"/>
                  </a:lnTo>
                  <a:lnTo>
                    <a:pt x="243" y="118"/>
                  </a:lnTo>
                  <a:lnTo>
                    <a:pt x="243" y="118"/>
                  </a:lnTo>
                  <a:lnTo>
                    <a:pt x="232" y="118"/>
                  </a:lnTo>
                  <a:lnTo>
                    <a:pt x="225" y="118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17" y="123"/>
                  </a:lnTo>
                  <a:lnTo>
                    <a:pt x="212" y="127"/>
                  </a:lnTo>
                  <a:lnTo>
                    <a:pt x="204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1" y="132"/>
                  </a:lnTo>
                  <a:lnTo>
                    <a:pt x="185" y="135"/>
                  </a:lnTo>
                  <a:lnTo>
                    <a:pt x="182" y="138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5" y="145"/>
                  </a:lnTo>
                  <a:lnTo>
                    <a:pt x="170" y="145"/>
                  </a:lnTo>
                  <a:lnTo>
                    <a:pt x="166" y="142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49" y="129"/>
                  </a:lnTo>
                  <a:lnTo>
                    <a:pt x="145" y="126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6" y="120"/>
                  </a:lnTo>
                  <a:lnTo>
                    <a:pt x="148" y="117"/>
                  </a:lnTo>
                  <a:lnTo>
                    <a:pt x="148" y="114"/>
                  </a:lnTo>
                  <a:lnTo>
                    <a:pt x="145" y="111"/>
                  </a:lnTo>
                  <a:lnTo>
                    <a:pt x="145" y="111"/>
                  </a:lnTo>
                  <a:lnTo>
                    <a:pt x="142" y="106"/>
                  </a:lnTo>
                  <a:lnTo>
                    <a:pt x="139" y="101"/>
                  </a:lnTo>
                  <a:lnTo>
                    <a:pt x="137" y="92"/>
                  </a:lnTo>
                  <a:lnTo>
                    <a:pt x="136" y="81"/>
                  </a:lnTo>
                  <a:lnTo>
                    <a:pt x="136" y="81"/>
                  </a:lnTo>
                  <a:lnTo>
                    <a:pt x="136" y="6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0" y="49"/>
                  </a:lnTo>
                  <a:lnTo>
                    <a:pt x="127" y="40"/>
                  </a:lnTo>
                  <a:lnTo>
                    <a:pt x="123" y="32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4" y="27"/>
                  </a:lnTo>
                  <a:lnTo>
                    <a:pt x="108" y="22"/>
                  </a:lnTo>
                  <a:lnTo>
                    <a:pt x="99" y="16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4" y="0"/>
                  </a:lnTo>
                  <a:lnTo>
                    <a:pt x="81" y="1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16"/>
                  </a:lnTo>
                  <a:lnTo>
                    <a:pt x="78" y="22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1" y="27"/>
                  </a:lnTo>
                  <a:lnTo>
                    <a:pt x="66" y="31"/>
                  </a:lnTo>
                  <a:lnTo>
                    <a:pt x="62" y="34"/>
                  </a:lnTo>
                  <a:lnTo>
                    <a:pt x="56" y="35"/>
                  </a:lnTo>
                  <a:lnTo>
                    <a:pt x="5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6" name="Freeform 35">
              <a:extLst>
                <a:ext uri="{FF2B5EF4-FFF2-40B4-BE49-F238E27FC236}">
                  <a16:creationId xmlns:a16="http://schemas.microsoft.com/office/drawing/2014/main" id="{DD55630E-4063-9240-AA2B-DAFF1CCEC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63" y="5157788"/>
              <a:ext cx="381000" cy="342900"/>
            </a:xfrm>
            <a:custGeom>
              <a:avLst/>
              <a:gdLst>
                <a:gd name="T0" fmla="*/ 165 w 240"/>
                <a:gd name="T1" fmla="*/ 81 h 216"/>
                <a:gd name="T2" fmla="*/ 156 w 240"/>
                <a:gd name="T3" fmla="*/ 69 h 216"/>
                <a:gd name="T4" fmla="*/ 153 w 240"/>
                <a:gd name="T5" fmla="*/ 63 h 216"/>
                <a:gd name="T6" fmla="*/ 141 w 240"/>
                <a:gd name="T7" fmla="*/ 62 h 216"/>
                <a:gd name="T8" fmla="*/ 114 w 240"/>
                <a:gd name="T9" fmla="*/ 63 h 216"/>
                <a:gd name="T10" fmla="*/ 104 w 240"/>
                <a:gd name="T11" fmla="*/ 55 h 216"/>
                <a:gd name="T12" fmla="*/ 108 w 240"/>
                <a:gd name="T13" fmla="*/ 46 h 216"/>
                <a:gd name="T14" fmla="*/ 108 w 240"/>
                <a:gd name="T15" fmla="*/ 37 h 216"/>
                <a:gd name="T16" fmla="*/ 101 w 240"/>
                <a:gd name="T17" fmla="*/ 25 h 216"/>
                <a:gd name="T18" fmla="*/ 101 w 240"/>
                <a:gd name="T19" fmla="*/ 19 h 216"/>
                <a:gd name="T20" fmla="*/ 88 w 240"/>
                <a:gd name="T21" fmla="*/ 18 h 216"/>
                <a:gd name="T22" fmla="*/ 64 w 240"/>
                <a:gd name="T23" fmla="*/ 1 h 216"/>
                <a:gd name="T24" fmla="*/ 51 w 240"/>
                <a:gd name="T25" fmla="*/ 1 h 216"/>
                <a:gd name="T26" fmla="*/ 39 w 240"/>
                <a:gd name="T27" fmla="*/ 9 h 216"/>
                <a:gd name="T28" fmla="*/ 24 w 240"/>
                <a:gd name="T29" fmla="*/ 3 h 216"/>
                <a:gd name="T30" fmla="*/ 20 w 240"/>
                <a:gd name="T31" fmla="*/ 3 h 216"/>
                <a:gd name="T32" fmla="*/ 9 w 240"/>
                <a:gd name="T33" fmla="*/ 15 h 216"/>
                <a:gd name="T34" fmla="*/ 12 w 240"/>
                <a:gd name="T35" fmla="*/ 23 h 216"/>
                <a:gd name="T36" fmla="*/ 17 w 240"/>
                <a:gd name="T37" fmla="*/ 32 h 216"/>
                <a:gd name="T38" fmla="*/ 3 w 240"/>
                <a:gd name="T39" fmla="*/ 41 h 216"/>
                <a:gd name="T40" fmla="*/ 0 w 240"/>
                <a:gd name="T41" fmla="*/ 47 h 216"/>
                <a:gd name="T42" fmla="*/ 6 w 240"/>
                <a:gd name="T43" fmla="*/ 72 h 216"/>
                <a:gd name="T44" fmla="*/ 23 w 240"/>
                <a:gd name="T45" fmla="*/ 78 h 216"/>
                <a:gd name="T46" fmla="*/ 31 w 240"/>
                <a:gd name="T47" fmla="*/ 89 h 216"/>
                <a:gd name="T48" fmla="*/ 40 w 240"/>
                <a:gd name="T49" fmla="*/ 98 h 216"/>
                <a:gd name="T50" fmla="*/ 67 w 240"/>
                <a:gd name="T51" fmla="*/ 117 h 216"/>
                <a:gd name="T52" fmla="*/ 74 w 240"/>
                <a:gd name="T53" fmla="*/ 133 h 216"/>
                <a:gd name="T54" fmla="*/ 82 w 240"/>
                <a:gd name="T55" fmla="*/ 154 h 216"/>
                <a:gd name="T56" fmla="*/ 83 w 240"/>
                <a:gd name="T57" fmla="*/ 169 h 216"/>
                <a:gd name="T58" fmla="*/ 89 w 240"/>
                <a:gd name="T59" fmla="*/ 180 h 216"/>
                <a:gd name="T60" fmla="*/ 106 w 240"/>
                <a:gd name="T61" fmla="*/ 186 h 216"/>
                <a:gd name="T62" fmla="*/ 120 w 240"/>
                <a:gd name="T63" fmla="*/ 191 h 216"/>
                <a:gd name="T64" fmla="*/ 157 w 240"/>
                <a:gd name="T65" fmla="*/ 186 h 216"/>
                <a:gd name="T66" fmla="*/ 188 w 240"/>
                <a:gd name="T67" fmla="*/ 191 h 216"/>
                <a:gd name="T68" fmla="*/ 191 w 240"/>
                <a:gd name="T69" fmla="*/ 194 h 216"/>
                <a:gd name="T70" fmla="*/ 196 w 240"/>
                <a:gd name="T71" fmla="*/ 210 h 216"/>
                <a:gd name="T72" fmla="*/ 208 w 240"/>
                <a:gd name="T73" fmla="*/ 216 h 216"/>
                <a:gd name="T74" fmla="*/ 215 w 240"/>
                <a:gd name="T75" fmla="*/ 212 h 216"/>
                <a:gd name="T76" fmla="*/ 221 w 240"/>
                <a:gd name="T77" fmla="*/ 204 h 216"/>
                <a:gd name="T78" fmla="*/ 233 w 240"/>
                <a:gd name="T79" fmla="*/ 169 h 216"/>
                <a:gd name="T80" fmla="*/ 237 w 240"/>
                <a:gd name="T81" fmla="*/ 151 h 216"/>
                <a:gd name="T82" fmla="*/ 223 w 240"/>
                <a:gd name="T83" fmla="*/ 139 h 216"/>
                <a:gd name="T84" fmla="*/ 215 w 240"/>
                <a:gd name="T85" fmla="*/ 130 h 216"/>
                <a:gd name="T86" fmla="*/ 218 w 240"/>
                <a:gd name="T87" fmla="*/ 121 h 216"/>
                <a:gd name="T88" fmla="*/ 233 w 240"/>
                <a:gd name="T89" fmla="*/ 111 h 216"/>
                <a:gd name="T90" fmla="*/ 239 w 240"/>
                <a:gd name="T91" fmla="*/ 100 h 216"/>
                <a:gd name="T92" fmla="*/ 236 w 240"/>
                <a:gd name="T93" fmla="*/ 98 h 216"/>
                <a:gd name="T94" fmla="*/ 218 w 240"/>
                <a:gd name="T95" fmla="*/ 111 h 216"/>
                <a:gd name="T96" fmla="*/ 209 w 240"/>
                <a:gd name="T97" fmla="*/ 109 h 216"/>
                <a:gd name="T98" fmla="*/ 203 w 240"/>
                <a:gd name="T99" fmla="*/ 96 h 216"/>
                <a:gd name="T100" fmla="*/ 187 w 240"/>
                <a:gd name="T101" fmla="*/ 84 h 216"/>
                <a:gd name="T102" fmla="*/ 175 w 240"/>
                <a:gd name="T103" fmla="*/ 78 h 216"/>
                <a:gd name="T104" fmla="*/ 165 w 240"/>
                <a:gd name="T105" fmla="*/ 8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0" h="216">
                  <a:moveTo>
                    <a:pt x="165" y="80"/>
                  </a:moveTo>
                  <a:lnTo>
                    <a:pt x="165" y="80"/>
                  </a:lnTo>
                  <a:lnTo>
                    <a:pt x="165" y="81"/>
                  </a:lnTo>
                  <a:lnTo>
                    <a:pt x="163" y="81"/>
                  </a:lnTo>
                  <a:lnTo>
                    <a:pt x="160" y="78"/>
                  </a:lnTo>
                  <a:lnTo>
                    <a:pt x="156" y="69"/>
                  </a:lnTo>
                  <a:lnTo>
                    <a:pt x="156" y="69"/>
                  </a:lnTo>
                  <a:lnTo>
                    <a:pt x="156" y="65"/>
                  </a:lnTo>
                  <a:lnTo>
                    <a:pt x="153" y="63"/>
                  </a:lnTo>
                  <a:lnTo>
                    <a:pt x="150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25" y="65"/>
                  </a:lnTo>
                  <a:lnTo>
                    <a:pt x="119" y="65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06" y="58"/>
                  </a:lnTo>
                  <a:lnTo>
                    <a:pt x="104" y="55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8" y="46"/>
                  </a:lnTo>
                  <a:lnTo>
                    <a:pt x="110" y="43"/>
                  </a:lnTo>
                  <a:lnTo>
                    <a:pt x="110" y="40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3" y="29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94" y="19"/>
                  </a:lnTo>
                  <a:lnTo>
                    <a:pt x="91" y="19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77" y="9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57" y="0"/>
                  </a:lnTo>
                  <a:lnTo>
                    <a:pt x="51" y="1"/>
                  </a:lnTo>
                  <a:lnTo>
                    <a:pt x="45" y="4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4" y="10"/>
                  </a:lnTo>
                  <a:lnTo>
                    <a:pt x="31" y="9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5" y="6"/>
                  </a:lnTo>
                  <a:lnTo>
                    <a:pt x="12" y="10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9"/>
                  </a:lnTo>
                  <a:lnTo>
                    <a:pt x="12" y="23"/>
                  </a:lnTo>
                  <a:lnTo>
                    <a:pt x="15" y="28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5"/>
                  </a:lnTo>
                  <a:lnTo>
                    <a:pt x="14" y="37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43"/>
                  </a:lnTo>
                  <a:lnTo>
                    <a:pt x="0" y="47"/>
                  </a:lnTo>
                  <a:lnTo>
                    <a:pt x="2" y="58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1" y="72"/>
                  </a:lnTo>
                  <a:lnTo>
                    <a:pt x="15" y="75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7" y="83"/>
                  </a:lnTo>
                  <a:lnTo>
                    <a:pt x="31" y="89"/>
                  </a:lnTo>
                  <a:lnTo>
                    <a:pt x="34" y="93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57" y="106"/>
                  </a:lnTo>
                  <a:lnTo>
                    <a:pt x="61" y="111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71" y="126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80" y="146"/>
                  </a:lnTo>
                  <a:lnTo>
                    <a:pt x="82" y="154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69"/>
                  </a:lnTo>
                  <a:lnTo>
                    <a:pt x="82" y="178"/>
                  </a:lnTo>
                  <a:lnTo>
                    <a:pt x="82" y="178"/>
                  </a:lnTo>
                  <a:lnTo>
                    <a:pt x="89" y="180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6" y="186"/>
                  </a:lnTo>
                  <a:lnTo>
                    <a:pt x="107" y="188"/>
                  </a:lnTo>
                  <a:lnTo>
                    <a:pt x="111" y="191"/>
                  </a:lnTo>
                  <a:lnTo>
                    <a:pt x="120" y="191"/>
                  </a:lnTo>
                  <a:lnTo>
                    <a:pt x="120" y="191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65" y="186"/>
                  </a:lnTo>
                  <a:lnTo>
                    <a:pt x="174" y="188"/>
                  </a:lnTo>
                  <a:lnTo>
                    <a:pt x="188" y="191"/>
                  </a:lnTo>
                  <a:lnTo>
                    <a:pt x="188" y="191"/>
                  </a:lnTo>
                  <a:lnTo>
                    <a:pt x="190" y="191"/>
                  </a:lnTo>
                  <a:lnTo>
                    <a:pt x="191" y="194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6" y="210"/>
                  </a:lnTo>
                  <a:lnTo>
                    <a:pt x="200" y="215"/>
                  </a:lnTo>
                  <a:lnTo>
                    <a:pt x="205" y="216"/>
                  </a:lnTo>
                  <a:lnTo>
                    <a:pt x="208" y="216"/>
                  </a:lnTo>
                  <a:lnTo>
                    <a:pt x="211" y="215"/>
                  </a:lnTo>
                  <a:lnTo>
                    <a:pt x="211" y="215"/>
                  </a:lnTo>
                  <a:lnTo>
                    <a:pt x="215" y="212"/>
                  </a:lnTo>
                  <a:lnTo>
                    <a:pt x="220" y="209"/>
                  </a:lnTo>
                  <a:lnTo>
                    <a:pt x="220" y="209"/>
                  </a:lnTo>
                  <a:lnTo>
                    <a:pt x="221" y="204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33" y="169"/>
                  </a:lnTo>
                  <a:lnTo>
                    <a:pt x="233" y="169"/>
                  </a:lnTo>
                  <a:lnTo>
                    <a:pt x="237" y="157"/>
                  </a:lnTo>
                  <a:lnTo>
                    <a:pt x="237" y="151"/>
                  </a:lnTo>
                  <a:lnTo>
                    <a:pt x="237" y="151"/>
                  </a:lnTo>
                  <a:lnTo>
                    <a:pt x="233" y="145"/>
                  </a:lnTo>
                  <a:lnTo>
                    <a:pt x="223" y="139"/>
                  </a:lnTo>
                  <a:lnTo>
                    <a:pt x="223" y="139"/>
                  </a:lnTo>
                  <a:lnTo>
                    <a:pt x="218" y="135"/>
                  </a:lnTo>
                  <a:lnTo>
                    <a:pt x="215" y="130"/>
                  </a:lnTo>
                  <a:lnTo>
                    <a:pt x="215" y="126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23" y="118"/>
                  </a:lnTo>
                  <a:lnTo>
                    <a:pt x="228" y="115"/>
                  </a:lnTo>
                  <a:lnTo>
                    <a:pt x="233" y="111"/>
                  </a:lnTo>
                  <a:lnTo>
                    <a:pt x="237" y="106"/>
                  </a:lnTo>
                  <a:lnTo>
                    <a:pt x="237" y="106"/>
                  </a:lnTo>
                  <a:lnTo>
                    <a:pt x="239" y="100"/>
                  </a:lnTo>
                  <a:lnTo>
                    <a:pt x="240" y="96"/>
                  </a:lnTo>
                  <a:lnTo>
                    <a:pt x="239" y="95"/>
                  </a:lnTo>
                  <a:lnTo>
                    <a:pt x="236" y="98"/>
                  </a:lnTo>
                  <a:lnTo>
                    <a:pt x="236" y="98"/>
                  </a:lnTo>
                  <a:lnTo>
                    <a:pt x="224" y="106"/>
                  </a:lnTo>
                  <a:lnTo>
                    <a:pt x="218" y="111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09" y="109"/>
                  </a:lnTo>
                  <a:lnTo>
                    <a:pt x="208" y="106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200" y="92"/>
                  </a:lnTo>
                  <a:lnTo>
                    <a:pt x="197" y="90"/>
                  </a:lnTo>
                  <a:lnTo>
                    <a:pt x="187" y="84"/>
                  </a:lnTo>
                  <a:lnTo>
                    <a:pt x="187" y="84"/>
                  </a:lnTo>
                  <a:lnTo>
                    <a:pt x="181" y="81"/>
                  </a:lnTo>
                  <a:lnTo>
                    <a:pt x="175" y="78"/>
                  </a:lnTo>
                  <a:lnTo>
                    <a:pt x="169" y="78"/>
                  </a:lnTo>
                  <a:lnTo>
                    <a:pt x="166" y="78"/>
                  </a:lnTo>
                  <a:lnTo>
                    <a:pt x="165" y="80"/>
                  </a:lnTo>
                  <a:lnTo>
                    <a:pt x="16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7" name="Freeform 36">
              <a:extLst>
                <a:ext uri="{FF2B5EF4-FFF2-40B4-BE49-F238E27FC236}">
                  <a16:creationId xmlns:a16="http://schemas.microsoft.com/office/drawing/2014/main" id="{8CAED565-E0BA-E14E-98D8-B1C067685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3825" y="5221288"/>
              <a:ext cx="358775" cy="430212"/>
            </a:xfrm>
            <a:custGeom>
              <a:avLst/>
              <a:gdLst>
                <a:gd name="T0" fmla="*/ 64 w 226"/>
                <a:gd name="T1" fmla="*/ 164 h 271"/>
                <a:gd name="T2" fmla="*/ 83 w 226"/>
                <a:gd name="T3" fmla="*/ 167 h 271"/>
                <a:gd name="T4" fmla="*/ 95 w 226"/>
                <a:gd name="T5" fmla="*/ 175 h 271"/>
                <a:gd name="T6" fmla="*/ 102 w 226"/>
                <a:gd name="T7" fmla="*/ 198 h 271"/>
                <a:gd name="T8" fmla="*/ 115 w 226"/>
                <a:gd name="T9" fmla="*/ 206 h 271"/>
                <a:gd name="T10" fmla="*/ 129 w 226"/>
                <a:gd name="T11" fmla="*/ 210 h 271"/>
                <a:gd name="T12" fmla="*/ 154 w 226"/>
                <a:gd name="T13" fmla="*/ 213 h 271"/>
                <a:gd name="T14" fmla="*/ 158 w 226"/>
                <a:gd name="T15" fmla="*/ 217 h 271"/>
                <a:gd name="T16" fmla="*/ 169 w 226"/>
                <a:gd name="T17" fmla="*/ 237 h 271"/>
                <a:gd name="T18" fmla="*/ 178 w 226"/>
                <a:gd name="T19" fmla="*/ 259 h 271"/>
                <a:gd name="T20" fmla="*/ 188 w 226"/>
                <a:gd name="T21" fmla="*/ 266 h 271"/>
                <a:gd name="T22" fmla="*/ 204 w 226"/>
                <a:gd name="T23" fmla="*/ 271 h 271"/>
                <a:gd name="T24" fmla="*/ 221 w 226"/>
                <a:gd name="T25" fmla="*/ 260 h 271"/>
                <a:gd name="T26" fmla="*/ 226 w 226"/>
                <a:gd name="T27" fmla="*/ 250 h 271"/>
                <a:gd name="T28" fmla="*/ 224 w 226"/>
                <a:gd name="T29" fmla="*/ 243 h 271"/>
                <a:gd name="T30" fmla="*/ 198 w 226"/>
                <a:gd name="T31" fmla="*/ 216 h 271"/>
                <a:gd name="T32" fmla="*/ 185 w 226"/>
                <a:gd name="T33" fmla="*/ 209 h 271"/>
                <a:gd name="T34" fmla="*/ 164 w 226"/>
                <a:gd name="T35" fmla="*/ 182 h 271"/>
                <a:gd name="T36" fmla="*/ 158 w 226"/>
                <a:gd name="T37" fmla="*/ 160 h 271"/>
                <a:gd name="T38" fmla="*/ 160 w 226"/>
                <a:gd name="T39" fmla="*/ 155 h 271"/>
                <a:gd name="T40" fmla="*/ 173 w 226"/>
                <a:gd name="T41" fmla="*/ 154 h 271"/>
                <a:gd name="T42" fmla="*/ 179 w 226"/>
                <a:gd name="T43" fmla="*/ 143 h 271"/>
                <a:gd name="T44" fmla="*/ 186 w 226"/>
                <a:gd name="T45" fmla="*/ 105 h 271"/>
                <a:gd name="T46" fmla="*/ 188 w 226"/>
                <a:gd name="T47" fmla="*/ 84 h 271"/>
                <a:gd name="T48" fmla="*/ 178 w 226"/>
                <a:gd name="T49" fmla="*/ 63 h 271"/>
                <a:gd name="T50" fmla="*/ 181 w 226"/>
                <a:gd name="T51" fmla="*/ 50 h 271"/>
                <a:gd name="T52" fmla="*/ 163 w 226"/>
                <a:gd name="T53" fmla="*/ 37 h 271"/>
                <a:gd name="T54" fmla="*/ 160 w 226"/>
                <a:gd name="T55" fmla="*/ 37 h 271"/>
                <a:gd name="T56" fmla="*/ 152 w 226"/>
                <a:gd name="T57" fmla="*/ 38 h 271"/>
                <a:gd name="T58" fmla="*/ 89 w 226"/>
                <a:gd name="T59" fmla="*/ 6 h 271"/>
                <a:gd name="T60" fmla="*/ 67 w 226"/>
                <a:gd name="T61" fmla="*/ 1 h 271"/>
                <a:gd name="T62" fmla="*/ 61 w 226"/>
                <a:gd name="T63" fmla="*/ 6 h 271"/>
                <a:gd name="T64" fmla="*/ 64 w 226"/>
                <a:gd name="T65" fmla="*/ 19 h 271"/>
                <a:gd name="T66" fmla="*/ 71 w 226"/>
                <a:gd name="T67" fmla="*/ 53 h 271"/>
                <a:gd name="T68" fmla="*/ 71 w 226"/>
                <a:gd name="T69" fmla="*/ 71 h 271"/>
                <a:gd name="T70" fmla="*/ 61 w 226"/>
                <a:gd name="T71" fmla="*/ 90 h 271"/>
                <a:gd name="T72" fmla="*/ 58 w 226"/>
                <a:gd name="T73" fmla="*/ 90 h 271"/>
                <a:gd name="T74" fmla="*/ 32 w 226"/>
                <a:gd name="T75" fmla="*/ 92 h 271"/>
                <a:gd name="T76" fmla="*/ 19 w 226"/>
                <a:gd name="T77" fmla="*/ 96 h 271"/>
                <a:gd name="T78" fmla="*/ 10 w 226"/>
                <a:gd name="T79" fmla="*/ 95 h 271"/>
                <a:gd name="T80" fmla="*/ 3 w 226"/>
                <a:gd name="T81" fmla="*/ 93 h 271"/>
                <a:gd name="T82" fmla="*/ 0 w 226"/>
                <a:gd name="T83" fmla="*/ 111 h 271"/>
                <a:gd name="T84" fmla="*/ 1 w 226"/>
                <a:gd name="T85" fmla="*/ 138 h 271"/>
                <a:gd name="T86" fmla="*/ 7 w 226"/>
                <a:gd name="T87" fmla="*/ 148 h 271"/>
                <a:gd name="T88" fmla="*/ 32 w 226"/>
                <a:gd name="T89" fmla="*/ 163 h 271"/>
                <a:gd name="T90" fmla="*/ 49 w 226"/>
                <a:gd name="T91" fmla="*/ 163 h 271"/>
                <a:gd name="T92" fmla="*/ 68 w 226"/>
                <a:gd name="T93" fmla="*/ 98 h 271"/>
                <a:gd name="T94" fmla="*/ 68 w 226"/>
                <a:gd name="T95" fmla="*/ 99 h 271"/>
                <a:gd name="T96" fmla="*/ 68 w 226"/>
                <a:gd name="T97" fmla="*/ 9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6" h="271">
                  <a:moveTo>
                    <a:pt x="53" y="161"/>
                  </a:moveTo>
                  <a:lnTo>
                    <a:pt x="53" y="161"/>
                  </a:lnTo>
                  <a:lnTo>
                    <a:pt x="6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83" y="167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5" y="175"/>
                  </a:lnTo>
                  <a:lnTo>
                    <a:pt x="98" y="183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105" y="201"/>
                  </a:lnTo>
                  <a:lnTo>
                    <a:pt x="108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20" y="207"/>
                  </a:lnTo>
                  <a:lnTo>
                    <a:pt x="129" y="210"/>
                  </a:lnTo>
                  <a:lnTo>
                    <a:pt x="129" y="210"/>
                  </a:lnTo>
                  <a:lnTo>
                    <a:pt x="141" y="212"/>
                  </a:lnTo>
                  <a:lnTo>
                    <a:pt x="154" y="213"/>
                  </a:lnTo>
                  <a:lnTo>
                    <a:pt x="154" y="213"/>
                  </a:lnTo>
                  <a:lnTo>
                    <a:pt x="157" y="215"/>
                  </a:lnTo>
                  <a:lnTo>
                    <a:pt x="158" y="217"/>
                  </a:lnTo>
                  <a:lnTo>
                    <a:pt x="163" y="222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3" y="249"/>
                  </a:lnTo>
                  <a:lnTo>
                    <a:pt x="175" y="255"/>
                  </a:lnTo>
                  <a:lnTo>
                    <a:pt x="178" y="259"/>
                  </a:lnTo>
                  <a:lnTo>
                    <a:pt x="178" y="259"/>
                  </a:lnTo>
                  <a:lnTo>
                    <a:pt x="182" y="263"/>
                  </a:lnTo>
                  <a:lnTo>
                    <a:pt x="188" y="266"/>
                  </a:lnTo>
                  <a:lnTo>
                    <a:pt x="195" y="271"/>
                  </a:lnTo>
                  <a:lnTo>
                    <a:pt x="204" y="271"/>
                  </a:lnTo>
                  <a:lnTo>
                    <a:pt x="204" y="271"/>
                  </a:lnTo>
                  <a:lnTo>
                    <a:pt x="210" y="271"/>
                  </a:lnTo>
                  <a:lnTo>
                    <a:pt x="213" y="269"/>
                  </a:lnTo>
                  <a:lnTo>
                    <a:pt x="221" y="260"/>
                  </a:lnTo>
                  <a:lnTo>
                    <a:pt x="221" y="260"/>
                  </a:lnTo>
                  <a:lnTo>
                    <a:pt x="225" y="255"/>
                  </a:lnTo>
                  <a:lnTo>
                    <a:pt x="226" y="250"/>
                  </a:lnTo>
                  <a:lnTo>
                    <a:pt x="226" y="247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15" y="229"/>
                  </a:lnTo>
                  <a:lnTo>
                    <a:pt x="207" y="223"/>
                  </a:lnTo>
                  <a:lnTo>
                    <a:pt x="198" y="216"/>
                  </a:lnTo>
                  <a:lnTo>
                    <a:pt x="198" y="216"/>
                  </a:lnTo>
                  <a:lnTo>
                    <a:pt x="189" y="212"/>
                  </a:lnTo>
                  <a:lnTo>
                    <a:pt x="185" y="209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64" y="182"/>
                  </a:lnTo>
                  <a:lnTo>
                    <a:pt x="160" y="173"/>
                  </a:lnTo>
                  <a:lnTo>
                    <a:pt x="158" y="166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57"/>
                  </a:lnTo>
                  <a:lnTo>
                    <a:pt x="160" y="155"/>
                  </a:lnTo>
                  <a:lnTo>
                    <a:pt x="164" y="154"/>
                  </a:lnTo>
                  <a:lnTo>
                    <a:pt x="173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6" y="151"/>
                  </a:lnTo>
                  <a:lnTo>
                    <a:pt x="179" y="143"/>
                  </a:lnTo>
                  <a:lnTo>
                    <a:pt x="184" y="127"/>
                  </a:lnTo>
                  <a:lnTo>
                    <a:pt x="184" y="127"/>
                  </a:lnTo>
                  <a:lnTo>
                    <a:pt x="186" y="105"/>
                  </a:lnTo>
                  <a:lnTo>
                    <a:pt x="188" y="92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82" y="72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59"/>
                  </a:lnTo>
                  <a:lnTo>
                    <a:pt x="179" y="55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70" y="41"/>
                  </a:lnTo>
                  <a:lnTo>
                    <a:pt x="163" y="37"/>
                  </a:lnTo>
                  <a:lnTo>
                    <a:pt x="160" y="35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78" y="1"/>
                  </a:lnTo>
                  <a:lnTo>
                    <a:pt x="71" y="0"/>
                  </a:lnTo>
                  <a:lnTo>
                    <a:pt x="67" y="1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1" y="6"/>
                  </a:lnTo>
                  <a:lnTo>
                    <a:pt x="62" y="1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71" y="5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1" y="71"/>
                  </a:lnTo>
                  <a:lnTo>
                    <a:pt x="68" y="78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47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5" y="93"/>
                  </a:lnTo>
                  <a:lnTo>
                    <a:pt x="22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6" y="96"/>
                  </a:lnTo>
                  <a:lnTo>
                    <a:pt x="10" y="95"/>
                  </a:lnTo>
                  <a:lnTo>
                    <a:pt x="6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1" y="138"/>
                  </a:lnTo>
                  <a:lnTo>
                    <a:pt x="3" y="143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16" y="155"/>
                  </a:lnTo>
                  <a:lnTo>
                    <a:pt x="24" y="160"/>
                  </a:lnTo>
                  <a:lnTo>
                    <a:pt x="32" y="163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9" y="163"/>
                  </a:lnTo>
                  <a:lnTo>
                    <a:pt x="53" y="161"/>
                  </a:lnTo>
                  <a:close/>
                  <a:moveTo>
                    <a:pt x="68" y="98"/>
                  </a:moveTo>
                  <a:lnTo>
                    <a:pt x="68" y="98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8"/>
                  </a:lnTo>
                  <a:lnTo>
                    <a:pt x="68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8" name="Freeform 37">
              <a:extLst>
                <a:ext uri="{FF2B5EF4-FFF2-40B4-BE49-F238E27FC236}">
                  <a16:creationId xmlns:a16="http://schemas.microsoft.com/office/drawing/2014/main" id="{4625B0D7-26AA-3343-92EC-33C93B3DF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825" y="5221288"/>
              <a:ext cx="358775" cy="430212"/>
            </a:xfrm>
            <a:custGeom>
              <a:avLst/>
              <a:gdLst>
                <a:gd name="T0" fmla="*/ 64 w 226"/>
                <a:gd name="T1" fmla="*/ 164 h 271"/>
                <a:gd name="T2" fmla="*/ 83 w 226"/>
                <a:gd name="T3" fmla="*/ 167 h 271"/>
                <a:gd name="T4" fmla="*/ 95 w 226"/>
                <a:gd name="T5" fmla="*/ 175 h 271"/>
                <a:gd name="T6" fmla="*/ 102 w 226"/>
                <a:gd name="T7" fmla="*/ 198 h 271"/>
                <a:gd name="T8" fmla="*/ 115 w 226"/>
                <a:gd name="T9" fmla="*/ 206 h 271"/>
                <a:gd name="T10" fmla="*/ 129 w 226"/>
                <a:gd name="T11" fmla="*/ 210 h 271"/>
                <a:gd name="T12" fmla="*/ 154 w 226"/>
                <a:gd name="T13" fmla="*/ 213 h 271"/>
                <a:gd name="T14" fmla="*/ 158 w 226"/>
                <a:gd name="T15" fmla="*/ 217 h 271"/>
                <a:gd name="T16" fmla="*/ 169 w 226"/>
                <a:gd name="T17" fmla="*/ 237 h 271"/>
                <a:gd name="T18" fmla="*/ 178 w 226"/>
                <a:gd name="T19" fmla="*/ 259 h 271"/>
                <a:gd name="T20" fmla="*/ 188 w 226"/>
                <a:gd name="T21" fmla="*/ 266 h 271"/>
                <a:gd name="T22" fmla="*/ 204 w 226"/>
                <a:gd name="T23" fmla="*/ 271 h 271"/>
                <a:gd name="T24" fmla="*/ 221 w 226"/>
                <a:gd name="T25" fmla="*/ 260 h 271"/>
                <a:gd name="T26" fmla="*/ 226 w 226"/>
                <a:gd name="T27" fmla="*/ 250 h 271"/>
                <a:gd name="T28" fmla="*/ 224 w 226"/>
                <a:gd name="T29" fmla="*/ 243 h 271"/>
                <a:gd name="T30" fmla="*/ 198 w 226"/>
                <a:gd name="T31" fmla="*/ 216 h 271"/>
                <a:gd name="T32" fmla="*/ 185 w 226"/>
                <a:gd name="T33" fmla="*/ 209 h 271"/>
                <a:gd name="T34" fmla="*/ 164 w 226"/>
                <a:gd name="T35" fmla="*/ 182 h 271"/>
                <a:gd name="T36" fmla="*/ 158 w 226"/>
                <a:gd name="T37" fmla="*/ 160 h 271"/>
                <a:gd name="T38" fmla="*/ 160 w 226"/>
                <a:gd name="T39" fmla="*/ 155 h 271"/>
                <a:gd name="T40" fmla="*/ 173 w 226"/>
                <a:gd name="T41" fmla="*/ 154 h 271"/>
                <a:gd name="T42" fmla="*/ 179 w 226"/>
                <a:gd name="T43" fmla="*/ 143 h 271"/>
                <a:gd name="T44" fmla="*/ 186 w 226"/>
                <a:gd name="T45" fmla="*/ 105 h 271"/>
                <a:gd name="T46" fmla="*/ 188 w 226"/>
                <a:gd name="T47" fmla="*/ 84 h 271"/>
                <a:gd name="T48" fmla="*/ 178 w 226"/>
                <a:gd name="T49" fmla="*/ 63 h 271"/>
                <a:gd name="T50" fmla="*/ 181 w 226"/>
                <a:gd name="T51" fmla="*/ 50 h 271"/>
                <a:gd name="T52" fmla="*/ 163 w 226"/>
                <a:gd name="T53" fmla="*/ 37 h 271"/>
                <a:gd name="T54" fmla="*/ 160 w 226"/>
                <a:gd name="T55" fmla="*/ 37 h 271"/>
                <a:gd name="T56" fmla="*/ 152 w 226"/>
                <a:gd name="T57" fmla="*/ 38 h 271"/>
                <a:gd name="T58" fmla="*/ 89 w 226"/>
                <a:gd name="T59" fmla="*/ 6 h 271"/>
                <a:gd name="T60" fmla="*/ 67 w 226"/>
                <a:gd name="T61" fmla="*/ 1 h 271"/>
                <a:gd name="T62" fmla="*/ 61 w 226"/>
                <a:gd name="T63" fmla="*/ 6 h 271"/>
                <a:gd name="T64" fmla="*/ 64 w 226"/>
                <a:gd name="T65" fmla="*/ 19 h 271"/>
                <a:gd name="T66" fmla="*/ 71 w 226"/>
                <a:gd name="T67" fmla="*/ 53 h 271"/>
                <a:gd name="T68" fmla="*/ 71 w 226"/>
                <a:gd name="T69" fmla="*/ 71 h 271"/>
                <a:gd name="T70" fmla="*/ 61 w 226"/>
                <a:gd name="T71" fmla="*/ 90 h 271"/>
                <a:gd name="T72" fmla="*/ 58 w 226"/>
                <a:gd name="T73" fmla="*/ 90 h 271"/>
                <a:gd name="T74" fmla="*/ 32 w 226"/>
                <a:gd name="T75" fmla="*/ 92 h 271"/>
                <a:gd name="T76" fmla="*/ 19 w 226"/>
                <a:gd name="T77" fmla="*/ 96 h 271"/>
                <a:gd name="T78" fmla="*/ 10 w 226"/>
                <a:gd name="T79" fmla="*/ 95 h 271"/>
                <a:gd name="T80" fmla="*/ 3 w 226"/>
                <a:gd name="T81" fmla="*/ 93 h 271"/>
                <a:gd name="T82" fmla="*/ 0 w 226"/>
                <a:gd name="T83" fmla="*/ 111 h 271"/>
                <a:gd name="T84" fmla="*/ 1 w 226"/>
                <a:gd name="T85" fmla="*/ 138 h 271"/>
                <a:gd name="T86" fmla="*/ 7 w 226"/>
                <a:gd name="T87" fmla="*/ 148 h 271"/>
                <a:gd name="T88" fmla="*/ 32 w 226"/>
                <a:gd name="T89" fmla="*/ 163 h 271"/>
                <a:gd name="T90" fmla="*/ 49 w 226"/>
                <a:gd name="T91" fmla="*/ 1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6" h="271">
                  <a:moveTo>
                    <a:pt x="53" y="161"/>
                  </a:moveTo>
                  <a:lnTo>
                    <a:pt x="53" y="161"/>
                  </a:lnTo>
                  <a:lnTo>
                    <a:pt x="6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83" y="167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5" y="175"/>
                  </a:lnTo>
                  <a:lnTo>
                    <a:pt x="98" y="183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105" y="201"/>
                  </a:lnTo>
                  <a:lnTo>
                    <a:pt x="108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20" y="207"/>
                  </a:lnTo>
                  <a:lnTo>
                    <a:pt x="129" y="210"/>
                  </a:lnTo>
                  <a:lnTo>
                    <a:pt x="129" y="210"/>
                  </a:lnTo>
                  <a:lnTo>
                    <a:pt x="141" y="212"/>
                  </a:lnTo>
                  <a:lnTo>
                    <a:pt x="154" y="213"/>
                  </a:lnTo>
                  <a:lnTo>
                    <a:pt x="154" y="213"/>
                  </a:lnTo>
                  <a:lnTo>
                    <a:pt x="157" y="215"/>
                  </a:lnTo>
                  <a:lnTo>
                    <a:pt x="158" y="217"/>
                  </a:lnTo>
                  <a:lnTo>
                    <a:pt x="163" y="222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3" y="249"/>
                  </a:lnTo>
                  <a:lnTo>
                    <a:pt x="175" y="255"/>
                  </a:lnTo>
                  <a:lnTo>
                    <a:pt x="178" y="259"/>
                  </a:lnTo>
                  <a:lnTo>
                    <a:pt x="178" y="259"/>
                  </a:lnTo>
                  <a:lnTo>
                    <a:pt x="182" y="263"/>
                  </a:lnTo>
                  <a:lnTo>
                    <a:pt x="188" y="266"/>
                  </a:lnTo>
                  <a:lnTo>
                    <a:pt x="195" y="271"/>
                  </a:lnTo>
                  <a:lnTo>
                    <a:pt x="204" y="271"/>
                  </a:lnTo>
                  <a:lnTo>
                    <a:pt x="204" y="271"/>
                  </a:lnTo>
                  <a:lnTo>
                    <a:pt x="210" y="271"/>
                  </a:lnTo>
                  <a:lnTo>
                    <a:pt x="213" y="269"/>
                  </a:lnTo>
                  <a:lnTo>
                    <a:pt x="221" y="260"/>
                  </a:lnTo>
                  <a:lnTo>
                    <a:pt x="221" y="260"/>
                  </a:lnTo>
                  <a:lnTo>
                    <a:pt x="225" y="255"/>
                  </a:lnTo>
                  <a:lnTo>
                    <a:pt x="226" y="250"/>
                  </a:lnTo>
                  <a:lnTo>
                    <a:pt x="226" y="247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15" y="229"/>
                  </a:lnTo>
                  <a:lnTo>
                    <a:pt x="207" y="223"/>
                  </a:lnTo>
                  <a:lnTo>
                    <a:pt x="198" y="216"/>
                  </a:lnTo>
                  <a:lnTo>
                    <a:pt x="198" y="216"/>
                  </a:lnTo>
                  <a:lnTo>
                    <a:pt x="189" y="212"/>
                  </a:lnTo>
                  <a:lnTo>
                    <a:pt x="185" y="209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64" y="182"/>
                  </a:lnTo>
                  <a:lnTo>
                    <a:pt x="160" y="173"/>
                  </a:lnTo>
                  <a:lnTo>
                    <a:pt x="158" y="166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57"/>
                  </a:lnTo>
                  <a:lnTo>
                    <a:pt x="160" y="155"/>
                  </a:lnTo>
                  <a:lnTo>
                    <a:pt x="164" y="154"/>
                  </a:lnTo>
                  <a:lnTo>
                    <a:pt x="173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6" y="151"/>
                  </a:lnTo>
                  <a:lnTo>
                    <a:pt x="179" y="143"/>
                  </a:lnTo>
                  <a:lnTo>
                    <a:pt x="184" y="127"/>
                  </a:lnTo>
                  <a:lnTo>
                    <a:pt x="184" y="127"/>
                  </a:lnTo>
                  <a:lnTo>
                    <a:pt x="186" y="105"/>
                  </a:lnTo>
                  <a:lnTo>
                    <a:pt x="188" y="92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82" y="72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59"/>
                  </a:lnTo>
                  <a:lnTo>
                    <a:pt x="179" y="55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70" y="41"/>
                  </a:lnTo>
                  <a:lnTo>
                    <a:pt x="163" y="37"/>
                  </a:lnTo>
                  <a:lnTo>
                    <a:pt x="160" y="35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78" y="1"/>
                  </a:lnTo>
                  <a:lnTo>
                    <a:pt x="71" y="0"/>
                  </a:lnTo>
                  <a:lnTo>
                    <a:pt x="67" y="1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1" y="6"/>
                  </a:lnTo>
                  <a:lnTo>
                    <a:pt x="62" y="1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71" y="5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1" y="71"/>
                  </a:lnTo>
                  <a:lnTo>
                    <a:pt x="68" y="78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47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5" y="93"/>
                  </a:lnTo>
                  <a:lnTo>
                    <a:pt x="22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6" y="96"/>
                  </a:lnTo>
                  <a:lnTo>
                    <a:pt x="10" y="95"/>
                  </a:lnTo>
                  <a:lnTo>
                    <a:pt x="6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1" y="138"/>
                  </a:lnTo>
                  <a:lnTo>
                    <a:pt x="3" y="143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16" y="155"/>
                  </a:lnTo>
                  <a:lnTo>
                    <a:pt x="24" y="160"/>
                  </a:lnTo>
                  <a:lnTo>
                    <a:pt x="32" y="163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9" y="163"/>
                  </a:lnTo>
                  <a:lnTo>
                    <a:pt x="53" y="161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9" name="Freeform 38">
              <a:extLst>
                <a:ext uri="{FF2B5EF4-FFF2-40B4-BE49-F238E27FC236}">
                  <a16:creationId xmlns:a16="http://schemas.microsoft.com/office/drawing/2014/main" id="{8FF0AFB5-38F0-034C-A2AB-D2B4BBA5A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775" y="5376863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1 h 1"/>
                <a:gd name="T5" fmla="*/ 1 h 1"/>
                <a:gd name="T6" fmla="*/ 0 h 1"/>
                <a:gd name="T7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0" name="Freeform 39">
              <a:extLst>
                <a:ext uri="{FF2B5EF4-FFF2-40B4-BE49-F238E27FC236}">
                  <a16:creationId xmlns:a16="http://schemas.microsoft.com/office/drawing/2014/main" id="{962D8868-F4E7-1940-AF4A-6AB578548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288" y="4214813"/>
              <a:ext cx="1976438" cy="1120775"/>
            </a:xfrm>
            <a:custGeom>
              <a:avLst/>
              <a:gdLst>
                <a:gd name="T0" fmla="*/ 290 w 1245"/>
                <a:gd name="T1" fmla="*/ 580 h 706"/>
                <a:gd name="T2" fmla="*/ 333 w 1245"/>
                <a:gd name="T3" fmla="*/ 603 h 706"/>
                <a:gd name="T4" fmla="*/ 374 w 1245"/>
                <a:gd name="T5" fmla="*/ 626 h 706"/>
                <a:gd name="T6" fmla="*/ 401 w 1245"/>
                <a:gd name="T7" fmla="*/ 634 h 706"/>
                <a:gd name="T8" fmla="*/ 422 w 1245"/>
                <a:gd name="T9" fmla="*/ 637 h 706"/>
                <a:gd name="T10" fmla="*/ 462 w 1245"/>
                <a:gd name="T11" fmla="*/ 631 h 706"/>
                <a:gd name="T12" fmla="*/ 503 w 1245"/>
                <a:gd name="T13" fmla="*/ 665 h 706"/>
                <a:gd name="T14" fmla="*/ 591 w 1245"/>
                <a:gd name="T15" fmla="*/ 706 h 706"/>
                <a:gd name="T16" fmla="*/ 631 w 1245"/>
                <a:gd name="T17" fmla="*/ 665 h 706"/>
                <a:gd name="T18" fmla="*/ 659 w 1245"/>
                <a:gd name="T19" fmla="*/ 631 h 706"/>
                <a:gd name="T20" fmla="*/ 668 w 1245"/>
                <a:gd name="T21" fmla="*/ 573 h 706"/>
                <a:gd name="T22" fmla="*/ 728 w 1245"/>
                <a:gd name="T23" fmla="*/ 524 h 706"/>
                <a:gd name="T24" fmla="*/ 779 w 1245"/>
                <a:gd name="T25" fmla="*/ 455 h 706"/>
                <a:gd name="T26" fmla="*/ 819 w 1245"/>
                <a:gd name="T27" fmla="*/ 429 h 706"/>
                <a:gd name="T28" fmla="*/ 850 w 1245"/>
                <a:gd name="T29" fmla="*/ 459 h 706"/>
                <a:gd name="T30" fmla="*/ 900 w 1245"/>
                <a:gd name="T31" fmla="*/ 423 h 706"/>
                <a:gd name="T32" fmla="*/ 999 w 1245"/>
                <a:gd name="T33" fmla="*/ 413 h 706"/>
                <a:gd name="T34" fmla="*/ 1041 w 1245"/>
                <a:gd name="T35" fmla="*/ 392 h 706"/>
                <a:gd name="T36" fmla="*/ 1100 w 1245"/>
                <a:gd name="T37" fmla="*/ 382 h 706"/>
                <a:gd name="T38" fmla="*/ 1183 w 1245"/>
                <a:gd name="T39" fmla="*/ 361 h 706"/>
                <a:gd name="T40" fmla="*/ 1198 w 1245"/>
                <a:gd name="T41" fmla="*/ 330 h 706"/>
                <a:gd name="T42" fmla="*/ 1220 w 1245"/>
                <a:gd name="T43" fmla="*/ 327 h 706"/>
                <a:gd name="T44" fmla="*/ 1232 w 1245"/>
                <a:gd name="T45" fmla="*/ 284 h 706"/>
                <a:gd name="T46" fmla="*/ 1217 w 1245"/>
                <a:gd name="T47" fmla="*/ 268 h 706"/>
                <a:gd name="T48" fmla="*/ 1223 w 1245"/>
                <a:gd name="T49" fmla="*/ 228 h 706"/>
                <a:gd name="T50" fmla="*/ 1156 w 1245"/>
                <a:gd name="T51" fmla="*/ 243 h 706"/>
                <a:gd name="T52" fmla="*/ 1118 w 1245"/>
                <a:gd name="T53" fmla="*/ 256 h 706"/>
                <a:gd name="T54" fmla="*/ 1076 w 1245"/>
                <a:gd name="T55" fmla="*/ 281 h 706"/>
                <a:gd name="T56" fmla="*/ 922 w 1245"/>
                <a:gd name="T57" fmla="*/ 213 h 706"/>
                <a:gd name="T58" fmla="*/ 708 w 1245"/>
                <a:gd name="T59" fmla="*/ 24 h 706"/>
                <a:gd name="T60" fmla="*/ 659 w 1245"/>
                <a:gd name="T61" fmla="*/ 24 h 706"/>
                <a:gd name="T62" fmla="*/ 543 w 1245"/>
                <a:gd name="T63" fmla="*/ 0 h 706"/>
                <a:gd name="T64" fmla="*/ 463 w 1245"/>
                <a:gd name="T65" fmla="*/ 75 h 706"/>
                <a:gd name="T66" fmla="*/ 472 w 1245"/>
                <a:gd name="T67" fmla="*/ 105 h 706"/>
                <a:gd name="T68" fmla="*/ 453 w 1245"/>
                <a:gd name="T69" fmla="*/ 167 h 706"/>
                <a:gd name="T70" fmla="*/ 414 w 1245"/>
                <a:gd name="T71" fmla="*/ 148 h 706"/>
                <a:gd name="T72" fmla="*/ 386 w 1245"/>
                <a:gd name="T73" fmla="*/ 136 h 706"/>
                <a:gd name="T74" fmla="*/ 360 w 1245"/>
                <a:gd name="T75" fmla="*/ 129 h 706"/>
                <a:gd name="T76" fmla="*/ 349 w 1245"/>
                <a:gd name="T77" fmla="*/ 107 h 706"/>
                <a:gd name="T78" fmla="*/ 283 w 1245"/>
                <a:gd name="T79" fmla="*/ 38 h 706"/>
                <a:gd name="T80" fmla="*/ 260 w 1245"/>
                <a:gd name="T81" fmla="*/ 67 h 706"/>
                <a:gd name="T82" fmla="*/ 256 w 1245"/>
                <a:gd name="T83" fmla="*/ 136 h 706"/>
                <a:gd name="T84" fmla="*/ 238 w 1245"/>
                <a:gd name="T85" fmla="*/ 178 h 706"/>
                <a:gd name="T86" fmla="*/ 192 w 1245"/>
                <a:gd name="T87" fmla="*/ 200 h 706"/>
                <a:gd name="T88" fmla="*/ 166 w 1245"/>
                <a:gd name="T89" fmla="*/ 259 h 706"/>
                <a:gd name="T90" fmla="*/ 197 w 1245"/>
                <a:gd name="T91" fmla="*/ 264 h 706"/>
                <a:gd name="T92" fmla="*/ 243 w 1245"/>
                <a:gd name="T93" fmla="*/ 250 h 706"/>
                <a:gd name="T94" fmla="*/ 185 w 1245"/>
                <a:gd name="T95" fmla="*/ 348 h 706"/>
                <a:gd name="T96" fmla="*/ 163 w 1245"/>
                <a:gd name="T97" fmla="*/ 389 h 706"/>
                <a:gd name="T98" fmla="*/ 120 w 1245"/>
                <a:gd name="T99" fmla="*/ 388 h 706"/>
                <a:gd name="T100" fmla="*/ 83 w 1245"/>
                <a:gd name="T101" fmla="*/ 400 h 706"/>
                <a:gd name="T102" fmla="*/ 40 w 1245"/>
                <a:gd name="T103" fmla="*/ 449 h 706"/>
                <a:gd name="T104" fmla="*/ 3 w 1245"/>
                <a:gd name="T105" fmla="*/ 492 h 706"/>
                <a:gd name="T106" fmla="*/ 10 w 1245"/>
                <a:gd name="T107" fmla="*/ 520 h 706"/>
                <a:gd name="T108" fmla="*/ 10 w 1245"/>
                <a:gd name="T109" fmla="*/ 561 h 706"/>
                <a:gd name="T110" fmla="*/ 43 w 1245"/>
                <a:gd name="T111" fmla="*/ 554 h 706"/>
                <a:gd name="T112" fmla="*/ 99 w 1245"/>
                <a:gd name="T113" fmla="*/ 561 h 706"/>
                <a:gd name="T114" fmla="*/ 145 w 1245"/>
                <a:gd name="T115" fmla="*/ 586 h 706"/>
                <a:gd name="T116" fmla="*/ 200 w 1245"/>
                <a:gd name="T117" fmla="*/ 586 h 706"/>
                <a:gd name="T118" fmla="*/ 212 w 1245"/>
                <a:gd name="T119" fmla="*/ 558 h 706"/>
                <a:gd name="T120" fmla="*/ 250 w 1245"/>
                <a:gd name="T121" fmla="*/ 540 h 706"/>
                <a:gd name="T122" fmla="*/ 271 w 1245"/>
                <a:gd name="T123" fmla="*/ 548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5" h="706">
                  <a:moveTo>
                    <a:pt x="281" y="546"/>
                  </a:moveTo>
                  <a:lnTo>
                    <a:pt x="281" y="546"/>
                  </a:lnTo>
                  <a:lnTo>
                    <a:pt x="286" y="549"/>
                  </a:lnTo>
                  <a:lnTo>
                    <a:pt x="293" y="555"/>
                  </a:lnTo>
                  <a:lnTo>
                    <a:pt x="300" y="561"/>
                  </a:lnTo>
                  <a:lnTo>
                    <a:pt x="302" y="564"/>
                  </a:lnTo>
                  <a:lnTo>
                    <a:pt x="302" y="564"/>
                  </a:lnTo>
                  <a:lnTo>
                    <a:pt x="295" y="572"/>
                  </a:lnTo>
                  <a:lnTo>
                    <a:pt x="290" y="576"/>
                  </a:lnTo>
                  <a:lnTo>
                    <a:pt x="290" y="577"/>
                  </a:lnTo>
                  <a:lnTo>
                    <a:pt x="290" y="580"/>
                  </a:lnTo>
                  <a:lnTo>
                    <a:pt x="290" y="580"/>
                  </a:lnTo>
                  <a:lnTo>
                    <a:pt x="297" y="588"/>
                  </a:lnTo>
                  <a:lnTo>
                    <a:pt x="302" y="591"/>
                  </a:lnTo>
                  <a:lnTo>
                    <a:pt x="303" y="591"/>
                  </a:lnTo>
                  <a:lnTo>
                    <a:pt x="306" y="591"/>
                  </a:lnTo>
                  <a:lnTo>
                    <a:pt x="306" y="591"/>
                  </a:lnTo>
                  <a:lnTo>
                    <a:pt x="312" y="585"/>
                  </a:lnTo>
                  <a:lnTo>
                    <a:pt x="314" y="585"/>
                  </a:lnTo>
                  <a:lnTo>
                    <a:pt x="317" y="586"/>
                  </a:lnTo>
                  <a:lnTo>
                    <a:pt x="317" y="586"/>
                  </a:lnTo>
                  <a:lnTo>
                    <a:pt x="333" y="603"/>
                  </a:lnTo>
                  <a:lnTo>
                    <a:pt x="349" y="622"/>
                  </a:lnTo>
                  <a:lnTo>
                    <a:pt x="349" y="622"/>
                  </a:lnTo>
                  <a:lnTo>
                    <a:pt x="354" y="626"/>
                  </a:lnTo>
                  <a:lnTo>
                    <a:pt x="354" y="626"/>
                  </a:lnTo>
                  <a:lnTo>
                    <a:pt x="358" y="623"/>
                  </a:lnTo>
                  <a:lnTo>
                    <a:pt x="363" y="622"/>
                  </a:lnTo>
                  <a:lnTo>
                    <a:pt x="367" y="622"/>
                  </a:lnTo>
                  <a:lnTo>
                    <a:pt x="367" y="622"/>
                  </a:lnTo>
                  <a:lnTo>
                    <a:pt x="370" y="623"/>
                  </a:lnTo>
                  <a:lnTo>
                    <a:pt x="372" y="625"/>
                  </a:lnTo>
                  <a:lnTo>
                    <a:pt x="374" y="626"/>
                  </a:lnTo>
                  <a:lnTo>
                    <a:pt x="376" y="626"/>
                  </a:lnTo>
                  <a:lnTo>
                    <a:pt x="376" y="626"/>
                  </a:lnTo>
                  <a:lnTo>
                    <a:pt x="382" y="622"/>
                  </a:lnTo>
                  <a:lnTo>
                    <a:pt x="383" y="622"/>
                  </a:lnTo>
                  <a:lnTo>
                    <a:pt x="388" y="622"/>
                  </a:lnTo>
                  <a:lnTo>
                    <a:pt x="388" y="622"/>
                  </a:lnTo>
                  <a:lnTo>
                    <a:pt x="391" y="626"/>
                  </a:lnTo>
                  <a:lnTo>
                    <a:pt x="395" y="631"/>
                  </a:lnTo>
                  <a:lnTo>
                    <a:pt x="398" y="634"/>
                  </a:lnTo>
                  <a:lnTo>
                    <a:pt x="400" y="635"/>
                  </a:lnTo>
                  <a:lnTo>
                    <a:pt x="401" y="634"/>
                  </a:lnTo>
                  <a:lnTo>
                    <a:pt x="401" y="634"/>
                  </a:lnTo>
                  <a:lnTo>
                    <a:pt x="404" y="632"/>
                  </a:lnTo>
                  <a:lnTo>
                    <a:pt x="406" y="629"/>
                  </a:lnTo>
                  <a:lnTo>
                    <a:pt x="409" y="626"/>
                  </a:lnTo>
                  <a:lnTo>
                    <a:pt x="411" y="626"/>
                  </a:lnTo>
                  <a:lnTo>
                    <a:pt x="411" y="626"/>
                  </a:lnTo>
                  <a:lnTo>
                    <a:pt x="413" y="629"/>
                  </a:lnTo>
                  <a:lnTo>
                    <a:pt x="414" y="632"/>
                  </a:lnTo>
                  <a:lnTo>
                    <a:pt x="417" y="635"/>
                  </a:lnTo>
                  <a:lnTo>
                    <a:pt x="422" y="637"/>
                  </a:lnTo>
                  <a:lnTo>
                    <a:pt x="422" y="637"/>
                  </a:lnTo>
                  <a:lnTo>
                    <a:pt x="432" y="638"/>
                  </a:lnTo>
                  <a:lnTo>
                    <a:pt x="435" y="638"/>
                  </a:lnTo>
                  <a:lnTo>
                    <a:pt x="438" y="635"/>
                  </a:lnTo>
                  <a:lnTo>
                    <a:pt x="438" y="635"/>
                  </a:lnTo>
                  <a:lnTo>
                    <a:pt x="441" y="632"/>
                  </a:lnTo>
                  <a:lnTo>
                    <a:pt x="446" y="629"/>
                  </a:lnTo>
                  <a:lnTo>
                    <a:pt x="451" y="626"/>
                  </a:lnTo>
                  <a:lnTo>
                    <a:pt x="456" y="626"/>
                  </a:lnTo>
                  <a:lnTo>
                    <a:pt x="456" y="626"/>
                  </a:lnTo>
                  <a:lnTo>
                    <a:pt x="460" y="628"/>
                  </a:lnTo>
                  <a:lnTo>
                    <a:pt x="462" y="631"/>
                  </a:lnTo>
                  <a:lnTo>
                    <a:pt x="463" y="634"/>
                  </a:lnTo>
                  <a:lnTo>
                    <a:pt x="466" y="638"/>
                  </a:lnTo>
                  <a:lnTo>
                    <a:pt x="466" y="638"/>
                  </a:lnTo>
                  <a:lnTo>
                    <a:pt x="471" y="643"/>
                  </a:lnTo>
                  <a:lnTo>
                    <a:pt x="474" y="646"/>
                  </a:lnTo>
                  <a:lnTo>
                    <a:pt x="478" y="647"/>
                  </a:lnTo>
                  <a:lnTo>
                    <a:pt x="478" y="647"/>
                  </a:lnTo>
                  <a:lnTo>
                    <a:pt x="493" y="649"/>
                  </a:lnTo>
                  <a:lnTo>
                    <a:pt x="502" y="650"/>
                  </a:lnTo>
                  <a:lnTo>
                    <a:pt x="503" y="665"/>
                  </a:lnTo>
                  <a:lnTo>
                    <a:pt x="503" y="665"/>
                  </a:lnTo>
                  <a:lnTo>
                    <a:pt x="524" y="680"/>
                  </a:lnTo>
                  <a:lnTo>
                    <a:pt x="540" y="692"/>
                  </a:lnTo>
                  <a:lnTo>
                    <a:pt x="554" y="699"/>
                  </a:lnTo>
                  <a:lnTo>
                    <a:pt x="554" y="699"/>
                  </a:lnTo>
                  <a:lnTo>
                    <a:pt x="564" y="700"/>
                  </a:lnTo>
                  <a:lnTo>
                    <a:pt x="573" y="700"/>
                  </a:lnTo>
                  <a:lnTo>
                    <a:pt x="583" y="700"/>
                  </a:lnTo>
                  <a:lnTo>
                    <a:pt x="583" y="700"/>
                  </a:lnTo>
                  <a:lnTo>
                    <a:pt x="588" y="702"/>
                  </a:lnTo>
                  <a:lnTo>
                    <a:pt x="589" y="703"/>
                  </a:lnTo>
                  <a:lnTo>
                    <a:pt x="591" y="706"/>
                  </a:lnTo>
                  <a:lnTo>
                    <a:pt x="591" y="706"/>
                  </a:lnTo>
                  <a:lnTo>
                    <a:pt x="594" y="700"/>
                  </a:lnTo>
                  <a:lnTo>
                    <a:pt x="603" y="687"/>
                  </a:lnTo>
                  <a:lnTo>
                    <a:pt x="603" y="687"/>
                  </a:lnTo>
                  <a:lnTo>
                    <a:pt x="605" y="684"/>
                  </a:lnTo>
                  <a:lnTo>
                    <a:pt x="610" y="684"/>
                  </a:lnTo>
                  <a:lnTo>
                    <a:pt x="610" y="684"/>
                  </a:lnTo>
                  <a:lnTo>
                    <a:pt x="623" y="674"/>
                  </a:lnTo>
                  <a:lnTo>
                    <a:pt x="623" y="674"/>
                  </a:lnTo>
                  <a:lnTo>
                    <a:pt x="628" y="669"/>
                  </a:lnTo>
                  <a:lnTo>
                    <a:pt x="631" y="665"/>
                  </a:lnTo>
                  <a:lnTo>
                    <a:pt x="634" y="660"/>
                  </a:lnTo>
                  <a:lnTo>
                    <a:pt x="638" y="656"/>
                  </a:lnTo>
                  <a:lnTo>
                    <a:pt x="638" y="656"/>
                  </a:lnTo>
                  <a:lnTo>
                    <a:pt x="645" y="647"/>
                  </a:lnTo>
                  <a:lnTo>
                    <a:pt x="648" y="644"/>
                  </a:lnTo>
                  <a:lnTo>
                    <a:pt x="651" y="643"/>
                  </a:lnTo>
                  <a:lnTo>
                    <a:pt x="651" y="643"/>
                  </a:lnTo>
                  <a:lnTo>
                    <a:pt x="656" y="640"/>
                  </a:lnTo>
                  <a:lnTo>
                    <a:pt x="657" y="637"/>
                  </a:lnTo>
                  <a:lnTo>
                    <a:pt x="659" y="634"/>
                  </a:lnTo>
                  <a:lnTo>
                    <a:pt x="659" y="631"/>
                  </a:lnTo>
                  <a:lnTo>
                    <a:pt x="659" y="631"/>
                  </a:lnTo>
                  <a:lnTo>
                    <a:pt x="659" y="626"/>
                  </a:lnTo>
                  <a:lnTo>
                    <a:pt x="659" y="620"/>
                  </a:lnTo>
                  <a:lnTo>
                    <a:pt x="660" y="613"/>
                  </a:lnTo>
                  <a:lnTo>
                    <a:pt x="663" y="604"/>
                  </a:lnTo>
                  <a:lnTo>
                    <a:pt x="663" y="604"/>
                  </a:lnTo>
                  <a:lnTo>
                    <a:pt x="666" y="594"/>
                  </a:lnTo>
                  <a:lnTo>
                    <a:pt x="668" y="588"/>
                  </a:lnTo>
                  <a:lnTo>
                    <a:pt x="666" y="576"/>
                  </a:lnTo>
                  <a:lnTo>
                    <a:pt x="666" y="576"/>
                  </a:lnTo>
                  <a:lnTo>
                    <a:pt x="668" y="573"/>
                  </a:lnTo>
                  <a:lnTo>
                    <a:pt x="669" y="570"/>
                  </a:lnTo>
                  <a:lnTo>
                    <a:pt x="675" y="569"/>
                  </a:lnTo>
                  <a:lnTo>
                    <a:pt x="682" y="569"/>
                  </a:lnTo>
                  <a:lnTo>
                    <a:pt x="688" y="567"/>
                  </a:lnTo>
                  <a:lnTo>
                    <a:pt x="688" y="567"/>
                  </a:lnTo>
                  <a:lnTo>
                    <a:pt x="693" y="566"/>
                  </a:lnTo>
                  <a:lnTo>
                    <a:pt x="697" y="561"/>
                  </a:lnTo>
                  <a:lnTo>
                    <a:pt x="706" y="548"/>
                  </a:lnTo>
                  <a:lnTo>
                    <a:pt x="706" y="548"/>
                  </a:lnTo>
                  <a:lnTo>
                    <a:pt x="715" y="538"/>
                  </a:lnTo>
                  <a:lnTo>
                    <a:pt x="728" y="524"/>
                  </a:lnTo>
                  <a:lnTo>
                    <a:pt x="743" y="514"/>
                  </a:lnTo>
                  <a:lnTo>
                    <a:pt x="754" y="506"/>
                  </a:lnTo>
                  <a:lnTo>
                    <a:pt x="754" y="506"/>
                  </a:lnTo>
                  <a:lnTo>
                    <a:pt x="759" y="502"/>
                  </a:lnTo>
                  <a:lnTo>
                    <a:pt x="762" y="496"/>
                  </a:lnTo>
                  <a:lnTo>
                    <a:pt x="765" y="490"/>
                  </a:lnTo>
                  <a:lnTo>
                    <a:pt x="765" y="484"/>
                  </a:lnTo>
                  <a:lnTo>
                    <a:pt x="765" y="484"/>
                  </a:lnTo>
                  <a:lnTo>
                    <a:pt x="768" y="477"/>
                  </a:lnTo>
                  <a:lnTo>
                    <a:pt x="771" y="468"/>
                  </a:lnTo>
                  <a:lnTo>
                    <a:pt x="779" y="455"/>
                  </a:lnTo>
                  <a:lnTo>
                    <a:pt x="779" y="455"/>
                  </a:lnTo>
                  <a:lnTo>
                    <a:pt x="783" y="452"/>
                  </a:lnTo>
                  <a:lnTo>
                    <a:pt x="788" y="450"/>
                  </a:lnTo>
                  <a:lnTo>
                    <a:pt x="792" y="449"/>
                  </a:lnTo>
                  <a:lnTo>
                    <a:pt x="794" y="447"/>
                  </a:lnTo>
                  <a:lnTo>
                    <a:pt x="794" y="447"/>
                  </a:lnTo>
                  <a:lnTo>
                    <a:pt x="795" y="438"/>
                  </a:lnTo>
                  <a:lnTo>
                    <a:pt x="798" y="434"/>
                  </a:lnTo>
                  <a:lnTo>
                    <a:pt x="801" y="432"/>
                  </a:lnTo>
                  <a:lnTo>
                    <a:pt x="801" y="432"/>
                  </a:lnTo>
                  <a:lnTo>
                    <a:pt x="819" y="429"/>
                  </a:lnTo>
                  <a:lnTo>
                    <a:pt x="836" y="428"/>
                  </a:lnTo>
                  <a:lnTo>
                    <a:pt x="836" y="428"/>
                  </a:lnTo>
                  <a:lnTo>
                    <a:pt x="839" y="428"/>
                  </a:lnTo>
                  <a:lnTo>
                    <a:pt x="842" y="431"/>
                  </a:lnTo>
                  <a:lnTo>
                    <a:pt x="844" y="434"/>
                  </a:lnTo>
                  <a:lnTo>
                    <a:pt x="845" y="440"/>
                  </a:lnTo>
                  <a:lnTo>
                    <a:pt x="845" y="440"/>
                  </a:lnTo>
                  <a:lnTo>
                    <a:pt x="845" y="450"/>
                  </a:lnTo>
                  <a:lnTo>
                    <a:pt x="847" y="455"/>
                  </a:lnTo>
                  <a:lnTo>
                    <a:pt x="850" y="459"/>
                  </a:lnTo>
                  <a:lnTo>
                    <a:pt x="850" y="459"/>
                  </a:lnTo>
                  <a:lnTo>
                    <a:pt x="853" y="459"/>
                  </a:lnTo>
                  <a:lnTo>
                    <a:pt x="856" y="459"/>
                  </a:lnTo>
                  <a:lnTo>
                    <a:pt x="866" y="455"/>
                  </a:lnTo>
                  <a:lnTo>
                    <a:pt x="881" y="447"/>
                  </a:lnTo>
                  <a:lnTo>
                    <a:pt x="881" y="447"/>
                  </a:lnTo>
                  <a:lnTo>
                    <a:pt x="885" y="446"/>
                  </a:lnTo>
                  <a:lnTo>
                    <a:pt x="890" y="440"/>
                  </a:lnTo>
                  <a:lnTo>
                    <a:pt x="896" y="432"/>
                  </a:lnTo>
                  <a:lnTo>
                    <a:pt x="899" y="426"/>
                  </a:lnTo>
                  <a:lnTo>
                    <a:pt x="899" y="426"/>
                  </a:lnTo>
                  <a:lnTo>
                    <a:pt x="900" y="423"/>
                  </a:lnTo>
                  <a:lnTo>
                    <a:pt x="902" y="422"/>
                  </a:lnTo>
                  <a:lnTo>
                    <a:pt x="908" y="421"/>
                  </a:lnTo>
                  <a:lnTo>
                    <a:pt x="921" y="421"/>
                  </a:lnTo>
                  <a:lnTo>
                    <a:pt x="921" y="421"/>
                  </a:lnTo>
                  <a:lnTo>
                    <a:pt x="949" y="416"/>
                  </a:lnTo>
                  <a:lnTo>
                    <a:pt x="949" y="416"/>
                  </a:lnTo>
                  <a:lnTo>
                    <a:pt x="965" y="413"/>
                  </a:lnTo>
                  <a:lnTo>
                    <a:pt x="965" y="413"/>
                  </a:lnTo>
                  <a:lnTo>
                    <a:pt x="977" y="412"/>
                  </a:lnTo>
                  <a:lnTo>
                    <a:pt x="989" y="413"/>
                  </a:lnTo>
                  <a:lnTo>
                    <a:pt x="999" y="413"/>
                  </a:lnTo>
                  <a:lnTo>
                    <a:pt x="1004" y="412"/>
                  </a:lnTo>
                  <a:lnTo>
                    <a:pt x="1007" y="410"/>
                  </a:lnTo>
                  <a:lnTo>
                    <a:pt x="1007" y="410"/>
                  </a:lnTo>
                  <a:lnTo>
                    <a:pt x="1011" y="407"/>
                  </a:lnTo>
                  <a:lnTo>
                    <a:pt x="1016" y="404"/>
                  </a:lnTo>
                  <a:lnTo>
                    <a:pt x="1022" y="403"/>
                  </a:lnTo>
                  <a:lnTo>
                    <a:pt x="1027" y="403"/>
                  </a:lnTo>
                  <a:lnTo>
                    <a:pt x="1027" y="403"/>
                  </a:lnTo>
                  <a:lnTo>
                    <a:pt x="1032" y="403"/>
                  </a:lnTo>
                  <a:lnTo>
                    <a:pt x="1036" y="400"/>
                  </a:lnTo>
                  <a:lnTo>
                    <a:pt x="1041" y="392"/>
                  </a:lnTo>
                  <a:lnTo>
                    <a:pt x="1041" y="392"/>
                  </a:lnTo>
                  <a:lnTo>
                    <a:pt x="1044" y="391"/>
                  </a:lnTo>
                  <a:lnTo>
                    <a:pt x="1048" y="392"/>
                  </a:lnTo>
                  <a:lnTo>
                    <a:pt x="1059" y="394"/>
                  </a:lnTo>
                  <a:lnTo>
                    <a:pt x="1059" y="394"/>
                  </a:lnTo>
                  <a:lnTo>
                    <a:pt x="1063" y="392"/>
                  </a:lnTo>
                  <a:lnTo>
                    <a:pt x="1067" y="389"/>
                  </a:lnTo>
                  <a:lnTo>
                    <a:pt x="1072" y="385"/>
                  </a:lnTo>
                  <a:lnTo>
                    <a:pt x="1076" y="382"/>
                  </a:lnTo>
                  <a:lnTo>
                    <a:pt x="1076" y="382"/>
                  </a:lnTo>
                  <a:lnTo>
                    <a:pt x="1100" y="382"/>
                  </a:lnTo>
                  <a:lnTo>
                    <a:pt x="1130" y="382"/>
                  </a:lnTo>
                  <a:lnTo>
                    <a:pt x="1130" y="382"/>
                  </a:lnTo>
                  <a:lnTo>
                    <a:pt x="1134" y="382"/>
                  </a:lnTo>
                  <a:lnTo>
                    <a:pt x="1139" y="379"/>
                  </a:lnTo>
                  <a:lnTo>
                    <a:pt x="1147" y="375"/>
                  </a:lnTo>
                  <a:lnTo>
                    <a:pt x="1156" y="369"/>
                  </a:lnTo>
                  <a:lnTo>
                    <a:pt x="1164" y="364"/>
                  </a:lnTo>
                  <a:lnTo>
                    <a:pt x="1164" y="364"/>
                  </a:lnTo>
                  <a:lnTo>
                    <a:pt x="1171" y="363"/>
                  </a:lnTo>
                  <a:lnTo>
                    <a:pt x="1177" y="361"/>
                  </a:lnTo>
                  <a:lnTo>
                    <a:pt x="1183" y="361"/>
                  </a:lnTo>
                  <a:lnTo>
                    <a:pt x="1189" y="357"/>
                  </a:lnTo>
                  <a:lnTo>
                    <a:pt x="1189" y="357"/>
                  </a:lnTo>
                  <a:lnTo>
                    <a:pt x="1202" y="346"/>
                  </a:lnTo>
                  <a:lnTo>
                    <a:pt x="1205" y="342"/>
                  </a:lnTo>
                  <a:lnTo>
                    <a:pt x="1207" y="339"/>
                  </a:lnTo>
                  <a:lnTo>
                    <a:pt x="1207" y="339"/>
                  </a:lnTo>
                  <a:lnTo>
                    <a:pt x="1205" y="338"/>
                  </a:lnTo>
                  <a:lnTo>
                    <a:pt x="1204" y="336"/>
                  </a:lnTo>
                  <a:lnTo>
                    <a:pt x="1198" y="332"/>
                  </a:lnTo>
                  <a:lnTo>
                    <a:pt x="1198" y="332"/>
                  </a:lnTo>
                  <a:lnTo>
                    <a:pt x="1198" y="330"/>
                  </a:lnTo>
                  <a:lnTo>
                    <a:pt x="1198" y="329"/>
                  </a:lnTo>
                  <a:lnTo>
                    <a:pt x="1199" y="324"/>
                  </a:lnTo>
                  <a:lnTo>
                    <a:pt x="1204" y="320"/>
                  </a:lnTo>
                  <a:lnTo>
                    <a:pt x="1210" y="315"/>
                  </a:lnTo>
                  <a:lnTo>
                    <a:pt x="1210" y="315"/>
                  </a:lnTo>
                  <a:lnTo>
                    <a:pt x="1214" y="312"/>
                  </a:lnTo>
                  <a:lnTo>
                    <a:pt x="1216" y="315"/>
                  </a:lnTo>
                  <a:lnTo>
                    <a:pt x="1216" y="320"/>
                  </a:lnTo>
                  <a:lnTo>
                    <a:pt x="1217" y="324"/>
                  </a:lnTo>
                  <a:lnTo>
                    <a:pt x="1217" y="324"/>
                  </a:lnTo>
                  <a:lnTo>
                    <a:pt x="1220" y="327"/>
                  </a:lnTo>
                  <a:lnTo>
                    <a:pt x="1223" y="327"/>
                  </a:lnTo>
                  <a:lnTo>
                    <a:pt x="1226" y="326"/>
                  </a:lnTo>
                  <a:lnTo>
                    <a:pt x="1227" y="321"/>
                  </a:lnTo>
                  <a:lnTo>
                    <a:pt x="1227" y="321"/>
                  </a:lnTo>
                  <a:lnTo>
                    <a:pt x="1229" y="317"/>
                  </a:lnTo>
                  <a:lnTo>
                    <a:pt x="1229" y="311"/>
                  </a:lnTo>
                  <a:lnTo>
                    <a:pt x="1229" y="305"/>
                  </a:lnTo>
                  <a:lnTo>
                    <a:pt x="1230" y="296"/>
                  </a:lnTo>
                  <a:lnTo>
                    <a:pt x="1230" y="296"/>
                  </a:lnTo>
                  <a:lnTo>
                    <a:pt x="1232" y="287"/>
                  </a:lnTo>
                  <a:lnTo>
                    <a:pt x="1232" y="284"/>
                  </a:lnTo>
                  <a:lnTo>
                    <a:pt x="1230" y="283"/>
                  </a:lnTo>
                  <a:lnTo>
                    <a:pt x="1227" y="283"/>
                  </a:lnTo>
                  <a:lnTo>
                    <a:pt x="1227" y="283"/>
                  </a:lnTo>
                  <a:lnTo>
                    <a:pt x="1220" y="284"/>
                  </a:lnTo>
                  <a:lnTo>
                    <a:pt x="1216" y="286"/>
                  </a:lnTo>
                  <a:lnTo>
                    <a:pt x="1211" y="284"/>
                  </a:lnTo>
                  <a:lnTo>
                    <a:pt x="1211" y="284"/>
                  </a:lnTo>
                  <a:lnTo>
                    <a:pt x="1210" y="283"/>
                  </a:lnTo>
                  <a:lnTo>
                    <a:pt x="1210" y="280"/>
                  </a:lnTo>
                  <a:lnTo>
                    <a:pt x="1213" y="274"/>
                  </a:lnTo>
                  <a:lnTo>
                    <a:pt x="1217" y="268"/>
                  </a:lnTo>
                  <a:lnTo>
                    <a:pt x="1218" y="264"/>
                  </a:lnTo>
                  <a:lnTo>
                    <a:pt x="1218" y="264"/>
                  </a:lnTo>
                  <a:lnTo>
                    <a:pt x="1220" y="261"/>
                  </a:lnTo>
                  <a:lnTo>
                    <a:pt x="1223" y="258"/>
                  </a:lnTo>
                  <a:lnTo>
                    <a:pt x="1232" y="250"/>
                  </a:lnTo>
                  <a:lnTo>
                    <a:pt x="1245" y="241"/>
                  </a:lnTo>
                  <a:lnTo>
                    <a:pt x="1245" y="241"/>
                  </a:lnTo>
                  <a:lnTo>
                    <a:pt x="1239" y="238"/>
                  </a:lnTo>
                  <a:lnTo>
                    <a:pt x="1239" y="238"/>
                  </a:lnTo>
                  <a:lnTo>
                    <a:pt x="1223" y="228"/>
                  </a:lnTo>
                  <a:lnTo>
                    <a:pt x="1223" y="228"/>
                  </a:lnTo>
                  <a:lnTo>
                    <a:pt x="1217" y="226"/>
                  </a:lnTo>
                  <a:lnTo>
                    <a:pt x="1211" y="226"/>
                  </a:lnTo>
                  <a:lnTo>
                    <a:pt x="1205" y="228"/>
                  </a:lnTo>
                  <a:lnTo>
                    <a:pt x="1202" y="231"/>
                  </a:lnTo>
                  <a:lnTo>
                    <a:pt x="1202" y="231"/>
                  </a:lnTo>
                  <a:lnTo>
                    <a:pt x="1198" y="237"/>
                  </a:lnTo>
                  <a:lnTo>
                    <a:pt x="1193" y="240"/>
                  </a:lnTo>
                  <a:lnTo>
                    <a:pt x="1193" y="240"/>
                  </a:lnTo>
                  <a:lnTo>
                    <a:pt x="1179" y="241"/>
                  </a:lnTo>
                  <a:lnTo>
                    <a:pt x="1156" y="243"/>
                  </a:lnTo>
                  <a:lnTo>
                    <a:pt x="1156" y="243"/>
                  </a:lnTo>
                  <a:lnTo>
                    <a:pt x="1152" y="244"/>
                  </a:lnTo>
                  <a:lnTo>
                    <a:pt x="1150" y="247"/>
                  </a:lnTo>
                  <a:lnTo>
                    <a:pt x="1150" y="250"/>
                  </a:lnTo>
                  <a:lnTo>
                    <a:pt x="1150" y="253"/>
                  </a:lnTo>
                  <a:lnTo>
                    <a:pt x="1147" y="256"/>
                  </a:lnTo>
                  <a:lnTo>
                    <a:pt x="1147" y="256"/>
                  </a:lnTo>
                  <a:lnTo>
                    <a:pt x="1143" y="259"/>
                  </a:lnTo>
                  <a:lnTo>
                    <a:pt x="1137" y="259"/>
                  </a:lnTo>
                  <a:lnTo>
                    <a:pt x="1125" y="256"/>
                  </a:lnTo>
                  <a:lnTo>
                    <a:pt x="1125" y="256"/>
                  </a:lnTo>
                  <a:lnTo>
                    <a:pt x="1118" y="256"/>
                  </a:lnTo>
                  <a:lnTo>
                    <a:pt x="1112" y="258"/>
                  </a:lnTo>
                  <a:lnTo>
                    <a:pt x="1106" y="259"/>
                  </a:lnTo>
                  <a:lnTo>
                    <a:pt x="1100" y="262"/>
                  </a:lnTo>
                  <a:lnTo>
                    <a:pt x="1100" y="262"/>
                  </a:lnTo>
                  <a:lnTo>
                    <a:pt x="1096" y="265"/>
                  </a:lnTo>
                  <a:lnTo>
                    <a:pt x="1093" y="269"/>
                  </a:lnTo>
                  <a:lnTo>
                    <a:pt x="1088" y="278"/>
                  </a:lnTo>
                  <a:lnTo>
                    <a:pt x="1088" y="278"/>
                  </a:lnTo>
                  <a:lnTo>
                    <a:pt x="1087" y="280"/>
                  </a:lnTo>
                  <a:lnTo>
                    <a:pt x="1084" y="281"/>
                  </a:lnTo>
                  <a:lnTo>
                    <a:pt x="1076" y="281"/>
                  </a:lnTo>
                  <a:lnTo>
                    <a:pt x="1057" y="281"/>
                  </a:lnTo>
                  <a:lnTo>
                    <a:pt x="1057" y="281"/>
                  </a:lnTo>
                  <a:lnTo>
                    <a:pt x="1033" y="280"/>
                  </a:lnTo>
                  <a:lnTo>
                    <a:pt x="1020" y="278"/>
                  </a:lnTo>
                  <a:lnTo>
                    <a:pt x="1011" y="275"/>
                  </a:lnTo>
                  <a:lnTo>
                    <a:pt x="1011" y="275"/>
                  </a:lnTo>
                  <a:lnTo>
                    <a:pt x="998" y="268"/>
                  </a:lnTo>
                  <a:lnTo>
                    <a:pt x="976" y="250"/>
                  </a:lnTo>
                  <a:lnTo>
                    <a:pt x="976" y="250"/>
                  </a:lnTo>
                  <a:lnTo>
                    <a:pt x="942" y="226"/>
                  </a:lnTo>
                  <a:lnTo>
                    <a:pt x="922" y="213"/>
                  </a:lnTo>
                  <a:lnTo>
                    <a:pt x="905" y="201"/>
                  </a:lnTo>
                  <a:lnTo>
                    <a:pt x="905" y="201"/>
                  </a:lnTo>
                  <a:lnTo>
                    <a:pt x="872" y="175"/>
                  </a:lnTo>
                  <a:lnTo>
                    <a:pt x="838" y="148"/>
                  </a:lnTo>
                  <a:lnTo>
                    <a:pt x="838" y="148"/>
                  </a:lnTo>
                  <a:lnTo>
                    <a:pt x="789" y="109"/>
                  </a:lnTo>
                  <a:lnTo>
                    <a:pt x="748" y="75"/>
                  </a:lnTo>
                  <a:lnTo>
                    <a:pt x="748" y="75"/>
                  </a:lnTo>
                  <a:lnTo>
                    <a:pt x="736" y="62"/>
                  </a:lnTo>
                  <a:lnTo>
                    <a:pt x="724" y="46"/>
                  </a:lnTo>
                  <a:lnTo>
                    <a:pt x="708" y="24"/>
                  </a:lnTo>
                  <a:lnTo>
                    <a:pt x="708" y="24"/>
                  </a:lnTo>
                  <a:lnTo>
                    <a:pt x="705" y="22"/>
                  </a:lnTo>
                  <a:lnTo>
                    <a:pt x="700" y="21"/>
                  </a:lnTo>
                  <a:lnTo>
                    <a:pt x="693" y="21"/>
                  </a:lnTo>
                  <a:lnTo>
                    <a:pt x="693" y="21"/>
                  </a:lnTo>
                  <a:lnTo>
                    <a:pt x="682" y="21"/>
                  </a:lnTo>
                  <a:lnTo>
                    <a:pt x="677" y="21"/>
                  </a:lnTo>
                  <a:lnTo>
                    <a:pt x="671" y="22"/>
                  </a:lnTo>
                  <a:lnTo>
                    <a:pt x="671" y="22"/>
                  </a:lnTo>
                  <a:lnTo>
                    <a:pt x="665" y="24"/>
                  </a:lnTo>
                  <a:lnTo>
                    <a:pt x="659" y="24"/>
                  </a:lnTo>
                  <a:lnTo>
                    <a:pt x="642" y="21"/>
                  </a:lnTo>
                  <a:lnTo>
                    <a:pt x="642" y="21"/>
                  </a:lnTo>
                  <a:lnTo>
                    <a:pt x="622" y="19"/>
                  </a:lnTo>
                  <a:lnTo>
                    <a:pt x="595" y="15"/>
                  </a:lnTo>
                  <a:lnTo>
                    <a:pt x="595" y="15"/>
                  </a:lnTo>
                  <a:lnTo>
                    <a:pt x="583" y="13"/>
                  </a:lnTo>
                  <a:lnTo>
                    <a:pt x="573" y="9"/>
                  </a:lnTo>
                  <a:lnTo>
                    <a:pt x="564" y="6"/>
                  </a:lnTo>
                  <a:lnTo>
                    <a:pt x="554" y="3"/>
                  </a:lnTo>
                  <a:lnTo>
                    <a:pt x="554" y="3"/>
                  </a:lnTo>
                  <a:lnTo>
                    <a:pt x="543" y="0"/>
                  </a:lnTo>
                  <a:lnTo>
                    <a:pt x="536" y="0"/>
                  </a:lnTo>
                  <a:lnTo>
                    <a:pt x="528" y="1"/>
                  </a:lnTo>
                  <a:lnTo>
                    <a:pt x="528" y="1"/>
                  </a:lnTo>
                  <a:lnTo>
                    <a:pt x="500" y="28"/>
                  </a:lnTo>
                  <a:lnTo>
                    <a:pt x="480" y="47"/>
                  </a:lnTo>
                  <a:lnTo>
                    <a:pt x="469" y="58"/>
                  </a:lnTo>
                  <a:lnTo>
                    <a:pt x="469" y="58"/>
                  </a:lnTo>
                  <a:lnTo>
                    <a:pt x="466" y="61"/>
                  </a:lnTo>
                  <a:lnTo>
                    <a:pt x="463" y="65"/>
                  </a:lnTo>
                  <a:lnTo>
                    <a:pt x="463" y="71"/>
                  </a:lnTo>
                  <a:lnTo>
                    <a:pt x="463" y="75"/>
                  </a:lnTo>
                  <a:lnTo>
                    <a:pt x="463" y="75"/>
                  </a:lnTo>
                  <a:lnTo>
                    <a:pt x="466" y="77"/>
                  </a:lnTo>
                  <a:lnTo>
                    <a:pt x="469" y="78"/>
                  </a:lnTo>
                  <a:lnTo>
                    <a:pt x="474" y="78"/>
                  </a:lnTo>
                  <a:lnTo>
                    <a:pt x="477" y="81"/>
                  </a:lnTo>
                  <a:lnTo>
                    <a:pt x="477" y="81"/>
                  </a:lnTo>
                  <a:lnTo>
                    <a:pt x="478" y="84"/>
                  </a:lnTo>
                  <a:lnTo>
                    <a:pt x="478" y="87"/>
                  </a:lnTo>
                  <a:lnTo>
                    <a:pt x="477" y="95"/>
                  </a:lnTo>
                  <a:lnTo>
                    <a:pt x="472" y="105"/>
                  </a:lnTo>
                  <a:lnTo>
                    <a:pt x="472" y="105"/>
                  </a:lnTo>
                  <a:lnTo>
                    <a:pt x="468" y="118"/>
                  </a:lnTo>
                  <a:lnTo>
                    <a:pt x="465" y="126"/>
                  </a:lnTo>
                  <a:lnTo>
                    <a:pt x="465" y="133"/>
                  </a:lnTo>
                  <a:lnTo>
                    <a:pt x="465" y="133"/>
                  </a:lnTo>
                  <a:lnTo>
                    <a:pt x="466" y="158"/>
                  </a:lnTo>
                  <a:lnTo>
                    <a:pt x="466" y="158"/>
                  </a:lnTo>
                  <a:lnTo>
                    <a:pt x="465" y="161"/>
                  </a:lnTo>
                  <a:lnTo>
                    <a:pt x="462" y="166"/>
                  </a:lnTo>
                  <a:lnTo>
                    <a:pt x="459" y="169"/>
                  </a:lnTo>
                  <a:lnTo>
                    <a:pt x="459" y="169"/>
                  </a:lnTo>
                  <a:lnTo>
                    <a:pt x="453" y="167"/>
                  </a:lnTo>
                  <a:lnTo>
                    <a:pt x="447" y="166"/>
                  </a:lnTo>
                  <a:lnTo>
                    <a:pt x="441" y="163"/>
                  </a:lnTo>
                  <a:lnTo>
                    <a:pt x="441" y="163"/>
                  </a:lnTo>
                  <a:lnTo>
                    <a:pt x="437" y="158"/>
                  </a:lnTo>
                  <a:lnTo>
                    <a:pt x="434" y="154"/>
                  </a:lnTo>
                  <a:lnTo>
                    <a:pt x="428" y="145"/>
                  </a:lnTo>
                  <a:lnTo>
                    <a:pt x="428" y="145"/>
                  </a:lnTo>
                  <a:lnTo>
                    <a:pt x="425" y="144"/>
                  </a:lnTo>
                  <a:lnTo>
                    <a:pt x="422" y="145"/>
                  </a:lnTo>
                  <a:lnTo>
                    <a:pt x="417" y="147"/>
                  </a:lnTo>
                  <a:lnTo>
                    <a:pt x="414" y="148"/>
                  </a:lnTo>
                  <a:lnTo>
                    <a:pt x="414" y="148"/>
                  </a:lnTo>
                  <a:lnTo>
                    <a:pt x="411" y="147"/>
                  </a:lnTo>
                  <a:lnTo>
                    <a:pt x="409" y="144"/>
                  </a:lnTo>
                  <a:lnTo>
                    <a:pt x="404" y="138"/>
                  </a:lnTo>
                  <a:lnTo>
                    <a:pt x="404" y="138"/>
                  </a:lnTo>
                  <a:lnTo>
                    <a:pt x="398" y="132"/>
                  </a:lnTo>
                  <a:lnTo>
                    <a:pt x="394" y="132"/>
                  </a:lnTo>
                  <a:lnTo>
                    <a:pt x="391" y="132"/>
                  </a:lnTo>
                  <a:lnTo>
                    <a:pt x="391" y="132"/>
                  </a:lnTo>
                  <a:lnTo>
                    <a:pt x="388" y="133"/>
                  </a:lnTo>
                  <a:lnTo>
                    <a:pt x="386" y="136"/>
                  </a:lnTo>
                  <a:lnTo>
                    <a:pt x="385" y="139"/>
                  </a:lnTo>
                  <a:lnTo>
                    <a:pt x="383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77" y="138"/>
                  </a:lnTo>
                  <a:lnTo>
                    <a:pt x="376" y="135"/>
                  </a:lnTo>
                  <a:lnTo>
                    <a:pt x="372" y="132"/>
                  </a:lnTo>
                  <a:lnTo>
                    <a:pt x="367" y="129"/>
                  </a:lnTo>
                  <a:lnTo>
                    <a:pt x="367" y="129"/>
                  </a:lnTo>
                  <a:lnTo>
                    <a:pt x="363" y="127"/>
                  </a:lnTo>
                  <a:lnTo>
                    <a:pt x="360" y="129"/>
                  </a:lnTo>
                  <a:lnTo>
                    <a:pt x="357" y="129"/>
                  </a:lnTo>
                  <a:lnTo>
                    <a:pt x="354" y="129"/>
                  </a:lnTo>
                  <a:lnTo>
                    <a:pt x="354" y="129"/>
                  </a:lnTo>
                  <a:lnTo>
                    <a:pt x="349" y="126"/>
                  </a:lnTo>
                  <a:lnTo>
                    <a:pt x="348" y="123"/>
                  </a:lnTo>
                  <a:lnTo>
                    <a:pt x="346" y="120"/>
                  </a:lnTo>
                  <a:lnTo>
                    <a:pt x="349" y="115"/>
                  </a:lnTo>
                  <a:lnTo>
                    <a:pt x="349" y="115"/>
                  </a:lnTo>
                  <a:lnTo>
                    <a:pt x="351" y="111"/>
                  </a:lnTo>
                  <a:lnTo>
                    <a:pt x="351" y="108"/>
                  </a:lnTo>
                  <a:lnTo>
                    <a:pt x="349" y="107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33" y="86"/>
                  </a:lnTo>
                  <a:lnTo>
                    <a:pt x="324" y="75"/>
                  </a:lnTo>
                  <a:lnTo>
                    <a:pt x="315" y="68"/>
                  </a:lnTo>
                  <a:lnTo>
                    <a:pt x="315" y="68"/>
                  </a:lnTo>
                  <a:lnTo>
                    <a:pt x="303" y="58"/>
                  </a:lnTo>
                  <a:lnTo>
                    <a:pt x="296" y="52"/>
                  </a:lnTo>
                  <a:lnTo>
                    <a:pt x="289" y="46"/>
                  </a:lnTo>
                  <a:lnTo>
                    <a:pt x="289" y="46"/>
                  </a:lnTo>
                  <a:lnTo>
                    <a:pt x="283" y="38"/>
                  </a:lnTo>
                  <a:lnTo>
                    <a:pt x="278" y="32"/>
                  </a:lnTo>
                  <a:lnTo>
                    <a:pt x="275" y="28"/>
                  </a:lnTo>
                  <a:lnTo>
                    <a:pt x="272" y="24"/>
                  </a:lnTo>
                  <a:lnTo>
                    <a:pt x="272" y="24"/>
                  </a:lnTo>
                  <a:lnTo>
                    <a:pt x="268" y="24"/>
                  </a:lnTo>
                  <a:lnTo>
                    <a:pt x="262" y="25"/>
                  </a:lnTo>
                  <a:lnTo>
                    <a:pt x="256" y="28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52"/>
                  </a:lnTo>
                  <a:lnTo>
                    <a:pt x="260" y="67"/>
                  </a:lnTo>
                  <a:lnTo>
                    <a:pt x="263" y="78"/>
                  </a:lnTo>
                  <a:lnTo>
                    <a:pt x="263" y="78"/>
                  </a:lnTo>
                  <a:lnTo>
                    <a:pt x="266" y="87"/>
                  </a:lnTo>
                  <a:lnTo>
                    <a:pt x="268" y="96"/>
                  </a:lnTo>
                  <a:lnTo>
                    <a:pt x="269" y="108"/>
                  </a:lnTo>
                  <a:lnTo>
                    <a:pt x="269" y="108"/>
                  </a:lnTo>
                  <a:lnTo>
                    <a:pt x="269" y="114"/>
                  </a:lnTo>
                  <a:lnTo>
                    <a:pt x="266" y="123"/>
                  </a:lnTo>
                  <a:lnTo>
                    <a:pt x="262" y="130"/>
                  </a:lnTo>
                  <a:lnTo>
                    <a:pt x="259" y="135"/>
                  </a:lnTo>
                  <a:lnTo>
                    <a:pt x="256" y="136"/>
                  </a:lnTo>
                  <a:lnTo>
                    <a:pt x="256" y="136"/>
                  </a:lnTo>
                  <a:lnTo>
                    <a:pt x="250" y="139"/>
                  </a:lnTo>
                  <a:lnTo>
                    <a:pt x="246" y="141"/>
                  </a:lnTo>
                  <a:lnTo>
                    <a:pt x="241" y="142"/>
                  </a:lnTo>
                  <a:lnTo>
                    <a:pt x="237" y="145"/>
                  </a:lnTo>
                  <a:lnTo>
                    <a:pt x="237" y="145"/>
                  </a:lnTo>
                  <a:lnTo>
                    <a:pt x="235" y="148"/>
                  </a:lnTo>
                  <a:lnTo>
                    <a:pt x="234" y="152"/>
                  </a:lnTo>
                  <a:lnTo>
                    <a:pt x="234" y="161"/>
                  </a:lnTo>
                  <a:lnTo>
                    <a:pt x="235" y="172"/>
                  </a:lnTo>
                  <a:lnTo>
                    <a:pt x="238" y="178"/>
                  </a:lnTo>
                  <a:lnTo>
                    <a:pt x="238" y="178"/>
                  </a:lnTo>
                  <a:lnTo>
                    <a:pt x="240" y="182"/>
                  </a:lnTo>
                  <a:lnTo>
                    <a:pt x="237" y="184"/>
                  </a:lnTo>
                  <a:lnTo>
                    <a:pt x="219" y="187"/>
                  </a:lnTo>
                  <a:lnTo>
                    <a:pt x="219" y="187"/>
                  </a:lnTo>
                  <a:lnTo>
                    <a:pt x="209" y="188"/>
                  </a:lnTo>
                  <a:lnTo>
                    <a:pt x="201" y="189"/>
                  </a:lnTo>
                  <a:lnTo>
                    <a:pt x="197" y="192"/>
                  </a:lnTo>
                  <a:lnTo>
                    <a:pt x="194" y="195"/>
                  </a:lnTo>
                  <a:lnTo>
                    <a:pt x="194" y="195"/>
                  </a:lnTo>
                  <a:lnTo>
                    <a:pt x="192" y="200"/>
                  </a:lnTo>
                  <a:lnTo>
                    <a:pt x="189" y="206"/>
                  </a:lnTo>
                  <a:lnTo>
                    <a:pt x="172" y="228"/>
                  </a:lnTo>
                  <a:lnTo>
                    <a:pt x="172" y="228"/>
                  </a:lnTo>
                  <a:lnTo>
                    <a:pt x="163" y="241"/>
                  </a:lnTo>
                  <a:lnTo>
                    <a:pt x="157" y="249"/>
                  </a:lnTo>
                  <a:lnTo>
                    <a:pt x="157" y="252"/>
                  </a:lnTo>
                  <a:lnTo>
                    <a:pt x="157" y="255"/>
                  </a:lnTo>
                  <a:lnTo>
                    <a:pt x="161" y="258"/>
                  </a:lnTo>
                  <a:lnTo>
                    <a:pt x="161" y="258"/>
                  </a:lnTo>
                  <a:lnTo>
                    <a:pt x="164" y="259"/>
                  </a:lnTo>
                  <a:lnTo>
                    <a:pt x="166" y="259"/>
                  </a:lnTo>
                  <a:lnTo>
                    <a:pt x="170" y="258"/>
                  </a:lnTo>
                  <a:lnTo>
                    <a:pt x="176" y="250"/>
                  </a:lnTo>
                  <a:lnTo>
                    <a:pt x="176" y="250"/>
                  </a:lnTo>
                  <a:lnTo>
                    <a:pt x="178" y="249"/>
                  </a:lnTo>
                  <a:lnTo>
                    <a:pt x="179" y="249"/>
                  </a:lnTo>
                  <a:lnTo>
                    <a:pt x="182" y="252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91" y="256"/>
                  </a:lnTo>
                  <a:lnTo>
                    <a:pt x="194" y="259"/>
                  </a:lnTo>
                  <a:lnTo>
                    <a:pt x="197" y="264"/>
                  </a:lnTo>
                  <a:lnTo>
                    <a:pt x="203" y="271"/>
                  </a:lnTo>
                  <a:lnTo>
                    <a:pt x="203" y="271"/>
                  </a:lnTo>
                  <a:lnTo>
                    <a:pt x="206" y="272"/>
                  </a:lnTo>
                  <a:lnTo>
                    <a:pt x="209" y="272"/>
                  </a:lnTo>
                  <a:lnTo>
                    <a:pt x="213" y="271"/>
                  </a:lnTo>
                  <a:lnTo>
                    <a:pt x="216" y="268"/>
                  </a:lnTo>
                  <a:lnTo>
                    <a:pt x="228" y="255"/>
                  </a:lnTo>
                  <a:lnTo>
                    <a:pt x="228" y="255"/>
                  </a:lnTo>
                  <a:lnTo>
                    <a:pt x="232" y="252"/>
                  </a:lnTo>
                  <a:lnTo>
                    <a:pt x="237" y="250"/>
                  </a:lnTo>
                  <a:lnTo>
                    <a:pt x="243" y="250"/>
                  </a:lnTo>
                  <a:lnTo>
                    <a:pt x="243" y="250"/>
                  </a:lnTo>
                  <a:lnTo>
                    <a:pt x="249" y="255"/>
                  </a:lnTo>
                  <a:lnTo>
                    <a:pt x="257" y="261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77" y="278"/>
                  </a:lnTo>
                  <a:lnTo>
                    <a:pt x="278" y="284"/>
                  </a:lnTo>
                  <a:lnTo>
                    <a:pt x="280" y="290"/>
                  </a:lnTo>
                  <a:lnTo>
                    <a:pt x="280" y="290"/>
                  </a:lnTo>
                  <a:lnTo>
                    <a:pt x="185" y="348"/>
                  </a:lnTo>
                  <a:lnTo>
                    <a:pt x="185" y="348"/>
                  </a:lnTo>
                  <a:lnTo>
                    <a:pt x="182" y="351"/>
                  </a:lnTo>
                  <a:lnTo>
                    <a:pt x="180" y="354"/>
                  </a:lnTo>
                  <a:lnTo>
                    <a:pt x="182" y="357"/>
                  </a:lnTo>
                  <a:lnTo>
                    <a:pt x="183" y="360"/>
                  </a:lnTo>
                  <a:lnTo>
                    <a:pt x="186" y="364"/>
                  </a:lnTo>
                  <a:lnTo>
                    <a:pt x="189" y="367"/>
                  </a:lnTo>
                  <a:lnTo>
                    <a:pt x="189" y="367"/>
                  </a:lnTo>
                  <a:lnTo>
                    <a:pt x="186" y="369"/>
                  </a:lnTo>
                  <a:lnTo>
                    <a:pt x="178" y="376"/>
                  </a:lnTo>
                  <a:lnTo>
                    <a:pt x="178" y="376"/>
                  </a:lnTo>
                  <a:lnTo>
                    <a:pt x="163" y="389"/>
                  </a:lnTo>
                  <a:lnTo>
                    <a:pt x="155" y="395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5" y="401"/>
                  </a:lnTo>
                  <a:lnTo>
                    <a:pt x="142" y="400"/>
                  </a:lnTo>
                  <a:lnTo>
                    <a:pt x="141" y="397"/>
                  </a:lnTo>
                  <a:lnTo>
                    <a:pt x="138" y="395"/>
                  </a:lnTo>
                  <a:lnTo>
                    <a:pt x="138" y="395"/>
                  </a:lnTo>
                  <a:lnTo>
                    <a:pt x="129" y="391"/>
                  </a:lnTo>
                  <a:lnTo>
                    <a:pt x="120" y="388"/>
                  </a:lnTo>
                  <a:lnTo>
                    <a:pt x="120" y="388"/>
                  </a:lnTo>
                  <a:lnTo>
                    <a:pt x="106" y="385"/>
                  </a:lnTo>
                  <a:lnTo>
                    <a:pt x="99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2" y="386"/>
                  </a:lnTo>
                  <a:lnTo>
                    <a:pt x="89" y="386"/>
                  </a:lnTo>
                  <a:lnTo>
                    <a:pt x="89" y="386"/>
                  </a:lnTo>
                  <a:lnTo>
                    <a:pt x="87" y="392"/>
                  </a:lnTo>
                  <a:lnTo>
                    <a:pt x="86" y="395"/>
                  </a:lnTo>
                  <a:lnTo>
                    <a:pt x="83" y="400"/>
                  </a:lnTo>
                  <a:lnTo>
                    <a:pt x="83" y="400"/>
                  </a:lnTo>
                  <a:lnTo>
                    <a:pt x="61" y="426"/>
                  </a:lnTo>
                  <a:lnTo>
                    <a:pt x="61" y="426"/>
                  </a:lnTo>
                  <a:lnTo>
                    <a:pt x="58" y="431"/>
                  </a:lnTo>
                  <a:lnTo>
                    <a:pt x="58" y="435"/>
                  </a:lnTo>
                  <a:lnTo>
                    <a:pt x="58" y="440"/>
                  </a:lnTo>
                  <a:lnTo>
                    <a:pt x="56" y="446"/>
                  </a:lnTo>
                  <a:lnTo>
                    <a:pt x="56" y="446"/>
                  </a:lnTo>
                  <a:lnTo>
                    <a:pt x="53" y="449"/>
                  </a:lnTo>
                  <a:lnTo>
                    <a:pt x="52" y="450"/>
                  </a:lnTo>
                  <a:lnTo>
                    <a:pt x="47" y="450"/>
                  </a:lnTo>
                  <a:lnTo>
                    <a:pt x="40" y="449"/>
                  </a:lnTo>
                  <a:lnTo>
                    <a:pt x="40" y="449"/>
                  </a:lnTo>
                  <a:lnTo>
                    <a:pt x="37" y="450"/>
                  </a:lnTo>
                  <a:lnTo>
                    <a:pt x="35" y="452"/>
                  </a:lnTo>
                  <a:lnTo>
                    <a:pt x="29" y="460"/>
                  </a:lnTo>
                  <a:lnTo>
                    <a:pt x="21" y="477"/>
                  </a:lnTo>
                  <a:lnTo>
                    <a:pt x="21" y="477"/>
                  </a:lnTo>
                  <a:lnTo>
                    <a:pt x="18" y="481"/>
                  </a:lnTo>
                  <a:lnTo>
                    <a:pt x="13" y="484"/>
                  </a:lnTo>
                  <a:lnTo>
                    <a:pt x="9" y="487"/>
                  </a:lnTo>
                  <a:lnTo>
                    <a:pt x="3" y="492"/>
                  </a:lnTo>
                  <a:lnTo>
                    <a:pt x="3" y="492"/>
                  </a:lnTo>
                  <a:lnTo>
                    <a:pt x="1" y="495"/>
                  </a:lnTo>
                  <a:lnTo>
                    <a:pt x="0" y="498"/>
                  </a:lnTo>
                  <a:lnTo>
                    <a:pt x="0" y="499"/>
                  </a:lnTo>
                  <a:lnTo>
                    <a:pt x="1" y="500"/>
                  </a:lnTo>
                  <a:lnTo>
                    <a:pt x="15" y="509"/>
                  </a:lnTo>
                  <a:lnTo>
                    <a:pt x="15" y="509"/>
                  </a:lnTo>
                  <a:lnTo>
                    <a:pt x="18" y="512"/>
                  </a:lnTo>
                  <a:lnTo>
                    <a:pt x="18" y="515"/>
                  </a:lnTo>
                  <a:lnTo>
                    <a:pt x="18" y="517"/>
                  </a:lnTo>
                  <a:lnTo>
                    <a:pt x="16" y="517"/>
                  </a:lnTo>
                  <a:lnTo>
                    <a:pt x="10" y="520"/>
                  </a:lnTo>
                  <a:lnTo>
                    <a:pt x="6" y="523"/>
                  </a:lnTo>
                  <a:lnTo>
                    <a:pt x="6" y="523"/>
                  </a:lnTo>
                  <a:lnTo>
                    <a:pt x="6" y="524"/>
                  </a:lnTo>
                  <a:lnTo>
                    <a:pt x="6" y="527"/>
                  </a:lnTo>
                  <a:lnTo>
                    <a:pt x="7" y="532"/>
                  </a:lnTo>
                  <a:lnTo>
                    <a:pt x="10" y="538"/>
                  </a:lnTo>
                  <a:lnTo>
                    <a:pt x="13" y="543"/>
                  </a:lnTo>
                  <a:lnTo>
                    <a:pt x="13" y="543"/>
                  </a:lnTo>
                  <a:lnTo>
                    <a:pt x="13" y="549"/>
                  </a:lnTo>
                  <a:lnTo>
                    <a:pt x="13" y="554"/>
                  </a:lnTo>
                  <a:lnTo>
                    <a:pt x="10" y="561"/>
                  </a:lnTo>
                  <a:lnTo>
                    <a:pt x="10" y="561"/>
                  </a:lnTo>
                  <a:lnTo>
                    <a:pt x="9" y="564"/>
                  </a:lnTo>
                  <a:lnTo>
                    <a:pt x="10" y="566"/>
                  </a:lnTo>
                  <a:lnTo>
                    <a:pt x="13" y="569"/>
                  </a:lnTo>
                  <a:lnTo>
                    <a:pt x="21" y="570"/>
                  </a:lnTo>
                  <a:lnTo>
                    <a:pt x="28" y="569"/>
                  </a:lnTo>
                  <a:lnTo>
                    <a:pt x="28" y="569"/>
                  </a:lnTo>
                  <a:lnTo>
                    <a:pt x="34" y="566"/>
                  </a:lnTo>
                  <a:lnTo>
                    <a:pt x="37" y="563"/>
                  </a:lnTo>
                  <a:lnTo>
                    <a:pt x="43" y="554"/>
                  </a:lnTo>
                  <a:lnTo>
                    <a:pt x="43" y="554"/>
                  </a:lnTo>
                  <a:lnTo>
                    <a:pt x="47" y="549"/>
                  </a:lnTo>
                  <a:lnTo>
                    <a:pt x="55" y="548"/>
                  </a:lnTo>
                  <a:lnTo>
                    <a:pt x="64" y="546"/>
                  </a:lnTo>
                  <a:lnTo>
                    <a:pt x="71" y="548"/>
                  </a:lnTo>
                  <a:lnTo>
                    <a:pt x="71" y="548"/>
                  </a:lnTo>
                  <a:lnTo>
                    <a:pt x="83" y="552"/>
                  </a:lnTo>
                  <a:lnTo>
                    <a:pt x="87" y="554"/>
                  </a:lnTo>
                  <a:lnTo>
                    <a:pt x="90" y="557"/>
                  </a:lnTo>
                  <a:lnTo>
                    <a:pt x="90" y="557"/>
                  </a:lnTo>
                  <a:lnTo>
                    <a:pt x="93" y="560"/>
                  </a:lnTo>
                  <a:lnTo>
                    <a:pt x="99" y="561"/>
                  </a:lnTo>
                  <a:lnTo>
                    <a:pt x="115" y="563"/>
                  </a:lnTo>
                  <a:lnTo>
                    <a:pt x="115" y="563"/>
                  </a:lnTo>
                  <a:lnTo>
                    <a:pt x="123" y="564"/>
                  </a:lnTo>
                  <a:lnTo>
                    <a:pt x="129" y="567"/>
                  </a:lnTo>
                  <a:lnTo>
                    <a:pt x="133" y="570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9" y="580"/>
                  </a:lnTo>
                  <a:lnTo>
                    <a:pt x="142" y="585"/>
                  </a:lnTo>
                  <a:lnTo>
                    <a:pt x="145" y="586"/>
                  </a:lnTo>
                  <a:lnTo>
                    <a:pt x="145" y="586"/>
                  </a:lnTo>
                  <a:lnTo>
                    <a:pt x="155" y="583"/>
                  </a:lnTo>
                  <a:lnTo>
                    <a:pt x="161" y="582"/>
                  </a:lnTo>
                  <a:lnTo>
                    <a:pt x="167" y="582"/>
                  </a:lnTo>
                  <a:lnTo>
                    <a:pt x="167" y="582"/>
                  </a:lnTo>
                  <a:lnTo>
                    <a:pt x="175" y="580"/>
                  </a:lnTo>
                  <a:lnTo>
                    <a:pt x="183" y="577"/>
                  </a:lnTo>
                  <a:lnTo>
                    <a:pt x="192" y="575"/>
                  </a:lnTo>
                  <a:lnTo>
                    <a:pt x="197" y="573"/>
                  </a:lnTo>
                  <a:lnTo>
                    <a:pt x="197" y="573"/>
                  </a:lnTo>
                  <a:lnTo>
                    <a:pt x="198" y="577"/>
                  </a:lnTo>
                  <a:lnTo>
                    <a:pt x="200" y="586"/>
                  </a:lnTo>
                  <a:lnTo>
                    <a:pt x="200" y="586"/>
                  </a:lnTo>
                  <a:lnTo>
                    <a:pt x="206" y="583"/>
                  </a:lnTo>
                  <a:lnTo>
                    <a:pt x="209" y="580"/>
                  </a:lnTo>
                  <a:lnTo>
                    <a:pt x="210" y="576"/>
                  </a:lnTo>
                  <a:lnTo>
                    <a:pt x="210" y="576"/>
                  </a:lnTo>
                  <a:lnTo>
                    <a:pt x="212" y="573"/>
                  </a:lnTo>
                  <a:lnTo>
                    <a:pt x="210" y="569"/>
                  </a:lnTo>
                  <a:lnTo>
                    <a:pt x="210" y="566"/>
                  </a:lnTo>
                  <a:lnTo>
                    <a:pt x="210" y="561"/>
                  </a:lnTo>
                  <a:lnTo>
                    <a:pt x="210" y="561"/>
                  </a:lnTo>
                  <a:lnTo>
                    <a:pt x="212" y="558"/>
                  </a:lnTo>
                  <a:lnTo>
                    <a:pt x="213" y="557"/>
                  </a:lnTo>
                  <a:lnTo>
                    <a:pt x="215" y="555"/>
                  </a:lnTo>
                  <a:lnTo>
                    <a:pt x="213" y="551"/>
                  </a:lnTo>
                  <a:lnTo>
                    <a:pt x="213" y="551"/>
                  </a:lnTo>
                  <a:lnTo>
                    <a:pt x="207" y="540"/>
                  </a:lnTo>
                  <a:lnTo>
                    <a:pt x="204" y="538"/>
                  </a:lnTo>
                  <a:lnTo>
                    <a:pt x="206" y="535"/>
                  </a:lnTo>
                  <a:lnTo>
                    <a:pt x="206" y="535"/>
                  </a:lnTo>
                  <a:lnTo>
                    <a:pt x="226" y="521"/>
                  </a:lnTo>
                  <a:lnTo>
                    <a:pt x="226" y="521"/>
                  </a:lnTo>
                  <a:lnTo>
                    <a:pt x="250" y="540"/>
                  </a:lnTo>
                  <a:lnTo>
                    <a:pt x="250" y="540"/>
                  </a:lnTo>
                  <a:lnTo>
                    <a:pt x="252" y="542"/>
                  </a:lnTo>
                  <a:lnTo>
                    <a:pt x="253" y="540"/>
                  </a:lnTo>
                  <a:lnTo>
                    <a:pt x="256" y="539"/>
                  </a:lnTo>
                  <a:lnTo>
                    <a:pt x="260" y="540"/>
                  </a:lnTo>
                  <a:lnTo>
                    <a:pt x="260" y="540"/>
                  </a:lnTo>
                  <a:lnTo>
                    <a:pt x="263" y="543"/>
                  </a:lnTo>
                  <a:lnTo>
                    <a:pt x="266" y="546"/>
                  </a:lnTo>
                  <a:lnTo>
                    <a:pt x="268" y="548"/>
                  </a:lnTo>
                  <a:lnTo>
                    <a:pt x="271" y="548"/>
                  </a:lnTo>
                  <a:lnTo>
                    <a:pt x="271" y="548"/>
                  </a:lnTo>
                  <a:lnTo>
                    <a:pt x="275" y="546"/>
                  </a:lnTo>
                  <a:lnTo>
                    <a:pt x="281" y="546"/>
                  </a:lnTo>
                  <a:lnTo>
                    <a:pt x="281" y="5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1" name="Freeform 40">
              <a:extLst>
                <a:ext uri="{FF2B5EF4-FFF2-40B4-BE49-F238E27FC236}">
                  <a16:creationId xmlns:a16="http://schemas.microsoft.com/office/drawing/2014/main" id="{60A5126B-321E-BC48-B8E5-EE524E1C9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3036888"/>
              <a:ext cx="990600" cy="1027112"/>
            </a:xfrm>
            <a:custGeom>
              <a:avLst/>
              <a:gdLst>
                <a:gd name="T0" fmla="*/ 65 w 624"/>
                <a:gd name="T1" fmla="*/ 487 h 647"/>
                <a:gd name="T2" fmla="*/ 83 w 624"/>
                <a:gd name="T3" fmla="*/ 487 h 647"/>
                <a:gd name="T4" fmla="*/ 99 w 624"/>
                <a:gd name="T5" fmla="*/ 498 h 647"/>
                <a:gd name="T6" fmla="*/ 105 w 624"/>
                <a:gd name="T7" fmla="*/ 487 h 647"/>
                <a:gd name="T8" fmla="*/ 127 w 624"/>
                <a:gd name="T9" fmla="*/ 499 h 647"/>
                <a:gd name="T10" fmla="*/ 133 w 624"/>
                <a:gd name="T11" fmla="*/ 526 h 647"/>
                <a:gd name="T12" fmla="*/ 154 w 624"/>
                <a:gd name="T13" fmla="*/ 521 h 647"/>
                <a:gd name="T14" fmla="*/ 166 w 624"/>
                <a:gd name="T15" fmla="*/ 535 h 647"/>
                <a:gd name="T16" fmla="*/ 166 w 624"/>
                <a:gd name="T17" fmla="*/ 561 h 647"/>
                <a:gd name="T18" fmla="*/ 231 w 624"/>
                <a:gd name="T19" fmla="*/ 591 h 647"/>
                <a:gd name="T20" fmla="*/ 249 w 624"/>
                <a:gd name="T21" fmla="*/ 615 h 647"/>
                <a:gd name="T22" fmla="*/ 256 w 624"/>
                <a:gd name="T23" fmla="*/ 647 h 647"/>
                <a:gd name="T24" fmla="*/ 298 w 624"/>
                <a:gd name="T25" fmla="*/ 629 h 647"/>
                <a:gd name="T26" fmla="*/ 319 w 624"/>
                <a:gd name="T27" fmla="*/ 610 h 647"/>
                <a:gd name="T28" fmla="*/ 319 w 624"/>
                <a:gd name="T29" fmla="*/ 591 h 647"/>
                <a:gd name="T30" fmla="*/ 333 w 624"/>
                <a:gd name="T31" fmla="*/ 585 h 647"/>
                <a:gd name="T32" fmla="*/ 353 w 624"/>
                <a:gd name="T33" fmla="*/ 572 h 647"/>
                <a:gd name="T34" fmla="*/ 353 w 624"/>
                <a:gd name="T35" fmla="*/ 552 h 647"/>
                <a:gd name="T36" fmla="*/ 342 w 624"/>
                <a:gd name="T37" fmla="*/ 533 h 647"/>
                <a:gd name="T38" fmla="*/ 350 w 624"/>
                <a:gd name="T39" fmla="*/ 489 h 647"/>
                <a:gd name="T40" fmla="*/ 378 w 624"/>
                <a:gd name="T41" fmla="*/ 472 h 647"/>
                <a:gd name="T42" fmla="*/ 400 w 624"/>
                <a:gd name="T43" fmla="*/ 440 h 647"/>
                <a:gd name="T44" fmla="*/ 413 w 624"/>
                <a:gd name="T45" fmla="*/ 452 h 647"/>
                <a:gd name="T46" fmla="*/ 435 w 624"/>
                <a:gd name="T47" fmla="*/ 455 h 647"/>
                <a:gd name="T48" fmla="*/ 461 w 624"/>
                <a:gd name="T49" fmla="*/ 437 h 647"/>
                <a:gd name="T50" fmla="*/ 477 w 624"/>
                <a:gd name="T51" fmla="*/ 407 h 647"/>
                <a:gd name="T52" fmla="*/ 487 w 624"/>
                <a:gd name="T53" fmla="*/ 395 h 647"/>
                <a:gd name="T54" fmla="*/ 477 w 624"/>
                <a:gd name="T55" fmla="*/ 372 h 647"/>
                <a:gd name="T56" fmla="*/ 477 w 624"/>
                <a:gd name="T57" fmla="*/ 352 h 647"/>
                <a:gd name="T58" fmla="*/ 496 w 624"/>
                <a:gd name="T59" fmla="*/ 332 h 647"/>
                <a:gd name="T60" fmla="*/ 521 w 624"/>
                <a:gd name="T61" fmla="*/ 309 h 647"/>
                <a:gd name="T62" fmla="*/ 539 w 624"/>
                <a:gd name="T63" fmla="*/ 281 h 647"/>
                <a:gd name="T64" fmla="*/ 569 w 624"/>
                <a:gd name="T65" fmla="*/ 269 h 647"/>
                <a:gd name="T66" fmla="*/ 595 w 624"/>
                <a:gd name="T67" fmla="*/ 264 h 647"/>
                <a:gd name="T68" fmla="*/ 621 w 624"/>
                <a:gd name="T69" fmla="*/ 226 h 647"/>
                <a:gd name="T70" fmla="*/ 613 w 624"/>
                <a:gd name="T71" fmla="*/ 178 h 647"/>
                <a:gd name="T72" fmla="*/ 624 w 624"/>
                <a:gd name="T73" fmla="*/ 157 h 647"/>
                <a:gd name="T74" fmla="*/ 612 w 624"/>
                <a:gd name="T75" fmla="*/ 147 h 647"/>
                <a:gd name="T76" fmla="*/ 584 w 624"/>
                <a:gd name="T77" fmla="*/ 129 h 647"/>
                <a:gd name="T78" fmla="*/ 573 w 624"/>
                <a:gd name="T79" fmla="*/ 99 h 647"/>
                <a:gd name="T80" fmla="*/ 575 w 624"/>
                <a:gd name="T81" fmla="*/ 70 h 647"/>
                <a:gd name="T82" fmla="*/ 555 w 624"/>
                <a:gd name="T83" fmla="*/ 35 h 647"/>
                <a:gd name="T84" fmla="*/ 505 w 624"/>
                <a:gd name="T85" fmla="*/ 46 h 647"/>
                <a:gd name="T86" fmla="*/ 470 w 624"/>
                <a:gd name="T87" fmla="*/ 55 h 647"/>
                <a:gd name="T88" fmla="*/ 427 w 624"/>
                <a:gd name="T89" fmla="*/ 65 h 647"/>
                <a:gd name="T90" fmla="*/ 393 w 624"/>
                <a:gd name="T91" fmla="*/ 95 h 647"/>
                <a:gd name="T92" fmla="*/ 366 w 624"/>
                <a:gd name="T93" fmla="*/ 109 h 647"/>
                <a:gd name="T94" fmla="*/ 351 w 624"/>
                <a:gd name="T95" fmla="*/ 130 h 647"/>
                <a:gd name="T96" fmla="*/ 314 w 624"/>
                <a:gd name="T97" fmla="*/ 166 h 647"/>
                <a:gd name="T98" fmla="*/ 277 w 624"/>
                <a:gd name="T99" fmla="*/ 173 h 647"/>
                <a:gd name="T100" fmla="*/ 261 w 624"/>
                <a:gd name="T101" fmla="*/ 176 h 647"/>
                <a:gd name="T102" fmla="*/ 247 w 624"/>
                <a:gd name="T103" fmla="*/ 212 h 647"/>
                <a:gd name="T104" fmla="*/ 227 w 624"/>
                <a:gd name="T105" fmla="*/ 275 h 647"/>
                <a:gd name="T106" fmla="*/ 153 w 624"/>
                <a:gd name="T107" fmla="*/ 284 h 647"/>
                <a:gd name="T108" fmla="*/ 33 w 624"/>
                <a:gd name="T109" fmla="*/ 268 h 647"/>
                <a:gd name="T110" fmla="*/ 8 w 624"/>
                <a:gd name="T111" fmla="*/ 289 h 647"/>
                <a:gd name="T112" fmla="*/ 2 w 624"/>
                <a:gd name="T113" fmla="*/ 306 h 647"/>
                <a:gd name="T114" fmla="*/ 18 w 624"/>
                <a:gd name="T115" fmla="*/ 349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4" h="647">
                  <a:moveTo>
                    <a:pt x="18" y="349"/>
                  </a:moveTo>
                  <a:lnTo>
                    <a:pt x="48" y="481"/>
                  </a:lnTo>
                  <a:lnTo>
                    <a:pt x="48" y="481"/>
                  </a:lnTo>
                  <a:lnTo>
                    <a:pt x="58" y="484"/>
                  </a:lnTo>
                  <a:lnTo>
                    <a:pt x="65" y="487"/>
                  </a:lnTo>
                  <a:lnTo>
                    <a:pt x="73" y="489"/>
                  </a:lnTo>
                  <a:lnTo>
                    <a:pt x="73" y="489"/>
                  </a:lnTo>
                  <a:lnTo>
                    <a:pt x="77" y="489"/>
                  </a:lnTo>
                  <a:lnTo>
                    <a:pt x="80" y="487"/>
                  </a:lnTo>
                  <a:lnTo>
                    <a:pt x="83" y="487"/>
                  </a:lnTo>
                  <a:lnTo>
                    <a:pt x="86" y="489"/>
                  </a:lnTo>
                  <a:lnTo>
                    <a:pt x="86" y="489"/>
                  </a:lnTo>
                  <a:lnTo>
                    <a:pt x="95" y="496"/>
                  </a:lnTo>
                  <a:lnTo>
                    <a:pt x="98" y="498"/>
                  </a:lnTo>
                  <a:lnTo>
                    <a:pt x="99" y="498"/>
                  </a:lnTo>
                  <a:lnTo>
                    <a:pt x="99" y="496"/>
                  </a:lnTo>
                  <a:lnTo>
                    <a:pt x="99" y="496"/>
                  </a:lnTo>
                  <a:lnTo>
                    <a:pt x="101" y="492"/>
                  </a:lnTo>
                  <a:lnTo>
                    <a:pt x="102" y="489"/>
                  </a:lnTo>
                  <a:lnTo>
                    <a:pt x="105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9" y="490"/>
                  </a:lnTo>
                  <a:lnTo>
                    <a:pt x="123" y="495"/>
                  </a:lnTo>
                  <a:lnTo>
                    <a:pt x="127" y="499"/>
                  </a:lnTo>
                  <a:lnTo>
                    <a:pt x="129" y="508"/>
                  </a:lnTo>
                  <a:lnTo>
                    <a:pt x="129" y="508"/>
                  </a:lnTo>
                  <a:lnTo>
                    <a:pt x="130" y="515"/>
                  </a:lnTo>
                  <a:lnTo>
                    <a:pt x="132" y="521"/>
                  </a:lnTo>
                  <a:lnTo>
                    <a:pt x="133" y="526"/>
                  </a:lnTo>
                  <a:lnTo>
                    <a:pt x="136" y="526"/>
                  </a:lnTo>
                  <a:lnTo>
                    <a:pt x="138" y="526"/>
                  </a:lnTo>
                  <a:lnTo>
                    <a:pt x="138" y="526"/>
                  </a:lnTo>
                  <a:lnTo>
                    <a:pt x="150" y="521"/>
                  </a:lnTo>
                  <a:lnTo>
                    <a:pt x="154" y="521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5" y="526"/>
                  </a:lnTo>
                  <a:lnTo>
                    <a:pt x="166" y="530"/>
                  </a:lnTo>
                  <a:lnTo>
                    <a:pt x="166" y="535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5" y="551"/>
                  </a:lnTo>
                  <a:lnTo>
                    <a:pt x="165" y="555"/>
                  </a:lnTo>
                  <a:lnTo>
                    <a:pt x="166" y="561"/>
                  </a:lnTo>
                  <a:lnTo>
                    <a:pt x="166" y="561"/>
                  </a:lnTo>
                  <a:lnTo>
                    <a:pt x="169" y="567"/>
                  </a:lnTo>
                  <a:lnTo>
                    <a:pt x="173" y="573"/>
                  </a:lnTo>
                  <a:lnTo>
                    <a:pt x="179" y="576"/>
                  </a:lnTo>
                  <a:lnTo>
                    <a:pt x="231" y="591"/>
                  </a:lnTo>
                  <a:lnTo>
                    <a:pt x="231" y="591"/>
                  </a:lnTo>
                  <a:lnTo>
                    <a:pt x="239" y="598"/>
                  </a:lnTo>
                  <a:lnTo>
                    <a:pt x="246" y="607"/>
                  </a:lnTo>
                  <a:lnTo>
                    <a:pt x="246" y="607"/>
                  </a:lnTo>
                  <a:lnTo>
                    <a:pt x="249" y="615"/>
                  </a:lnTo>
                  <a:lnTo>
                    <a:pt x="250" y="625"/>
                  </a:lnTo>
                  <a:lnTo>
                    <a:pt x="250" y="625"/>
                  </a:lnTo>
                  <a:lnTo>
                    <a:pt x="253" y="640"/>
                  </a:lnTo>
                  <a:lnTo>
                    <a:pt x="256" y="647"/>
                  </a:lnTo>
                  <a:lnTo>
                    <a:pt x="256" y="647"/>
                  </a:lnTo>
                  <a:lnTo>
                    <a:pt x="264" y="643"/>
                  </a:lnTo>
                  <a:lnTo>
                    <a:pt x="277" y="637"/>
                  </a:lnTo>
                  <a:lnTo>
                    <a:pt x="277" y="637"/>
                  </a:lnTo>
                  <a:lnTo>
                    <a:pt x="290" y="632"/>
                  </a:lnTo>
                  <a:lnTo>
                    <a:pt x="298" y="629"/>
                  </a:lnTo>
                  <a:lnTo>
                    <a:pt x="302" y="626"/>
                  </a:lnTo>
                  <a:lnTo>
                    <a:pt x="302" y="626"/>
                  </a:lnTo>
                  <a:lnTo>
                    <a:pt x="313" y="617"/>
                  </a:lnTo>
                  <a:lnTo>
                    <a:pt x="317" y="612"/>
                  </a:lnTo>
                  <a:lnTo>
                    <a:pt x="319" y="610"/>
                  </a:lnTo>
                  <a:lnTo>
                    <a:pt x="319" y="607"/>
                  </a:lnTo>
                  <a:lnTo>
                    <a:pt x="319" y="607"/>
                  </a:lnTo>
                  <a:lnTo>
                    <a:pt x="317" y="598"/>
                  </a:lnTo>
                  <a:lnTo>
                    <a:pt x="317" y="595"/>
                  </a:lnTo>
                  <a:lnTo>
                    <a:pt x="319" y="591"/>
                  </a:lnTo>
                  <a:lnTo>
                    <a:pt x="319" y="591"/>
                  </a:lnTo>
                  <a:lnTo>
                    <a:pt x="323" y="588"/>
                  </a:lnTo>
                  <a:lnTo>
                    <a:pt x="326" y="585"/>
                  </a:lnTo>
                  <a:lnTo>
                    <a:pt x="330" y="583"/>
                  </a:lnTo>
                  <a:lnTo>
                    <a:pt x="333" y="585"/>
                  </a:lnTo>
                  <a:lnTo>
                    <a:pt x="333" y="585"/>
                  </a:lnTo>
                  <a:lnTo>
                    <a:pt x="335" y="585"/>
                  </a:lnTo>
                  <a:lnTo>
                    <a:pt x="339" y="583"/>
                  </a:lnTo>
                  <a:lnTo>
                    <a:pt x="348" y="576"/>
                  </a:lnTo>
                  <a:lnTo>
                    <a:pt x="353" y="572"/>
                  </a:lnTo>
                  <a:lnTo>
                    <a:pt x="356" y="566"/>
                  </a:lnTo>
                  <a:lnTo>
                    <a:pt x="357" y="561"/>
                  </a:lnTo>
                  <a:lnTo>
                    <a:pt x="356" y="558"/>
                  </a:lnTo>
                  <a:lnTo>
                    <a:pt x="356" y="558"/>
                  </a:lnTo>
                  <a:lnTo>
                    <a:pt x="353" y="552"/>
                  </a:lnTo>
                  <a:lnTo>
                    <a:pt x="348" y="548"/>
                  </a:lnTo>
                  <a:lnTo>
                    <a:pt x="345" y="545"/>
                  </a:lnTo>
                  <a:lnTo>
                    <a:pt x="342" y="542"/>
                  </a:lnTo>
                  <a:lnTo>
                    <a:pt x="342" y="542"/>
                  </a:lnTo>
                  <a:lnTo>
                    <a:pt x="342" y="533"/>
                  </a:lnTo>
                  <a:lnTo>
                    <a:pt x="342" y="518"/>
                  </a:lnTo>
                  <a:lnTo>
                    <a:pt x="342" y="503"/>
                  </a:lnTo>
                  <a:lnTo>
                    <a:pt x="345" y="493"/>
                  </a:lnTo>
                  <a:lnTo>
                    <a:pt x="345" y="493"/>
                  </a:lnTo>
                  <a:lnTo>
                    <a:pt x="350" y="489"/>
                  </a:lnTo>
                  <a:lnTo>
                    <a:pt x="354" y="484"/>
                  </a:lnTo>
                  <a:lnTo>
                    <a:pt x="361" y="483"/>
                  </a:lnTo>
                  <a:lnTo>
                    <a:pt x="369" y="478"/>
                  </a:lnTo>
                  <a:lnTo>
                    <a:pt x="369" y="478"/>
                  </a:lnTo>
                  <a:lnTo>
                    <a:pt x="378" y="472"/>
                  </a:lnTo>
                  <a:lnTo>
                    <a:pt x="385" y="465"/>
                  </a:lnTo>
                  <a:lnTo>
                    <a:pt x="393" y="458"/>
                  </a:lnTo>
                  <a:lnTo>
                    <a:pt x="397" y="450"/>
                  </a:lnTo>
                  <a:lnTo>
                    <a:pt x="397" y="450"/>
                  </a:lnTo>
                  <a:lnTo>
                    <a:pt x="400" y="440"/>
                  </a:lnTo>
                  <a:lnTo>
                    <a:pt x="401" y="438"/>
                  </a:lnTo>
                  <a:lnTo>
                    <a:pt x="403" y="440"/>
                  </a:lnTo>
                  <a:lnTo>
                    <a:pt x="403" y="440"/>
                  </a:lnTo>
                  <a:lnTo>
                    <a:pt x="407" y="444"/>
                  </a:lnTo>
                  <a:lnTo>
                    <a:pt x="413" y="452"/>
                  </a:lnTo>
                  <a:lnTo>
                    <a:pt x="421" y="458"/>
                  </a:lnTo>
                  <a:lnTo>
                    <a:pt x="424" y="459"/>
                  </a:lnTo>
                  <a:lnTo>
                    <a:pt x="427" y="459"/>
                  </a:lnTo>
                  <a:lnTo>
                    <a:pt x="427" y="459"/>
                  </a:lnTo>
                  <a:lnTo>
                    <a:pt x="435" y="455"/>
                  </a:lnTo>
                  <a:lnTo>
                    <a:pt x="443" y="449"/>
                  </a:lnTo>
                  <a:lnTo>
                    <a:pt x="453" y="441"/>
                  </a:lnTo>
                  <a:lnTo>
                    <a:pt x="459" y="441"/>
                  </a:lnTo>
                  <a:lnTo>
                    <a:pt x="459" y="441"/>
                  </a:lnTo>
                  <a:lnTo>
                    <a:pt x="461" y="437"/>
                  </a:lnTo>
                  <a:lnTo>
                    <a:pt x="464" y="432"/>
                  </a:lnTo>
                  <a:lnTo>
                    <a:pt x="470" y="423"/>
                  </a:lnTo>
                  <a:lnTo>
                    <a:pt x="470" y="423"/>
                  </a:lnTo>
                  <a:lnTo>
                    <a:pt x="473" y="415"/>
                  </a:lnTo>
                  <a:lnTo>
                    <a:pt x="477" y="407"/>
                  </a:lnTo>
                  <a:lnTo>
                    <a:pt x="477" y="407"/>
                  </a:lnTo>
                  <a:lnTo>
                    <a:pt x="481" y="403"/>
                  </a:lnTo>
                  <a:lnTo>
                    <a:pt x="484" y="400"/>
                  </a:lnTo>
                  <a:lnTo>
                    <a:pt x="487" y="395"/>
                  </a:lnTo>
                  <a:lnTo>
                    <a:pt x="487" y="395"/>
                  </a:lnTo>
                  <a:lnTo>
                    <a:pt x="489" y="389"/>
                  </a:lnTo>
                  <a:lnTo>
                    <a:pt x="487" y="385"/>
                  </a:lnTo>
                  <a:lnTo>
                    <a:pt x="486" y="381"/>
                  </a:lnTo>
                  <a:lnTo>
                    <a:pt x="483" y="378"/>
                  </a:lnTo>
                  <a:lnTo>
                    <a:pt x="477" y="372"/>
                  </a:lnTo>
                  <a:lnTo>
                    <a:pt x="475" y="369"/>
                  </a:lnTo>
                  <a:lnTo>
                    <a:pt x="475" y="364"/>
                  </a:lnTo>
                  <a:lnTo>
                    <a:pt x="475" y="364"/>
                  </a:lnTo>
                  <a:lnTo>
                    <a:pt x="477" y="358"/>
                  </a:lnTo>
                  <a:lnTo>
                    <a:pt x="477" y="352"/>
                  </a:lnTo>
                  <a:lnTo>
                    <a:pt x="480" y="346"/>
                  </a:lnTo>
                  <a:lnTo>
                    <a:pt x="480" y="346"/>
                  </a:lnTo>
                  <a:lnTo>
                    <a:pt x="484" y="342"/>
                  </a:lnTo>
                  <a:lnTo>
                    <a:pt x="487" y="338"/>
                  </a:lnTo>
                  <a:lnTo>
                    <a:pt x="496" y="332"/>
                  </a:lnTo>
                  <a:lnTo>
                    <a:pt x="507" y="326"/>
                  </a:lnTo>
                  <a:lnTo>
                    <a:pt x="515" y="320"/>
                  </a:lnTo>
                  <a:lnTo>
                    <a:pt x="515" y="320"/>
                  </a:lnTo>
                  <a:lnTo>
                    <a:pt x="518" y="315"/>
                  </a:lnTo>
                  <a:lnTo>
                    <a:pt x="521" y="309"/>
                  </a:lnTo>
                  <a:lnTo>
                    <a:pt x="526" y="299"/>
                  </a:lnTo>
                  <a:lnTo>
                    <a:pt x="526" y="299"/>
                  </a:lnTo>
                  <a:lnTo>
                    <a:pt x="527" y="295"/>
                  </a:lnTo>
                  <a:lnTo>
                    <a:pt x="532" y="289"/>
                  </a:lnTo>
                  <a:lnTo>
                    <a:pt x="539" y="281"/>
                  </a:lnTo>
                  <a:lnTo>
                    <a:pt x="550" y="275"/>
                  </a:lnTo>
                  <a:lnTo>
                    <a:pt x="550" y="275"/>
                  </a:lnTo>
                  <a:lnTo>
                    <a:pt x="554" y="272"/>
                  </a:lnTo>
                  <a:lnTo>
                    <a:pt x="560" y="271"/>
                  </a:lnTo>
                  <a:lnTo>
                    <a:pt x="569" y="269"/>
                  </a:lnTo>
                  <a:lnTo>
                    <a:pt x="578" y="269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91" y="266"/>
                  </a:lnTo>
                  <a:lnTo>
                    <a:pt x="595" y="264"/>
                  </a:lnTo>
                  <a:lnTo>
                    <a:pt x="604" y="255"/>
                  </a:lnTo>
                  <a:lnTo>
                    <a:pt x="612" y="244"/>
                  </a:lnTo>
                  <a:lnTo>
                    <a:pt x="618" y="235"/>
                  </a:lnTo>
                  <a:lnTo>
                    <a:pt x="618" y="235"/>
                  </a:lnTo>
                  <a:lnTo>
                    <a:pt x="621" y="226"/>
                  </a:lnTo>
                  <a:lnTo>
                    <a:pt x="621" y="218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15" y="182"/>
                  </a:lnTo>
                  <a:lnTo>
                    <a:pt x="613" y="178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21" y="169"/>
                  </a:lnTo>
                  <a:lnTo>
                    <a:pt x="622" y="163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4" y="151"/>
                  </a:lnTo>
                  <a:lnTo>
                    <a:pt x="624" y="151"/>
                  </a:lnTo>
                  <a:lnTo>
                    <a:pt x="615" y="148"/>
                  </a:lnTo>
                  <a:lnTo>
                    <a:pt x="612" y="147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06" y="142"/>
                  </a:lnTo>
                  <a:lnTo>
                    <a:pt x="600" y="138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78" y="123"/>
                  </a:lnTo>
                  <a:lnTo>
                    <a:pt x="575" y="115"/>
                  </a:lnTo>
                  <a:lnTo>
                    <a:pt x="573" y="108"/>
                  </a:lnTo>
                  <a:lnTo>
                    <a:pt x="573" y="99"/>
                  </a:lnTo>
                  <a:lnTo>
                    <a:pt x="573" y="99"/>
                  </a:lnTo>
                  <a:lnTo>
                    <a:pt x="576" y="87"/>
                  </a:lnTo>
                  <a:lnTo>
                    <a:pt x="576" y="78"/>
                  </a:lnTo>
                  <a:lnTo>
                    <a:pt x="576" y="78"/>
                  </a:lnTo>
                  <a:lnTo>
                    <a:pt x="575" y="70"/>
                  </a:lnTo>
                  <a:lnTo>
                    <a:pt x="572" y="61"/>
                  </a:lnTo>
                  <a:lnTo>
                    <a:pt x="567" y="52"/>
                  </a:lnTo>
                  <a:lnTo>
                    <a:pt x="561" y="44"/>
                  </a:lnTo>
                  <a:lnTo>
                    <a:pt x="561" y="44"/>
                  </a:lnTo>
                  <a:lnTo>
                    <a:pt x="555" y="35"/>
                  </a:lnTo>
                  <a:lnTo>
                    <a:pt x="548" y="22"/>
                  </a:lnTo>
                  <a:lnTo>
                    <a:pt x="538" y="0"/>
                  </a:lnTo>
                  <a:lnTo>
                    <a:pt x="538" y="0"/>
                  </a:lnTo>
                  <a:lnTo>
                    <a:pt x="505" y="46"/>
                  </a:lnTo>
                  <a:lnTo>
                    <a:pt x="505" y="46"/>
                  </a:lnTo>
                  <a:lnTo>
                    <a:pt x="499" y="50"/>
                  </a:lnTo>
                  <a:lnTo>
                    <a:pt x="493" y="55"/>
                  </a:lnTo>
                  <a:lnTo>
                    <a:pt x="487" y="56"/>
                  </a:lnTo>
                  <a:lnTo>
                    <a:pt x="481" y="56"/>
                  </a:lnTo>
                  <a:lnTo>
                    <a:pt x="470" y="55"/>
                  </a:lnTo>
                  <a:lnTo>
                    <a:pt x="461" y="55"/>
                  </a:lnTo>
                  <a:lnTo>
                    <a:pt x="461" y="55"/>
                  </a:lnTo>
                  <a:lnTo>
                    <a:pt x="441" y="59"/>
                  </a:lnTo>
                  <a:lnTo>
                    <a:pt x="433" y="62"/>
                  </a:lnTo>
                  <a:lnTo>
                    <a:pt x="427" y="65"/>
                  </a:lnTo>
                  <a:lnTo>
                    <a:pt x="427" y="65"/>
                  </a:lnTo>
                  <a:lnTo>
                    <a:pt x="412" y="78"/>
                  </a:lnTo>
                  <a:lnTo>
                    <a:pt x="398" y="92"/>
                  </a:lnTo>
                  <a:lnTo>
                    <a:pt x="398" y="92"/>
                  </a:lnTo>
                  <a:lnTo>
                    <a:pt x="393" y="95"/>
                  </a:lnTo>
                  <a:lnTo>
                    <a:pt x="382" y="98"/>
                  </a:lnTo>
                  <a:lnTo>
                    <a:pt x="372" y="102"/>
                  </a:lnTo>
                  <a:lnTo>
                    <a:pt x="367" y="107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4" y="117"/>
                  </a:lnTo>
                  <a:lnTo>
                    <a:pt x="361" y="123"/>
                  </a:lnTo>
                  <a:lnTo>
                    <a:pt x="357" y="127"/>
                  </a:lnTo>
                  <a:lnTo>
                    <a:pt x="351" y="130"/>
                  </a:lnTo>
                  <a:lnTo>
                    <a:pt x="351" y="130"/>
                  </a:lnTo>
                  <a:lnTo>
                    <a:pt x="347" y="132"/>
                  </a:lnTo>
                  <a:lnTo>
                    <a:pt x="341" y="136"/>
                  </a:lnTo>
                  <a:lnTo>
                    <a:pt x="332" y="147"/>
                  </a:lnTo>
                  <a:lnTo>
                    <a:pt x="321" y="157"/>
                  </a:lnTo>
                  <a:lnTo>
                    <a:pt x="314" y="166"/>
                  </a:lnTo>
                  <a:lnTo>
                    <a:pt x="314" y="166"/>
                  </a:lnTo>
                  <a:lnTo>
                    <a:pt x="305" y="170"/>
                  </a:lnTo>
                  <a:lnTo>
                    <a:pt x="295" y="173"/>
                  </a:lnTo>
                  <a:lnTo>
                    <a:pt x="286" y="175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3" y="173"/>
                  </a:lnTo>
                  <a:lnTo>
                    <a:pt x="270" y="173"/>
                  </a:lnTo>
                  <a:lnTo>
                    <a:pt x="265" y="173"/>
                  </a:lnTo>
                  <a:lnTo>
                    <a:pt x="261" y="176"/>
                  </a:lnTo>
                  <a:lnTo>
                    <a:pt x="258" y="181"/>
                  </a:lnTo>
                  <a:lnTo>
                    <a:pt x="253" y="188"/>
                  </a:lnTo>
                  <a:lnTo>
                    <a:pt x="250" y="198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2" y="240"/>
                  </a:lnTo>
                  <a:lnTo>
                    <a:pt x="239" y="252"/>
                  </a:lnTo>
                  <a:lnTo>
                    <a:pt x="236" y="262"/>
                  </a:lnTo>
                  <a:lnTo>
                    <a:pt x="231" y="269"/>
                  </a:lnTo>
                  <a:lnTo>
                    <a:pt x="227" y="275"/>
                  </a:lnTo>
                  <a:lnTo>
                    <a:pt x="219" y="280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187" y="284"/>
                  </a:lnTo>
                  <a:lnTo>
                    <a:pt x="153" y="284"/>
                  </a:lnTo>
                  <a:lnTo>
                    <a:pt x="120" y="283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58" y="272"/>
                  </a:lnTo>
                  <a:lnTo>
                    <a:pt x="33" y="268"/>
                  </a:lnTo>
                  <a:lnTo>
                    <a:pt x="11" y="266"/>
                  </a:lnTo>
                  <a:lnTo>
                    <a:pt x="11" y="266"/>
                  </a:lnTo>
                  <a:lnTo>
                    <a:pt x="11" y="277"/>
                  </a:lnTo>
                  <a:lnTo>
                    <a:pt x="11" y="283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2" y="299"/>
                  </a:lnTo>
                  <a:lnTo>
                    <a:pt x="0" y="302"/>
                  </a:lnTo>
                  <a:lnTo>
                    <a:pt x="2" y="306"/>
                  </a:lnTo>
                  <a:lnTo>
                    <a:pt x="2" y="306"/>
                  </a:lnTo>
                  <a:lnTo>
                    <a:pt x="5" y="309"/>
                  </a:lnTo>
                  <a:lnTo>
                    <a:pt x="8" y="312"/>
                  </a:lnTo>
                  <a:lnTo>
                    <a:pt x="9" y="314"/>
                  </a:lnTo>
                  <a:lnTo>
                    <a:pt x="11" y="314"/>
                  </a:lnTo>
                  <a:lnTo>
                    <a:pt x="18" y="349"/>
                  </a:lnTo>
                  <a:lnTo>
                    <a:pt x="18" y="3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2" name="Freeform 41">
              <a:extLst>
                <a:ext uri="{FF2B5EF4-FFF2-40B4-BE49-F238E27FC236}">
                  <a16:creationId xmlns:a16="http://schemas.microsoft.com/office/drawing/2014/main" id="{163A21D0-D2C7-5F49-9407-30F346FB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6019800"/>
              <a:ext cx="596900" cy="692150"/>
            </a:xfrm>
            <a:custGeom>
              <a:avLst/>
              <a:gdLst>
                <a:gd name="T0" fmla="*/ 140 w 376"/>
                <a:gd name="T1" fmla="*/ 378 h 436"/>
                <a:gd name="T2" fmla="*/ 151 w 376"/>
                <a:gd name="T3" fmla="*/ 419 h 436"/>
                <a:gd name="T4" fmla="*/ 207 w 376"/>
                <a:gd name="T5" fmla="*/ 433 h 436"/>
                <a:gd name="T6" fmla="*/ 250 w 376"/>
                <a:gd name="T7" fmla="*/ 405 h 436"/>
                <a:gd name="T8" fmla="*/ 229 w 376"/>
                <a:gd name="T9" fmla="*/ 374 h 436"/>
                <a:gd name="T10" fmla="*/ 238 w 376"/>
                <a:gd name="T11" fmla="*/ 356 h 436"/>
                <a:gd name="T12" fmla="*/ 287 w 376"/>
                <a:gd name="T13" fmla="*/ 342 h 436"/>
                <a:gd name="T14" fmla="*/ 275 w 376"/>
                <a:gd name="T15" fmla="*/ 328 h 436"/>
                <a:gd name="T16" fmla="*/ 275 w 376"/>
                <a:gd name="T17" fmla="*/ 298 h 436"/>
                <a:gd name="T18" fmla="*/ 284 w 376"/>
                <a:gd name="T19" fmla="*/ 297 h 436"/>
                <a:gd name="T20" fmla="*/ 306 w 376"/>
                <a:gd name="T21" fmla="*/ 298 h 436"/>
                <a:gd name="T22" fmla="*/ 327 w 376"/>
                <a:gd name="T23" fmla="*/ 305 h 436"/>
                <a:gd name="T24" fmla="*/ 342 w 376"/>
                <a:gd name="T25" fmla="*/ 277 h 436"/>
                <a:gd name="T26" fmla="*/ 345 w 376"/>
                <a:gd name="T27" fmla="*/ 220 h 436"/>
                <a:gd name="T28" fmla="*/ 376 w 376"/>
                <a:gd name="T29" fmla="*/ 218 h 436"/>
                <a:gd name="T30" fmla="*/ 339 w 376"/>
                <a:gd name="T31" fmla="*/ 191 h 436"/>
                <a:gd name="T32" fmla="*/ 334 w 376"/>
                <a:gd name="T33" fmla="*/ 175 h 436"/>
                <a:gd name="T34" fmla="*/ 345 w 376"/>
                <a:gd name="T35" fmla="*/ 137 h 436"/>
                <a:gd name="T36" fmla="*/ 367 w 376"/>
                <a:gd name="T37" fmla="*/ 113 h 436"/>
                <a:gd name="T38" fmla="*/ 354 w 376"/>
                <a:gd name="T39" fmla="*/ 83 h 436"/>
                <a:gd name="T40" fmla="*/ 340 w 376"/>
                <a:gd name="T41" fmla="*/ 67 h 436"/>
                <a:gd name="T42" fmla="*/ 329 w 376"/>
                <a:gd name="T43" fmla="*/ 49 h 436"/>
                <a:gd name="T44" fmla="*/ 326 w 376"/>
                <a:gd name="T45" fmla="*/ 31 h 436"/>
                <a:gd name="T46" fmla="*/ 315 w 376"/>
                <a:gd name="T47" fmla="*/ 45 h 436"/>
                <a:gd name="T48" fmla="*/ 290 w 376"/>
                <a:gd name="T49" fmla="*/ 54 h 436"/>
                <a:gd name="T50" fmla="*/ 284 w 376"/>
                <a:gd name="T51" fmla="*/ 33 h 436"/>
                <a:gd name="T52" fmla="*/ 271 w 376"/>
                <a:gd name="T53" fmla="*/ 34 h 436"/>
                <a:gd name="T54" fmla="*/ 246 w 376"/>
                <a:gd name="T55" fmla="*/ 30 h 436"/>
                <a:gd name="T56" fmla="*/ 217 w 376"/>
                <a:gd name="T57" fmla="*/ 40 h 436"/>
                <a:gd name="T58" fmla="*/ 216 w 376"/>
                <a:gd name="T59" fmla="*/ 74 h 436"/>
                <a:gd name="T60" fmla="*/ 234 w 376"/>
                <a:gd name="T61" fmla="*/ 71 h 436"/>
                <a:gd name="T62" fmla="*/ 252 w 376"/>
                <a:gd name="T63" fmla="*/ 65 h 436"/>
                <a:gd name="T64" fmla="*/ 228 w 376"/>
                <a:gd name="T65" fmla="*/ 95 h 436"/>
                <a:gd name="T66" fmla="*/ 172 w 376"/>
                <a:gd name="T67" fmla="*/ 113 h 436"/>
                <a:gd name="T68" fmla="*/ 155 w 376"/>
                <a:gd name="T69" fmla="*/ 123 h 436"/>
                <a:gd name="T70" fmla="*/ 133 w 376"/>
                <a:gd name="T71" fmla="*/ 138 h 436"/>
                <a:gd name="T72" fmla="*/ 108 w 376"/>
                <a:gd name="T73" fmla="*/ 114 h 436"/>
                <a:gd name="T74" fmla="*/ 100 w 376"/>
                <a:gd name="T75" fmla="*/ 79 h 436"/>
                <a:gd name="T76" fmla="*/ 89 w 376"/>
                <a:gd name="T77" fmla="*/ 74 h 436"/>
                <a:gd name="T78" fmla="*/ 80 w 376"/>
                <a:gd name="T79" fmla="*/ 57 h 436"/>
                <a:gd name="T80" fmla="*/ 83 w 376"/>
                <a:gd name="T81" fmla="*/ 24 h 436"/>
                <a:gd name="T82" fmla="*/ 35 w 376"/>
                <a:gd name="T83" fmla="*/ 33 h 436"/>
                <a:gd name="T84" fmla="*/ 10 w 376"/>
                <a:gd name="T85" fmla="*/ 23 h 436"/>
                <a:gd name="T86" fmla="*/ 1 w 376"/>
                <a:gd name="T87" fmla="*/ 37 h 436"/>
                <a:gd name="T88" fmla="*/ 15 w 376"/>
                <a:gd name="T89" fmla="*/ 61 h 436"/>
                <a:gd name="T90" fmla="*/ 38 w 376"/>
                <a:gd name="T91" fmla="*/ 54 h 436"/>
                <a:gd name="T92" fmla="*/ 32 w 376"/>
                <a:gd name="T93" fmla="*/ 71 h 436"/>
                <a:gd name="T94" fmla="*/ 58 w 376"/>
                <a:gd name="T95" fmla="*/ 85 h 436"/>
                <a:gd name="T96" fmla="*/ 80 w 376"/>
                <a:gd name="T97" fmla="*/ 91 h 436"/>
                <a:gd name="T98" fmla="*/ 105 w 376"/>
                <a:gd name="T99" fmla="*/ 157 h 436"/>
                <a:gd name="T100" fmla="*/ 105 w 376"/>
                <a:gd name="T101" fmla="*/ 191 h 436"/>
                <a:gd name="T102" fmla="*/ 98 w 376"/>
                <a:gd name="T103" fmla="*/ 230 h 436"/>
                <a:gd name="T104" fmla="*/ 115 w 376"/>
                <a:gd name="T105" fmla="*/ 313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6" h="436">
                  <a:moveTo>
                    <a:pt x="114" y="345"/>
                  </a:moveTo>
                  <a:lnTo>
                    <a:pt x="114" y="345"/>
                  </a:lnTo>
                  <a:lnTo>
                    <a:pt x="123" y="357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40" y="378"/>
                  </a:lnTo>
                  <a:lnTo>
                    <a:pt x="143" y="384"/>
                  </a:lnTo>
                  <a:lnTo>
                    <a:pt x="145" y="390"/>
                  </a:lnTo>
                  <a:lnTo>
                    <a:pt x="145" y="399"/>
                  </a:lnTo>
                  <a:lnTo>
                    <a:pt x="145" y="399"/>
                  </a:lnTo>
                  <a:lnTo>
                    <a:pt x="146" y="409"/>
                  </a:lnTo>
                  <a:lnTo>
                    <a:pt x="151" y="419"/>
                  </a:lnTo>
                  <a:lnTo>
                    <a:pt x="158" y="436"/>
                  </a:lnTo>
                  <a:lnTo>
                    <a:pt x="158" y="436"/>
                  </a:lnTo>
                  <a:lnTo>
                    <a:pt x="173" y="434"/>
                  </a:lnTo>
                  <a:lnTo>
                    <a:pt x="194" y="433"/>
                  </a:lnTo>
                  <a:lnTo>
                    <a:pt x="194" y="433"/>
                  </a:lnTo>
                  <a:lnTo>
                    <a:pt x="207" y="433"/>
                  </a:lnTo>
                  <a:lnTo>
                    <a:pt x="216" y="431"/>
                  </a:lnTo>
                  <a:lnTo>
                    <a:pt x="223" y="428"/>
                  </a:lnTo>
                  <a:lnTo>
                    <a:pt x="232" y="421"/>
                  </a:lnTo>
                  <a:lnTo>
                    <a:pt x="232" y="421"/>
                  </a:lnTo>
                  <a:lnTo>
                    <a:pt x="246" y="409"/>
                  </a:lnTo>
                  <a:lnTo>
                    <a:pt x="250" y="405"/>
                  </a:lnTo>
                  <a:lnTo>
                    <a:pt x="254" y="403"/>
                  </a:lnTo>
                  <a:lnTo>
                    <a:pt x="253" y="387"/>
                  </a:lnTo>
                  <a:lnTo>
                    <a:pt x="253" y="387"/>
                  </a:lnTo>
                  <a:lnTo>
                    <a:pt x="232" y="376"/>
                  </a:lnTo>
                  <a:lnTo>
                    <a:pt x="232" y="376"/>
                  </a:lnTo>
                  <a:lnTo>
                    <a:pt x="229" y="374"/>
                  </a:lnTo>
                  <a:lnTo>
                    <a:pt x="226" y="371"/>
                  </a:lnTo>
                  <a:lnTo>
                    <a:pt x="228" y="365"/>
                  </a:lnTo>
                  <a:lnTo>
                    <a:pt x="231" y="360"/>
                  </a:lnTo>
                  <a:lnTo>
                    <a:pt x="231" y="360"/>
                  </a:lnTo>
                  <a:lnTo>
                    <a:pt x="234" y="357"/>
                  </a:lnTo>
                  <a:lnTo>
                    <a:pt x="238" y="356"/>
                  </a:lnTo>
                  <a:lnTo>
                    <a:pt x="253" y="350"/>
                  </a:lnTo>
                  <a:lnTo>
                    <a:pt x="268" y="347"/>
                  </a:lnTo>
                  <a:lnTo>
                    <a:pt x="280" y="345"/>
                  </a:lnTo>
                  <a:lnTo>
                    <a:pt x="280" y="345"/>
                  </a:lnTo>
                  <a:lnTo>
                    <a:pt x="286" y="342"/>
                  </a:lnTo>
                  <a:lnTo>
                    <a:pt x="287" y="342"/>
                  </a:lnTo>
                  <a:lnTo>
                    <a:pt x="287" y="341"/>
                  </a:lnTo>
                  <a:lnTo>
                    <a:pt x="284" y="338"/>
                  </a:lnTo>
                  <a:lnTo>
                    <a:pt x="281" y="335"/>
                  </a:lnTo>
                  <a:lnTo>
                    <a:pt x="281" y="335"/>
                  </a:lnTo>
                  <a:lnTo>
                    <a:pt x="277" y="332"/>
                  </a:lnTo>
                  <a:lnTo>
                    <a:pt x="275" y="328"/>
                  </a:lnTo>
                  <a:lnTo>
                    <a:pt x="275" y="322"/>
                  </a:lnTo>
                  <a:lnTo>
                    <a:pt x="277" y="314"/>
                  </a:lnTo>
                  <a:lnTo>
                    <a:pt x="277" y="314"/>
                  </a:lnTo>
                  <a:lnTo>
                    <a:pt x="277" y="308"/>
                  </a:lnTo>
                  <a:lnTo>
                    <a:pt x="275" y="302"/>
                  </a:lnTo>
                  <a:lnTo>
                    <a:pt x="275" y="298"/>
                  </a:lnTo>
                  <a:lnTo>
                    <a:pt x="277" y="295"/>
                  </a:lnTo>
                  <a:lnTo>
                    <a:pt x="278" y="294"/>
                  </a:lnTo>
                  <a:lnTo>
                    <a:pt x="278" y="294"/>
                  </a:lnTo>
                  <a:lnTo>
                    <a:pt x="280" y="294"/>
                  </a:lnTo>
                  <a:lnTo>
                    <a:pt x="281" y="294"/>
                  </a:lnTo>
                  <a:lnTo>
                    <a:pt x="284" y="297"/>
                  </a:lnTo>
                  <a:lnTo>
                    <a:pt x="289" y="302"/>
                  </a:lnTo>
                  <a:lnTo>
                    <a:pt x="289" y="302"/>
                  </a:lnTo>
                  <a:lnTo>
                    <a:pt x="291" y="304"/>
                  </a:lnTo>
                  <a:lnTo>
                    <a:pt x="294" y="304"/>
                  </a:lnTo>
                  <a:lnTo>
                    <a:pt x="306" y="298"/>
                  </a:lnTo>
                  <a:lnTo>
                    <a:pt x="306" y="298"/>
                  </a:lnTo>
                  <a:lnTo>
                    <a:pt x="309" y="297"/>
                  </a:lnTo>
                  <a:lnTo>
                    <a:pt x="312" y="298"/>
                  </a:lnTo>
                  <a:lnTo>
                    <a:pt x="317" y="304"/>
                  </a:lnTo>
                  <a:lnTo>
                    <a:pt x="317" y="304"/>
                  </a:lnTo>
                  <a:lnTo>
                    <a:pt x="321" y="305"/>
                  </a:lnTo>
                  <a:lnTo>
                    <a:pt x="327" y="305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301"/>
                  </a:lnTo>
                  <a:lnTo>
                    <a:pt x="339" y="298"/>
                  </a:lnTo>
                  <a:lnTo>
                    <a:pt x="340" y="289"/>
                  </a:lnTo>
                  <a:lnTo>
                    <a:pt x="342" y="277"/>
                  </a:lnTo>
                  <a:lnTo>
                    <a:pt x="340" y="264"/>
                  </a:lnTo>
                  <a:lnTo>
                    <a:pt x="340" y="264"/>
                  </a:lnTo>
                  <a:lnTo>
                    <a:pt x="339" y="251"/>
                  </a:lnTo>
                  <a:lnTo>
                    <a:pt x="342" y="237"/>
                  </a:lnTo>
                  <a:lnTo>
                    <a:pt x="343" y="225"/>
                  </a:lnTo>
                  <a:lnTo>
                    <a:pt x="345" y="220"/>
                  </a:lnTo>
                  <a:lnTo>
                    <a:pt x="345" y="220"/>
                  </a:lnTo>
                  <a:lnTo>
                    <a:pt x="351" y="220"/>
                  </a:lnTo>
                  <a:lnTo>
                    <a:pt x="363" y="220"/>
                  </a:lnTo>
                  <a:lnTo>
                    <a:pt x="373" y="220"/>
                  </a:lnTo>
                  <a:lnTo>
                    <a:pt x="376" y="218"/>
                  </a:lnTo>
                  <a:lnTo>
                    <a:pt x="376" y="218"/>
                  </a:lnTo>
                  <a:lnTo>
                    <a:pt x="366" y="214"/>
                  </a:lnTo>
                  <a:lnTo>
                    <a:pt x="355" y="209"/>
                  </a:lnTo>
                  <a:lnTo>
                    <a:pt x="346" y="202"/>
                  </a:lnTo>
                  <a:lnTo>
                    <a:pt x="346" y="202"/>
                  </a:lnTo>
                  <a:lnTo>
                    <a:pt x="339" y="196"/>
                  </a:lnTo>
                  <a:lnTo>
                    <a:pt x="339" y="191"/>
                  </a:lnTo>
                  <a:lnTo>
                    <a:pt x="339" y="188"/>
                  </a:lnTo>
                  <a:lnTo>
                    <a:pt x="339" y="185"/>
                  </a:lnTo>
                  <a:lnTo>
                    <a:pt x="337" y="182"/>
                  </a:lnTo>
                  <a:lnTo>
                    <a:pt x="337" y="182"/>
                  </a:lnTo>
                  <a:lnTo>
                    <a:pt x="336" y="178"/>
                  </a:lnTo>
                  <a:lnTo>
                    <a:pt x="334" y="175"/>
                  </a:lnTo>
                  <a:lnTo>
                    <a:pt x="336" y="168"/>
                  </a:lnTo>
                  <a:lnTo>
                    <a:pt x="339" y="16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43" y="141"/>
                  </a:lnTo>
                  <a:lnTo>
                    <a:pt x="345" y="137"/>
                  </a:lnTo>
                  <a:lnTo>
                    <a:pt x="349" y="132"/>
                  </a:lnTo>
                  <a:lnTo>
                    <a:pt x="349" y="132"/>
                  </a:lnTo>
                  <a:lnTo>
                    <a:pt x="358" y="122"/>
                  </a:lnTo>
                  <a:lnTo>
                    <a:pt x="364" y="117"/>
                  </a:lnTo>
                  <a:lnTo>
                    <a:pt x="367" y="113"/>
                  </a:lnTo>
                  <a:lnTo>
                    <a:pt x="367" y="113"/>
                  </a:lnTo>
                  <a:lnTo>
                    <a:pt x="364" y="111"/>
                  </a:lnTo>
                  <a:lnTo>
                    <a:pt x="361" y="108"/>
                  </a:lnTo>
                  <a:lnTo>
                    <a:pt x="358" y="104"/>
                  </a:lnTo>
                  <a:lnTo>
                    <a:pt x="355" y="98"/>
                  </a:lnTo>
                  <a:lnTo>
                    <a:pt x="355" y="98"/>
                  </a:lnTo>
                  <a:lnTo>
                    <a:pt x="354" y="83"/>
                  </a:lnTo>
                  <a:lnTo>
                    <a:pt x="352" y="76"/>
                  </a:lnTo>
                  <a:lnTo>
                    <a:pt x="349" y="70"/>
                  </a:lnTo>
                  <a:lnTo>
                    <a:pt x="349" y="70"/>
                  </a:lnTo>
                  <a:lnTo>
                    <a:pt x="348" y="67"/>
                  </a:lnTo>
                  <a:lnTo>
                    <a:pt x="343" y="67"/>
                  </a:lnTo>
                  <a:lnTo>
                    <a:pt x="340" y="67"/>
                  </a:lnTo>
                  <a:lnTo>
                    <a:pt x="336" y="67"/>
                  </a:lnTo>
                  <a:lnTo>
                    <a:pt x="336" y="67"/>
                  </a:lnTo>
                  <a:lnTo>
                    <a:pt x="333" y="65"/>
                  </a:lnTo>
                  <a:lnTo>
                    <a:pt x="330" y="61"/>
                  </a:lnTo>
                  <a:lnTo>
                    <a:pt x="329" y="57"/>
                  </a:lnTo>
                  <a:lnTo>
                    <a:pt x="329" y="49"/>
                  </a:lnTo>
                  <a:lnTo>
                    <a:pt x="329" y="49"/>
                  </a:lnTo>
                  <a:lnTo>
                    <a:pt x="330" y="43"/>
                  </a:lnTo>
                  <a:lnTo>
                    <a:pt x="330" y="39"/>
                  </a:lnTo>
                  <a:lnTo>
                    <a:pt x="329" y="34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3" y="31"/>
                  </a:lnTo>
                  <a:lnTo>
                    <a:pt x="320" y="34"/>
                  </a:lnTo>
                  <a:lnTo>
                    <a:pt x="317" y="37"/>
                  </a:lnTo>
                  <a:lnTo>
                    <a:pt x="315" y="42"/>
                  </a:lnTo>
                  <a:lnTo>
                    <a:pt x="315" y="42"/>
                  </a:lnTo>
                  <a:lnTo>
                    <a:pt x="315" y="45"/>
                  </a:lnTo>
                  <a:lnTo>
                    <a:pt x="314" y="48"/>
                  </a:lnTo>
                  <a:lnTo>
                    <a:pt x="306" y="51"/>
                  </a:lnTo>
                  <a:lnTo>
                    <a:pt x="306" y="51"/>
                  </a:lnTo>
                  <a:lnTo>
                    <a:pt x="296" y="54"/>
                  </a:lnTo>
                  <a:lnTo>
                    <a:pt x="291" y="54"/>
                  </a:lnTo>
                  <a:lnTo>
                    <a:pt x="290" y="54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7" y="48"/>
                  </a:lnTo>
                  <a:lnTo>
                    <a:pt x="287" y="43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84" y="33"/>
                  </a:lnTo>
                  <a:lnTo>
                    <a:pt x="281" y="31"/>
                  </a:lnTo>
                  <a:lnTo>
                    <a:pt x="280" y="31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1" y="34"/>
                  </a:lnTo>
                  <a:lnTo>
                    <a:pt x="268" y="33"/>
                  </a:lnTo>
                  <a:lnTo>
                    <a:pt x="260" y="30"/>
                  </a:lnTo>
                  <a:lnTo>
                    <a:pt x="260" y="30"/>
                  </a:lnTo>
                  <a:lnTo>
                    <a:pt x="256" y="28"/>
                  </a:lnTo>
                  <a:lnTo>
                    <a:pt x="252" y="28"/>
                  </a:lnTo>
                  <a:lnTo>
                    <a:pt x="246" y="30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4" y="33"/>
                  </a:lnTo>
                  <a:lnTo>
                    <a:pt x="226" y="36"/>
                  </a:lnTo>
                  <a:lnTo>
                    <a:pt x="217" y="40"/>
                  </a:lnTo>
                  <a:lnTo>
                    <a:pt x="217" y="40"/>
                  </a:lnTo>
                  <a:lnTo>
                    <a:pt x="219" y="46"/>
                  </a:lnTo>
                  <a:lnTo>
                    <a:pt x="219" y="52"/>
                  </a:lnTo>
                  <a:lnTo>
                    <a:pt x="219" y="52"/>
                  </a:lnTo>
                  <a:lnTo>
                    <a:pt x="217" y="61"/>
                  </a:lnTo>
                  <a:lnTo>
                    <a:pt x="216" y="68"/>
                  </a:lnTo>
                  <a:lnTo>
                    <a:pt x="216" y="74"/>
                  </a:lnTo>
                  <a:lnTo>
                    <a:pt x="216" y="76"/>
                  </a:lnTo>
                  <a:lnTo>
                    <a:pt x="217" y="77"/>
                  </a:lnTo>
                  <a:lnTo>
                    <a:pt x="217" y="77"/>
                  </a:lnTo>
                  <a:lnTo>
                    <a:pt x="222" y="79"/>
                  </a:lnTo>
                  <a:lnTo>
                    <a:pt x="226" y="77"/>
                  </a:lnTo>
                  <a:lnTo>
                    <a:pt x="234" y="71"/>
                  </a:lnTo>
                  <a:lnTo>
                    <a:pt x="234" y="71"/>
                  </a:lnTo>
                  <a:lnTo>
                    <a:pt x="238" y="68"/>
                  </a:lnTo>
                  <a:lnTo>
                    <a:pt x="244" y="65"/>
                  </a:lnTo>
                  <a:lnTo>
                    <a:pt x="247" y="64"/>
                  </a:lnTo>
                  <a:lnTo>
                    <a:pt x="250" y="64"/>
                  </a:lnTo>
                  <a:lnTo>
                    <a:pt x="252" y="65"/>
                  </a:lnTo>
                  <a:lnTo>
                    <a:pt x="253" y="68"/>
                  </a:lnTo>
                  <a:lnTo>
                    <a:pt x="253" y="68"/>
                  </a:lnTo>
                  <a:lnTo>
                    <a:pt x="253" y="70"/>
                  </a:lnTo>
                  <a:lnTo>
                    <a:pt x="252" y="73"/>
                  </a:lnTo>
                  <a:lnTo>
                    <a:pt x="246" y="80"/>
                  </a:lnTo>
                  <a:lnTo>
                    <a:pt x="228" y="95"/>
                  </a:lnTo>
                  <a:lnTo>
                    <a:pt x="209" y="110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1" y="120"/>
                  </a:lnTo>
                  <a:lnTo>
                    <a:pt x="183" y="119"/>
                  </a:lnTo>
                  <a:lnTo>
                    <a:pt x="172" y="113"/>
                  </a:lnTo>
                  <a:lnTo>
                    <a:pt x="167" y="111"/>
                  </a:lnTo>
                  <a:lnTo>
                    <a:pt x="163" y="110"/>
                  </a:lnTo>
                  <a:lnTo>
                    <a:pt x="160" y="111"/>
                  </a:lnTo>
                  <a:lnTo>
                    <a:pt x="157" y="116"/>
                  </a:lnTo>
                  <a:lnTo>
                    <a:pt x="157" y="116"/>
                  </a:lnTo>
                  <a:lnTo>
                    <a:pt x="155" y="123"/>
                  </a:lnTo>
                  <a:lnTo>
                    <a:pt x="151" y="129"/>
                  </a:lnTo>
                  <a:lnTo>
                    <a:pt x="146" y="135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37" y="138"/>
                  </a:lnTo>
                  <a:lnTo>
                    <a:pt x="133" y="138"/>
                  </a:lnTo>
                  <a:lnTo>
                    <a:pt x="127" y="137"/>
                  </a:lnTo>
                  <a:lnTo>
                    <a:pt x="121" y="134"/>
                  </a:lnTo>
                  <a:lnTo>
                    <a:pt x="117" y="131"/>
                  </a:lnTo>
                  <a:lnTo>
                    <a:pt x="112" y="126"/>
                  </a:lnTo>
                  <a:lnTo>
                    <a:pt x="109" y="12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04"/>
                  </a:lnTo>
                  <a:lnTo>
                    <a:pt x="106" y="94"/>
                  </a:lnTo>
                  <a:lnTo>
                    <a:pt x="103" y="85"/>
                  </a:lnTo>
                  <a:lnTo>
                    <a:pt x="100" y="79"/>
                  </a:lnTo>
                  <a:lnTo>
                    <a:pt x="100" y="79"/>
                  </a:lnTo>
                  <a:lnTo>
                    <a:pt x="98" y="76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7"/>
                  </a:lnTo>
                  <a:lnTo>
                    <a:pt x="87" y="76"/>
                  </a:lnTo>
                  <a:lnTo>
                    <a:pt x="84" y="71"/>
                  </a:lnTo>
                  <a:lnTo>
                    <a:pt x="81" y="64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1" y="49"/>
                  </a:lnTo>
                  <a:lnTo>
                    <a:pt x="83" y="39"/>
                  </a:lnTo>
                  <a:lnTo>
                    <a:pt x="84" y="30"/>
                  </a:lnTo>
                  <a:lnTo>
                    <a:pt x="84" y="25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2" y="18"/>
                  </a:lnTo>
                  <a:lnTo>
                    <a:pt x="41" y="30"/>
                  </a:lnTo>
                  <a:lnTo>
                    <a:pt x="37" y="33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23" y="24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0" y="23"/>
                  </a:lnTo>
                  <a:lnTo>
                    <a:pt x="6" y="25"/>
                  </a:lnTo>
                  <a:lnTo>
                    <a:pt x="3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3" y="42"/>
                  </a:lnTo>
                  <a:lnTo>
                    <a:pt x="4" y="48"/>
                  </a:lnTo>
                  <a:lnTo>
                    <a:pt x="9" y="54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5" y="61"/>
                  </a:lnTo>
                  <a:lnTo>
                    <a:pt x="18" y="60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31" y="51"/>
                  </a:lnTo>
                  <a:lnTo>
                    <a:pt x="34" y="51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0" y="55"/>
                  </a:lnTo>
                  <a:lnTo>
                    <a:pt x="40" y="60"/>
                  </a:lnTo>
                  <a:lnTo>
                    <a:pt x="37" y="65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1" y="74"/>
                  </a:lnTo>
                  <a:lnTo>
                    <a:pt x="31" y="77"/>
                  </a:lnTo>
                  <a:lnTo>
                    <a:pt x="34" y="79"/>
                  </a:lnTo>
                  <a:lnTo>
                    <a:pt x="37" y="80"/>
                  </a:lnTo>
                  <a:lnTo>
                    <a:pt x="47" y="82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65" y="88"/>
                  </a:lnTo>
                  <a:lnTo>
                    <a:pt x="71" y="89"/>
                  </a:lnTo>
                  <a:lnTo>
                    <a:pt x="77" y="89"/>
                  </a:lnTo>
                  <a:lnTo>
                    <a:pt x="80" y="91"/>
                  </a:lnTo>
                  <a:lnTo>
                    <a:pt x="80" y="91"/>
                  </a:lnTo>
                  <a:lnTo>
                    <a:pt x="84" y="98"/>
                  </a:lnTo>
                  <a:lnTo>
                    <a:pt x="90" y="110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2" y="148"/>
                  </a:lnTo>
                  <a:lnTo>
                    <a:pt x="105" y="157"/>
                  </a:lnTo>
                  <a:lnTo>
                    <a:pt x="112" y="172"/>
                  </a:lnTo>
                  <a:lnTo>
                    <a:pt x="112" y="172"/>
                  </a:lnTo>
                  <a:lnTo>
                    <a:pt x="112" y="175"/>
                  </a:lnTo>
                  <a:lnTo>
                    <a:pt x="112" y="178"/>
                  </a:lnTo>
                  <a:lnTo>
                    <a:pt x="109" y="184"/>
                  </a:lnTo>
                  <a:lnTo>
                    <a:pt x="105" y="191"/>
                  </a:lnTo>
                  <a:lnTo>
                    <a:pt x="100" y="199"/>
                  </a:lnTo>
                  <a:lnTo>
                    <a:pt x="100" y="199"/>
                  </a:lnTo>
                  <a:lnTo>
                    <a:pt x="98" y="208"/>
                  </a:lnTo>
                  <a:lnTo>
                    <a:pt x="98" y="215"/>
                  </a:lnTo>
                  <a:lnTo>
                    <a:pt x="98" y="230"/>
                  </a:lnTo>
                  <a:lnTo>
                    <a:pt x="98" y="230"/>
                  </a:lnTo>
                  <a:lnTo>
                    <a:pt x="99" y="239"/>
                  </a:lnTo>
                  <a:lnTo>
                    <a:pt x="102" y="251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11" y="291"/>
                  </a:lnTo>
                  <a:lnTo>
                    <a:pt x="115" y="313"/>
                  </a:lnTo>
                  <a:lnTo>
                    <a:pt x="115" y="313"/>
                  </a:lnTo>
                  <a:lnTo>
                    <a:pt x="115" y="323"/>
                  </a:lnTo>
                  <a:lnTo>
                    <a:pt x="115" y="334"/>
                  </a:lnTo>
                  <a:lnTo>
                    <a:pt x="114" y="345"/>
                  </a:lnTo>
                  <a:lnTo>
                    <a:pt x="114" y="3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id="{CF3C680B-FC74-1F43-97E3-FB4BED5AC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088" y="6621463"/>
              <a:ext cx="234950" cy="177800"/>
            </a:xfrm>
            <a:custGeom>
              <a:avLst/>
              <a:gdLst>
                <a:gd name="T0" fmla="*/ 146 w 148"/>
                <a:gd name="T1" fmla="*/ 26 h 112"/>
                <a:gd name="T2" fmla="*/ 146 w 148"/>
                <a:gd name="T3" fmla="*/ 15 h 112"/>
                <a:gd name="T4" fmla="*/ 148 w 148"/>
                <a:gd name="T5" fmla="*/ 9 h 112"/>
                <a:gd name="T6" fmla="*/ 146 w 148"/>
                <a:gd name="T7" fmla="*/ 5 h 112"/>
                <a:gd name="T8" fmla="*/ 143 w 148"/>
                <a:gd name="T9" fmla="*/ 3 h 112"/>
                <a:gd name="T10" fmla="*/ 129 w 148"/>
                <a:gd name="T11" fmla="*/ 5 h 112"/>
                <a:gd name="T12" fmla="*/ 123 w 148"/>
                <a:gd name="T13" fmla="*/ 3 h 112"/>
                <a:gd name="T14" fmla="*/ 118 w 148"/>
                <a:gd name="T15" fmla="*/ 0 h 112"/>
                <a:gd name="T16" fmla="*/ 112 w 148"/>
                <a:gd name="T17" fmla="*/ 9 h 112"/>
                <a:gd name="T18" fmla="*/ 105 w 148"/>
                <a:gd name="T19" fmla="*/ 11 h 112"/>
                <a:gd name="T20" fmla="*/ 93 w 148"/>
                <a:gd name="T21" fmla="*/ 3 h 112"/>
                <a:gd name="T22" fmla="*/ 83 w 148"/>
                <a:gd name="T23" fmla="*/ 0 h 112"/>
                <a:gd name="T24" fmla="*/ 78 w 148"/>
                <a:gd name="T25" fmla="*/ 3 h 112"/>
                <a:gd name="T26" fmla="*/ 71 w 148"/>
                <a:gd name="T27" fmla="*/ 11 h 112"/>
                <a:gd name="T28" fmla="*/ 71 w 148"/>
                <a:gd name="T29" fmla="*/ 17 h 112"/>
                <a:gd name="T30" fmla="*/ 68 w 148"/>
                <a:gd name="T31" fmla="*/ 42 h 112"/>
                <a:gd name="T32" fmla="*/ 59 w 148"/>
                <a:gd name="T33" fmla="*/ 63 h 112"/>
                <a:gd name="T34" fmla="*/ 57 w 148"/>
                <a:gd name="T35" fmla="*/ 66 h 112"/>
                <a:gd name="T36" fmla="*/ 46 w 148"/>
                <a:gd name="T37" fmla="*/ 61 h 112"/>
                <a:gd name="T38" fmla="*/ 40 w 148"/>
                <a:gd name="T39" fmla="*/ 58 h 112"/>
                <a:gd name="T40" fmla="*/ 0 w 148"/>
                <a:gd name="T41" fmla="*/ 63 h 112"/>
                <a:gd name="T42" fmla="*/ 13 w 148"/>
                <a:gd name="T43" fmla="*/ 72 h 112"/>
                <a:gd name="T44" fmla="*/ 23 w 148"/>
                <a:gd name="T45" fmla="*/ 77 h 112"/>
                <a:gd name="T46" fmla="*/ 37 w 148"/>
                <a:gd name="T47" fmla="*/ 94 h 112"/>
                <a:gd name="T48" fmla="*/ 41 w 148"/>
                <a:gd name="T49" fmla="*/ 106 h 112"/>
                <a:gd name="T50" fmla="*/ 43 w 148"/>
                <a:gd name="T51" fmla="*/ 112 h 112"/>
                <a:gd name="T52" fmla="*/ 65 w 148"/>
                <a:gd name="T53" fmla="*/ 94 h 112"/>
                <a:gd name="T54" fmla="*/ 71 w 148"/>
                <a:gd name="T55" fmla="*/ 91 h 112"/>
                <a:gd name="T56" fmla="*/ 83 w 148"/>
                <a:gd name="T57" fmla="*/ 89 h 112"/>
                <a:gd name="T58" fmla="*/ 90 w 148"/>
                <a:gd name="T59" fmla="*/ 85 h 112"/>
                <a:gd name="T60" fmla="*/ 99 w 148"/>
                <a:gd name="T61" fmla="*/ 75 h 112"/>
                <a:gd name="T62" fmla="*/ 106 w 148"/>
                <a:gd name="T63" fmla="*/ 66 h 112"/>
                <a:gd name="T64" fmla="*/ 111 w 148"/>
                <a:gd name="T65" fmla="*/ 61 h 112"/>
                <a:gd name="T66" fmla="*/ 127 w 148"/>
                <a:gd name="T67" fmla="*/ 42 h 112"/>
                <a:gd name="T68" fmla="*/ 133 w 148"/>
                <a:gd name="T69" fmla="*/ 37 h 112"/>
                <a:gd name="T70" fmla="*/ 143 w 148"/>
                <a:gd name="T71" fmla="*/ 30 h 112"/>
                <a:gd name="T72" fmla="*/ 146 w 148"/>
                <a:gd name="T73" fmla="*/ 2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12">
                  <a:moveTo>
                    <a:pt x="146" y="26"/>
                  </a:moveTo>
                  <a:lnTo>
                    <a:pt x="146" y="26"/>
                  </a:lnTo>
                  <a:lnTo>
                    <a:pt x="146" y="20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8" y="9"/>
                  </a:lnTo>
                  <a:lnTo>
                    <a:pt x="148" y="6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3" y="3"/>
                  </a:lnTo>
                  <a:lnTo>
                    <a:pt x="137" y="3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3" y="3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5" y="5"/>
                  </a:lnTo>
                  <a:lnTo>
                    <a:pt x="112" y="9"/>
                  </a:lnTo>
                  <a:lnTo>
                    <a:pt x="108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3" y="3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8" y="3"/>
                  </a:lnTo>
                  <a:lnTo>
                    <a:pt x="74" y="6"/>
                  </a:lnTo>
                  <a:lnTo>
                    <a:pt x="71" y="11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68" y="42"/>
                  </a:lnTo>
                  <a:lnTo>
                    <a:pt x="62" y="58"/>
                  </a:lnTo>
                  <a:lnTo>
                    <a:pt x="59" y="63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2" y="64"/>
                  </a:lnTo>
                  <a:lnTo>
                    <a:pt x="46" y="61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6" y="67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23" y="77"/>
                  </a:lnTo>
                  <a:lnTo>
                    <a:pt x="32" y="88"/>
                  </a:lnTo>
                  <a:lnTo>
                    <a:pt x="37" y="94"/>
                  </a:lnTo>
                  <a:lnTo>
                    <a:pt x="40" y="100"/>
                  </a:lnTo>
                  <a:lnTo>
                    <a:pt x="41" y="106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52" y="104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71" y="91"/>
                  </a:lnTo>
                  <a:lnTo>
                    <a:pt x="77" y="91"/>
                  </a:lnTo>
                  <a:lnTo>
                    <a:pt x="83" y="89"/>
                  </a:lnTo>
                  <a:lnTo>
                    <a:pt x="90" y="85"/>
                  </a:lnTo>
                  <a:lnTo>
                    <a:pt x="90" y="85"/>
                  </a:lnTo>
                  <a:lnTo>
                    <a:pt x="94" y="80"/>
                  </a:lnTo>
                  <a:lnTo>
                    <a:pt x="99" y="75"/>
                  </a:lnTo>
                  <a:lnTo>
                    <a:pt x="102" y="69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11" y="61"/>
                  </a:lnTo>
                  <a:lnTo>
                    <a:pt x="115" y="55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33" y="37"/>
                  </a:lnTo>
                  <a:lnTo>
                    <a:pt x="139" y="33"/>
                  </a:lnTo>
                  <a:lnTo>
                    <a:pt x="143" y="30"/>
                  </a:lnTo>
                  <a:lnTo>
                    <a:pt x="146" y="26"/>
                  </a:lnTo>
                  <a:lnTo>
                    <a:pt x="14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id="{6A905649-C53D-0040-90B3-57928723A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6567488"/>
              <a:ext cx="446088" cy="666750"/>
            </a:xfrm>
            <a:custGeom>
              <a:avLst/>
              <a:gdLst>
                <a:gd name="T0" fmla="*/ 115 w 281"/>
                <a:gd name="T1" fmla="*/ 188 h 420"/>
                <a:gd name="T2" fmla="*/ 98 w 281"/>
                <a:gd name="T3" fmla="*/ 181 h 420"/>
                <a:gd name="T4" fmla="*/ 90 w 281"/>
                <a:gd name="T5" fmla="*/ 183 h 420"/>
                <a:gd name="T6" fmla="*/ 72 w 281"/>
                <a:gd name="T7" fmla="*/ 193 h 420"/>
                <a:gd name="T8" fmla="*/ 53 w 281"/>
                <a:gd name="T9" fmla="*/ 197 h 420"/>
                <a:gd name="T10" fmla="*/ 7 w 281"/>
                <a:gd name="T11" fmla="*/ 193 h 420"/>
                <a:gd name="T12" fmla="*/ 1 w 281"/>
                <a:gd name="T13" fmla="*/ 205 h 420"/>
                <a:gd name="T14" fmla="*/ 1 w 281"/>
                <a:gd name="T15" fmla="*/ 226 h 420"/>
                <a:gd name="T16" fmla="*/ 10 w 281"/>
                <a:gd name="T17" fmla="*/ 254 h 420"/>
                <a:gd name="T18" fmla="*/ 21 w 281"/>
                <a:gd name="T19" fmla="*/ 292 h 420"/>
                <a:gd name="T20" fmla="*/ 27 w 281"/>
                <a:gd name="T21" fmla="*/ 347 h 420"/>
                <a:gd name="T22" fmla="*/ 24 w 281"/>
                <a:gd name="T23" fmla="*/ 378 h 420"/>
                <a:gd name="T24" fmla="*/ 29 w 281"/>
                <a:gd name="T25" fmla="*/ 400 h 420"/>
                <a:gd name="T26" fmla="*/ 41 w 281"/>
                <a:gd name="T27" fmla="*/ 408 h 420"/>
                <a:gd name="T28" fmla="*/ 55 w 281"/>
                <a:gd name="T29" fmla="*/ 411 h 420"/>
                <a:gd name="T30" fmla="*/ 127 w 281"/>
                <a:gd name="T31" fmla="*/ 417 h 420"/>
                <a:gd name="T32" fmla="*/ 160 w 281"/>
                <a:gd name="T33" fmla="*/ 396 h 420"/>
                <a:gd name="T34" fmla="*/ 172 w 281"/>
                <a:gd name="T35" fmla="*/ 303 h 420"/>
                <a:gd name="T36" fmla="*/ 182 w 281"/>
                <a:gd name="T37" fmla="*/ 263 h 420"/>
                <a:gd name="T38" fmla="*/ 198 w 281"/>
                <a:gd name="T39" fmla="*/ 240 h 420"/>
                <a:gd name="T40" fmla="*/ 218 w 281"/>
                <a:gd name="T41" fmla="*/ 224 h 420"/>
                <a:gd name="T42" fmla="*/ 258 w 281"/>
                <a:gd name="T43" fmla="*/ 166 h 420"/>
                <a:gd name="T44" fmla="*/ 259 w 281"/>
                <a:gd name="T45" fmla="*/ 126 h 420"/>
                <a:gd name="T46" fmla="*/ 260 w 281"/>
                <a:gd name="T47" fmla="*/ 106 h 420"/>
                <a:gd name="T48" fmla="*/ 269 w 281"/>
                <a:gd name="T49" fmla="*/ 94 h 420"/>
                <a:gd name="T50" fmla="*/ 281 w 281"/>
                <a:gd name="T51" fmla="*/ 91 h 420"/>
                <a:gd name="T52" fmla="*/ 269 w 281"/>
                <a:gd name="T53" fmla="*/ 64 h 420"/>
                <a:gd name="T54" fmla="*/ 268 w 281"/>
                <a:gd name="T55" fmla="*/ 45 h 420"/>
                <a:gd name="T56" fmla="*/ 259 w 281"/>
                <a:gd name="T57" fmla="*/ 29 h 420"/>
                <a:gd name="T58" fmla="*/ 237 w 281"/>
                <a:gd name="T59" fmla="*/ 0 h 420"/>
                <a:gd name="T60" fmla="*/ 222 w 281"/>
                <a:gd name="T61" fmla="*/ 11 h 420"/>
                <a:gd name="T62" fmla="*/ 210 w 281"/>
                <a:gd name="T63" fmla="*/ 12 h 420"/>
                <a:gd name="T64" fmla="*/ 201 w 281"/>
                <a:gd name="T65" fmla="*/ 9 h 420"/>
                <a:gd name="T66" fmla="*/ 185 w 281"/>
                <a:gd name="T67" fmla="*/ 2 h 420"/>
                <a:gd name="T68" fmla="*/ 181 w 281"/>
                <a:gd name="T69" fmla="*/ 3 h 420"/>
                <a:gd name="T70" fmla="*/ 176 w 281"/>
                <a:gd name="T71" fmla="*/ 20 h 420"/>
                <a:gd name="T72" fmla="*/ 175 w 281"/>
                <a:gd name="T73" fmla="*/ 24 h 420"/>
                <a:gd name="T74" fmla="*/ 163 w 281"/>
                <a:gd name="T75" fmla="*/ 24 h 420"/>
                <a:gd name="T76" fmla="*/ 149 w 281"/>
                <a:gd name="T77" fmla="*/ 17 h 420"/>
                <a:gd name="T78" fmla="*/ 142 w 281"/>
                <a:gd name="T79" fmla="*/ 15 h 420"/>
                <a:gd name="T80" fmla="*/ 144 w 281"/>
                <a:gd name="T81" fmla="*/ 34 h 420"/>
                <a:gd name="T82" fmla="*/ 148 w 281"/>
                <a:gd name="T83" fmla="*/ 39 h 420"/>
                <a:gd name="T84" fmla="*/ 151 w 281"/>
                <a:gd name="T85" fmla="*/ 42 h 420"/>
                <a:gd name="T86" fmla="*/ 141 w 281"/>
                <a:gd name="T87" fmla="*/ 54 h 420"/>
                <a:gd name="T88" fmla="*/ 157 w 281"/>
                <a:gd name="T89" fmla="*/ 76 h 420"/>
                <a:gd name="T90" fmla="*/ 161 w 281"/>
                <a:gd name="T91" fmla="*/ 91 h 420"/>
                <a:gd name="T92" fmla="*/ 161 w 281"/>
                <a:gd name="T93" fmla="*/ 101 h 420"/>
                <a:gd name="T94" fmla="*/ 170 w 281"/>
                <a:gd name="T95" fmla="*/ 107 h 420"/>
                <a:gd name="T96" fmla="*/ 185 w 281"/>
                <a:gd name="T97" fmla="*/ 110 h 420"/>
                <a:gd name="T98" fmla="*/ 192 w 281"/>
                <a:gd name="T99" fmla="*/ 122 h 420"/>
                <a:gd name="T100" fmla="*/ 191 w 281"/>
                <a:gd name="T101" fmla="*/ 132 h 420"/>
                <a:gd name="T102" fmla="*/ 170 w 281"/>
                <a:gd name="T103" fmla="*/ 135 h 420"/>
                <a:gd name="T104" fmla="*/ 157 w 281"/>
                <a:gd name="T105" fmla="*/ 138 h 420"/>
                <a:gd name="T106" fmla="*/ 141 w 281"/>
                <a:gd name="T107" fmla="*/ 151 h 420"/>
                <a:gd name="T108" fmla="*/ 138 w 281"/>
                <a:gd name="T109" fmla="*/ 166 h 420"/>
                <a:gd name="T110" fmla="*/ 130 w 281"/>
                <a:gd name="T111" fmla="*/ 186 h 420"/>
                <a:gd name="T112" fmla="*/ 120 w 281"/>
                <a:gd name="T113" fmla="*/ 188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1" h="420">
                  <a:moveTo>
                    <a:pt x="120" y="188"/>
                  </a:moveTo>
                  <a:lnTo>
                    <a:pt x="120" y="188"/>
                  </a:lnTo>
                  <a:lnTo>
                    <a:pt x="115" y="188"/>
                  </a:lnTo>
                  <a:lnTo>
                    <a:pt x="111" y="188"/>
                  </a:lnTo>
                  <a:lnTo>
                    <a:pt x="104" y="184"/>
                  </a:lnTo>
                  <a:lnTo>
                    <a:pt x="98" y="181"/>
                  </a:lnTo>
                  <a:lnTo>
                    <a:pt x="93" y="181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83" y="186"/>
                  </a:lnTo>
                  <a:lnTo>
                    <a:pt x="78" y="188"/>
                  </a:lnTo>
                  <a:lnTo>
                    <a:pt x="72" y="193"/>
                  </a:lnTo>
                  <a:lnTo>
                    <a:pt x="65" y="196"/>
                  </a:lnTo>
                  <a:lnTo>
                    <a:pt x="65" y="196"/>
                  </a:lnTo>
                  <a:lnTo>
                    <a:pt x="53" y="197"/>
                  </a:lnTo>
                  <a:lnTo>
                    <a:pt x="41" y="199"/>
                  </a:lnTo>
                  <a:lnTo>
                    <a:pt x="27" y="199"/>
                  </a:lnTo>
                  <a:lnTo>
                    <a:pt x="7" y="193"/>
                  </a:lnTo>
                  <a:lnTo>
                    <a:pt x="7" y="193"/>
                  </a:lnTo>
                  <a:lnTo>
                    <a:pt x="4" y="197"/>
                  </a:lnTo>
                  <a:lnTo>
                    <a:pt x="1" y="205"/>
                  </a:lnTo>
                  <a:lnTo>
                    <a:pt x="1" y="205"/>
                  </a:lnTo>
                  <a:lnTo>
                    <a:pt x="0" y="214"/>
                  </a:lnTo>
                  <a:lnTo>
                    <a:pt x="1" y="226"/>
                  </a:lnTo>
                  <a:lnTo>
                    <a:pt x="4" y="239"/>
                  </a:lnTo>
                  <a:lnTo>
                    <a:pt x="10" y="254"/>
                  </a:lnTo>
                  <a:lnTo>
                    <a:pt x="10" y="254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21" y="292"/>
                  </a:lnTo>
                  <a:lnTo>
                    <a:pt x="25" y="313"/>
                  </a:lnTo>
                  <a:lnTo>
                    <a:pt x="27" y="331"/>
                  </a:lnTo>
                  <a:lnTo>
                    <a:pt x="27" y="347"/>
                  </a:lnTo>
                  <a:lnTo>
                    <a:pt x="27" y="347"/>
                  </a:lnTo>
                  <a:lnTo>
                    <a:pt x="24" y="368"/>
                  </a:lnTo>
                  <a:lnTo>
                    <a:pt x="24" y="378"/>
                  </a:lnTo>
                  <a:lnTo>
                    <a:pt x="24" y="387"/>
                  </a:lnTo>
                  <a:lnTo>
                    <a:pt x="27" y="396"/>
                  </a:lnTo>
                  <a:lnTo>
                    <a:pt x="29" y="400"/>
                  </a:lnTo>
                  <a:lnTo>
                    <a:pt x="32" y="403"/>
                  </a:lnTo>
                  <a:lnTo>
                    <a:pt x="37" y="406"/>
                  </a:lnTo>
                  <a:lnTo>
                    <a:pt x="41" y="408"/>
                  </a:lnTo>
                  <a:lnTo>
                    <a:pt x="47" y="409"/>
                  </a:lnTo>
                  <a:lnTo>
                    <a:pt x="55" y="411"/>
                  </a:lnTo>
                  <a:lnTo>
                    <a:pt x="55" y="411"/>
                  </a:lnTo>
                  <a:lnTo>
                    <a:pt x="104" y="415"/>
                  </a:lnTo>
                  <a:lnTo>
                    <a:pt x="127" y="417"/>
                  </a:lnTo>
                  <a:lnTo>
                    <a:pt x="127" y="417"/>
                  </a:lnTo>
                  <a:lnTo>
                    <a:pt x="157" y="420"/>
                  </a:lnTo>
                  <a:lnTo>
                    <a:pt x="157" y="420"/>
                  </a:lnTo>
                  <a:lnTo>
                    <a:pt x="160" y="396"/>
                  </a:lnTo>
                  <a:lnTo>
                    <a:pt x="160" y="396"/>
                  </a:lnTo>
                  <a:lnTo>
                    <a:pt x="166" y="347"/>
                  </a:lnTo>
                  <a:lnTo>
                    <a:pt x="172" y="303"/>
                  </a:lnTo>
                  <a:lnTo>
                    <a:pt x="172" y="303"/>
                  </a:lnTo>
                  <a:lnTo>
                    <a:pt x="175" y="282"/>
                  </a:lnTo>
                  <a:lnTo>
                    <a:pt x="182" y="263"/>
                  </a:lnTo>
                  <a:lnTo>
                    <a:pt x="186" y="255"/>
                  </a:lnTo>
                  <a:lnTo>
                    <a:pt x="192" y="248"/>
                  </a:lnTo>
                  <a:lnTo>
                    <a:pt x="198" y="240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18" y="224"/>
                  </a:lnTo>
                  <a:lnTo>
                    <a:pt x="229" y="214"/>
                  </a:lnTo>
                  <a:lnTo>
                    <a:pt x="240" y="202"/>
                  </a:lnTo>
                  <a:lnTo>
                    <a:pt x="258" y="166"/>
                  </a:lnTo>
                  <a:lnTo>
                    <a:pt x="258" y="166"/>
                  </a:lnTo>
                  <a:lnTo>
                    <a:pt x="259" y="151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59" y="116"/>
                  </a:lnTo>
                  <a:lnTo>
                    <a:pt x="260" y="106"/>
                  </a:lnTo>
                  <a:lnTo>
                    <a:pt x="262" y="101"/>
                  </a:lnTo>
                  <a:lnTo>
                    <a:pt x="265" y="97"/>
                  </a:lnTo>
                  <a:lnTo>
                    <a:pt x="269" y="94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4" y="74"/>
                  </a:lnTo>
                  <a:lnTo>
                    <a:pt x="269" y="64"/>
                  </a:lnTo>
                  <a:lnTo>
                    <a:pt x="269" y="54"/>
                  </a:lnTo>
                  <a:lnTo>
                    <a:pt x="269" y="54"/>
                  </a:lnTo>
                  <a:lnTo>
                    <a:pt x="268" y="45"/>
                  </a:lnTo>
                  <a:lnTo>
                    <a:pt x="266" y="39"/>
                  </a:lnTo>
                  <a:lnTo>
                    <a:pt x="263" y="33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46" y="12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32" y="3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206" y="11"/>
                  </a:lnTo>
                  <a:lnTo>
                    <a:pt x="201" y="9"/>
                  </a:lnTo>
                  <a:lnTo>
                    <a:pt x="201" y="9"/>
                  </a:lnTo>
                  <a:lnTo>
                    <a:pt x="194" y="5"/>
                  </a:lnTo>
                  <a:lnTo>
                    <a:pt x="189" y="2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2" y="2"/>
                  </a:lnTo>
                  <a:lnTo>
                    <a:pt x="181" y="3"/>
                  </a:lnTo>
                  <a:lnTo>
                    <a:pt x="178" y="8"/>
                  </a:lnTo>
                  <a:lnTo>
                    <a:pt x="176" y="14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75" y="23"/>
                  </a:lnTo>
                  <a:lnTo>
                    <a:pt x="175" y="24"/>
                  </a:lnTo>
                  <a:lnTo>
                    <a:pt x="170" y="26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9" y="17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2" y="15"/>
                  </a:lnTo>
                  <a:lnTo>
                    <a:pt x="141" y="15"/>
                  </a:lnTo>
                  <a:lnTo>
                    <a:pt x="141" y="21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5" y="37"/>
                  </a:lnTo>
                  <a:lnTo>
                    <a:pt x="148" y="39"/>
                  </a:lnTo>
                  <a:lnTo>
                    <a:pt x="149" y="39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6"/>
                  </a:lnTo>
                  <a:lnTo>
                    <a:pt x="148" y="49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51" y="66"/>
                  </a:lnTo>
                  <a:lnTo>
                    <a:pt x="157" y="76"/>
                  </a:lnTo>
                  <a:lnTo>
                    <a:pt x="161" y="85"/>
                  </a:lnTo>
                  <a:lnTo>
                    <a:pt x="161" y="85"/>
                  </a:lnTo>
                  <a:lnTo>
                    <a:pt x="161" y="91"/>
                  </a:lnTo>
                  <a:lnTo>
                    <a:pt x="161" y="95"/>
                  </a:lnTo>
                  <a:lnTo>
                    <a:pt x="160" y="100"/>
                  </a:lnTo>
                  <a:lnTo>
                    <a:pt x="161" y="101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70" y="107"/>
                  </a:lnTo>
                  <a:lnTo>
                    <a:pt x="176" y="109"/>
                  </a:lnTo>
                  <a:lnTo>
                    <a:pt x="181" y="109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8" y="114"/>
                  </a:lnTo>
                  <a:lnTo>
                    <a:pt x="192" y="122"/>
                  </a:lnTo>
                  <a:lnTo>
                    <a:pt x="192" y="126"/>
                  </a:lnTo>
                  <a:lnTo>
                    <a:pt x="192" y="129"/>
                  </a:lnTo>
                  <a:lnTo>
                    <a:pt x="191" y="132"/>
                  </a:lnTo>
                  <a:lnTo>
                    <a:pt x="186" y="134"/>
                  </a:lnTo>
                  <a:lnTo>
                    <a:pt x="186" y="134"/>
                  </a:lnTo>
                  <a:lnTo>
                    <a:pt x="170" y="135"/>
                  </a:lnTo>
                  <a:lnTo>
                    <a:pt x="163" y="137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1" y="141"/>
                  </a:lnTo>
                  <a:lnTo>
                    <a:pt x="145" y="146"/>
                  </a:lnTo>
                  <a:lnTo>
                    <a:pt x="141" y="151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8" y="166"/>
                  </a:lnTo>
                  <a:lnTo>
                    <a:pt x="135" y="177"/>
                  </a:lnTo>
                  <a:lnTo>
                    <a:pt x="133" y="181"/>
                  </a:lnTo>
                  <a:lnTo>
                    <a:pt x="130" y="186"/>
                  </a:lnTo>
                  <a:lnTo>
                    <a:pt x="126" y="188"/>
                  </a:lnTo>
                  <a:lnTo>
                    <a:pt x="120" y="188"/>
                  </a:lnTo>
                  <a:lnTo>
                    <a:pt x="120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id="{A19F70F2-90A3-B44D-A2A8-372DC766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9625" y="6981825"/>
              <a:ext cx="1843088" cy="1455737"/>
            </a:xfrm>
            <a:custGeom>
              <a:avLst/>
              <a:gdLst>
                <a:gd name="T0" fmla="*/ 1027 w 1161"/>
                <a:gd name="T1" fmla="*/ 34 h 917"/>
                <a:gd name="T2" fmla="*/ 1016 w 1161"/>
                <a:gd name="T3" fmla="*/ 15 h 917"/>
                <a:gd name="T4" fmla="*/ 974 w 1161"/>
                <a:gd name="T5" fmla="*/ 74 h 917"/>
                <a:gd name="T6" fmla="*/ 925 w 1161"/>
                <a:gd name="T7" fmla="*/ 108 h 917"/>
                <a:gd name="T8" fmla="*/ 884 w 1161"/>
                <a:gd name="T9" fmla="*/ 101 h 917"/>
                <a:gd name="T10" fmla="*/ 844 w 1161"/>
                <a:gd name="T11" fmla="*/ 82 h 917"/>
                <a:gd name="T12" fmla="*/ 820 w 1161"/>
                <a:gd name="T13" fmla="*/ 93 h 917"/>
                <a:gd name="T14" fmla="*/ 780 w 1161"/>
                <a:gd name="T15" fmla="*/ 90 h 917"/>
                <a:gd name="T16" fmla="*/ 762 w 1161"/>
                <a:gd name="T17" fmla="*/ 95 h 917"/>
                <a:gd name="T18" fmla="*/ 703 w 1161"/>
                <a:gd name="T19" fmla="*/ 110 h 917"/>
                <a:gd name="T20" fmla="*/ 677 w 1161"/>
                <a:gd name="T21" fmla="*/ 135 h 917"/>
                <a:gd name="T22" fmla="*/ 604 w 1161"/>
                <a:gd name="T23" fmla="*/ 170 h 917"/>
                <a:gd name="T24" fmla="*/ 623 w 1161"/>
                <a:gd name="T25" fmla="*/ 209 h 917"/>
                <a:gd name="T26" fmla="*/ 629 w 1161"/>
                <a:gd name="T27" fmla="*/ 230 h 917"/>
                <a:gd name="T28" fmla="*/ 622 w 1161"/>
                <a:gd name="T29" fmla="*/ 278 h 917"/>
                <a:gd name="T30" fmla="*/ 632 w 1161"/>
                <a:gd name="T31" fmla="*/ 327 h 917"/>
                <a:gd name="T32" fmla="*/ 642 w 1161"/>
                <a:gd name="T33" fmla="*/ 385 h 917"/>
                <a:gd name="T34" fmla="*/ 400 w 1161"/>
                <a:gd name="T35" fmla="*/ 776 h 917"/>
                <a:gd name="T36" fmla="*/ 340 w 1161"/>
                <a:gd name="T37" fmla="*/ 781 h 917"/>
                <a:gd name="T38" fmla="*/ 305 w 1161"/>
                <a:gd name="T39" fmla="*/ 748 h 917"/>
                <a:gd name="T40" fmla="*/ 283 w 1161"/>
                <a:gd name="T41" fmla="*/ 714 h 917"/>
                <a:gd name="T42" fmla="*/ 250 w 1161"/>
                <a:gd name="T43" fmla="*/ 675 h 917"/>
                <a:gd name="T44" fmla="*/ 209 w 1161"/>
                <a:gd name="T45" fmla="*/ 668 h 917"/>
                <a:gd name="T46" fmla="*/ 124 w 1161"/>
                <a:gd name="T47" fmla="*/ 600 h 917"/>
                <a:gd name="T48" fmla="*/ 120 w 1161"/>
                <a:gd name="T49" fmla="*/ 566 h 917"/>
                <a:gd name="T50" fmla="*/ 84 w 1161"/>
                <a:gd name="T51" fmla="*/ 558 h 917"/>
                <a:gd name="T52" fmla="*/ 31 w 1161"/>
                <a:gd name="T53" fmla="*/ 603 h 917"/>
                <a:gd name="T54" fmla="*/ 12 w 1161"/>
                <a:gd name="T55" fmla="*/ 618 h 917"/>
                <a:gd name="T56" fmla="*/ 3 w 1161"/>
                <a:gd name="T57" fmla="*/ 658 h 917"/>
                <a:gd name="T58" fmla="*/ 0 w 1161"/>
                <a:gd name="T59" fmla="*/ 695 h 917"/>
                <a:gd name="T60" fmla="*/ 32 w 1161"/>
                <a:gd name="T61" fmla="*/ 726 h 917"/>
                <a:gd name="T62" fmla="*/ 106 w 1161"/>
                <a:gd name="T63" fmla="*/ 748 h 917"/>
                <a:gd name="T64" fmla="*/ 200 w 1161"/>
                <a:gd name="T65" fmla="*/ 779 h 917"/>
                <a:gd name="T66" fmla="*/ 219 w 1161"/>
                <a:gd name="T67" fmla="*/ 815 h 917"/>
                <a:gd name="T68" fmla="*/ 256 w 1161"/>
                <a:gd name="T69" fmla="*/ 872 h 917"/>
                <a:gd name="T70" fmla="*/ 324 w 1161"/>
                <a:gd name="T71" fmla="*/ 906 h 917"/>
                <a:gd name="T72" fmla="*/ 422 w 1161"/>
                <a:gd name="T73" fmla="*/ 890 h 917"/>
                <a:gd name="T74" fmla="*/ 536 w 1161"/>
                <a:gd name="T75" fmla="*/ 881 h 917"/>
                <a:gd name="T76" fmla="*/ 600 w 1161"/>
                <a:gd name="T77" fmla="*/ 908 h 917"/>
                <a:gd name="T78" fmla="*/ 651 w 1161"/>
                <a:gd name="T79" fmla="*/ 858 h 917"/>
                <a:gd name="T80" fmla="*/ 688 w 1161"/>
                <a:gd name="T81" fmla="*/ 826 h 917"/>
                <a:gd name="T82" fmla="*/ 662 w 1161"/>
                <a:gd name="T83" fmla="*/ 792 h 917"/>
                <a:gd name="T84" fmla="*/ 674 w 1161"/>
                <a:gd name="T85" fmla="*/ 745 h 917"/>
                <a:gd name="T86" fmla="*/ 705 w 1161"/>
                <a:gd name="T87" fmla="*/ 718 h 917"/>
                <a:gd name="T88" fmla="*/ 768 w 1161"/>
                <a:gd name="T89" fmla="*/ 702 h 917"/>
                <a:gd name="T90" fmla="*/ 834 w 1161"/>
                <a:gd name="T91" fmla="*/ 689 h 917"/>
                <a:gd name="T92" fmla="*/ 888 w 1161"/>
                <a:gd name="T93" fmla="*/ 629 h 917"/>
                <a:gd name="T94" fmla="*/ 908 w 1161"/>
                <a:gd name="T95" fmla="*/ 594 h 917"/>
                <a:gd name="T96" fmla="*/ 946 w 1161"/>
                <a:gd name="T97" fmla="*/ 578 h 917"/>
                <a:gd name="T98" fmla="*/ 985 w 1161"/>
                <a:gd name="T99" fmla="*/ 557 h 917"/>
                <a:gd name="T100" fmla="*/ 1030 w 1161"/>
                <a:gd name="T101" fmla="*/ 523 h 917"/>
                <a:gd name="T102" fmla="*/ 1025 w 1161"/>
                <a:gd name="T103" fmla="*/ 474 h 917"/>
                <a:gd name="T104" fmla="*/ 996 w 1161"/>
                <a:gd name="T105" fmla="*/ 447 h 917"/>
                <a:gd name="T106" fmla="*/ 989 w 1161"/>
                <a:gd name="T107" fmla="*/ 422 h 917"/>
                <a:gd name="T108" fmla="*/ 1042 w 1161"/>
                <a:gd name="T109" fmla="*/ 391 h 917"/>
                <a:gd name="T110" fmla="*/ 1087 w 1161"/>
                <a:gd name="T111" fmla="*/ 314 h 917"/>
                <a:gd name="T112" fmla="*/ 1158 w 1161"/>
                <a:gd name="T113" fmla="*/ 247 h 917"/>
                <a:gd name="T114" fmla="*/ 1125 w 1161"/>
                <a:gd name="T115" fmla="*/ 206 h 917"/>
                <a:gd name="T116" fmla="*/ 1096 w 1161"/>
                <a:gd name="T117" fmla="*/ 197 h 917"/>
                <a:gd name="T118" fmla="*/ 1062 w 1161"/>
                <a:gd name="T119" fmla="*/ 161 h 917"/>
                <a:gd name="T120" fmla="*/ 1051 w 1161"/>
                <a:gd name="T121" fmla="*/ 123 h 917"/>
                <a:gd name="T122" fmla="*/ 1038 w 1161"/>
                <a:gd name="T123" fmla="*/ 95 h 917"/>
                <a:gd name="T124" fmla="*/ 1011 w 1161"/>
                <a:gd name="T125" fmla="*/ 6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1" h="917">
                  <a:moveTo>
                    <a:pt x="1020" y="56"/>
                  </a:moveTo>
                  <a:lnTo>
                    <a:pt x="1020" y="56"/>
                  </a:lnTo>
                  <a:lnTo>
                    <a:pt x="1022" y="52"/>
                  </a:lnTo>
                  <a:lnTo>
                    <a:pt x="1022" y="49"/>
                  </a:lnTo>
                  <a:lnTo>
                    <a:pt x="1022" y="40"/>
                  </a:lnTo>
                  <a:lnTo>
                    <a:pt x="1022" y="40"/>
                  </a:lnTo>
                  <a:lnTo>
                    <a:pt x="1022" y="37"/>
                  </a:lnTo>
                  <a:lnTo>
                    <a:pt x="1023" y="36"/>
                  </a:lnTo>
                  <a:lnTo>
                    <a:pt x="1026" y="36"/>
                  </a:lnTo>
                  <a:lnTo>
                    <a:pt x="1027" y="34"/>
                  </a:lnTo>
                  <a:lnTo>
                    <a:pt x="1027" y="34"/>
                  </a:lnTo>
                  <a:lnTo>
                    <a:pt x="1030" y="28"/>
                  </a:lnTo>
                  <a:lnTo>
                    <a:pt x="1041" y="10"/>
                  </a:lnTo>
                  <a:lnTo>
                    <a:pt x="1041" y="10"/>
                  </a:lnTo>
                  <a:lnTo>
                    <a:pt x="1044" y="6"/>
                  </a:lnTo>
                  <a:lnTo>
                    <a:pt x="1042" y="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6" y="0"/>
                  </a:lnTo>
                  <a:lnTo>
                    <a:pt x="1032" y="2"/>
                  </a:lnTo>
                  <a:lnTo>
                    <a:pt x="1032" y="2"/>
                  </a:lnTo>
                  <a:lnTo>
                    <a:pt x="1016" y="15"/>
                  </a:lnTo>
                  <a:lnTo>
                    <a:pt x="1008" y="21"/>
                  </a:lnTo>
                  <a:lnTo>
                    <a:pt x="1001" y="24"/>
                  </a:lnTo>
                  <a:lnTo>
                    <a:pt x="1001" y="24"/>
                  </a:lnTo>
                  <a:lnTo>
                    <a:pt x="982" y="25"/>
                  </a:lnTo>
                  <a:lnTo>
                    <a:pt x="974" y="28"/>
                  </a:lnTo>
                  <a:lnTo>
                    <a:pt x="971" y="30"/>
                  </a:lnTo>
                  <a:lnTo>
                    <a:pt x="971" y="33"/>
                  </a:lnTo>
                  <a:lnTo>
                    <a:pt x="971" y="33"/>
                  </a:lnTo>
                  <a:lnTo>
                    <a:pt x="974" y="58"/>
                  </a:lnTo>
                  <a:lnTo>
                    <a:pt x="974" y="67"/>
                  </a:lnTo>
                  <a:lnTo>
                    <a:pt x="974" y="74"/>
                  </a:lnTo>
                  <a:lnTo>
                    <a:pt x="973" y="79"/>
                  </a:lnTo>
                  <a:lnTo>
                    <a:pt x="971" y="80"/>
                  </a:lnTo>
                  <a:lnTo>
                    <a:pt x="970" y="80"/>
                  </a:lnTo>
                  <a:lnTo>
                    <a:pt x="970" y="80"/>
                  </a:lnTo>
                  <a:lnTo>
                    <a:pt x="952" y="83"/>
                  </a:lnTo>
                  <a:lnTo>
                    <a:pt x="945" y="86"/>
                  </a:lnTo>
                  <a:lnTo>
                    <a:pt x="940" y="89"/>
                  </a:lnTo>
                  <a:lnTo>
                    <a:pt x="940" y="89"/>
                  </a:lnTo>
                  <a:lnTo>
                    <a:pt x="933" y="102"/>
                  </a:lnTo>
                  <a:lnTo>
                    <a:pt x="927" y="108"/>
                  </a:lnTo>
                  <a:lnTo>
                    <a:pt x="925" y="108"/>
                  </a:lnTo>
                  <a:lnTo>
                    <a:pt x="922" y="108"/>
                  </a:lnTo>
                  <a:lnTo>
                    <a:pt x="922" y="108"/>
                  </a:lnTo>
                  <a:lnTo>
                    <a:pt x="919" y="105"/>
                  </a:lnTo>
                  <a:lnTo>
                    <a:pt x="916" y="102"/>
                  </a:lnTo>
                  <a:lnTo>
                    <a:pt x="915" y="99"/>
                  </a:lnTo>
                  <a:lnTo>
                    <a:pt x="909" y="98"/>
                  </a:lnTo>
                  <a:lnTo>
                    <a:pt x="909" y="98"/>
                  </a:lnTo>
                  <a:lnTo>
                    <a:pt x="902" y="98"/>
                  </a:lnTo>
                  <a:lnTo>
                    <a:pt x="894" y="98"/>
                  </a:lnTo>
                  <a:lnTo>
                    <a:pt x="888" y="99"/>
                  </a:lnTo>
                  <a:lnTo>
                    <a:pt x="884" y="101"/>
                  </a:lnTo>
                  <a:lnTo>
                    <a:pt x="884" y="101"/>
                  </a:lnTo>
                  <a:lnTo>
                    <a:pt x="878" y="102"/>
                  </a:lnTo>
                  <a:lnTo>
                    <a:pt x="868" y="105"/>
                  </a:lnTo>
                  <a:lnTo>
                    <a:pt x="862" y="105"/>
                  </a:lnTo>
                  <a:lnTo>
                    <a:pt x="857" y="104"/>
                  </a:lnTo>
                  <a:lnTo>
                    <a:pt x="853" y="102"/>
                  </a:lnTo>
                  <a:lnTo>
                    <a:pt x="851" y="99"/>
                  </a:lnTo>
                  <a:lnTo>
                    <a:pt x="851" y="99"/>
                  </a:lnTo>
                  <a:lnTo>
                    <a:pt x="848" y="92"/>
                  </a:lnTo>
                  <a:lnTo>
                    <a:pt x="847" y="86"/>
                  </a:lnTo>
                  <a:lnTo>
                    <a:pt x="844" y="82"/>
                  </a:lnTo>
                  <a:lnTo>
                    <a:pt x="842" y="80"/>
                  </a:lnTo>
                  <a:lnTo>
                    <a:pt x="841" y="80"/>
                  </a:lnTo>
                  <a:lnTo>
                    <a:pt x="841" y="80"/>
                  </a:lnTo>
                  <a:lnTo>
                    <a:pt x="839" y="82"/>
                  </a:lnTo>
                  <a:lnTo>
                    <a:pt x="838" y="83"/>
                  </a:lnTo>
                  <a:lnTo>
                    <a:pt x="838" y="87"/>
                  </a:lnTo>
                  <a:lnTo>
                    <a:pt x="835" y="90"/>
                  </a:lnTo>
                  <a:lnTo>
                    <a:pt x="832" y="92"/>
                  </a:lnTo>
                  <a:lnTo>
                    <a:pt x="828" y="93"/>
                  </a:lnTo>
                  <a:lnTo>
                    <a:pt x="828" y="93"/>
                  </a:lnTo>
                  <a:lnTo>
                    <a:pt x="820" y="93"/>
                  </a:lnTo>
                  <a:lnTo>
                    <a:pt x="814" y="92"/>
                  </a:lnTo>
                  <a:lnTo>
                    <a:pt x="805" y="90"/>
                  </a:lnTo>
                  <a:lnTo>
                    <a:pt x="805" y="90"/>
                  </a:lnTo>
                  <a:lnTo>
                    <a:pt x="802" y="90"/>
                  </a:lnTo>
                  <a:lnTo>
                    <a:pt x="798" y="93"/>
                  </a:lnTo>
                  <a:lnTo>
                    <a:pt x="795" y="95"/>
                  </a:lnTo>
                  <a:lnTo>
                    <a:pt x="794" y="96"/>
                  </a:lnTo>
                  <a:lnTo>
                    <a:pt x="791" y="95"/>
                  </a:lnTo>
                  <a:lnTo>
                    <a:pt x="791" y="95"/>
                  </a:lnTo>
                  <a:lnTo>
                    <a:pt x="782" y="92"/>
                  </a:lnTo>
                  <a:lnTo>
                    <a:pt x="780" y="90"/>
                  </a:lnTo>
                  <a:lnTo>
                    <a:pt x="779" y="86"/>
                  </a:lnTo>
                  <a:lnTo>
                    <a:pt x="779" y="86"/>
                  </a:lnTo>
                  <a:lnTo>
                    <a:pt x="779" y="82"/>
                  </a:lnTo>
                  <a:lnTo>
                    <a:pt x="779" y="77"/>
                  </a:lnTo>
                  <a:lnTo>
                    <a:pt x="776" y="74"/>
                  </a:lnTo>
                  <a:lnTo>
                    <a:pt x="774" y="74"/>
                  </a:lnTo>
                  <a:lnTo>
                    <a:pt x="773" y="77"/>
                  </a:lnTo>
                  <a:lnTo>
                    <a:pt x="773" y="77"/>
                  </a:lnTo>
                  <a:lnTo>
                    <a:pt x="770" y="82"/>
                  </a:lnTo>
                  <a:lnTo>
                    <a:pt x="765" y="87"/>
                  </a:lnTo>
                  <a:lnTo>
                    <a:pt x="762" y="95"/>
                  </a:lnTo>
                  <a:lnTo>
                    <a:pt x="757" y="102"/>
                  </a:lnTo>
                  <a:lnTo>
                    <a:pt x="757" y="102"/>
                  </a:lnTo>
                  <a:lnTo>
                    <a:pt x="751" y="108"/>
                  </a:lnTo>
                  <a:lnTo>
                    <a:pt x="745" y="111"/>
                  </a:lnTo>
                  <a:lnTo>
                    <a:pt x="737" y="111"/>
                  </a:lnTo>
                  <a:lnTo>
                    <a:pt x="727" y="111"/>
                  </a:lnTo>
                  <a:lnTo>
                    <a:pt x="727" y="111"/>
                  </a:lnTo>
                  <a:lnTo>
                    <a:pt x="718" y="111"/>
                  </a:lnTo>
                  <a:lnTo>
                    <a:pt x="712" y="113"/>
                  </a:lnTo>
                  <a:lnTo>
                    <a:pt x="709" y="113"/>
                  </a:lnTo>
                  <a:lnTo>
                    <a:pt x="703" y="110"/>
                  </a:lnTo>
                  <a:lnTo>
                    <a:pt x="703" y="110"/>
                  </a:lnTo>
                  <a:lnTo>
                    <a:pt x="696" y="105"/>
                  </a:lnTo>
                  <a:lnTo>
                    <a:pt x="685" y="102"/>
                  </a:lnTo>
                  <a:lnTo>
                    <a:pt x="677" y="102"/>
                  </a:lnTo>
                  <a:lnTo>
                    <a:pt x="674" y="104"/>
                  </a:lnTo>
                  <a:lnTo>
                    <a:pt x="672" y="105"/>
                  </a:lnTo>
                  <a:lnTo>
                    <a:pt x="672" y="105"/>
                  </a:lnTo>
                  <a:lnTo>
                    <a:pt x="672" y="113"/>
                  </a:lnTo>
                  <a:lnTo>
                    <a:pt x="674" y="123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66" y="133"/>
                  </a:lnTo>
                  <a:lnTo>
                    <a:pt x="656" y="133"/>
                  </a:lnTo>
                  <a:lnTo>
                    <a:pt x="647" y="136"/>
                  </a:lnTo>
                  <a:lnTo>
                    <a:pt x="647" y="136"/>
                  </a:lnTo>
                  <a:lnTo>
                    <a:pt x="638" y="142"/>
                  </a:lnTo>
                  <a:lnTo>
                    <a:pt x="626" y="153"/>
                  </a:lnTo>
                  <a:lnTo>
                    <a:pt x="614" y="161"/>
                  </a:lnTo>
                  <a:lnTo>
                    <a:pt x="608" y="166"/>
                  </a:lnTo>
                  <a:lnTo>
                    <a:pt x="608" y="166"/>
                  </a:lnTo>
                  <a:lnTo>
                    <a:pt x="605" y="167"/>
                  </a:lnTo>
                  <a:lnTo>
                    <a:pt x="604" y="170"/>
                  </a:lnTo>
                  <a:lnTo>
                    <a:pt x="601" y="182"/>
                  </a:lnTo>
                  <a:lnTo>
                    <a:pt x="601" y="182"/>
                  </a:lnTo>
                  <a:lnTo>
                    <a:pt x="601" y="190"/>
                  </a:lnTo>
                  <a:lnTo>
                    <a:pt x="601" y="196"/>
                  </a:lnTo>
                  <a:lnTo>
                    <a:pt x="604" y="199"/>
                  </a:lnTo>
                  <a:lnTo>
                    <a:pt x="608" y="201"/>
                  </a:lnTo>
                  <a:lnTo>
                    <a:pt x="608" y="201"/>
                  </a:lnTo>
                  <a:lnTo>
                    <a:pt x="614" y="200"/>
                  </a:lnTo>
                  <a:lnTo>
                    <a:pt x="617" y="203"/>
                  </a:lnTo>
                  <a:lnTo>
                    <a:pt x="623" y="209"/>
                  </a:lnTo>
                  <a:lnTo>
                    <a:pt x="623" y="209"/>
                  </a:lnTo>
                  <a:lnTo>
                    <a:pt x="631" y="218"/>
                  </a:lnTo>
                  <a:lnTo>
                    <a:pt x="638" y="221"/>
                  </a:lnTo>
                  <a:lnTo>
                    <a:pt x="638" y="221"/>
                  </a:lnTo>
                  <a:lnTo>
                    <a:pt x="651" y="225"/>
                  </a:lnTo>
                  <a:lnTo>
                    <a:pt x="653" y="227"/>
                  </a:lnTo>
                  <a:lnTo>
                    <a:pt x="653" y="228"/>
                  </a:lnTo>
                  <a:lnTo>
                    <a:pt x="647" y="230"/>
                  </a:lnTo>
                  <a:lnTo>
                    <a:pt x="647" y="230"/>
                  </a:lnTo>
                  <a:lnTo>
                    <a:pt x="638" y="230"/>
                  </a:lnTo>
                  <a:lnTo>
                    <a:pt x="632" y="230"/>
                  </a:lnTo>
                  <a:lnTo>
                    <a:pt x="629" y="230"/>
                  </a:lnTo>
                  <a:lnTo>
                    <a:pt x="628" y="231"/>
                  </a:lnTo>
                  <a:lnTo>
                    <a:pt x="628" y="234"/>
                  </a:lnTo>
                  <a:lnTo>
                    <a:pt x="626" y="239"/>
                  </a:lnTo>
                  <a:lnTo>
                    <a:pt x="626" y="239"/>
                  </a:lnTo>
                  <a:lnTo>
                    <a:pt x="625" y="249"/>
                  </a:lnTo>
                  <a:lnTo>
                    <a:pt x="620" y="259"/>
                  </a:lnTo>
                  <a:lnTo>
                    <a:pt x="619" y="265"/>
                  </a:lnTo>
                  <a:lnTo>
                    <a:pt x="619" y="270"/>
                  </a:lnTo>
                  <a:lnTo>
                    <a:pt x="620" y="274"/>
                  </a:lnTo>
                  <a:lnTo>
                    <a:pt x="622" y="278"/>
                  </a:lnTo>
                  <a:lnTo>
                    <a:pt x="622" y="278"/>
                  </a:lnTo>
                  <a:lnTo>
                    <a:pt x="628" y="286"/>
                  </a:lnTo>
                  <a:lnTo>
                    <a:pt x="629" y="293"/>
                  </a:lnTo>
                  <a:lnTo>
                    <a:pt x="629" y="299"/>
                  </a:lnTo>
                  <a:lnTo>
                    <a:pt x="631" y="305"/>
                  </a:lnTo>
                  <a:lnTo>
                    <a:pt x="631" y="305"/>
                  </a:lnTo>
                  <a:lnTo>
                    <a:pt x="634" y="307"/>
                  </a:lnTo>
                  <a:lnTo>
                    <a:pt x="635" y="310"/>
                  </a:lnTo>
                  <a:lnTo>
                    <a:pt x="637" y="313"/>
                  </a:lnTo>
                  <a:lnTo>
                    <a:pt x="635" y="318"/>
                  </a:lnTo>
                  <a:lnTo>
                    <a:pt x="635" y="318"/>
                  </a:lnTo>
                  <a:lnTo>
                    <a:pt x="632" y="327"/>
                  </a:lnTo>
                  <a:lnTo>
                    <a:pt x="631" y="335"/>
                  </a:lnTo>
                  <a:lnTo>
                    <a:pt x="632" y="351"/>
                  </a:lnTo>
                  <a:lnTo>
                    <a:pt x="632" y="351"/>
                  </a:lnTo>
                  <a:lnTo>
                    <a:pt x="631" y="363"/>
                  </a:lnTo>
                  <a:lnTo>
                    <a:pt x="631" y="372"/>
                  </a:lnTo>
                  <a:lnTo>
                    <a:pt x="629" y="378"/>
                  </a:lnTo>
                  <a:lnTo>
                    <a:pt x="629" y="381"/>
                  </a:lnTo>
                  <a:lnTo>
                    <a:pt x="629" y="381"/>
                  </a:lnTo>
                  <a:lnTo>
                    <a:pt x="635" y="384"/>
                  </a:lnTo>
                  <a:lnTo>
                    <a:pt x="642" y="385"/>
                  </a:lnTo>
                  <a:lnTo>
                    <a:pt x="642" y="385"/>
                  </a:lnTo>
                  <a:lnTo>
                    <a:pt x="644" y="387"/>
                  </a:lnTo>
                  <a:lnTo>
                    <a:pt x="637" y="471"/>
                  </a:lnTo>
                  <a:lnTo>
                    <a:pt x="573" y="578"/>
                  </a:lnTo>
                  <a:lnTo>
                    <a:pt x="500" y="643"/>
                  </a:lnTo>
                  <a:lnTo>
                    <a:pt x="422" y="755"/>
                  </a:lnTo>
                  <a:lnTo>
                    <a:pt x="422" y="755"/>
                  </a:lnTo>
                  <a:lnTo>
                    <a:pt x="413" y="770"/>
                  </a:lnTo>
                  <a:lnTo>
                    <a:pt x="413" y="770"/>
                  </a:lnTo>
                  <a:lnTo>
                    <a:pt x="411" y="773"/>
                  </a:lnTo>
                  <a:lnTo>
                    <a:pt x="409" y="775"/>
                  </a:lnTo>
                  <a:lnTo>
                    <a:pt x="400" y="776"/>
                  </a:lnTo>
                  <a:lnTo>
                    <a:pt x="380" y="776"/>
                  </a:lnTo>
                  <a:lnTo>
                    <a:pt x="380" y="776"/>
                  </a:lnTo>
                  <a:lnTo>
                    <a:pt x="372" y="778"/>
                  </a:lnTo>
                  <a:lnTo>
                    <a:pt x="364" y="781"/>
                  </a:lnTo>
                  <a:lnTo>
                    <a:pt x="349" y="788"/>
                  </a:lnTo>
                  <a:lnTo>
                    <a:pt x="349" y="788"/>
                  </a:lnTo>
                  <a:lnTo>
                    <a:pt x="346" y="788"/>
                  </a:lnTo>
                  <a:lnTo>
                    <a:pt x="345" y="788"/>
                  </a:lnTo>
                  <a:lnTo>
                    <a:pt x="343" y="788"/>
                  </a:lnTo>
                  <a:lnTo>
                    <a:pt x="342" y="785"/>
                  </a:lnTo>
                  <a:lnTo>
                    <a:pt x="340" y="781"/>
                  </a:lnTo>
                  <a:lnTo>
                    <a:pt x="339" y="773"/>
                  </a:lnTo>
                  <a:lnTo>
                    <a:pt x="339" y="773"/>
                  </a:lnTo>
                  <a:lnTo>
                    <a:pt x="336" y="767"/>
                  </a:lnTo>
                  <a:lnTo>
                    <a:pt x="332" y="763"/>
                  </a:lnTo>
                  <a:lnTo>
                    <a:pt x="324" y="761"/>
                  </a:lnTo>
                  <a:lnTo>
                    <a:pt x="317" y="760"/>
                  </a:lnTo>
                  <a:lnTo>
                    <a:pt x="317" y="760"/>
                  </a:lnTo>
                  <a:lnTo>
                    <a:pt x="311" y="760"/>
                  </a:lnTo>
                  <a:lnTo>
                    <a:pt x="308" y="757"/>
                  </a:lnTo>
                  <a:lnTo>
                    <a:pt x="306" y="752"/>
                  </a:lnTo>
                  <a:lnTo>
                    <a:pt x="305" y="748"/>
                  </a:lnTo>
                  <a:lnTo>
                    <a:pt x="305" y="748"/>
                  </a:lnTo>
                  <a:lnTo>
                    <a:pt x="302" y="744"/>
                  </a:lnTo>
                  <a:lnTo>
                    <a:pt x="302" y="738"/>
                  </a:lnTo>
                  <a:lnTo>
                    <a:pt x="305" y="724"/>
                  </a:lnTo>
                  <a:lnTo>
                    <a:pt x="305" y="724"/>
                  </a:lnTo>
                  <a:lnTo>
                    <a:pt x="305" y="720"/>
                  </a:lnTo>
                  <a:lnTo>
                    <a:pt x="303" y="718"/>
                  </a:lnTo>
                  <a:lnTo>
                    <a:pt x="299" y="718"/>
                  </a:lnTo>
                  <a:lnTo>
                    <a:pt x="293" y="717"/>
                  </a:lnTo>
                  <a:lnTo>
                    <a:pt x="293" y="717"/>
                  </a:lnTo>
                  <a:lnTo>
                    <a:pt x="283" y="714"/>
                  </a:lnTo>
                  <a:lnTo>
                    <a:pt x="278" y="711"/>
                  </a:lnTo>
                  <a:lnTo>
                    <a:pt x="274" y="707"/>
                  </a:lnTo>
                  <a:lnTo>
                    <a:pt x="274" y="707"/>
                  </a:lnTo>
                  <a:lnTo>
                    <a:pt x="268" y="701"/>
                  </a:lnTo>
                  <a:lnTo>
                    <a:pt x="263" y="695"/>
                  </a:lnTo>
                  <a:lnTo>
                    <a:pt x="263" y="695"/>
                  </a:lnTo>
                  <a:lnTo>
                    <a:pt x="260" y="692"/>
                  </a:lnTo>
                  <a:lnTo>
                    <a:pt x="259" y="689"/>
                  </a:lnTo>
                  <a:lnTo>
                    <a:pt x="255" y="680"/>
                  </a:lnTo>
                  <a:lnTo>
                    <a:pt x="255" y="680"/>
                  </a:lnTo>
                  <a:lnTo>
                    <a:pt x="250" y="675"/>
                  </a:lnTo>
                  <a:lnTo>
                    <a:pt x="244" y="674"/>
                  </a:lnTo>
                  <a:lnTo>
                    <a:pt x="228" y="672"/>
                  </a:lnTo>
                  <a:lnTo>
                    <a:pt x="228" y="672"/>
                  </a:lnTo>
                  <a:lnTo>
                    <a:pt x="220" y="671"/>
                  </a:lnTo>
                  <a:lnTo>
                    <a:pt x="218" y="672"/>
                  </a:lnTo>
                  <a:lnTo>
                    <a:pt x="218" y="675"/>
                  </a:lnTo>
                  <a:lnTo>
                    <a:pt x="215" y="677"/>
                  </a:lnTo>
                  <a:lnTo>
                    <a:pt x="215" y="677"/>
                  </a:lnTo>
                  <a:lnTo>
                    <a:pt x="212" y="677"/>
                  </a:lnTo>
                  <a:lnTo>
                    <a:pt x="210" y="675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7" y="664"/>
                  </a:lnTo>
                  <a:lnTo>
                    <a:pt x="204" y="662"/>
                  </a:lnTo>
                  <a:lnTo>
                    <a:pt x="197" y="658"/>
                  </a:lnTo>
                  <a:lnTo>
                    <a:pt x="197" y="658"/>
                  </a:lnTo>
                  <a:lnTo>
                    <a:pt x="166" y="637"/>
                  </a:lnTo>
                  <a:lnTo>
                    <a:pt x="166" y="637"/>
                  </a:lnTo>
                  <a:lnTo>
                    <a:pt x="143" y="619"/>
                  </a:lnTo>
                  <a:lnTo>
                    <a:pt x="132" y="609"/>
                  </a:lnTo>
                  <a:lnTo>
                    <a:pt x="127" y="604"/>
                  </a:lnTo>
                  <a:lnTo>
                    <a:pt x="124" y="600"/>
                  </a:lnTo>
                  <a:lnTo>
                    <a:pt x="124" y="600"/>
                  </a:lnTo>
                  <a:lnTo>
                    <a:pt x="120" y="592"/>
                  </a:lnTo>
                  <a:lnTo>
                    <a:pt x="115" y="588"/>
                  </a:lnTo>
                  <a:lnTo>
                    <a:pt x="106" y="581"/>
                  </a:lnTo>
                  <a:lnTo>
                    <a:pt x="106" y="581"/>
                  </a:lnTo>
                  <a:lnTo>
                    <a:pt x="105" y="579"/>
                  </a:lnTo>
                  <a:lnTo>
                    <a:pt x="106" y="576"/>
                  </a:lnTo>
                  <a:lnTo>
                    <a:pt x="111" y="573"/>
                  </a:lnTo>
                  <a:lnTo>
                    <a:pt x="117" y="570"/>
                  </a:lnTo>
                  <a:lnTo>
                    <a:pt x="118" y="567"/>
                  </a:lnTo>
                  <a:lnTo>
                    <a:pt x="120" y="566"/>
                  </a:lnTo>
                  <a:lnTo>
                    <a:pt x="120" y="566"/>
                  </a:lnTo>
                  <a:lnTo>
                    <a:pt x="120" y="563"/>
                  </a:lnTo>
                  <a:lnTo>
                    <a:pt x="118" y="560"/>
                  </a:lnTo>
                  <a:lnTo>
                    <a:pt x="112" y="554"/>
                  </a:lnTo>
                  <a:lnTo>
                    <a:pt x="101" y="547"/>
                  </a:lnTo>
                  <a:lnTo>
                    <a:pt x="101" y="547"/>
                  </a:lnTo>
                  <a:lnTo>
                    <a:pt x="98" y="545"/>
                  </a:lnTo>
                  <a:lnTo>
                    <a:pt x="96" y="547"/>
                  </a:lnTo>
                  <a:lnTo>
                    <a:pt x="92" y="550"/>
                  </a:lnTo>
                  <a:lnTo>
                    <a:pt x="87" y="554"/>
                  </a:lnTo>
                  <a:lnTo>
                    <a:pt x="84" y="558"/>
                  </a:lnTo>
                  <a:lnTo>
                    <a:pt x="84" y="558"/>
                  </a:lnTo>
                  <a:lnTo>
                    <a:pt x="78" y="561"/>
                  </a:lnTo>
                  <a:lnTo>
                    <a:pt x="74" y="567"/>
                  </a:lnTo>
                  <a:lnTo>
                    <a:pt x="74" y="567"/>
                  </a:lnTo>
                  <a:lnTo>
                    <a:pt x="68" y="575"/>
                  </a:lnTo>
                  <a:lnTo>
                    <a:pt x="59" y="582"/>
                  </a:lnTo>
                  <a:lnTo>
                    <a:pt x="46" y="591"/>
                  </a:lnTo>
                  <a:lnTo>
                    <a:pt x="32" y="603"/>
                  </a:lnTo>
                  <a:lnTo>
                    <a:pt x="32" y="603"/>
                  </a:lnTo>
                  <a:lnTo>
                    <a:pt x="31" y="603"/>
                  </a:lnTo>
                  <a:lnTo>
                    <a:pt x="31" y="603"/>
                  </a:lnTo>
                  <a:lnTo>
                    <a:pt x="15" y="600"/>
                  </a:lnTo>
                  <a:lnTo>
                    <a:pt x="15" y="600"/>
                  </a:lnTo>
                  <a:lnTo>
                    <a:pt x="10" y="597"/>
                  </a:lnTo>
                  <a:lnTo>
                    <a:pt x="9" y="595"/>
                  </a:lnTo>
                  <a:lnTo>
                    <a:pt x="6" y="595"/>
                  </a:lnTo>
                  <a:lnTo>
                    <a:pt x="4" y="598"/>
                  </a:lnTo>
                  <a:lnTo>
                    <a:pt x="4" y="598"/>
                  </a:lnTo>
                  <a:lnTo>
                    <a:pt x="4" y="604"/>
                  </a:lnTo>
                  <a:lnTo>
                    <a:pt x="6" y="609"/>
                  </a:lnTo>
                  <a:lnTo>
                    <a:pt x="12" y="618"/>
                  </a:lnTo>
                  <a:lnTo>
                    <a:pt x="12" y="618"/>
                  </a:lnTo>
                  <a:lnTo>
                    <a:pt x="13" y="621"/>
                  </a:lnTo>
                  <a:lnTo>
                    <a:pt x="15" y="624"/>
                  </a:lnTo>
                  <a:lnTo>
                    <a:pt x="13" y="627"/>
                  </a:lnTo>
                  <a:lnTo>
                    <a:pt x="10" y="629"/>
                  </a:lnTo>
                  <a:lnTo>
                    <a:pt x="10" y="629"/>
                  </a:lnTo>
                  <a:lnTo>
                    <a:pt x="6" y="632"/>
                  </a:lnTo>
                  <a:lnTo>
                    <a:pt x="3" y="637"/>
                  </a:lnTo>
                  <a:lnTo>
                    <a:pt x="1" y="643"/>
                  </a:lnTo>
                  <a:lnTo>
                    <a:pt x="3" y="650"/>
                  </a:lnTo>
                  <a:lnTo>
                    <a:pt x="3" y="650"/>
                  </a:lnTo>
                  <a:lnTo>
                    <a:pt x="3" y="658"/>
                  </a:lnTo>
                  <a:lnTo>
                    <a:pt x="3" y="662"/>
                  </a:lnTo>
                  <a:lnTo>
                    <a:pt x="1" y="667"/>
                  </a:lnTo>
                  <a:lnTo>
                    <a:pt x="1" y="671"/>
                  </a:lnTo>
                  <a:lnTo>
                    <a:pt x="1" y="671"/>
                  </a:lnTo>
                  <a:lnTo>
                    <a:pt x="3" y="675"/>
                  </a:lnTo>
                  <a:lnTo>
                    <a:pt x="6" y="678"/>
                  </a:lnTo>
                  <a:lnTo>
                    <a:pt x="6" y="680"/>
                  </a:lnTo>
                  <a:lnTo>
                    <a:pt x="4" y="684"/>
                  </a:lnTo>
                  <a:lnTo>
                    <a:pt x="4" y="684"/>
                  </a:lnTo>
                  <a:lnTo>
                    <a:pt x="1" y="690"/>
                  </a:lnTo>
                  <a:lnTo>
                    <a:pt x="0" y="695"/>
                  </a:lnTo>
                  <a:lnTo>
                    <a:pt x="0" y="699"/>
                  </a:lnTo>
                  <a:lnTo>
                    <a:pt x="1" y="702"/>
                  </a:lnTo>
                  <a:lnTo>
                    <a:pt x="1" y="702"/>
                  </a:lnTo>
                  <a:lnTo>
                    <a:pt x="6" y="711"/>
                  </a:lnTo>
                  <a:lnTo>
                    <a:pt x="6" y="711"/>
                  </a:lnTo>
                  <a:lnTo>
                    <a:pt x="9" y="711"/>
                  </a:lnTo>
                  <a:lnTo>
                    <a:pt x="9" y="711"/>
                  </a:lnTo>
                  <a:lnTo>
                    <a:pt x="15" y="714"/>
                  </a:lnTo>
                  <a:lnTo>
                    <a:pt x="19" y="718"/>
                  </a:lnTo>
                  <a:lnTo>
                    <a:pt x="25" y="723"/>
                  </a:lnTo>
                  <a:lnTo>
                    <a:pt x="32" y="726"/>
                  </a:lnTo>
                  <a:lnTo>
                    <a:pt x="32" y="726"/>
                  </a:lnTo>
                  <a:lnTo>
                    <a:pt x="41" y="729"/>
                  </a:lnTo>
                  <a:lnTo>
                    <a:pt x="47" y="733"/>
                  </a:lnTo>
                  <a:lnTo>
                    <a:pt x="53" y="739"/>
                  </a:lnTo>
                  <a:lnTo>
                    <a:pt x="62" y="745"/>
                  </a:lnTo>
                  <a:lnTo>
                    <a:pt x="62" y="745"/>
                  </a:lnTo>
                  <a:lnTo>
                    <a:pt x="68" y="748"/>
                  </a:lnTo>
                  <a:lnTo>
                    <a:pt x="74" y="751"/>
                  </a:lnTo>
                  <a:lnTo>
                    <a:pt x="86" y="751"/>
                  </a:lnTo>
                  <a:lnTo>
                    <a:pt x="98" y="751"/>
                  </a:lnTo>
                  <a:lnTo>
                    <a:pt x="106" y="748"/>
                  </a:lnTo>
                  <a:lnTo>
                    <a:pt x="106" y="748"/>
                  </a:lnTo>
                  <a:lnTo>
                    <a:pt x="111" y="748"/>
                  </a:lnTo>
                  <a:lnTo>
                    <a:pt x="114" y="748"/>
                  </a:lnTo>
                  <a:lnTo>
                    <a:pt x="123" y="751"/>
                  </a:lnTo>
                  <a:lnTo>
                    <a:pt x="142" y="761"/>
                  </a:lnTo>
                  <a:lnTo>
                    <a:pt x="142" y="761"/>
                  </a:lnTo>
                  <a:lnTo>
                    <a:pt x="155" y="767"/>
                  </a:lnTo>
                  <a:lnTo>
                    <a:pt x="170" y="773"/>
                  </a:lnTo>
                  <a:lnTo>
                    <a:pt x="186" y="778"/>
                  </a:lnTo>
                  <a:lnTo>
                    <a:pt x="194" y="779"/>
                  </a:lnTo>
                  <a:lnTo>
                    <a:pt x="200" y="779"/>
                  </a:lnTo>
                  <a:lnTo>
                    <a:pt x="200" y="779"/>
                  </a:lnTo>
                  <a:lnTo>
                    <a:pt x="203" y="781"/>
                  </a:lnTo>
                  <a:lnTo>
                    <a:pt x="206" y="782"/>
                  </a:lnTo>
                  <a:lnTo>
                    <a:pt x="207" y="786"/>
                  </a:lnTo>
                  <a:lnTo>
                    <a:pt x="207" y="789"/>
                  </a:lnTo>
                  <a:lnTo>
                    <a:pt x="207" y="800"/>
                  </a:lnTo>
                  <a:lnTo>
                    <a:pt x="209" y="804"/>
                  </a:lnTo>
                  <a:lnTo>
                    <a:pt x="210" y="807"/>
                  </a:lnTo>
                  <a:lnTo>
                    <a:pt x="210" y="807"/>
                  </a:lnTo>
                  <a:lnTo>
                    <a:pt x="215" y="812"/>
                  </a:lnTo>
                  <a:lnTo>
                    <a:pt x="219" y="815"/>
                  </a:lnTo>
                  <a:lnTo>
                    <a:pt x="223" y="819"/>
                  </a:lnTo>
                  <a:lnTo>
                    <a:pt x="226" y="828"/>
                  </a:lnTo>
                  <a:lnTo>
                    <a:pt x="226" y="828"/>
                  </a:lnTo>
                  <a:lnTo>
                    <a:pt x="229" y="838"/>
                  </a:lnTo>
                  <a:lnTo>
                    <a:pt x="235" y="846"/>
                  </a:lnTo>
                  <a:lnTo>
                    <a:pt x="240" y="852"/>
                  </a:lnTo>
                  <a:lnTo>
                    <a:pt x="244" y="859"/>
                  </a:lnTo>
                  <a:lnTo>
                    <a:pt x="244" y="859"/>
                  </a:lnTo>
                  <a:lnTo>
                    <a:pt x="247" y="866"/>
                  </a:lnTo>
                  <a:lnTo>
                    <a:pt x="250" y="871"/>
                  </a:lnTo>
                  <a:lnTo>
                    <a:pt x="256" y="872"/>
                  </a:lnTo>
                  <a:lnTo>
                    <a:pt x="260" y="874"/>
                  </a:lnTo>
                  <a:lnTo>
                    <a:pt x="260" y="874"/>
                  </a:lnTo>
                  <a:lnTo>
                    <a:pt x="263" y="875"/>
                  </a:lnTo>
                  <a:lnTo>
                    <a:pt x="265" y="877"/>
                  </a:lnTo>
                  <a:lnTo>
                    <a:pt x="265" y="880"/>
                  </a:lnTo>
                  <a:lnTo>
                    <a:pt x="269" y="884"/>
                  </a:lnTo>
                  <a:lnTo>
                    <a:pt x="274" y="887"/>
                  </a:lnTo>
                  <a:lnTo>
                    <a:pt x="280" y="890"/>
                  </a:lnTo>
                  <a:lnTo>
                    <a:pt x="280" y="890"/>
                  </a:lnTo>
                  <a:lnTo>
                    <a:pt x="302" y="899"/>
                  </a:lnTo>
                  <a:lnTo>
                    <a:pt x="324" y="906"/>
                  </a:lnTo>
                  <a:lnTo>
                    <a:pt x="324" y="906"/>
                  </a:lnTo>
                  <a:lnTo>
                    <a:pt x="337" y="911"/>
                  </a:lnTo>
                  <a:lnTo>
                    <a:pt x="352" y="914"/>
                  </a:lnTo>
                  <a:lnTo>
                    <a:pt x="374" y="917"/>
                  </a:lnTo>
                  <a:lnTo>
                    <a:pt x="374" y="917"/>
                  </a:lnTo>
                  <a:lnTo>
                    <a:pt x="380" y="915"/>
                  </a:lnTo>
                  <a:lnTo>
                    <a:pt x="388" y="911"/>
                  </a:lnTo>
                  <a:lnTo>
                    <a:pt x="400" y="901"/>
                  </a:lnTo>
                  <a:lnTo>
                    <a:pt x="400" y="901"/>
                  </a:lnTo>
                  <a:lnTo>
                    <a:pt x="409" y="896"/>
                  </a:lnTo>
                  <a:lnTo>
                    <a:pt x="422" y="890"/>
                  </a:lnTo>
                  <a:lnTo>
                    <a:pt x="450" y="880"/>
                  </a:lnTo>
                  <a:lnTo>
                    <a:pt x="450" y="880"/>
                  </a:lnTo>
                  <a:lnTo>
                    <a:pt x="474" y="871"/>
                  </a:lnTo>
                  <a:lnTo>
                    <a:pt x="486" y="868"/>
                  </a:lnTo>
                  <a:lnTo>
                    <a:pt x="493" y="868"/>
                  </a:lnTo>
                  <a:lnTo>
                    <a:pt x="499" y="868"/>
                  </a:lnTo>
                  <a:lnTo>
                    <a:pt x="499" y="868"/>
                  </a:lnTo>
                  <a:lnTo>
                    <a:pt x="511" y="871"/>
                  </a:lnTo>
                  <a:lnTo>
                    <a:pt x="520" y="875"/>
                  </a:lnTo>
                  <a:lnTo>
                    <a:pt x="527" y="878"/>
                  </a:lnTo>
                  <a:lnTo>
                    <a:pt x="536" y="881"/>
                  </a:lnTo>
                  <a:lnTo>
                    <a:pt x="536" y="881"/>
                  </a:lnTo>
                  <a:lnTo>
                    <a:pt x="546" y="883"/>
                  </a:lnTo>
                  <a:lnTo>
                    <a:pt x="554" y="881"/>
                  </a:lnTo>
                  <a:lnTo>
                    <a:pt x="560" y="880"/>
                  </a:lnTo>
                  <a:lnTo>
                    <a:pt x="565" y="881"/>
                  </a:lnTo>
                  <a:lnTo>
                    <a:pt x="565" y="881"/>
                  </a:lnTo>
                  <a:lnTo>
                    <a:pt x="573" y="886"/>
                  </a:lnTo>
                  <a:lnTo>
                    <a:pt x="583" y="895"/>
                  </a:lnTo>
                  <a:lnTo>
                    <a:pt x="592" y="903"/>
                  </a:lnTo>
                  <a:lnTo>
                    <a:pt x="600" y="908"/>
                  </a:lnTo>
                  <a:lnTo>
                    <a:pt x="600" y="908"/>
                  </a:lnTo>
                  <a:lnTo>
                    <a:pt x="607" y="909"/>
                  </a:lnTo>
                  <a:lnTo>
                    <a:pt x="617" y="909"/>
                  </a:lnTo>
                  <a:lnTo>
                    <a:pt x="640" y="909"/>
                  </a:lnTo>
                  <a:lnTo>
                    <a:pt x="640" y="909"/>
                  </a:lnTo>
                  <a:lnTo>
                    <a:pt x="638" y="878"/>
                  </a:lnTo>
                  <a:lnTo>
                    <a:pt x="638" y="878"/>
                  </a:lnTo>
                  <a:lnTo>
                    <a:pt x="638" y="871"/>
                  </a:lnTo>
                  <a:lnTo>
                    <a:pt x="641" y="866"/>
                  </a:lnTo>
                  <a:lnTo>
                    <a:pt x="648" y="861"/>
                  </a:lnTo>
                  <a:lnTo>
                    <a:pt x="648" y="861"/>
                  </a:lnTo>
                  <a:lnTo>
                    <a:pt x="651" y="858"/>
                  </a:lnTo>
                  <a:lnTo>
                    <a:pt x="654" y="853"/>
                  </a:lnTo>
                  <a:lnTo>
                    <a:pt x="656" y="849"/>
                  </a:lnTo>
                  <a:lnTo>
                    <a:pt x="656" y="849"/>
                  </a:lnTo>
                  <a:lnTo>
                    <a:pt x="663" y="846"/>
                  </a:lnTo>
                  <a:lnTo>
                    <a:pt x="671" y="843"/>
                  </a:lnTo>
                  <a:lnTo>
                    <a:pt x="671" y="843"/>
                  </a:lnTo>
                  <a:lnTo>
                    <a:pt x="681" y="838"/>
                  </a:lnTo>
                  <a:lnTo>
                    <a:pt x="685" y="834"/>
                  </a:lnTo>
                  <a:lnTo>
                    <a:pt x="688" y="829"/>
                  </a:lnTo>
                  <a:lnTo>
                    <a:pt x="688" y="829"/>
                  </a:lnTo>
                  <a:lnTo>
                    <a:pt x="688" y="826"/>
                  </a:lnTo>
                  <a:lnTo>
                    <a:pt x="688" y="825"/>
                  </a:lnTo>
                  <a:lnTo>
                    <a:pt x="684" y="822"/>
                  </a:lnTo>
                  <a:lnTo>
                    <a:pt x="672" y="819"/>
                  </a:lnTo>
                  <a:lnTo>
                    <a:pt x="672" y="819"/>
                  </a:lnTo>
                  <a:lnTo>
                    <a:pt x="665" y="815"/>
                  </a:lnTo>
                  <a:lnTo>
                    <a:pt x="662" y="813"/>
                  </a:lnTo>
                  <a:lnTo>
                    <a:pt x="662" y="810"/>
                  </a:lnTo>
                  <a:lnTo>
                    <a:pt x="662" y="810"/>
                  </a:lnTo>
                  <a:lnTo>
                    <a:pt x="662" y="803"/>
                  </a:lnTo>
                  <a:lnTo>
                    <a:pt x="662" y="797"/>
                  </a:lnTo>
                  <a:lnTo>
                    <a:pt x="662" y="792"/>
                  </a:lnTo>
                  <a:lnTo>
                    <a:pt x="662" y="792"/>
                  </a:lnTo>
                  <a:lnTo>
                    <a:pt x="660" y="788"/>
                  </a:lnTo>
                  <a:lnTo>
                    <a:pt x="662" y="782"/>
                  </a:lnTo>
                  <a:lnTo>
                    <a:pt x="665" y="772"/>
                  </a:lnTo>
                  <a:lnTo>
                    <a:pt x="665" y="772"/>
                  </a:lnTo>
                  <a:lnTo>
                    <a:pt x="672" y="763"/>
                  </a:lnTo>
                  <a:lnTo>
                    <a:pt x="678" y="754"/>
                  </a:lnTo>
                  <a:lnTo>
                    <a:pt x="678" y="754"/>
                  </a:lnTo>
                  <a:lnTo>
                    <a:pt x="680" y="752"/>
                  </a:lnTo>
                  <a:lnTo>
                    <a:pt x="678" y="751"/>
                  </a:lnTo>
                  <a:lnTo>
                    <a:pt x="674" y="745"/>
                  </a:lnTo>
                  <a:lnTo>
                    <a:pt x="674" y="745"/>
                  </a:lnTo>
                  <a:lnTo>
                    <a:pt x="672" y="741"/>
                  </a:lnTo>
                  <a:lnTo>
                    <a:pt x="672" y="736"/>
                  </a:lnTo>
                  <a:lnTo>
                    <a:pt x="674" y="727"/>
                  </a:lnTo>
                  <a:lnTo>
                    <a:pt x="674" y="727"/>
                  </a:lnTo>
                  <a:lnTo>
                    <a:pt x="675" y="724"/>
                  </a:lnTo>
                  <a:lnTo>
                    <a:pt x="677" y="723"/>
                  </a:lnTo>
                  <a:lnTo>
                    <a:pt x="684" y="720"/>
                  </a:lnTo>
                  <a:lnTo>
                    <a:pt x="697" y="717"/>
                  </a:lnTo>
                  <a:lnTo>
                    <a:pt x="697" y="717"/>
                  </a:lnTo>
                  <a:lnTo>
                    <a:pt x="705" y="718"/>
                  </a:lnTo>
                  <a:lnTo>
                    <a:pt x="714" y="720"/>
                  </a:lnTo>
                  <a:lnTo>
                    <a:pt x="722" y="723"/>
                  </a:lnTo>
                  <a:lnTo>
                    <a:pt x="730" y="724"/>
                  </a:lnTo>
                  <a:lnTo>
                    <a:pt x="730" y="724"/>
                  </a:lnTo>
                  <a:lnTo>
                    <a:pt x="733" y="724"/>
                  </a:lnTo>
                  <a:lnTo>
                    <a:pt x="736" y="723"/>
                  </a:lnTo>
                  <a:lnTo>
                    <a:pt x="743" y="718"/>
                  </a:lnTo>
                  <a:lnTo>
                    <a:pt x="752" y="712"/>
                  </a:lnTo>
                  <a:lnTo>
                    <a:pt x="759" y="708"/>
                  </a:lnTo>
                  <a:lnTo>
                    <a:pt x="759" y="708"/>
                  </a:lnTo>
                  <a:lnTo>
                    <a:pt x="768" y="702"/>
                  </a:lnTo>
                  <a:lnTo>
                    <a:pt x="774" y="698"/>
                  </a:lnTo>
                  <a:lnTo>
                    <a:pt x="782" y="690"/>
                  </a:lnTo>
                  <a:lnTo>
                    <a:pt x="782" y="690"/>
                  </a:lnTo>
                  <a:lnTo>
                    <a:pt x="794" y="690"/>
                  </a:lnTo>
                  <a:lnTo>
                    <a:pt x="811" y="692"/>
                  </a:lnTo>
                  <a:lnTo>
                    <a:pt x="811" y="692"/>
                  </a:lnTo>
                  <a:lnTo>
                    <a:pt x="819" y="693"/>
                  </a:lnTo>
                  <a:lnTo>
                    <a:pt x="825" y="692"/>
                  </a:lnTo>
                  <a:lnTo>
                    <a:pt x="832" y="690"/>
                  </a:lnTo>
                  <a:lnTo>
                    <a:pt x="832" y="690"/>
                  </a:lnTo>
                  <a:lnTo>
                    <a:pt x="834" y="689"/>
                  </a:lnTo>
                  <a:lnTo>
                    <a:pt x="835" y="686"/>
                  </a:lnTo>
                  <a:lnTo>
                    <a:pt x="838" y="681"/>
                  </a:lnTo>
                  <a:lnTo>
                    <a:pt x="841" y="671"/>
                  </a:lnTo>
                  <a:lnTo>
                    <a:pt x="841" y="671"/>
                  </a:lnTo>
                  <a:lnTo>
                    <a:pt x="850" y="662"/>
                  </a:lnTo>
                  <a:lnTo>
                    <a:pt x="862" y="653"/>
                  </a:lnTo>
                  <a:lnTo>
                    <a:pt x="862" y="653"/>
                  </a:lnTo>
                  <a:lnTo>
                    <a:pt x="875" y="644"/>
                  </a:lnTo>
                  <a:lnTo>
                    <a:pt x="885" y="634"/>
                  </a:lnTo>
                  <a:lnTo>
                    <a:pt x="885" y="634"/>
                  </a:lnTo>
                  <a:lnTo>
                    <a:pt x="888" y="629"/>
                  </a:lnTo>
                  <a:lnTo>
                    <a:pt x="888" y="625"/>
                  </a:lnTo>
                  <a:lnTo>
                    <a:pt x="890" y="616"/>
                  </a:lnTo>
                  <a:lnTo>
                    <a:pt x="890" y="616"/>
                  </a:lnTo>
                  <a:lnTo>
                    <a:pt x="891" y="615"/>
                  </a:lnTo>
                  <a:lnTo>
                    <a:pt x="896" y="612"/>
                  </a:lnTo>
                  <a:lnTo>
                    <a:pt x="900" y="609"/>
                  </a:lnTo>
                  <a:lnTo>
                    <a:pt x="900" y="609"/>
                  </a:lnTo>
                  <a:lnTo>
                    <a:pt x="906" y="595"/>
                  </a:lnTo>
                  <a:lnTo>
                    <a:pt x="906" y="595"/>
                  </a:lnTo>
                  <a:lnTo>
                    <a:pt x="906" y="594"/>
                  </a:lnTo>
                  <a:lnTo>
                    <a:pt x="908" y="594"/>
                  </a:lnTo>
                  <a:lnTo>
                    <a:pt x="913" y="594"/>
                  </a:lnTo>
                  <a:lnTo>
                    <a:pt x="918" y="595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5" y="598"/>
                  </a:lnTo>
                  <a:lnTo>
                    <a:pt x="928" y="597"/>
                  </a:lnTo>
                  <a:lnTo>
                    <a:pt x="931" y="594"/>
                  </a:lnTo>
                  <a:lnTo>
                    <a:pt x="934" y="590"/>
                  </a:lnTo>
                  <a:lnTo>
                    <a:pt x="934" y="590"/>
                  </a:lnTo>
                  <a:lnTo>
                    <a:pt x="942" y="581"/>
                  </a:lnTo>
                  <a:lnTo>
                    <a:pt x="946" y="578"/>
                  </a:lnTo>
                  <a:lnTo>
                    <a:pt x="950" y="576"/>
                  </a:lnTo>
                  <a:lnTo>
                    <a:pt x="950" y="576"/>
                  </a:lnTo>
                  <a:lnTo>
                    <a:pt x="958" y="575"/>
                  </a:lnTo>
                  <a:lnTo>
                    <a:pt x="964" y="572"/>
                  </a:lnTo>
                  <a:lnTo>
                    <a:pt x="968" y="569"/>
                  </a:lnTo>
                  <a:lnTo>
                    <a:pt x="970" y="566"/>
                  </a:lnTo>
                  <a:lnTo>
                    <a:pt x="970" y="566"/>
                  </a:lnTo>
                  <a:lnTo>
                    <a:pt x="971" y="563"/>
                  </a:lnTo>
                  <a:lnTo>
                    <a:pt x="976" y="560"/>
                  </a:lnTo>
                  <a:lnTo>
                    <a:pt x="980" y="557"/>
                  </a:lnTo>
                  <a:lnTo>
                    <a:pt x="985" y="557"/>
                  </a:lnTo>
                  <a:lnTo>
                    <a:pt x="985" y="557"/>
                  </a:lnTo>
                  <a:lnTo>
                    <a:pt x="995" y="555"/>
                  </a:lnTo>
                  <a:lnTo>
                    <a:pt x="1004" y="551"/>
                  </a:lnTo>
                  <a:lnTo>
                    <a:pt x="1004" y="551"/>
                  </a:lnTo>
                  <a:lnTo>
                    <a:pt x="1008" y="548"/>
                  </a:lnTo>
                  <a:lnTo>
                    <a:pt x="1013" y="542"/>
                  </a:lnTo>
                  <a:lnTo>
                    <a:pt x="1022" y="530"/>
                  </a:lnTo>
                  <a:lnTo>
                    <a:pt x="1022" y="530"/>
                  </a:lnTo>
                  <a:lnTo>
                    <a:pt x="1025" y="527"/>
                  </a:lnTo>
                  <a:lnTo>
                    <a:pt x="1027" y="524"/>
                  </a:lnTo>
                  <a:lnTo>
                    <a:pt x="1030" y="523"/>
                  </a:lnTo>
                  <a:lnTo>
                    <a:pt x="1033" y="520"/>
                  </a:lnTo>
                  <a:lnTo>
                    <a:pt x="1033" y="520"/>
                  </a:lnTo>
                  <a:lnTo>
                    <a:pt x="1035" y="505"/>
                  </a:lnTo>
                  <a:lnTo>
                    <a:pt x="1035" y="489"/>
                  </a:lnTo>
                  <a:lnTo>
                    <a:pt x="1035" y="489"/>
                  </a:lnTo>
                  <a:lnTo>
                    <a:pt x="1035" y="486"/>
                  </a:lnTo>
                  <a:lnTo>
                    <a:pt x="1033" y="484"/>
                  </a:lnTo>
                  <a:lnTo>
                    <a:pt x="1032" y="484"/>
                  </a:lnTo>
                  <a:lnTo>
                    <a:pt x="1029" y="483"/>
                  </a:lnTo>
                  <a:lnTo>
                    <a:pt x="1027" y="480"/>
                  </a:lnTo>
                  <a:lnTo>
                    <a:pt x="1025" y="474"/>
                  </a:lnTo>
                  <a:lnTo>
                    <a:pt x="1025" y="474"/>
                  </a:lnTo>
                  <a:lnTo>
                    <a:pt x="1020" y="464"/>
                  </a:lnTo>
                  <a:lnTo>
                    <a:pt x="1019" y="462"/>
                  </a:lnTo>
                  <a:lnTo>
                    <a:pt x="1017" y="461"/>
                  </a:lnTo>
                  <a:lnTo>
                    <a:pt x="1013" y="461"/>
                  </a:lnTo>
                  <a:lnTo>
                    <a:pt x="1008" y="461"/>
                  </a:lnTo>
                  <a:lnTo>
                    <a:pt x="1008" y="461"/>
                  </a:lnTo>
                  <a:lnTo>
                    <a:pt x="1004" y="459"/>
                  </a:lnTo>
                  <a:lnTo>
                    <a:pt x="999" y="456"/>
                  </a:lnTo>
                  <a:lnTo>
                    <a:pt x="996" y="452"/>
                  </a:lnTo>
                  <a:lnTo>
                    <a:pt x="996" y="447"/>
                  </a:lnTo>
                  <a:lnTo>
                    <a:pt x="996" y="447"/>
                  </a:lnTo>
                  <a:lnTo>
                    <a:pt x="996" y="441"/>
                  </a:lnTo>
                  <a:lnTo>
                    <a:pt x="995" y="438"/>
                  </a:lnTo>
                  <a:lnTo>
                    <a:pt x="990" y="435"/>
                  </a:lnTo>
                  <a:lnTo>
                    <a:pt x="986" y="433"/>
                  </a:lnTo>
                  <a:lnTo>
                    <a:pt x="986" y="433"/>
                  </a:lnTo>
                  <a:lnTo>
                    <a:pt x="983" y="431"/>
                  </a:lnTo>
                  <a:lnTo>
                    <a:pt x="982" y="428"/>
                  </a:lnTo>
                  <a:lnTo>
                    <a:pt x="983" y="427"/>
                  </a:lnTo>
                  <a:lnTo>
                    <a:pt x="985" y="425"/>
                  </a:lnTo>
                  <a:lnTo>
                    <a:pt x="989" y="422"/>
                  </a:lnTo>
                  <a:lnTo>
                    <a:pt x="998" y="419"/>
                  </a:lnTo>
                  <a:lnTo>
                    <a:pt x="998" y="419"/>
                  </a:lnTo>
                  <a:lnTo>
                    <a:pt x="1001" y="419"/>
                  </a:lnTo>
                  <a:lnTo>
                    <a:pt x="1004" y="418"/>
                  </a:lnTo>
                  <a:lnTo>
                    <a:pt x="1008" y="413"/>
                  </a:lnTo>
                  <a:lnTo>
                    <a:pt x="1011" y="409"/>
                  </a:lnTo>
                  <a:lnTo>
                    <a:pt x="1014" y="406"/>
                  </a:lnTo>
                  <a:lnTo>
                    <a:pt x="1014" y="406"/>
                  </a:lnTo>
                  <a:lnTo>
                    <a:pt x="1027" y="400"/>
                  </a:lnTo>
                  <a:lnTo>
                    <a:pt x="1035" y="395"/>
                  </a:lnTo>
                  <a:lnTo>
                    <a:pt x="1042" y="391"/>
                  </a:lnTo>
                  <a:lnTo>
                    <a:pt x="1042" y="391"/>
                  </a:lnTo>
                  <a:lnTo>
                    <a:pt x="1053" y="379"/>
                  </a:lnTo>
                  <a:lnTo>
                    <a:pt x="1062" y="369"/>
                  </a:lnTo>
                  <a:lnTo>
                    <a:pt x="1062" y="369"/>
                  </a:lnTo>
                  <a:lnTo>
                    <a:pt x="1064" y="366"/>
                  </a:lnTo>
                  <a:lnTo>
                    <a:pt x="1066" y="360"/>
                  </a:lnTo>
                  <a:lnTo>
                    <a:pt x="1070" y="347"/>
                  </a:lnTo>
                  <a:lnTo>
                    <a:pt x="1075" y="332"/>
                  </a:lnTo>
                  <a:lnTo>
                    <a:pt x="1079" y="321"/>
                  </a:lnTo>
                  <a:lnTo>
                    <a:pt x="1079" y="321"/>
                  </a:lnTo>
                  <a:lnTo>
                    <a:pt x="1087" y="314"/>
                  </a:lnTo>
                  <a:lnTo>
                    <a:pt x="1099" y="307"/>
                  </a:lnTo>
                  <a:lnTo>
                    <a:pt x="1112" y="299"/>
                  </a:lnTo>
                  <a:lnTo>
                    <a:pt x="1116" y="298"/>
                  </a:lnTo>
                  <a:lnTo>
                    <a:pt x="1121" y="298"/>
                  </a:lnTo>
                  <a:lnTo>
                    <a:pt x="1121" y="298"/>
                  </a:lnTo>
                  <a:lnTo>
                    <a:pt x="1134" y="296"/>
                  </a:lnTo>
                  <a:lnTo>
                    <a:pt x="1139" y="296"/>
                  </a:lnTo>
                  <a:lnTo>
                    <a:pt x="1140" y="295"/>
                  </a:lnTo>
                  <a:lnTo>
                    <a:pt x="1140" y="295"/>
                  </a:lnTo>
                  <a:lnTo>
                    <a:pt x="1150" y="267"/>
                  </a:lnTo>
                  <a:lnTo>
                    <a:pt x="1158" y="247"/>
                  </a:lnTo>
                  <a:lnTo>
                    <a:pt x="1159" y="240"/>
                  </a:lnTo>
                  <a:lnTo>
                    <a:pt x="1161" y="236"/>
                  </a:lnTo>
                  <a:lnTo>
                    <a:pt x="1161" y="236"/>
                  </a:lnTo>
                  <a:lnTo>
                    <a:pt x="1152" y="222"/>
                  </a:lnTo>
                  <a:lnTo>
                    <a:pt x="1146" y="215"/>
                  </a:lnTo>
                  <a:lnTo>
                    <a:pt x="1143" y="212"/>
                  </a:lnTo>
                  <a:lnTo>
                    <a:pt x="1140" y="210"/>
                  </a:lnTo>
                  <a:lnTo>
                    <a:pt x="1140" y="210"/>
                  </a:lnTo>
                  <a:lnTo>
                    <a:pt x="1133" y="209"/>
                  </a:lnTo>
                  <a:lnTo>
                    <a:pt x="1125" y="206"/>
                  </a:lnTo>
                  <a:lnTo>
                    <a:pt x="1125" y="206"/>
                  </a:lnTo>
                  <a:lnTo>
                    <a:pt x="1121" y="203"/>
                  </a:lnTo>
                  <a:lnTo>
                    <a:pt x="1119" y="201"/>
                  </a:lnTo>
                  <a:lnTo>
                    <a:pt x="1119" y="199"/>
                  </a:lnTo>
                  <a:lnTo>
                    <a:pt x="1118" y="196"/>
                  </a:lnTo>
                  <a:lnTo>
                    <a:pt x="1118" y="196"/>
                  </a:lnTo>
                  <a:lnTo>
                    <a:pt x="1115" y="193"/>
                  </a:lnTo>
                  <a:lnTo>
                    <a:pt x="1110" y="193"/>
                  </a:lnTo>
                  <a:lnTo>
                    <a:pt x="1103" y="196"/>
                  </a:lnTo>
                  <a:lnTo>
                    <a:pt x="1103" y="196"/>
                  </a:lnTo>
                  <a:lnTo>
                    <a:pt x="1100" y="196"/>
                  </a:lnTo>
                  <a:lnTo>
                    <a:pt x="1096" y="197"/>
                  </a:lnTo>
                  <a:lnTo>
                    <a:pt x="1090" y="196"/>
                  </a:lnTo>
                  <a:lnTo>
                    <a:pt x="1081" y="193"/>
                  </a:lnTo>
                  <a:lnTo>
                    <a:pt x="1081" y="193"/>
                  </a:lnTo>
                  <a:lnTo>
                    <a:pt x="1075" y="190"/>
                  </a:lnTo>
                  <a:lnTo>
                    <a:pt x="1072" y="188"/>
                  </a:lnTo>
                  <a:lnTo>
                    <a:pt x="1070" y="185"/>
                  </a:lnTo>
                  <a:lnTo>
                    <a:pt x="1069" y="182"/>
                  </a:lnTo>
                  <a:lnTo>
                    <a:pt x="1067" y="176"/>
                  </a:lnTo>
                  <a:lnTo>
                    <a:pt x="1064" y="169"/>
                  </a:lnTo>
                  <a:lnTo>
                    <a:pt x="1064" y="169"/>
                  </a:lnTo>
                  <a:lnTo>
                    <a:pt x="1062" y="161"/>
                  </a:lnTo>
                  <a:lnTo>
                    <a:pt x="1059" y="154"/>
                  </a:lnTo>
                  <a:lnTo>
                    <a:pt x="1059" y="142"/>
                  </a:lnTo>
                  <a:lnTo>
                    <a:pt x="1059" y="142"/>
                  </a:lnTo>
                  <a:lnTo>
                    <a:pt x="1057" y="138"/>
                  </a:lnTo>
                  <a:lnTo>
                    <a:pt x="1056" y="135"/>
                  </a:lnTo>
                  <a:lnTo>
                    <a:pt x="1051" y="132"/>
                  </a:lnTo>
                  <a:lnTo>
                    <a:pt x="1047" y="129"/>
                  </a:lnTo>
                  <a:lnTo>
                    <a:pt x="1047" y="129"/>
                  </a:lnTo>
                  <a:lnTo>
                    <a:pt x="1045" y="126"/>
                  </a:lnTo>
                  <a:lnTo>
                    <a:pt x="1045" y="124"/>
                  </a:lnTo>
                  <a:lnTo>
                    <a:pt x="1051" y="123"/>
                  </a:lnTo>
                  <a:lnTo>
                    <a:pt x="1051" y="123"/>
                  </a:lnTo>
                  <a:lnTo>
                    <a:pt x="1051" y="120"/>
                  </a:lnTo>
                  <a:lnTo>
                    <a:pt x="1051" y="119"/>
                  </a:lnTo>
                  <a:lnTo>
                    <a:pt x="1047" y="113"/>
                  </a:lnTo>
                  <a:lnTo>
                    <a:pt x="1047" y="113"/>
                  </a:lnTo>
                  <a:lnTo>
                    <a:pt x="1042" y="111"/>
                  </a:lnTo>
                  <a:lnTo>
                    <a:pt x="1039" y="108"/>
                  </a:lnTo>
                  <a:lnTo>
                    <a:pt x="1036" y="104"/>
                  </a:lnTo>
                  <a:lnTo>
                    <a:pt x="1036" y="104"/>
                  </a:lnTo>
                  <a:lnTo>
                    <a:pt x="1036" y="99"/>
                  </a:lnTo>
                  <a:lnTo>
                    <a:pt x="1038" y="95"/>
                  </a:lnTo>
                  <a:lnTo>
                    <a:pt x="1042" y="87"/>
                  </a:lnTo>
                  <a:lnTo>
                    <a:pt x="1042" y="87"/>
                  </a:lnTo>
                  <a:lnTo>
                    <a:pt x="1041" y="83"/>
                  </a:lnTo>
                  <a:lnTo>
                    <a:pt x="1039" y="82"/>
                  </a:lnTo>
                  <a:lnTo>
                    <a:pt x="1033" y="79"/>
                  </a:lnTo>
                  <a:lnTo>
                    <a:pt x="1033" y="79"/>
                  </a:lnTo>
                  <a:lnTo>
                    <a:pt x="1022" y="76"/>
                  </a:lnTo>
                  <a:lnTo>
                    <a:pt x="1016" y="74"/>
                  </a:lnTo>
                  <a:lnTo>
                    <a:pt x="1013" y="70"/>
                  </a:lnTo>
                  <a:lnTo>
                    <a:pt x="1013" y="70"/>
                  </a:lnTo>
                  <a:lnTo>
                    <a:pt x="1011" y="67"/>
                  </a:lnTo>
                  <a:lnTo>
                    <a:pt x="1013" y="64"/>
                  </a:lnTo>
                  <a:lnTo>
                    <a:pt x="1016" y="61"/>
                  </a:lnTo>
                  <a:lnTo>
                    <a:pt x="1020" y="56"/>
                  </a:lnTo>
                  <a:lnTo>
                    <a:pt x="102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6" name="Freeform 45">
              <a:extLst>
                <a:ext uri="{FF2B5EF4-FFF2-40B4-BE49-F238E27FC236}">
                  <a16:creationId xmlns:a16="http://schemas.microsoft.com/office/drawing/2014/main" id="{240D82CC-E192-B344-B68E-45A073720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1625" y="5789613"/>
              <a:ext cx="695325" cy="914400"/>
            </a:xfrm>
            <a:custGeom>
              <a:avLst/>
              <a:gdLst>
                <a:gd name="T0" fmla="*/ 251 w 438"/>
                <a:gd name="T1" fmla="*/ 31 h 576"/>
                <a:gd name="T2" fmla="*/ 201 w 438"/>
                <a:gd name="T3" fmla="*/ 3 h 576"/>
                <a:gd name="T4" fmla="*/ 166 w 438"/>
                <a:gd name="T5" fmla="*/ 14 h 576"/>
                <a:gd name="T6" fmla="*/ 154 w 438"/>
                <a:gd name="T7" fmla="*/ 59 h 576"/>
                <a:gd name="T8" fmla="*/ 115 w 438"/>
                <a:gd name="T9" fmla="*/ 73 h 576"/>
                <a:gd name="T10" fmla="*/ 80 w 438"/>
                <a:gd name="T11" fmla="*/ 67 h 576"/>
                <a:gd name="T12" fmla="*/ 65 w 438"/>
                <a:gd name="T13" fmla="*/ 110 h 576"/>
                <a:gd name="T14" fmla="*/ 4 w 438"/>
                <a:gd name="T15" fmla="*/ 221 h 576"/>
                <a:gd name="T16" fmla="*/ 16 w 438"/>
                <a:gd name="T17" fmla="*/ 259 h 576"/>
                <a:gd name="T18" fmla="*/ 35 w 438"/>
                <a:gd name="T19" fmla="*/ 299 h 576"/>
                <a:gd name="T20" fmla="*/ 17 w 438"/>
                <a:gd name="T21" fmla="*/ 326 h 576"/>
                <a:gd name="T22" fmla="*/ 22 w 438"/>
                <a:gd name="T23" fmla="*/ 350 h 576"/>
                <a:gd name="T24" fmla="*/ 4 w 438"/>
                <a:gd name="T25" fmla="*/ 360 h 576"/>
                <a:gd name="T26" fmla="*/ 14 w 438"/>
                <a:gd name="T27" fmla="*/ 382 h 576"/>
                <a:gd name="T28" fmla="*/ 9 w 438"/>
                <a:gd name="T29" fmla="*/ 412 h 576"/>
                <a:gd name="T30" fmla="*/ 37 w 438"/>
                <a:gd name="T31" fmla="*/ 400 h 576"/>
                <a:gd name="T32" fmla="*/ 63 w 438"/>
                <a:gd name="T33" fmla="*/ 413 h 576"/>
                <a:gd name="T34" fmla="*/ 40 w 438"/>
                <a:gd name="T35" fmla="*/ 456 h 576"/>
                <a:gd name="T36" fmla="*/ 19 w 438"/>
                <a:gd name="T37" fmla="*/ 496 h 576"/>
                <a:gd name="T38" fmla="*/ 22 w 438"/>
                <a:gd name="T39" fmla="*/ 514 h 576"/>
                <a:gd name="T40" fmla="*/ 34 w 438"/>
                <a:gd name="T41" fmla="*/ 523 h 576"/>
                <a:gd name="T42" fmla="*/ 53 w 438"/>
                <a:gd name="T43" fmla="*/ 535 h 576"/>
                <a:gd name="T44" fmla="*/ 81 w 438"/>
                <a:gd name="T45" fmla="*/ 533 h 576"/>
                <a:gd name="T46" fmla="*/ 105 w 438"/>
                <a:gd name="T47" fmla="*/ 566 h 576"/>
                <a:gd name="T48" fmla="*/ 130 w 438"/>
                <a:gd name="T49" fmla="*/ 567 h 576"/>
                <a:gd name="T50" fmla="*/ 148 w 438"/>
                <a:gd name="T51" fmla="*/ 539 h 576"/>
                <a:gd name="T52" fmla="*/ 167 w 438"/>
                <a:gd name="T53" fmla="*/ 551 h 576"/>
                <a:gd name="T54" fmla="*/ 171 w 438"/>
                <a:gd name="T55" fmla="*/ 529 h 576"/>
                <a:gd name="T56" fmla="*/ 188 w 438"/>
                <a:gd name="T57" fmla="*/ 508 h 576"/>
                <a:gd name="T58" fmla="*/ 232 w 438"/>
                <a:gd name="T59" fmla="*/ 465 h 576"/>
                <a:gd name="T60" fmla="*/ 254 w 438"/>
                <a:gd name="T61" fmla="*/ 418 h 576"/>
                <a:gd name="T62" fmla="*/ 281 w 438"/>
                <a:gd name="T63" fmla="*/ 403 h 576"/>
                <a:gd name="T64" fmla="*/ 321 w 438"/>
                <a:gd name="T65" fmla="*/ 404 h 576"/>
                <a:gd name="T66" fmla="*/ 355 w 438"/>
                <a:gd name="T67" fmla="*/ 399 h 576"/>
                <a:gd name="T68" fmla="*/ 365 w 438"/>
                <a:gd name="T69" fmla="*/ 376 h 576"/>
                <a:gd name="T70" fmla="*/ 397 w 438"/>
                <a:gd name="T71" fmla="*/ 354 h 576"/>
                <a:gd name="T72" fmla="*/ 358 w 438"/>
                <a:gd name="T73" fmla="*/ 350 h 576"/>
                <a:gd name="T74" fmla="*/ 299 w 438"/>
                <a:gd name="T75" fmla="*/ 336 h 576"/>
                <a:gd name="T76" fmla="*/ 281 w 438"/>
                <a:gd name="T77" fmla="*/ 325 h 576"/>
                <a:gd name="T78" fmla="*/ 257 w 438"/>
                <a:gd name="T79" fmla="*/ 308 h 576"/>
                <a:gd name="T80" fmla="*/ 256 w 438"/>
                <a:gd name="T81" fmla="*/ 270 h 576"/>
                <a:gd name="T82" fmla="*/ 260 w 438"/>
                <a:gd name="T83" fmla="*/ 243 h 576"/>
                <a:gd name="T84" fmla="*/ 278 w 438"/>
                <a:gd name="T85" fmla="*/ 219 h 576"/>
                <a:gd name="T86" fmla="*/ 308 w 438"/>
                <a:gd name="T87" fmla="*/ 216 h 576"/>
                <a:gd name="T88" fmla="*/ 320 w 438"/>
                <a:gd name="T89" fmla="*/ 242 h 576"/>
                <a:gd name="T90" fmla="*/ 303 w 438"/>
                <a:gd name="T91" fmla="*/ 285 h 576"/>
                <a:gd name="T92" fmla="*/ 330 w 438"/>
                <a:gd name="T93" fmla="*/ 289 h 576"/>
                <a:gd name="T94" fmla="*/ 333 w 438"/>
                <a:gd name="T95" fmla="*/ 307 h 576"/>
                <a:gd name="T96" fmla="*/ 348 w 438"/>
                <a:gd name="T97" fmla="*/ 277 h 576"/>
                <a:gd name="T98" fmla="*/ 373 w 438"/>
                <a:gd name="T99" fmla="*/ 270 h 576"/>
                <a:gd name="T100" fmla="*/ 394 w 438"/>
                <a:gd name="T101" fmla="*/ 273 h 576"/>
                <a:gd name="T102" fmla="*/ 429 w 438"/>
                <a:gd name="T103" fmla="*/ 277 h 576"/>
                <a:gd name="T104" fmla="*/ 405 w 438"/>
                <a:gd name="T105" fmla="*/ 262 h 576"/>
                <a:gd name="T106" fmla="*/ 410 w 438"/>
                <a:gd name="T107" fmla="*/ 236 h 576"/>
                <a:gd name="T108" fmla="*/ 437 w 438"/>
                <a:gd name="T109" fmla="*/ 224 h 576"/>
                <a:gd name="T110" fmla="*/ 422 w 438"/>
                <a:gd name="T111" fmla="*/ 202 h 576"/>
                <a:gd name="T112" fmla="*/ 402 w 438"/>
                <a:gd name="T113" fmla="*/ 176 h 576"/>
                <a:gd name="T114" fmla="*/ 364 w 438"/>
                <a:gd name="T115" fmla="*/ 147 h 576"/>
                <a:gd name="T116" fmla="*/ 339 w 438"/>
                <a:gd name="T117" fmla="*/ 129 h 576"/>
                <a:gd name="T118" fmla="*/ 324 w 438"/>
                <a:gd name="T119" fmla="*/ 83 h 576"/>
                <a:gd name="T120" fmla="*/ 288 w 438"/>
                <a:gd name="T121" fmla="*/ 58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8" h="576">
                  <a:moveTo>
                    <a:pt x="265" y="55"/>
                  </a:moveTo>
                  <a:lnTo>
                    <a:pt x="265" y="55"/>
                  </a:lnTo>
                  <a:lnTo>
                    <a:pt x="263" y="49"/>
                  </a:lnTo>
                  <a:lnTo>
                    <a:pt x="260" y="45"/>
                  </a:lnTo>
                  <a:lnTo>
                    <a:pt x="257" y="42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51" y="31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47" y="19"/>
                  </a:lnTo>
                  <a:lnTo>
                    <a:pt x="245" y="16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5" y="0"/>
                  </a:lnTo>
                  <a:lnTo>
                    <a:pt x="201" y="3"/>
                  </a:lnTo>
                  <a:lnTo>
                    <a:pt x="201" y="3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200" y="6"/>
                  </a:lnTo>
                  <a:lnTo>
                    <a:pt x="192" y="8"/>
                  </a:lnTo>
                  <a:lnTo>
                    <a:pt x="182" y="9"/>
                  </a:lnTo>
                  <a:lnTo>
                    <a:pt x="173" y="9"/>
                  </a:lnTo>
                  <a:lnTo>
                    <a:pt x="173" y="9"/>
                  </a:lnTo>
                  <a:lnTo>
                    <a:pt x="167" y="11"/>
                  </a:lnTo>
                  <a:lnTo>
                    <a:pt x="166" y="14"/>
                  </a:lnTo>
                  <a:lnTo>
                    <a:pt x="166" y="19"/>
                  </a:lnTo>
                  <a:lnTo>
                    <a:pt x="166" y="19"/>
                  </a:lnTo>
                  <a:lnTo>
                    <a:pt x="167" y="33"/>
                  </a:lnTo>
                  <a:lnTo>
                    <a:pt x="168" y="40"/>
                  </a:lnTo>
                  <a:lnTo>
                    <a:pt x="167" y="43"/>
                  </a:lnTo>
                  <a:lnTo>
                    <a:pt x="167" y="45"/>
                  </a:lnTo>
                  <a:lnTo>
                    <a:pt x="167" y="45"/>
                  </a:lnTo>
                  <a:lnTo>
                    <a:pt x="161" y="49"/>
                  </a:lnTo>
                  <a:lnTo>
                    <a:pt x="154" y="59"/>
                  </a:lnTo>
                  <a:lnTo>
                    <a:pt x="154" y="59"/>
                  </a:lnTo>
                  <a:lnTo>
                    <a:pt x="146" y="68"/>
                  </a:lnTo>
                  <a:lnTo>
                    <a:pt x="142" y="73"/>
                  </a:lnTo>
                  <a:lnTo>
                    <a:pt x="142" y="73"/>
                  </a:lnTo>
                  <a:lnTo>
                    <a:pt x="137" y="74"/>
                  </a:lnTo>
                  <a:lnTo>
                    <a:pt x="130" y="73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15" y="73"/>
                  </a:lnTo>
                  <a:lnTo>
                    <a:pt x="111" y="74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97" y="67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6" y="61"/>
                  </a:lnTo>
                  <a:lnTo>
                    <a:pt x="83" y="62"/>
                  </a:lnTo>
                  <a:lnTo>
                    <a:pt x="80" y="67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1" y="91"/>
                  </a:lnTo>
                  <a:lnTo>
                    <a:pt x="81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7" y="104"/>
                  </a:lnTo>
                  <a:lnTo>
                    <a:pt x="74" y="107"/>
                  </a:lnTo>
                  <a:lnTo>
                    <a:pt x="65" y="110"/>
                  </a:lnTo>
                  <a:lnTo>
                    <a:pt x="52" y="111"/>
                  </a:lnTo>
                  <a:lnTo>
                    <a:pt x="52" y="111"/>
                  </a:lnTo>
                  <a:lnTo>
                    <a:pt x="46" y="119"/>
                  </a:lnTo>
                  <a:lnTo>
                    <a:pt x="31" y="138"/>
                  </a:lnTo>
                  <a:lnTo>
                    <a:pt x="10" y="166"/>
                  </a:lnTo>
                  <a:lnTo>
                    <a:pt x="10" y="191"/>
                  </a:lnTo>
                  <a:lnTo>
                    <a:pt x="10" y="191"/>
                  </a:lnTo>
                  <a:lnTo>
                    <a:pt x="7" y="206"/>
                  </a:lnTo>
                  <a:lnTo>
                    <a:pt x="4" y="221"/>
                  </a:lnTo>
                  <a:lnTo>
                    <a:pt x="4" y="221"/>
                  </a:lnTo>
                  <a:lnTo>
                    <a:pt x="3" y="227"/>
                  </a:lnTo>
                  <a:lnTo>
                    <a:pt x="3" y="234"/>
                  </a:lnTo>
                  <a:lnTo>
                    <a:pt x="4" y="240"/>
                  </a:lnTo>
                  <a:lnTo>
                    <a:pt x="7" y="246"/>
                  </a:lnTo>
                  <a:lnTo>
                    <a:pt x="7" y="246"/>
                  </a:lnTo>
                  <a:lnTo>
                    <a:pt x="13" y="250"/>
                  </a:lnTo>
                  <a:lnTo>
                    <a:pt x="16" y="253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76"/>
                  </a:lnTo>
                  <a:lnTo>
                    <a:pt x="16" y="282"/>
                  </a:lnTo>
                  <a:lnTo>
                    <a:pt x="17" y="283"/>
                  </a:lnTo>
                  <a:lnTo>
                    <a:pt x="19" y="285"/>
                  </a:lnTo>
                  <a:lnTo>
                    <a:pt x="19" y="285"/>
                  </a:lnTo>
                  <a:lnTo>
                    <a:pt x="35" y="290"/>
                  </a:lnTo>
                  <a:lnTo>
                    <a:pt x="35" y="290"/>
                  </a:lnTo>
                  <a:lnTo>
                    <a:pt x="35" y="299"/>
                  </a:lnTo>
                  <a:lnTo>
                    <a:pt x="34" y="305"/>
                  </a:lnTo>
                  <a:lnTo>
                    <a:pt x="32" y="307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26" y="311"/>
                  </a:lnTo>
                  <a:lnTo>
                    <a:pt x="22" y="316"/>
                  </a:lnTo>
                  <a:lnTo>
                    <a:pt x="17" y="320"/>
                  </a:lnTo>
                  <a:lnTo>
                    <a:pt x="17" y="323"/>
                  </a:lnTo>
                  <a:lnTo>
                    <a:pt x="17" y="326"/>
                  </a:lnTo>
                  <a:lnTo>
                    <a:pt x="17" y="326"/>
                  </a:lnTo>
                  <a:lnTo>
                    <a:pt x="22" y="332"/>
                  </a:lnTo>
                  <a:lnTo>
                    <a:pt x="26" y="338"/>
                  </a:lnTo>
                  <a:lnTo>
                    <a:pt x="31" y="342"/>
                  </a:lnTo>
                  <a:lnTo>
                    <a:pt x="32" y="345"/>
                  </a:lnTo>
                  <a:lnTo>
                    <a:pt x="32" y="345"/>
                  </a:lnTo>
                  <a:lnTo>
                    <a:pt x="31" y="347"/>
                  </a:lnTo>
                  <a:lnTo>
                    <a:pt x="26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19" y="357"/>
                  </a:lnTo>
                  <a:lnTo>
                    <a:pt x="16" y="359"/>
                  </a:lnTo>
                  <a:lnTo>
                    <a:pt x="13" y="360"/>
                  </a:lnTo>
                  <a:lnTo>
                    <a:pt x="12" y="359"/>
                  </a:lnTo>
                  <a:lnTo>
                    <a:pt x="12" y="359"/>
                  </a:lnTo>
                  <a:lnTo>
                    <a:pt x="9" y="359"/>
                  </a:lnTo>
                  <a:lnTo>
                    <a:pt x="4" y="360"/>
                  </a:lnTo>
                  <a:lnTo>
                    <a:pt x="3" y="363"/>
                  </a:lnTo>
                  <a:lnTo>
                    <a:pt x="3" y="365"/>
                  </a:lnTo>
                  <a:lnTo>
                    <a:pt x="4" y="366"/>
                  </a:lnTo>
                  <a:lnTo>
                    <a:pt x="4" y="366"/>
                  </a:lnTo>
                  <a:lnTo>
                    <a:pt x="10" y="370"/>
                  </a:lnTo>
                  <a:lnTo>
                    <a:pt x="14" y="375"/>
                  </a:lnTo>
                  <a:lnTo>
                    <a:pt x="16" y="379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6" y="390"/>
                  </a:lnTo>
                  <a:lnTo>
                    <a:pt x="1" y="394"/>
                  </a:lnTo>
                  <a:lnTo>
                    <a:pt x="0" y="397"/>
                  </a:lnTo>
                  <a:lnTo>
                    <a:pt x="1" y="399"/>
                  </a:lnTo>
                  <a:lnTo>
                    <a:pt x="1" y="399"/>
                  </a:lnTo>
                  <a:lnTo>
                    <a:pt x="4" y="406"/>
                  </a:lnTo>
                  <a:lnTo>
                    <a:pt x="6" y="409"/>
                  </a:lnTo>
                  <a:lnTo>
                    <a:pt x="9" y="412"/>
                  </a:lnTo>
                  <a:lnTo>
                    <a:pt x="9" y="412"/>
                  </a:lnTo>
                  <a:lnTo>
                    <a:pt x="13" y="412"/>
                  </a:lnTo>
                  <a:lnTo>
                    <a:pt x="17" y="412"/>
                  </a:lnTo>
                  <a:lnTo>
                    <a:pt x="23" y="409"/>
                  </a:lnTo>
                  <a:lnTo>
                    <a:pt x="26" y="406"/>
                  </a:lnTo>
                  <a:lnTo>
                    <a:pt x="26" y="406"/>
                  </a:lnTo>
                  <a:lnTo>
                    <a:pt x="31" y="402"/>
                  </a:lnTo>
                  <a:lnTo>
                    <a:pt x="34" y="400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46" y="400"/>
                  </a:lnTo>
                  <a:lnTo>
                    <a:pt x="49" y="400"/>
                  </a:lnTo>
                  <a:lnTo>
                    <a:pt x="50" y="403"/>
                  </a:lnTo>
                  <a:lnTo>
                    <a:pt x="50" y="403"/>
                  </a:lnTo>
                  <a:lnTo>
                    <a:pt x="52" y="409"/>
                  </a:lnTo>
                  <a:lnTo>
                    <a:pt x="53" y="412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63" y="413"/>
                  </a:lnTo>
                  <a:lnTo>
                    <a:pt x="66" y="415"/>
                  </a:lnTo>
                  <a:lnTo>
                    <a:pt x="68" y="416"/>
                  </a:lnTo>
                  <a:lnTo>
                    <a:pt x="68" y="416"/>
                  </a:lnTo>
                  <a:lnTo>
                    <a:pt x="57" y="422"/>
                  </a:lnTo>
                  <a:lnTo>
                    <a:pt x="52" y="430"/>
                  </a:lnTo>
                  <a:lnTo>
                    <a:pt x="47" y="436"/>
                  </a:lnTo>
                  <a:lnTo>
                    <a:pt x="47" y="436"/>
                  </a:lnTo>
                  <a:lnTo>
                    <a:pt x="43" y="449"/>
                  </a:lnTo>
                  <a:lnTo>
                    <a:pt x="40" y="456"/>
                  </a:lnTo>
                  <a:lnTo>
                    <a:pt x="35" y="461"/>
                  </a:lnTo>
                  <a:lnTo>
                    <a:pt x="35" y="461"/>
                  </a:lnTo>
                  <a:lnTo>
                    <a:pt x="26" y="471"/>
                  </a:lnTo>
                  <a:lnTo>
                    <a:pt x="22" y="476"/>
                  </a:lnTo>
                  <a:lnTo>
                    <a:pt x="22" y="482"/>
                  </a:lnTo>
                  <a:lnTo>
                    <a:pt x="22" y="482"/>
                  </a:lnTo>
                  <a:lnTo>
                    <a:pt x="22" y="490"/>
                  </a:lnTo>
                  <a:lnTo>
                    <a:pt x="22" y="495"/>
                  </a:lnTo>
                  <a:lnTo>
                    <a:pt x="19" y="496"/>
                  </a:lnTo>
                  <a:lnTo>
                    <a:pt x="19" y="496"/>
                  </a:lnTo>
                  <a:lnTo>
                    <a:pt x="13" y="501"/>
                  </a:lnTo>
                  <a:lnTo>
                    <a:pt x="12" y="502"/>
                  </a:lnTo>
                  <a:lnTo>
                    <a:pt x="12" y="505"/>
                  </a:lnTo>
                  <a:lnTo>
                    <a:pt x="12" y="505"/>
                  </a:lnTo>
                  <a:lnTo>
                    <a:pt x="13" y="508"/>
                  </a:lnTo>
                  <a:lnTo>
                    <a:pt x="17" y="513"/>
                  </a:lnTo>
                  <a:lnTo>
                    <a:pt x="20" y="514"/>
                  </a:lnTo>
                  <a:lnTo>
                    <a:pt x="22" y="514"/>
                  </a:lnTo>
                  <a:lnTo>
                    <a:pt x="23" y="513"/>
                  </a:lnTo>
                  <a:lnTo>
                    <a:pt x="23" y="513"/>
                  </a:lnTo>
                  <a:lnTo>
                    <a:pt x="26" y="507"/>
                  </a:lnTo>
                  <a:lnTo>
                    <a:pt x="28" y="505"/>
                  </a:lnTo>
                  <a:lnTo>
                    <a:pt x="29" y="507"/>
                  </a:lnTo>
                  <a:lnTo>
                    <a:pt x="29" y="507"/>
                  </a:lnTo>
                  <a:lnTo>
                    <a:pt x="34" y="514"/>
                  </a:lnTo>
                  <a:lnTo>
                    <a:pt x="35" y="519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31" y="532"/>
                  </a:lnTo>
                  <a:lnTo>
                    <a:pt x="32" y="535"/>
                  </a:lnTo>
                  <a:lnTo>
                    <a:pt x="37" y="535"/>
                  </a:lnTo>
                  <a:lnTo>
                    <a:pt x="37" y="535"/>
                  </a:lnTo>
                  <a:lnTo>
                    <a:pt x="43" y="535"/>
                  </a:lnTo>
                  <a:lnTo>
                    <a:pt x="47" y="533"/>
                  </a:lnTo>
                  <a:lnTo>
                    <a:pt x="50" y="532"/>
                  </a:lnTo>
                  <a:lnTo>
                    <a:pt x="53" y="535"/>
                  </a:lnTo>
                  <a:lnTo>
                    <a:pt x="53" y="535"/>
                  </a:lnTo>
                  <a:lnTo>
                    <a:pt x="59" y="539"/>
                  </a:lnTo>
                  <a:lnTo>
                    <a:pt x="60" y="541"/>
                  </a:lnTo>
                  <a:lnTo>
                    <a:pt x="63" y="541"/>
                  </a:lnTo>
                  <a:lnTo>
                    <a:pt x="63" y="541"/>
                  </a:lnTo>
                  <a:lnTo>
                    <a:pt x="68" y="538"/>
                  </a:lnTo>
                  <a:lnTo>
                    <a:pt x="72" y="533"/>
                  </a:lnTo>
                  <a:lnTo>
                    <a:pt x="72" y="533"/>
                  </a:lnTo>
                  <a:lnTo>
                    <a:pt x="81" y="533"/>
                  </a:lnTo>
                  <a:lnTo>
                    <a:pt x="86" y="533"/>
                  </a:lnTo>
                  <a:lnTo>
                    <a:pt x="87" y="535"/>
                  </a:lnTo>
                  <a:lnTo>
                    <a:pt x="87" y="535"/>
                  </a:lnTo>
                  <a:lnTo>
                    <a:pt x="90" y="544"/>
                  </a:lnTo>
                  <a:lnTo>
                    <a:pt x="91" y="551"/>
                  </a:lnTo>
                  <a:lnTo>
                    <a:pt x="94" y="559"/>
                  </a:lnTo>
                  <a:lnTo>
                    <a:pt x="94" y="559"/>
                  </a:lnTo>
                  <a:lnTo>
                    <a:pt x="99" y="563"/>
                  </a:lnTo>
                  <a:lnTo>
                    <a:pt x="105" y="566"/>
                  </a:lnTo>
                  <a:lnTo>
                    <a:pt x="109" y="567"/>
                  </a:lnTo>
                  <a:lnTo>
                    <a:pt x="114" y="570"/>
                  </a:lnTo>
                  <a:lnTo>
                    <a:pt x="114" y="570"/>
                  </a:lnTo>
                  <a:lnTo>
                    <a:pt x="121" y="575"/>
                  </a:lnTo>
                  <a:lnTo>
                    <a:pt x="124" y="576"/>
                  </a:lnTo>
                  <a:lnTo>
                    <a:pt x="127" y="573"/>
                  </a:lnTo>
                  <a:lnTo>
                    <a:pt x="127" y="573"/>
                  </a:lnTo>
                  <a:lnTo>
                    <a:pt x="129" y="570"/>
                  </a:lnTo>
                  <a:lnTo>
                    <a:pt x="130" y="567"/>
                  </a:lnTo>
                  <a:lnTo>
                    <a:pt x="131" y="563"/>
                  </a:lnTo>
                  <a:lnTo>
                    <a:pt x="133" y="560"/>
                  </a:lnTo>
                  <a:lnTo>
                    <a:pt x="133" y="560"/>
                  </a:lnTo>
                  <a:lnTo>
                    <a:pt x="137" y="557"/>
                  </a:lnTo>
                  <a:lnTo>
                    <a:pt x="142" y="554"/>
                  </a:lnTo>
                  <a:lnTo>
                    <a:pt x="145" y="551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8" y="539"/>
                  </a:lnTo>
                  <a:lnTo>
                    <a:pt x="149" y="535"/>
                  </a:lnTo>
                  <a:lnTo>
                    <a:pt x="152" y="533"/>
                  </a:lnTo>
                  <a:lnTo>
                    <a:pt x="155" y="533"/>
                  </a:lnTo>
                  <a:lnTo>
                    <a:pt x="157" y="535"/>
                  </a:lnTo>
                  <a:lnTo>
                    <a:pt x="157" y="535"/>
                  </a:lnTo>
                  <a:lnTo>
                    <a:pt x="161" y="541"/>
                  </a:lnTo>
                  <a:lnTo>
                    <a:pt x="163" y="548"/>
                  </a:lnTo>
                  <a:lnTo>
                    <a:pt x="166" y="551"/>
                  </a:lnTo>
                  <a:lnTo>
                    <a:pt x="167" y="551"/>
                  </a:lnTo>
                  <a:lnTo>
                    <a:pt x="168" y="550"/>
                  </a:lnTo>
                  <a:lnTo>
                    <a:pt x="168" y="550"/>
                  </a:lnTo>
                  <a:lnTo>
                    <a:pt x="170" y="545"/>
                  </a:lnTo>
                  <a:lnTo>
                    <a:pt x="170" y="541"/>
                  </a:lnTo>
                  <a:lnTo>
                    <a:pt x="170" y="541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30"/>
                  </a:lnTo>
                  <a:lnTo>
                    <a:pt x="171" y="529"/>
                  </a:lnTo>
                  <a:lnTo>
                    <a:pt x="179" y="526"/>
                  </a:lnTo>
                  <a:lnTo>
                    <a:pt x="179" y="526"/>
                  </a:lnTo>
                  <a:lnTo>
                    <a:pt x="188" y="524"/>
                  </a:lnTo>
                  <a:lnTo>
                    <a:pt x="191" y="521"/>
                  </a:lnTo>
                  <a:lnTo>
                    <a:pt x="192" y="519"/>
                  </a:lnTo>
                  <a:lnTo>
                    <a:pt x="192" y="519"/>
                  </a:lnTo>
                  <a:lnTo>
                    <a:pt x="189" y="513"/>
                  </a:lnTo>
                  <a:lnTo>
                    <a:pt x="188" y="511"/>
                  </a:lnTo>
                  <a:lnTo>
                    <a:pt x="188" y="508"/>
                  </a:lnTo>
                  <a:lnTo>
                    <a:pt x="188" y="508"/>
                  </a:lnTo>
                  <a:lnTo>
                    <a:pt x="192" y="501"/>
                  </a:lnTo>
                  <a:lnTo>
                    <a:pt x="200" y="490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20" y="473"/>
                  </a:lnTo>
                  <a:lnTo>
                    <a:pt x="228" y="470"/>
                  </a:lnTo>
                  <a:lnTo>
                    <a:pt x="231" y="467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41" y="449"/>
                  </a:lnTo>
                  <a:lnTo>
                    <a:pt x="245" y="440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7" y="430"/>
                  </a:lnTo>
                  <a:lnTo>
                    <a:pt x="248" y="425"/>
                  </a:lnTo>
                  <a:lnTo>
                    <a:pt x="254" y="418"/>
                  </a:lnTo>
                  <a:lnTo>
                    <a:pt x="254" y="418"/>
                  </a:lnTo>
                  <a:lnTo>
                    <a:pt x="262" y="410"/>
                  </a:lnTo>
                  <a:lnTo>
                    <a:pt x="265" y="407"/>
                  </a:lnTo>
                  <a:lnTo>
                    <a:pt x="269" y="407"/>
                  </a:lnTo>
                  <a:lnTo>
                    <a:pt x="269" y="407"/>
                  </a:lnTo>
                  <a:lnTo>
                    <a:pt x="272" y="406"/>
                  </a:lnTo>
                  <a:lnTo>
                    <a:pt x="275" y="404"/>
                  </a:lnTo>
                  <a:lnTo>
                    <a:pt x="278" y="403"/>
                  </a:lnTo>
                  <a:lnTo>
                    <a:pt x="281" y="403"/>
                  </a:lnTo>
                  <a:lnTo>
                    <a:pt x="281" y="403"/>
                  </a:lnTo>
                  <a:lnTo>
                    <a:pt x="288" y="406"/>
                  </a:lnTo>
                  <a:lnTo>
                    <a:pt x="293" y="407"/>
                  </a:lnTo>
                  <a:lnTo>
                    <a:pt x="296" y="406"/>
                  </a:lnTo>
                  <a:lnTo>
                    <a:pt x="296" y="406"/>
                  </a:lnTo>
                  <a:lnTo>
                    <a:pt x="305" y="402"/>
                  </a:lnTo>
                  <a:lnTo>
                    <a:pt x="309" y="400"/>
                  </a:lnTo>
                  <a:lnTo>
                    <a:pt x="315" y="400"/>
                  </a:lnTo>
                  <a:lnTo>
                    <a:pt x="315" y="400"/>
                  </a:lnTo>
                  <a:lnTo>
                    <a:pt x="321" y="404"/>
                  </a:lnTo>
                  <a:lnTo>
                    <a:pt x="328" y="409"/>
                  </a:lnTo>
                  <a:lnTo>
                    <a:pt x="334" y="412"/>
                  </a:lnTo>
                  <a:lnTo>
                    <a:pt x="339" y="412"/>
                  </a:lnTo>
                  <a:lnTo>
                    <a:pt x="342" y="412"/>
                  </a:lnTo>
                  <a:lnTo>
                    <a:pt x="342" y="412"/>
                  </a:lnTo>
                  <a:lnTo>
                    <a:pt x="346" y="407"/>
                  </a:lnTo>
                  <a:lnTo>
                    <a:pt x="351" y="404"/>
                  </a:lnTo>
                  <a:lnTo>
                    <a:pt x="355" y="399"/>
                  </a:lnTo>
                  <a:lnTo>
                    <a:pt x="355" y="399"/>
                  </a:lnTo>
                  <a:lnTo>
                    <a:pt x="358" y="394"/>
                  </a:lnTo>
                  <a:lnTo>
                    <a:pt x="360" y="391"/>
                  </a:lnTo>
                  <a:lnTo>
                    <a:pt x="360" y="387"/>
                  </a:lnTo>
                  <a:lnTo>
                    <a:pt x="360" y="387"/>
                  </a:lnTo>
                  <a:lnTo>
                    <a:pt x="358" y="382"/>
                  </a:lnTo>
                  <a:lnTo>
                    <a:pt x="358" y="379"/>
                  </a:lnTo>
                  <a:lnTo>
                    <a:pt x="361" y="378"/>
                  </a:lnTo>
                  <a:lnTo>
                    <a:pt x="365" y="376"/>
                  </a:lnTo>
                  <a:lnTo>
                    <a:pt x="365" y="376"/>
                  </a:lnTo>
                  <a:lnTo>
                    <a:pt x="376" y="376"/>
                  </a:lnTo>
                  <a:lnTo>
                    <a:pt x="379" y="376"/>
                  </a:lnTo>
                  <a:lnTo>
                    <a:pt x="382" y="372"/>
                  </a:lnTo>
                  <a:lnTo>
                    <a:pt x="382" y="372"/>
                  </a:lnTo>
                  <a:lnTo>
                    <a:pt x="391" y="365"/>
                  </a:lnTo>
                  <a:lnTo>
                    <a:pt x="397" y="359"/>
                  </a:lnTo>
                  <a:lnTo>
                    <a:pt x="397" y="359"/>
                  </a:lnTo>
                  <a:lnTo>
                    <a:pt x="397" y="356"/>
                  </a:lnTo>
                  <a:lnTo>
                    <a:pt x="397" y="354"/>
                  </a:lnTo>
                  <a:lnTo>
                    <a:pt x="392" y="350"/>
                  </a:lnTo>
                  <a:lnTo>
                    <a:pt x="388" y="347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79" y="347"/>
                  </a:lnTo>
                  <a:lnTo>
                    <a:pt x="374" y="350"/>
                  </a:lnTo>
                  <a:lnTo>
                    <a:pt x="367" y="351"/>
                  </a:lnTo>
                  <a:lnTo>
                    <a:pt x="362" y="351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42" y="342"/>
                  </a:lnTo>
                  <a:lnTo>
                    <a:pt x="334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0" y="341"/>
                  </a:lnTo>
                  <a:lnTo>
                    <a:pt x="309" y="339"/>
                  </a:lnTo>
                  <a:lnTo>
                    <a:pt x="300" y="338"/>
                  </a:lnTo>
                  <a:lnTo>
                    <a:pt x="299" y="336"/>
                  </a:lnTo>
                  <a:lnTo>
                    <a:pt x="299" y="335"/>
                  </a:lnTo>
                  <a:lnTo>
                    <a:pt x="299" y="335"/>
                  </a:lnTo>
                  <a:lnTo>
                    <a:pt x="299" y="330"/>
                  </a:lnTo>
                  <a:lnTo>
                    <a:pt x="300" y="329"/>
                  </a:lnTo>
                  <a:lnTo>
                    <a:pt x="299" y="327"/>
                  </a:lnTo>
                  <a:lnTo>
                    <a:pt x="297" y="326"/>
                  </a:lnTo>
                  <a:lnTo>
                    <a:pt x="293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4" y="325"/>
                  </a:lnTo>
                  <a:lnTo>
                    <a:pt x="266" y="323"/>
                  </a:lnTo>
                  <a:lnTo>
                    <a:pt x="262" y="322"/>
                  </a:lnTo>
                  <a:lnTo>
                    <a:pt x="259" y="320"/>
                  </a:lnTo>
                  <a:lnTo>
                    <a:pt x="256" y="317"/>
                  </a:lnTo>
                  <a:lnTo>
                    <a:pt x="256" y="316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7" y="308"/>
                  </a:lnTo>
                  <a:lnTo>
                    <a:pt x="259" y="307"/>
                  </a:lnTo>
                  <a:lnTo>
                    <a:pt x="260" y="305"/>
                  </a:lnTo>
                  <a:lnTo>
                    <a:pt x="262" y="304"/>
                  </a:lnTo>
                  <a:lnTo>
                    <a:pt x="262" y="304"/>
                  </a:lnTo>
                  <a:lnTo>
                    <a:pt x="259" y="293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6" y="279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3" y="262"/>
                  </a:lnTo>
                  <a:lnTo>
                    <a:pt x="253" y="258"/>
                  </a:lnTo>
                  <a:lnTo>
                    <a:pt x="253" y="255"/>
                  </a:lnTo>
                  <a:lnTo>
                    <a:pt x="253" y="255"/>
                  </a:lnTo>
                  <a:lnTo>
                    <a:pt x="254" y="249"/>
                  </a:lnTo>
                  <a:lnTo>
                    <a:pt x="259" y="246"/>
                  </a:lnTo>
                  <a:lnTo>
                    <a:pt x="259" y="246"/>
                  </a:lnTo>
                  <a:lnTo>
                    <a:pt x="260" y="243"/>
                  </a:lnTo>
                  <a:lnTo>
                    <a:pt x="260" y="240"/>
                  </a:lnTo>
                  <a:lnTo>
                    <a:pt x="262" y="231"/>
                  </a:lnTo>
                  <a:lnTo>
                    <a:pt x="262" y="224"/>
                  </a:lnTo>
                  <a:lnTo>
                    <a:pt x="263" y="222"/>
                  </a:lnTo>
                  <a:lnTo>
                    <a:pt x="263" y="221"/>
                  </a:lnTo>
                  <a:lnTo>
                    <a:pt x="263" y="221"/>
                  </a:lnTo>
                  <a:lnTo>
                    <a:pt x="268" y="221"/>
                  </a:lnTo>
                  <a:lnTo>
                    <a:pt x="272" y="221"/>
                  </a:lnTo>
                  <a:lnTo>
                    <a:pt x="278" y="219"/>
                  </a:lnTo>
                  <a:lnTo>
                    <a:pt x="278" y="219"/>
                  </a:lnTo>
                  <a:lnTo>
                    <a:pt x="283" y="218"/>
                  </a:lnTo>
                  <a:lnTo>
                    <a:pt x="285" y="215"/>
                  </a:lnTo>
                  <a:lnTo>
                    <a:pt x="288" y="212"/>
                  </a:lnTo>
                  <a:lnTo>
                    <a:pt x="291" y="210"/>
                  </a:lnTo>
                  <a:lnTo>
                    <a:pt x="291" y="210"/>
                  </a:lnTo>
                  <a:lnTo>
                    <a:pt x="299" y="210"/>
                  </a:lnTo>
                  <a:lnTo>
                    <a:pt x="302" y="212"/>
                  </a:lnTo>
                  <a:lnTo>
                    <a:pt x="308" y="216"/>
                  </a:lnTo>
                  <a:lnTo>
                    <a:pt x="308" y="216"/>
                  </a:lnTo>
                  <a:lnTo>
                    <a:pt x="312" y="221"/>
                  </a:lnTo>
                  <a:lnTo>
                    <a:pt x="315" y="224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22" y="234"/>
                  </a:lnTo>
                  <a:lnTo>
                    <a:pt x="322" y="237"/>
                  </a:lnTo>
                  <a:lnTo>
                    <a:pt x="320" y="242"/>
                  </a:lnTo>
                  <a:lnTo>
                    <a:pt x="320" y="242"/>
                  </a:lnTo>
                  <a:lnTo>
                    <a:pt x="315" y="248"/>
                  </a:lnTo>
                  <a:lnTo>
                    <a:pt x="312" y="253"/>
                  </a:lnTo>
                  <a:lnTo>
                    <a:pt x="308" y="265"/>
                  </a:lnTo>
                  <a:lnTo>
                    <a:pt x="308" y="265"/>
                  </a:lnTo>
                  <a:lnTo>
                    <a:pt x="302" y="277"/>
                  </a:lnTo>
                  <a:lnTo>
                    <a:pt x="300" y="282"/>
                  </a:lnTo>
                  <a:lnTo>
                    <a:pt x="302" y="283"/>
                  </a:lnTo>
                  <a:lnTo>
                    <a:pt x="303" y="285"/>
                  </a:lnTo>
                  <a:lnTo>
                    <a:pt x="303" y="285"/>
                  </a:lnTo>
                  <a:lnTo>
                    <a:pt x="308" y="285"/>
                  </a:lnTo>
                  <a:lnTo>
                    <a:pt x="311" y="285"/>
                  </a:lnTo>
                  <a:lnTo>
                    <a:pt x="314" y="285"/>
                  </a:lnTo>
                  <a:lnTo>
                    <a:pt x="317" y="287"/>
                  </a:lnTo>
                  <a:lnTo>
                    <a:pt x="317" y="287"/>
                  </a:lnTo>
                  <a:lnTo>
                    <a:pt x="318" y="289"/>
                  </a:lnTo>
                  <a:lnTo>
                    <a:pt x="320" y="289"/>
                  </a:lnTo>
                  <a:lnTo>
                    <a:pt x="325" y="289"/>
                  </a:lnTo>
                  <a:lnTo>
                    <a:pt x="330" y="289"/>
                  </a:lnTo>
                  <a:lnTo>
                    <a:pt x="331" y="289"/>
                  </a:lnTo>
                  <a:lnTo>
                    <a:pt x="331" y="290"/>
                  </a:lnTo>
                  <a:lnTo>
                    <a:pt x="331" y="290"/>
                  </a:lnTo>
                  <a:lnTo>
                    <a:pt x="331" y="293"/>
                  </a:lnTo>
                  <a:lnTo>
                    <a:pt x="330" y="299"/>
                  </a:lnTo>
                  <a:lnTo>
                    <a:pt x="330" y="304"/>
                  </a:lnTo>
                  <a:lnTo>
                    <a:pt x="331" y="305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7" y="307"/>
                  </a:lnTo>
                  <a:lnTo>
                    <a:pt x="342" y="307"/>
                  </a:lnTo>
                  <a:lnTo>
                    <a:pt x="345" y="304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9" y="287"/>
                  </a:lnTo>
                  <a:lnTo>
                    <a:pt x="349" y="282"/>
                  </a:lnTo>
                  <a:lnTo>
                    <a:pt x="348" y="277"/>
                  </a:lnTo>
                  <a:lnTo>
                    <a:pt x="348" y="277"/>
                  </a:lnTo>
                  <a:lnTo>
                    <a:pt x="345" y="268"/>
                  </a:lnTo>
                  <a:lnTo>
                    <a:pt x="345" y="264"/>
                  </a:lnTo>
                  <a:lnTo>
                    <a:pt x="345" y="264"/>
                  </a:lnTo>
                  <a:lnTo>
                    <a:pt x="348" y="264"/>
                  </a:lnTo>
                  <a:lnTo>
                    <a:pt x="348" y="264"/>
                  </a:lnTo>
                  <a:lnTo>
                    <a:pt x="361" y="264"/>
                  </a:lnTo>
                  <a:lnTo>
                    <a:pt x="368" y="267"/>
                  </a:lnTo>
                  <a:lnTo>
                    <a:pt x="371" y="268"/>
                  </a:lnTo>
                  <a:lnTo>
                    <a:pt x="373" y="270"/>
                  </a:lnTo>
                  <a:lnTo>
                    <a:pt x="373" y="270"/>
                  </a:lnTo>
                  <a:lnTo>
                    <a:pt x="376" y="274"/>
                  </a:lnTo>
                  <a:lnTo>
                    <a:pt x="380" y="279"/>
                  </a:lnTo>
                  <a:lnTo>
                    <a:pt x="383" y="280"/>
                  </a:lnTo>
                  <a:lnTo>
                    <a:pt x="386" y="280"/>
                  </a:lnTo>
                  <a:lnTo>
                    <a:pt x="386" y="280"/>
                  </a:lnTo>
                  <a:lnTo>
                    <a:pt x="391" y="276"/>
                  </a:lnTo>
                  <a:lnTo>
                    <a:pt x="391" y="274"/>
                  </a:lnTo>
                  <a:lnTo>
                    <a:pt x="394" y="273"/>
                  </a:lnTo>
                  <a:lnTo>
                    <a:pt x="394" y="273"/>
                  </a:lnTo>
                  <a:lnTo>
                    <a:pt x="395" y="274"/>
                  </a:lnTo>
                  <a:lnTo>
                    <a:pt x="398" y="276"/>
                  </a:lnTo>
                  <a:lnTo>
                    <a:pt x="402" y="277"/>
                  </a:lnTo>
                  <a:lnTo>
                    <a:pt x="408" y="279"/>
                  </a:lnTo>
                  <a:lnTo>
                    <a:pt x="408" y="279"/>
                  </a:lnTo>
                  <a:lnTo>
                    <a:pt x="425" y="279"/>
                  </a:lnTo>
                  <a:lnTo>
                    <a:pt x="429" y="279"/>
                  </a:lnTo>
                  <a:lnTo>
                    <a:pt x="429" y="277"/>
                  </a:lnTo>
                  <a:lnTo>
                    <a:pt x="429" y="276"/>
                  </a:lnTo>
                  <a:lnTo>
                    <a:pt x="429" y="276"/>
                  </a:lnTo>
                  <a:lnTo>
                    <a:pt x="428" y="273"/>
                  </a:lnTo>
                  <a:lnTo>
                    <a:pt x="423" y="271"/>
                  </a:lnTo>
                  <a:lnTo>
                    <a:pt x="419" y="270"/>
                  </a:lnTo>
                  <a:lnTo>
                    <a:pt x="414" y="267"/>
                  </a:lnTo>
                  <a:lnTo>
                    <a:pt x="414" y="267"/>
                  </a:lnTo>
                  <a:lnTo>
                    <a:pt x="410" y="264"/>
                  </a:lnTo>
                  <a:lnTo>
                    <a:pt x="405" y="262"/>
                  </a:lnTo>
                  <a:lnTo>
                    <a:pt x="404" y="261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14" y="250"/>
                  </a:lnTo>
                  <a:lnTo>
                    <a:pt x="417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3" y="240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11" y="233"/>
                  </a:lnTo>
                  <a:lnTo>
                    <a:pt x="414" y="228"/>
                  </a:lnTo>
                  <a:lnTo>
                    <a:pt x="419" y="224"/>
                  </a:lnTo>
                  <a:lnTo>
                    <a:pt x="422" y="224"/>
                  </a:lnTo>
                  <a:lnTo>
                    <a:pt x="423" y="224"/>
                  </a:lnTo>
                  <a:lnTo>
                    <a:pt x="423" y="224"/>
                  </a:lnTo>
                  <a:lnTo>
                    <a:pt x="434" y="225"/>
                  </a:lnTo>
                  <a:lnTo>
                    <a:pt x="437" y="224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16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4" y="206"/>
                  </a:lnTo>
                  <a:lnTo>
                    <a:pt x="434" y="206"/>
                  </a:lnTo>
                  <a:lnTo>
                    <a:pt x="429" y="205"/>
                  </a:lnTo>
                  <a:lnTo>
                    <a:pt x="422" y="202"/>
                  </a:lnTo>
                  <a:lnTo>
                    <a:pt x="413" y="199"/>
                  </a:lnTo>
                  <a:lnTo>
                    <a:pt x="411" y="197"/>
                  </a:lnTo>
                  <a:lnTo>
                    <a:pt x="410" y="196"/>
                  </a:lnTo>
                  <a:lnTo>
                    <a:pt x="410" y="196"/>
                  </a:lnTo>
                  <a:lnTo>
                    <a:pt x="411" y="190"/>
                  </a:lnTo>
                  <a:lnTo>
                    <a:pt x="411" y="184"/>
                  </a:lnTo>
                  <a:lnTo>
                    <a:pt x="408" y="178"/>
                  </a:lnTo>
                  <a:lnTo>
                    <a:pt x="405" y="176"/>
                  </a:lnTo>
                  <a:lnTo>
                    <a:pt x="402" y="176"/>
                  </a:lnTo>
                  <a:lnTo>
                    <a:pt x="402" y="176"/>
                  </a:lnTo>
                  <a:lnTo>
                    <a:pt x="397" y="175"/>
                  </a:lnTo>
                  <a:lnTo>
                    <a:pt x="391" y="173"/>
                  </a:lnTo>
                  <a:lnTo>
                    <a:pt x="385" y="169"/>
                  </a:lnTo>
                  <a:lnTo>
                    <a:pt x="379" y="165"/>
                  </a:lnTo>
                  <a:lnTo>
                    <a:pt x="379" y="165"/>
                  </a:lnTo>
                  <a:lnTo>
                    <a:pt x="368" y="156"/>
                  </a:lnTo>
                  <a:lnTo>
                    <a:pt x="365" y="151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2" y="138"/>
                  </a:lnTo>
                  <a:lnTo>
                    <a:pt x="362" y="133"/>
                  </a:lnTo>
                  <a:lnTo>
                    <a:pt x="360" y="131"/>
                  </a:lnTo>
                  <a:lnTo>
                    <a:pt x="360" y="131"/>
                  </a:lnTo>
                  <a:lnTo>
                    <a:pt x="357" y="129"/>
                  </a:lnTo>
                  <a:lnTo>
                    <a:pt x="357" y="129"/>
                  </a:lnTo>
                  <a:lnTo>
                    <a:pt x="348" y="129"/>
                  </a:lnTo>
                  <a:lnTo>
                    <a:pt x="339" y="129"/>
                  </a:lnTo>
                  <a:lnTo>
                    <a:pt x="331" y="129"/>
                  </a:lnTo>
                  <a:lnTo>
                    <a:pt x="330" y="128"/>
                  </a:lnTo>
                  <a:lnTo>
                    <a:pt x="328" y="125"/>
                  </a:lnTo>
                  <a:lnTo>
                    <a:pt x="328" y="125"/>
                  </a:lnTo>
                  <a:lnTo>
                    <a:pt x="327" y="101"/>
                  </a:lnTo>
                  <a:lnTo>
                    <a:pt x="325" y="89"/>
                  </a:lnTo>
                  <a:lnTo>
                    <a:pt x="325" y="85"/>
                  </a:lnTo>
                  <a:lnTo>
                    <a:pt x="324" y="83"/>
                  </a:lnTo>
                  <a:lnTo>
                    <a:pt x="324" y="83"/>
                  </a:lnTo>
                  <a:lnTo>
                    <a:pt x="311" y="85"/>
                  </a:lnTo>
                  <a:lnTo>
                    <a:pt x="302" y="83"/>
                  </a:lnTo>
                  <a:lnTo>
                    <a:pt x="300" y="83"/>
                  </a:lnTo>
                  <a:lnTo>
                    <a:pt x="299" y="82"/>
                  </a:lnTo>
                  <a:lnTo>
                    <a:pt x="299" y="82"/>
                  </a:lnTo>
                  <a:lnTo>
                    <a:pt x="296" y="68"/>
                  </a:lnTo>
                  <a:lnTo>
                    <a:pt x="293" y="61"/>
                  </a:lnTo>
                  <a:lnTo>
                    <a:pt x="291" y="58"/>
                  </a:lnTo>
                  <a:lnTo>
                    <a:pt x="288" y="58"/>
                  </a:lnTo>
                  <a:lnTo>
                    <a:pt x="288" y="58"/>
                  </a:lnTo>
                  <a:lnTo>
                    <a:pt x="275" y="59"/>
                  </a:lnTo>
                  <a:lnTo>
                    <a:pt x="268" y="59"/>
                  </a:lnTo>
                  <a:lnTo>
                    <a:pt x="265" y="58"/>
                  </a:lnTo>
                  <a:lnTo>
                    <a:pt x="265" y="55"/>
                  </a:lnTo>
                  <a:lnTo>
                    <a:pt x="265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7" name="Freeform 46">
              <a:extLst>
                <a:ext uri="{FF2B5EF4-FFF2-40B4-BE49-F238E27FC236}">
                  <a16:creationId xmlns:a16="http://schemas.microsoft.com/office/drawing/2014/main" id="{A2DE6EC1-1584-4243-8590-65DE3F4E5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2588" y="7842250"/>
              <a:ext cx="657225" cy="633412"/>
            </a:xfrm>
            <a:custGeom>
              <a:avLst/>
              <a:gdLst>
                <a:gd name="T0" fmla="*/ 305 w 414"/>
                <a:gd name="T1" fmla="*/ 30 h 399"/>
                <a:gd name="T2" fmla="*/ 274 w 414"/>
                <a:gd name="T3" fmla="*/ 13 h 399"/>
                <a:gd name="T4" fmla="*/ 266 w 414"/>
                <a:gd name="T5" fmla="*/ 0 h 399"/>
                <a:gd name="T6" fmla="*/ 240 w 414"/>
                <a:gd name="T7" fmla="*/ 19 h 399"/>
                <a:gd name="T8" fmla="*/ 240 w 414"/>
                <a:gd name="T9" fmla="*/ 49 h 399"/>
                <a:gd name="T10" fmla="*/ 219 w 414"/>
                <a:gd name="T11" fmla="*/ 55 h 399"/>
                <a:gd name="T12" fmla="*/ 195 w 414"/>
                <a:gd name="T13" fmla="*/ 53 h 399"/>
                <a:gd name="T14" fmla="*/ 166 w 414"/>
                <a:gd name="T15" fmla="*/ 40 h 399"/>
                <a:gd name="T16" fmla="*/ 161 w 414"/>
                <a:gd name="T17" fmla="*/ 55 h 399"/>
                <a:gd name="T18" fmla="*/ 160 w 414"/>
                <a:gd name="T19" fmla="*/ 68 h 399"/>
                <a:gd name="T20" fmla="*/ 140 w 414"/>
                <a:gd name="T21" fmla="*/ 82 h 399"/>
                <a:gd name="T22" fmla="*/ 133 w 414"/>
                <a:gd name="T23" fmla="*/ 96 h 399"/>
                <a:gd name="T24" fmla="*/ 112 w 414"/>
                <a:gd name="T25" fmla="*/ 98 h 399"/>
                <a:gd name="T26" fmla="*/ 93 w 414"/>
                <a:gd name="T27" fmla="*/ 98 h 399"/>
                <a:gd name="T28" fmla="*/ 57 w 414"/>
                <a:gd name="T29" fmla="*/ 102 h 399"/>
                <a:gd name="T30" fmla="*/ 34 w 414"/>
                <a:gd name="T31" fmla="*/ 107 h 399"/>
                <a:gd name="T32" fmla="*/ 15 w 414"/>
                <a:gd name="T33" fmla="*/ 116 h 399"/>
                <a:gd name="T34" fmla="*/ 38 w 414"/>
                <a:gd name="T35" fmla="*/ 141 h 399"/>
                <a:gd name="T36" fmla="*/ 49 w 414"/>
                <a:gd name="T37" fmla="*/ 162 h 399"/>
                <a:gd name="T38" fmla="*/ 25 w 414"/>
                <a:gd name="T39" fmla="*/ 172 h 399"/>
                <a:gd name="T40" fmla="*/ 6 w 414"/>
                <a:gd name="T41" fmla="*/ 206 h 399"/>
                <a:gd name="T42" fmla="*/ 32 w 414"/>
                <a:gd name="T43" fmla="*/ 230 h 399"/>
                <a:gd name="T44" fmla="*/ 56 w 414"/>
                <a:gd name="T45" fmla="*/ 267 h 399"/>
                <a:gd name="T46" fmla="*/ 50 w 414"/>
                <a:gd name="T47" fmla="*/ 296 h 399"/>
                <a:gd name="T48" fmla="*/ 80 w 414"/>
                <a:gd name="T49" fmla="*/ 324 h 399"/>
                <a:gd name="T50" fmla="*/ 136 w 414"/>
                <a:gd name="T51" fmla="*/ 339 h 399"/>
                <a:gd name="T52" fmla="*/ 152 w 414"/>
                <a:gd name="T53" fmla="*/ 335 h 399"/>
                <a:gd name="T54" fmla="*/ 180 w 414"/>
                <a:gd name="T55" fmla="*/ 385 h 399"/>
                <a:gd name="T56" fmla="*/ 201 w 414"/>
                <a:gd name="T57" fmla="*/ 399 h 399"/>
                <a:gd name="T58" fmla="*/ 254 w 414"/>
                <a:gd name="T59" fmla="*/ 394 h 399"/>
                <a:gd name="T60" fmla="*/ 288 w 414"/>
                <a:gd name="T61" fmla="*/ 376 h 399"/>
                <a:gd name="T62" fmla="*/ 334 w 414"/>
                <a:gd name="T63" fmla="*/ 385 h 399"/>
                <a:gd name="T64" fmla="*/ 361 w 414"/>
                <a:gd name="T65" fmla="*/ 363 h 399"/>
                <a:gd name="T66" fmla="*/ 394 w 414"/>
                <a:gd name="T67" fmla="*/ 361 h 399"/>
                <a:gd name="T68" fmla="*/ 397 w 414"/>
                <a:gd name="T69" fmla="*/ 347 h 399"/>
                <a:gd name="T70" fmla="*/ 388 w 414"/>
                <a:gd name="T71" fmla="*/ 304 h 399"/>
                <a:gd name="T72" fmla="*/ 382 w 414"/>
                <a:gd name="T73" fmla="*/ 287 h 399"/>
                <a:gd name="T74" fmla="*/ 405 w 414"/>
                <a:gd name="T75" fmla="*/ 279 h 399"/>
                <a:gd name="T76" fmla="*/ 413 w 414"/>
                <a:gd name="T77" fmla="*/ 270 h 399"/>
                <a:gd name="T78" fmla="*/ 385 w 414"/>
                <a:gd name="T79" fmla="*/ 233 h 399"/>
                <a:gd name="T80" fmla="*/ 368 w 414"/>
                <a:gd name="T81" fmla="*/ 197 h 399"/>
                <a:gd name="T82" fmla="*/ 365 w 414"/>
                <a:gd name="T83" fmla="*/ 173 h 399"/>
                <a:gd name="T84" fmla="*/ 363 w 414"/>
                <a:gd name="T85" fmla="*/ 150 h 399"/>
                <a:gd name="T86" fmla="*/ 346 w 414"/>
                <a:gd name="T87" fmla="*/ 150 h 399"/>
                <a:gd name="T88" fmla="*/ 345 w 414"/>
                <a:gd name="T89" fmla="*/ 173 h 399"/>
                <a:gd name="T90" fmla="*/ 323 w 414"/>
                <a:gd name="T91" fmla="*/ 167 h 399"/>
                <a:gd name="T92" fmla="*/ 311 w 414"/>
                <a:gd name="T93" fmla="*/ 150 h 399"/>
                <a:gd name="T94" fmla="*/ 297 w 414"/>
                <a:gd name="T95" fmla="*/ 129 h 399"/>
                <a:gd name="T96" fmla="*/ 314 w 414"/>
                <a:gd name="T97" fmla="*/ 120 h 399"/>
                <a:gd name="T98" fmla="*/ 315 w 414"/>
                <a:gd name="T99" fmla="*/ 95 h 399"/>
                <a:gd name="T100" fmla="*/ 323 w 414"/>
                <a:gd name="T101" fmla="*/ 80 h 399"/>
                <a:gd name="T102" fmla="*/ 343 w 414"/>
                <a:gd name="T103" fmla="*/ 74 h 399"/>
                <a:gd name="T104" fmla="*/ 345 w 414"/>
                <a:gd name="T105" fmla="*/ 43 h 399"/>
                <a:gd name="T106" fmla="*/ 323 w 414"/>
                <a:gd name="T107" fmla="*/ 3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399">
                  <a:moveTo>
                    <a:pt x="323" y="31"/>
                  </a:moveTo>
                  <a:lnTo>
                    <a:pt x="323" y="31"/>
                  </a:lnTo>
                  <a:lnTo>
                    <a:pt x="318" y="28"/>
                  </a:lnTo>
                  <a:lnTo>
                    <a:pt x="314" y="27"/>
                  </a:lnTo>
                  <a:lnTo>
                    <a:pt x="305" y="30"/>
                  </a:lnTo>
                  <a:lnTo>
                    <a:pt x="305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7" y="27"/>
                  </a:lnTo>
                  <a:lnTo>
                    <a:pt x="290" y="22"/>
                  </a:lnTo>
                  <a:lnTo>
                    <a:pt x="290" y="22"/>
                  </a:lnTo>
                  <a:lnTo>
                    <a:pt x="274" y="13"/>
                  </a:lnTo>
                  <a:lnTo>
                    <a:pt x="269" y="10"/>
                  </a:lnTo>
                  <a:lnTo>
                    <a:pt x="269" y="9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8" y="3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47" y="5"/>
                  </a:lnTo>
                  <a:lnTo>
                    <a:pt x="247" y="5"/>
                  </a:lnTo>
                  <a:lnTo>
                    <a:pt x="243" y="8"/>
                  </a:lnTo>
                  <a:lnTo>
                    <a:pt x="241" y="10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0" y="28"/>
                  </a:lnTo>
                  <a:lnTo>
                    <a:pt x="241" y="37"/>
                  </a:lnTo>
                  <a:lnTo>
                    <a:pt x="241" y="37"/>
                  </a:lnTo>
                  <a:lnTo>
                    <a:pt x="241" y="43"/>
                  </a:lnTo>
                  <a:lnTo>
                    <a:pt x="240" y="49"/>
                  </a:lnTo>
                  <a:lnTo>
                    <a:pt x="238" y="52"/>
                  </a:lnTo>
                  <a:lnTo>
                    <a:pt x="234" y="55"/>
                  </a:lnTo>
                  <a:lnTo>
                    <a:pt x="234" y="55"/>
                  </a:lnTo>
                  <a:lnTo>
                    <a:pt x="229" y="56"/>
                  </a:lnTo>
                  <a:lnTo>
                    <a:pt x="225" y="55"/>
                  </a:lnTo>
                  <a:lnTo>
                    <a:pt x="219" y="55"/>
                  </a:lnTo>
                  <a:lnTo>
                    <a:pt x="214" y="55"/>
                  </a:lnTo>
                  <a:lnTo>
                    <a:pt x="214" y="55"/>
                  </a:lnTo>
                  <a:lnTo>
                    <a:pt x="204" y="56"/>
                  </a:lnTo>
                  <a:lnTo>
                    <a:pt x="200" y="56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186" y="48"/>
                  </a:lnTo>
                  <a:lnTo>
                    <a:pt x="180" y="45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67" y="40"/>
                  </a:lnTo>
                  <a:lnTo>
                    <a:pt x="166" y="40"/>
                  </a:lnTo>
                  <a:lnTo>
                    <a:pt x="163" y="42"/>
                  </a:lnTo>
                  <a:lnTo>
                    <a:pt x="161" y="43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3" y="58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4"/>
                  </a:lnTo>
                  <a:lnTo>
                    <a:pt x="164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7" y="71"/>
                  </a:lnTo>
                  <a:lnTo>
                    <a:pt x="154" y="74"/>
                  </a:lnTo>
                  <a:lnTo>
                    <a:pt x="151" y="77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37" y="83"/>
                  </a:lnTo>
                  <a:lnTo>
                    <a:pt x="136" y="85"/>
                  </a:lnTo>
                  <a:lnTo>
                    <a:pt x="134" y="90"/>
                  </a:lnTo>
                  <a:lnTo>
                    <a:pt x="134" y="95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6" y="95"/>
                  </a:lnTo>
                  <a:lnTo>
                    <a:pt x="121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12" y="98"/>
                  </a:lnTo>
                  <a:lnTo>
                    <a:pt x="109" y="98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97" y="96"/>
                  </a:lnTo>
                  <a:lnTo>
                    <a:pt x="93" y="98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87" y="102"/>
                  </a:lnTo>
                  <a:lnTo>
                    <a:pt x="78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49" y="102"/>
                  </a:lnTo>
                  <a:lnTo>
                    <a:pt x="41" y="102"/>
                  </a:lnTo>
                  <a:lnTo>
                    <a:pt x="37" y="105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2" y="110"/>
                  </a:lnTo>
                  <a:lnTo>
                    <a:pt x="29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19" y="111"/>
                  </a:lnTo>
                  <a:lnTo>
                    <a:pt x="15" y="116"/>
                  </a:lnTo>
                  <a:lnTo>
                    <a:pt x="13" y="120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6" y="127"/>
                  </a:lnTo>
                  <a:lnTo>
                    <a:pt x="22" y="132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46" y="145"/>
                  </a:lnTo>
                  <a:lnTo>
                    <a:pt x="49" y="150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7" y="166"/>
                  </a:lnTo>
                  <a:lnTo>
                    <a:pt x="46" y="167"/>
                  </a:lnTo>
                  <a:lnTo>
                    <a:pt x="40" y="170"/>
                  </a:lnTo>
                  <a:lnTo>
                    <a:pt x="32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10" y="173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3" y="194"/>
                  </a:lnTo>
                  <a:lnTo>
                    <a:pt x="6" y="206"/>
                  </a:lnTo>
                  <a:lnTo>
                    <a:pt x="6" y="206"/>
                  </a:lnTo>
                  <a:lnTo>
                    <a:pt x="9" y="213"/>
                  </a:lnTo>
                  <a:lnTo>
                    <a:pt x="12" y="218"/>
                  </a:lnTo>
                  <a:lnTo>
                    <a:pt x="16" y="221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32" y="230"/>
                  </a:lnTo>
                  <a:lnTo>
                    <a:pt x="43" y="239"/>
                  </a:lnTo>
                  <a:lnTo>
                    <a:pt x="52" y="249"/>
                  </a:lnTo>
                  <a:lnTo>
                    <a:pt x="55" y="253"/>
                  </a:lnTo>
                  <a:lnTo>
                    <a:pt x="55" y="259"/>
                  </a:lnTo>
                  <a:lnTo>
                    <a:pt x="55" y="259"/>
                  </a:lnTo>
                  <a:lnTo>
                    <a:pt x="56" y="267"/>
                  </a:lnTo>
                  <a:lnTo>
                    <a:pt x="56" y="273"/>
                  </a:lnTo>
                  <a:lnTo>
                    <a:pt x="55" y="280"/>
                  </a:lnTo>
                  <a:lnTo>
                    <a:pt x="52" y="287"/>
                  </a:lnTo>
                  <a:lnTo>
                    <a:pt x="52" y="287"/>
                  </a:lnTo>
                  <a:lnTo>
                    <a:pt x="50" y="292"/>
                  </a:lnTo>
                  <a:lnTo>
                    <a:pt x="50" y="296"/>
                  </a:lnTo>
                  <a:lnTo>
                    <a:pt x="52" y="301"/>
                  </a:lnTo>
                  <a:lnTo>
                    <a:pt x="55" y="305"/>
                  </a:lnTo>
                  <a:lnTo>
                    <a:pt x="60" y="313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80" y="324"/>
                  </a:lnTo>
                  <a:lnTo>
                    <a:pt x="94" y="330"/>
                  </a:lnTo>
                  <a:lnTo>
                    <a:pt x="109" y="336"/>
                  </a:lnTo>
                  <a:lnTo>
                    <a:pt x="121" y="339"/>
                  </a:lnTo>
                  <a:lnTo>
                    <a:pt x="121" y="339"/>
                  </a:lnTo>
                  <a:lnTo>
                    <a:pt x="130" y="339"/>
                  </a:lnTo>
                  <a:lnTo>
                    <a:pt x="136" y="339"/>
                  </a:lnTo>
                  <a:lnTo>
                    <a:pt x="142" y="338"/>
                  </a:lnTo>
                  <a:lnTo>
                    <a:pt x="146" y="333"/>
                  </a:lnTo>
                  <a:lnTo>
                    <a:pt x="146" y="333"/>
                  </a:lnTo>
                  <a:lnTo>
                    <a:pt x="148" y="332"/>
                  </a:lnTo>
                  <a:lnTo>
                    <a:pt x="149" y="332"/>
                  </a:lnTo>
                  <a:lnTo>
                    <a:pt x="152" y="335"/>
                  </a:lnTo>
                  <a:lnTo>
                    <a:pt x="154" y="344"/>
                  </a:lnTo>
                  <a:lnTo>
                    <a:pt x="154" y="344"/>
                  </a:lnTo>
                  <a:lnTo>
                    <a:pt x="158" y="351"/>
                  </a:lnTo>
                  <a:lnTo>
                    <a:pt x="166" y="361"/>
                  </a:lnTo>
                  <a:lnTo>
                    <a:pt x="174" y="373"/>
                  </a:lnTo>
                  <a:lnTo>
                    <a:pt x="180" y="385"/>
                  </a:lnTo>
                  <a:lnTo>
                    <a:pt x="180" y="385"/>
                  </a:lnTo>
                  <a:lnTo>
                    <a:pt x="183" y="393"/>
                  </a:lnTo>
                  <a:lnTo>
                    <a:pt x="188" y="396"/>
                  </a:lnTo>
                  <a:lnTo>
                    <a:pt x="194" y="397"/>
                  </a:lnTo>
                  <a:lnTo>
                    <a:pt x="201" y="399"/>
                  </a:lnTo>
                  <a:lnTo>
                    <a:pt x="201" y="399"/>
                  </a:lnTo>
                  <a:lnTo>
                    <a:pt x="217" y="397"/>
                  </a:lnTo>
                  <a:lnTo>
                    <a:pt x="235" y="396"/>
                  </a:lnTo>
                  <a:lnTo>
                    <a:pt x="235" y="396"/>
                  </a:lnTo>
                  <a:lnTo>
                    <a:pt x="248" y="394"/>
                  </a:lnTo>
                  <a:lnTo>
                    <a:pt x="248" y="394"/>
                  </a:lnTo>
                  <a:lnTo>
                    <a:pt x="254" y="394"/>
                  </a:lnTo>
                  <a:lnTo>
                    <a:pt x="260" y="393"/>
                  </a:lnTo>
                  <a:lnTo>
                    <a:pt x="268" y="388"/>
                  </a:lnTo>
                  <a:lnTo>
                    <a:pt x="275" y="382"/>
                  </a:lnTo>
                  <a:lnTo>
                    <a:pt x="275" y="382"/>
                  </a:lnTo>
                  <a:lnTo>
                    <a:pt x="281" y="378"/>
                  </a:lnTo>
                  <a:lnTo>
                    <a:pt x="288" y="376"/>
                  </a:lnTo>
                  <a:lnTo>
                    <a:pt x="296" y="378"/>
                  </a:lnTo>
                  <a:lnTo>
                    <a:pt x="306" y="381"/>
                  </a:lnTo>
                  <a:lnTo>
                    <a:pt x="306" y="381"/>
                  </a:lnTo>
                  <a:lnTo>
                    <a:pt x="318" y="385"/>
                  </a:lnTo>
                  <a:lnTo>
                    <a:pt x="327" y="387"/>
                  </a:lnTo>
                  <a:lnTo>
                    <a:pt x="334" y="385"/>
                  </a:lnTo>
                  <a:lnTo>
                    <a:pt x="342" y="382"/>
                  </a:lnTo>
                  <a:lnTo>
                    <a:pt x="342" y="382"/>
                  </a:lnTo>
                  <a:lnTo>
                    <a:pt x="348" y="376"/>
                  </a:lnTo>
                  <a:lnTo>
                    <a:pt x="352" y="370"/>
                  </a:lnTo>
                  <a:lnTo>
                    <a:pt x="358" y="364"/>
                  </a:lnTo>
                  <a:lnTo>
                    <a:pt x="361" y="363"/>
                  </a:lnTo>
                  <a:lnTo>
                    <a:pt x="364" y="363"/>
                  </a:lnTo>
                  <a:lnTo>
                    <a:pt x="364" y="363"/>
                  </a:lnTo>
                  <a:lnTo>
                    <a:pt x="379" y="363"/>
                  </a:lnTo>
                  <a:lnTo>
                    <a:pt x="388" y="363"/>
                  </a:lnTo>
                  <a:lnTo>
                    <a:pt x="391" y="363"/>
                  </a:lnTo>
                  <a:lnTo>
                    <a:pt x="394" y="361"/>
                  </a:lnTo>
                  <a:lnTo>
                    <a:pt x="394" y="361"/>
                  </a:lnTo>
                  <a:lnTo>
                    <a:pt x="395" y="359"/>
                  </a:lnTo>
                  <a:lnTo>
                    <a:pt x="395" y="354"/>
                  </a:lnTo>
                  <a:lnTo>
                    <a:pt x="395" y="351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1" y="335"/>
                  </a:lnTo>
                  <a:lnTo>
                    <a:pt x="389" y="329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11"/>
                  </a:lnTo>
                  <a:lnTo>
                    <a:pt x="388" y="304"/>
                  </a:lnTo>
                  <a:lnTo>
                    <a:pt x="388" y="304"/>
                  </a:lnTo>
                  <a:lnTo>
                    <a:pt x="383" y="298"/>
                  </a:lnTo>
                  <a:lnTo>
                    <a:pt x="382" y="295"/>
                  </a:lnTo>
                  <a:lnTo>
                    <a:pt x="380" y="290"/>
                  </a:lnTo>
                  <a:lnTo>
                    <a:pt x="380" y="290"/>
                  </a:lnTo>
                  <a:lnTo>
                    <a:pt x="382" y="287"/>
                  </a:lnTo>
                  <a:lnTo>
                    <a:pt x="385" y="284"/>
                  </a:lnTo>
                  <a:lnTo>
                    <a:pt x="397" y="280"/>
                  </a:lnTo>
                  <a:lnTo>
                    <a:pt x="397" y="280"/>
                  </a:lnTo>
                  <a:lnTo>
                    <a:pt x="401" y="277"/>
                  </a:lnTo>
                  <a:lnTo>
                    <a:pt x="402" y="277"/>
                  </a:lnTo>
                  <a:lnTo>
                    <a:pt x="405" y="279"/>
                  </a:lnTo>
                  <a:lnTo>
                    <a:pt x="411" y="279"/>
                  </a:lnTo>
                  <a:lnTo>
                    <a:pt x="411" y="279"/>
                  </a:lnTo>
                  <a:lnTo>
                    <a:pt x="414" y="277"/>
                  </a:lnTo>
                  <a:lnTo>
                    <a:pt x="414" y="276"/>
                  </a:lnTo>
                  <a:lnTo>
                    <a:pt x="414" y="273"/>
                  </a:lnTo>
                  <a:lnTo>
                    <a:pt x="413" y="270"/>
                  </a:lnTo>
                  <a:lnTo>
                    <a:pt x="407" y="264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394" y="250"/>
                  </a:lnTo>
                  <a:lnTo>
                    <a:pt x="389" y="243"/>
                  </a:lnTo>
                  <a:lnTo>
                    <a:pt x="385" y="233"/>
                  </a:lnTo>
                  <a:lnTo>
                    <a:pt x="379" y="222"/>
                  </a:lnTo>
                  <a:lnTo>
                    <a:pt x="379" y="222"/>
                  </a:lnTo>
                  <a:lnTo>
                    <a:pt x="374" y="213"/>
                  </a:lnTo>
                  <a:lnTo>
                    <a:pt x="371" y="207"/>
                  </a:lnTo>
                  <a:lnTo>
                    <a:pt x="370" y="202"/>
                  </a:lnTo>
                  <a:lnTo>
                    <a:pt x="368" y="197"/>
                  </a:lnTo>
                  <a:lnTo>
                    <a:pt x="368" y="197"/>
                  </a:lnTo>
                  <a:lnTo>
                    <a:pt x="363" y="187"/>
                  </a:lnTo>
                  <a:lnTo>
                    <a:pt x="361" y="182"/>
                  </a:lnTo>
                  <a:lnTo>
                    <a:pt x="364" y="178"/>
                  </a:lnTo>
                  <a:lnTo>
                    <a:pt x="364" y="178"/>
                  </a:lnTo>
                  <a:lnTo>
                    <a:pt x="365" y="173"/>
                  </a:lnTo>
                  <a:lnTo>
                    <a:pt x="367" y="169"/>
                  </a:lnTo>
                  <a:lnTo>
                    <a:pt x="367" y="166"/>
                  </a:lnTo>
                  <a:lnTo>
                    <a:pt x="367" y="159"/>
                  </a:lnTo>
                  <a:lnTo>
                    <a:pt x="367" y="159"/>
                  </a:lnTo>
                  <a:lnTo>
                    <a:pt x="364" y="153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57" y="147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48" y="148"/>
                  </a:lnTo>
                  <a:lnTo>
                    <a:pt x="346" y="150"/>
                  </a:lnTo>
                  <a:lnTo>
                    <a:pt x="345" y="154"/>
                  </a:lnTo>
                  <a:lnTo>
                    <a:pt x="346" y="160"/>
                  </a:lnTo>
                  <a:lnTo>
                    <a:pt x="346" y="167"/>
                  </a:lnTo>
                  <a:lnTo>
                    <a:pt x="346" y="167"/>
                  </a:lnTo>
                  <a:lnTo>
                    <a:pt x="346" y="170"/>
                  </a:lnTo>
                  <a:lnTo>
                    <a:pt x="345" y="173"/>
                  </a:lnTo>
                  <a:lnTo>
                    <a:pt x="343" y="173"/>
                  </a:lnTo>
                  <a:lnTo>
                    <a:pt x="340" y="175"/>
                  </a:lnTo>
                  <a:lnTo>
                    <a:pt x="336" y="173"/>
                  </a:lnTo>
                  <a:lnTo>
                    <a:pt x="330" y="170"/>
                  </a:lnTo>
                  <a:lnTo>
                    <a:pt x="330" y="170"/>
                  </a:lnTo>
                  <a:lnTo>
                    <a:pt x="323" y="167"/>
                  </a:lnTo>
                  <a:lnTo>
                    <a:pt x="318" y="165"/>
                  </a:lnTo>
                  <a:lnTo>
                    <a:pt x="314" y="160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2" y="153"/>
                  </a:lnTo>
                  <a:lnTo>
                    <a:pt x="311" y="150"/>
                  </a:lnTo>
                  <a:lnTo>
                    <a:pt x="306" y="144"/>
                  </a:lnTo>
                  <a:lnTo>
                    <a:pt x="300" y="138"/>
                  </a:lnTo>
                  <a:lnTo>
                    <a:pt x="299" y="135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29"/>
                  </a:lnTo>
                  <a:lnTo>
                    <a:pt x="299" y="127"/>
                  </a:lnTo>
                  <a:lnTo>
                    <a:pt x="303" y="126"/>
                  </a:lnTo>
                  <a:lnTo>
                    <a:pt x="308" y="126"/>
                  </a:lnTo>
                  <a:lnTo>
                    <a:pt x="312" y="123"/>
                  </a:lnTo>
                  <a:lnTo>
                    <a:pt x="312" y="123"/>
                  </a:lnTo>
                  <a:lnTo>
                    <a:pt x="314" y="120"/>
                  </a:lnTo>
                  <a:lnTo>
                    <a:pt x="312" y="116"/>
                  </a:lnTo>
                  <a:lnTo>
                    <a:pt x="311" y="110"/>
                  </a:lnTo>
                  <a:lnTo>
                    <a:pt x="309" y="104"/>
                  </a:lnTo>
                  <a:lnTo>
                    <a:pt x="309" y="104"/>
                  </a:lnTo>
                  <a:lnTo>
                    <a:pt x="312" y="99"/>
                  </a:lnTo>
                  <a:lnTo>
                    <a:pt x="315" y="95"/>
                  </a:lnTo>
                  <a:lnTo>
                    <a:pt x="320" y="89"/>
                  </a:lnTo>
                  <a:lnTo>
                    <a:pt x="321" y="87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1" y="82"/>
                  </a:lnTo>
                  <a:lnTo>
                    <a:pt x="323" y="80"/>
                  </a:lnTo>
                  <a:lnTo>
                    <a:pt x="325" y="77"/>
                  </a:lnTo>
                  <a:lnTo>
                    <a:pt x="330" y="77"/>
                  </a:lnTo>
                  <a:lnTo>
                    <a:pt x="334" y="77"/>
                  </a:lnTo>
                  <a:lnTo>
                    <a:pt x="334" y="77"/>
                  </a:lnTo>
                  <a:lnTo>
                    <a:pt x="340" y="76"/>
                  </a:lnTo>
                  <a:lnTo>
                    <a:pt x="343" y="74"/>
                  </a:lnTo>
                  <a:lnTo>
                    <a:pt x="343" y="74"/>
                  </a:lnTo>
                  <a:lnTo>
                    <a:pt x="346" y="62"/>
                  </a:lnTo>
                  <a:lnTo>
                    <a:pt x="348" y="53"/>
                  </a:lnTo>
                  <a:lnTo>
                    <a:pt x="348" y="53"/>
                  </a:lnTo>
                  <a:lnTo>
                    <a:pt x="348" y="48"/>
                  </a:lnTo>
                  <a:lnTo>
                    <a:pt x="345" y="43"/>
                  </a:lnTo>
                  <a:lnTo>
                    <a:pt x="342" y="40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3" y="39"/>
                  </a:lnTo>
                  <a:lnTo>
                    <a:pt x="330" y="37"/>
                  </a:lnTo>
                  <a:lnTo>
                    <a:pt x="323" y="31"/>
                  </a:lnTo>
                  <a:lnTo>
                    <a:pt x="323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8" name="Freeform 47">
              <a:extLst>
                <a:ext uri="{FF2B5EF4-FFF2-40B4-BE49-F238E27FC236}">
                  <a16:creationId xmlns:a16="http://schemas.microsoft.com/office/drawing/2014/main" id="{27D07836-9E98-B842-BB62-7B1751ACF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5865813"/>
              <a:ext cx="196850" cy="280987"/>
            </a:xfrm>
            <a:custGeom>
              <a:avLst/>
              <a:gdLst>
                <a:gd name="T0" fmla="*/ 90 w 124"/>
                <a:gd name="T1" fmla="*/ 83 h 177"/>
                <a:gd name="T2" fmla="*/ 87 w 124"/>
                <a:gd name="T3" fmla="*/ 88 h 177"/>
                <a:gd name="T4" fmla="*/ 77 w 124"/>
                <a:gd name="T5" fmla="*/ 91 h 177"/>
                <a:gd name="T6" fmla="*/ 68 w 124"/>
                <a:gd name="T7" fmla="*/ 97 h 177"/>
                <a:gd name="T8" fmla="*/ 60 w 124"/>
                <a:gd name="T9" fmla="*/ 106 h 177"/>
                <a:gd name="T10" fmla="*/ 49 w 124"/>
                <a:gd name="T11" fmla="*/ 124 h 177"/>
                <a:gd name="T12" fmla="*/ 43 w 124"/>
                <a:gd name="T13" fmla="*/ 128 h 177"/>
                <a:gd name="T14" fmla="*/ 34 w 124"/>
                <a:gd name="T15" fmla="*/ 128 h 177"/>
                <a:gd name="T16" fmla="*/ 25 w 124"/>
                <a:gd name="T17" fmla="*/ 125 h 177"/>
                <a:gd name="T18" fmla="*/ 12 w 124"/>
                <a:gd name="T19" fmla="*/ 120 h 177"/>
                <a:gd name="T20" fmla="*/ 6 w 124"/>
                <a:gd name="T21" fmla="*/ 121 h 177"/>
                <a:gd name="T22" fmla="*/ 4 w 124"/>
                <a:gd name="T23" fmla="*/ 133 h 177"/>
                <a:gd name="T24" fmla="*/ 3 w 124"/>
                <a:gd name="T25" fmla="*/ 149 h 177"/>
                <a:gd name="T26" fmla="*/ 0 w 124"/>
                <a:gd name="T27" fmla="*/ 168 h 177"/>
                <a:gd name="T28" fmla="*/ 3 w 124"/>
                <a:gd name="T29" fmla="*/ 176 h 177"/>
                <a:gd name="T30" fmla="*/ 7 w 124"/>
                <a:gd name="T31" fmla="*/ 177 h 177"/>
                <a:gd name="T32" fmla="*/ 28 w 124"/>
                <a:gd name="T33" fmla="*/ 176 h 177"/>
                <a:gd name="T34" fmla="*/ 41 w 124"/>
                <a:gd name="T35" fmla="*/ 170 h 177"/>
                <a:gd name="T36" fmla="*/ 43 w 124"/>
                <a:gd name="T37" fmla="*/ 167 h 177"/>
                <a:gd name="T38" fmla="*/ 46 w 124"/>
                <a:gd name="T39" fmla="*/ 158 h 177"/>
                <a:gd name="T40" fmla="*/ 52 w 124"/>
                <a:gd name="T41" fmla="*/ 155 h 177"/>
                <a:gd name="T42" fmla="*/ 54 w 124"/>
                <a:gd name="T43" fmla="*/ 155 h 177"/>
                <a:gd name="T44" fmla="*/ 60 w 124"/>
                <a:gd name="T45" fmla="*/ 148 h 177"/>
                <a:gd name="T46" fmla="*/ 69 w 124"/>
                <a:gd name="T47" fmla="*/ 137 h 177"/>
                <a:gd name="T48" fmla="*/ 72 w 124"/>
                <a:gd name="T49" fmla="*/ 137 h 177"/>
                <a:gd name="T50" fmla="*/ 75 w 124"/>
                <a:gd name="T51" fmla="*/ 137 h 177"/>
                <a:gd name="T52" fmla="*/ 80 w 124"/>
                <a:gd name="T53" fmla="*/ 145 h 177"/>
                <a:gd name="T54" fmla="*/ 80 w 124"/>
                <a:gd name="T55" fmla="*/ 152 h 177"/>
                <a:gd name="T56" fmla="*/ 83 w 124"/>
                <a:gd name="T57" fmla="*/ 160 h 177"/>
                <a:gd name="T58" fmla="*/ 89 w 124"/>
                <a:gd name="T59" fmla="*/ 164 h 177"/>
                <a:gd name="T60" fmla="*/ 96 w 124"/>
                <a:gd name="T61" fmla="*/ 167 h 177"/>
                <a:gd name="T62" fmla="*/ 102 w 124"/>
                <a:gd name="T63" fmla="*/ 164 h 177"/>
                <a:gd name="T64" fmla="*/ 115 w 124"/>
                <a:gd name="T65" fmla="*/ 140 h 177"/>
                <a:gd name="T66" fmla="*/ 124 w 124"/>
                <a:gd name="T67" fmla="*/ 118 h 177"/>
                <a:gd name="T68" fmla="*/ 123 w 124"/>
                <a:gd name="T69" fmla="*/ 111 h 177"/>
                <a:gd name="T70" fmla="*/ 111 w 124"/>
                <a:gd name="T71" fmla="*/ 85 h 177"/>
                <a:gd name="T72" fmla="*/ 106 w 124"/>
                <a:gd name="T73" fmla="*/ 77 h 177"/>
                <a:gd name="T74" fmla="*/ 100 w 124"/>
                <a:gd name="T75" fmla="*/ 57 h 177"/>
                <a:gd name="T76" fmla="*/ 97 w 124"/>
                <a:gd name="T77" fmla="*/ 53 h 177"/>
                <a:gd name="T78" fmla="*/ 72 w 124"/>
                <a:gd name="T79" fmla="*/ 34 h 177"/>
                <a:gd name="T80" fmla="*/ 65 w 124"/>
                <a:gd name="T81" fmla="*/ 26 h 177"/>
                <a:gd name="T82" fmla="*/ 56 w 124"/>
                <a:gd name="T83" fmla="*/ 5 h 177"/>
                <a:gd name="T84" fmla="*/ 54 w 124"/>
                <a:gd name="T85" fmla="*/ 4 h 177"/>
                <a:gd name="T86" fmla="*/ 47 w 124"/>
                <a:gd name="T87" fmla="*/ 0 h 177"/>
                <a:gd name="T88" fmla="*/ 40 w 124"/>
                <a:gd name="T89" fmla="*/ 1 h 177"/>
                <a:gd name="T90" fmla="*/ 28 w 124"/>
                <a:gd name="T91" fmla="*/ 13 h 177"/>
                <a:gd name="T92" fmla="*/ 26 w 124"/>
                <a:gd name="T93" fmla="*/ 20 h 177"/>
                <a:gd name="T94" fmla="*/ 31 w 124"/>
                <a:gd name="T95" fmla="*/ 29 h 177"/>
                <a:gd name="T96" fmla="*/ 44 w 124"/>
                <a:gd name="T97" fmla="*/ 50 h 177"/>
                <a:gd name="T98" fmla="*/ 52 w 124"/>
                <a:gd name="T99" fmla="*/ 56 h 177"/>
                <a:gd name="T100" fmla="*/ 56 w 124"/>
                <a:gd name="T101" fmla="*/ 56 h 177"/>
                <a:gd name="T102" fmla="*/ 63 w 124"/>
                <a:gd name="T103" fmla="*/ 53 h 177"/>
                <a:gd name="T104" fmla="*/ 69 w 124"/>
                <a:gd name="T105" fmla="*/ 54 h 177"/>
                <a:gd name="T106" fmla="*/ 75 w 124"/>
                <a:gd name="T107" fmla="*/ 57 h 177"/>
                <a:gd name="T108" fmla="*/ 80 w 124"/>
                <a:gd name="T109" fmla="*/ 66 h 177"/>
                <a:gd name="T110" fmla="*/ 83 w 124"/>
                <a:gd name="T111" fmla="*/ 71 h 177"/>
                <a:gd name="T112" fmla="*/ 89 w 124"/>
                <a:gd name="T113" fmla="*/ 75 h 177"/>
                <a:gd name="T114" fmla="*/ 90 w 124"/>
                <a:gd name="T115" fmla="*/ 8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4" h="177">
                  <a:moveTo>
                    <a:pt x="90" y="83"/>
                  </a:moveTo>
                  <a:lnTo>
                    <a:pt x="90" y="83"/>
                  </a:lnTo>
                  <a:lnTo>
                    <a:pt x="89" y="85"/>
                  </a:lnTo>
                  <a:lnTo>
                    <a:pt x="87" y="88"/>
                  </a:lnTo>
                  <a:lnTo>
                    <a:pt x="83" y="90"/>
                  </a:lnTo>
                  <a:lnTo>
                    <a:pt x="77" y="91"/>
                  </a:lnTo>
                  <a:lnTo>
                    <a:pt x="72" y="94"/>
                  </a:lnTo>
                  <a:lnTo>
                    <a:pt x="68" y="97"/>
                  </a:lnTo>
                  <a:lnTo>
                    <a:pt x="68" y="97"/>
                  </a:lnTo>
                  <a:lnTo>
                    <a:pt x="60" y="106"/>
                  </a:lnTo>
                  <a:lnTo>
                    <a:pt x="54" y="115"/>
                  </a:lnTo>
                  <a:lnTo>
                    <a:pt x="49" y="124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38" y="130"/>
                  </a:lnTo>
                  <a:lnTo>
                    <a:pt x="34" y="128"/>
                  </a:lnTo>
                  <a:lnTo>
                    <a:pt x="25" y="125"/>
                  </a:lnTo>
                  <a:lnTo>
                    <a:pt x="25" y="125"/>
                  </a:lnTo>
                  <a:lnTo>
                    <a:pt x="17" y="122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5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3" y="149"/>
                  </a:lnTo>
                  <a:lnTo>
                    <a:pt x="0" y="162"/>
                  </a:lnTo>
                  <a:lnTo>
                    <a:pt x="0" y="168"/>
                  </a:lnTo>
                  <a:lnTo>
                    <a:pt x="1" y="173"/>
                  </a:lnTo>
                  <a:lnTo>
                    <a:pt x="3" y="176"/>
                  </a:lnTo>
                  <a:lnTo>
                    <a:pt x="7" y="177"/>
                  </a:lnTo>
                  <a:lnTo>
                    <a:pt x="7" y="177"/>
                  </a:lnTo>
                  <a:lnTo>
                    <a:pt x="17" y="177"/>
                  </a:lnTo>
                  <a:lnTo>
                    <a:pt x="28" y="176"/>
                  </a:lnTo>
                  <a:lnTo>
                    <a:pt x="38" y="173"/>
                  </a:lnTo>
                  <a:lnTo>
                    <a:pt x="41" y="170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1"/>
                  </a:lnTo>
                  <a:lnTo>
                    <a:pt x="46" y="158"/>
                  </a:lnTo>
                  <a:lnTo>
                    <a:pt x="49" y="157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4" y="155"/>
                  </a:lnTo>
                  <a:lnTo>
                    <a:pt x="56" y="154"/>
                  </a:lnTo>
                  <a:lnTo>
                    <a:pt x="60" y="148"/>
                  </a:lnTo>
                  <a:lnTo>
                    <a:pt x="65" y="143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72" y="137"/>
                  </a:lnTo>
                  <a:lnTo>
                    <a:pt x="74" y="137"/>
                  </a:lnTo>
                  <a:lnTo>
                    <a:pt x="75" y="137"/>
                  </a:lnTo>
                  <a:lnTo>
                    <a:pt x="77" y="139"/>
                  </a:lnTo>
                  <a:lnTo>
                    <a:pt x="80" y="145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1" y="157"/>
                  </a:lnTo>
                  <a:lnTo>
                    <a:pt x="83" y="160"/>
                  </a:lnTo>
                  <a:lnTo>
                    <a:pt x="86" y="162"/>
                  </a:lnTo>
                  <a:lnTo>
                    <a:pt x="89" y="164"/>
                  </a:lnTo>
                  <a:lnTo>
                    <a:pt x="93" y="165"/>
                  </a:lnTo>
                  <a:lnTo>
                    <a:pt x="96" y="167"/>
                  </a:lnTo>
                  <a:lnTo>
                    <a:pt x="99" y="165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15" y="140"/>
                  </a:lnTo>
                  <a:lnTo>
                    <a:pt x="121" y="127"/>
                  </a:lnTo>
                  <a:lnTo>
                    <a:pt x="124" y="118"/>
                  </a:lnTo>
                  <a:lnTo>
                    <a:pt x="124" y="118"/>
                  </a:lnTo>
                  <a:lnTo>
                    <a:pt x="123" y="111"/>
                  </a:lnTo>
                  <a:lnTo>
                    <a:pt x="120" y="103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06" y="77"/>
                  </a:lnTo>
                  <a:lnTo>
                    <a:pt x="103" y="66"/>
                  </a:lnTo>
                  <a:lnTo>
                    <a:pt x="100" y="57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81" y="41"/>
                  </a:lnTo>
                  <a:lnTo>
                    <a:pt x="72" y="34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59" y="16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4" y="4"/>
                  </a:lnTo>
                  <a:lnTo>
                    <a:pt x="52" y="1"/>
                  </a:lnTo>
                  <a:lnTo>
                    <a:pt x="47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2" y="7"/>
                  </a:lnTo>
                  <a:lnTo>
                    <a:pt x="28" y="13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31" y="29"/>
                  </a:lnTo>
                  <a:lnTo>
                    <a:pt x="37" y="40"/>
                  </a:lnTo>
                  <a:lnTo>
                    <a:pt x="44" y="5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60" y="54"/>
                  </a:lnTo>
                  <a:lnTo>
                    <a:pt x="63" y="53"/>
                  </a:lnTo>
                  <a:lnTo>
                    <a:pt x="66" y="53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5" y="57"/>
                  </a:lnTo>
                  <a:lnTo>
                    <a:pt x="77" y="59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3" y="71"/>
                  </a:lnTo>
                  <a:lnTo>
                    <a:pt x="87" y="72"/>
                  </a:lnTo>
                  <a:lnTo>
                    <a:pt x="89" y="75"/>
                  </a:lnTo>
                  <a:lnTo>
                    <a:pt x="90" y="83"/>
                  </a:lnTo>
                  <a:lnTo>
                    <a:pt x="90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9" name="Freeform 48">
              <a:extLst>
                <a:ext uri="{FF2B5EF4-FFF2-40B4-BE49-F238E27FC236}">
                  <a16:creationId xmlns:a16="http://schemas.microsoft.com/office/drawing/2014/main" id="{F3CC1B4B-F697-FB4F-A599-2AC43AC39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813" y="3541713"/>
              <a:ext cx="474663" cy="601662"/>
            </a:xfrm>
            <a:custGeom>
              <a:avLst/>
              <a:gdLst>
                <a:gd name="T0" fmla="*/ 139 w 299"/>
                <a:gd name="T1" fmla="*/ 304 h 379"/>
                <a:gd name="T2" fmla="*/ 156 w 299"/>
                <a:gd name="T3" fmla="*/ 288 h 379"/>
                <a:gd name="T4" fmla="*/ 181 w 299"/>
                <a:gd name="T5" fmla="*/ 280 h 379"/>
                <a:gd name="T6" fmla="*/ 176 w 299"/>
                <a:gd name="T7" fmla="*/ 267 h 379"/>
                <a:gd name="T8" fmla="*/ 196 w 299"/>
                <a:gd name="T9" fmla="*/ 240 h 379"/>
                <a:gd name="T10" fmla="*/ 219 w 299"/>
                <a:gd name="T11" fmla="*/ 224 h 379"/>
                <a:gd name="T12" fmla="*/ 246 w 299"/>
                <a:gd name="T13" fmla="*/ 208 h 379"/>
                <a:gd name="T14" fmla="*/ 249 w 299"/>
                <a:gd name="T15" fmla="*/ 191 h 379"/>
                <a:gd name="T16" fmla="*/ 245 w 299"/>
                <a:gd name="T17" fmla="*/ 160 h 379"/>
                <a:gd name="T18" fmla="*/ 245 w 299"/>
                <a:gd name="T19" fmla="*/ 148 h 379"/>
                <a:gd name="T20" fmla="*/ 256 w 299"/>
                <a:gd name="T21" fmla="*/ 141 h 379"/>
                <a:gd name="T22" fmla="*/ 271 w 299"/>
                <a:gd name="T23" fmla="*/ 156 h 379"/>
                <a:gd name="T24" fmla="*/ 282 w 299"/>
                <a:gd name="T25" fmla="*/ 156 h 379"/>
                <a:gd name="T26" fmla="*/ 286 w 299"/>
                <a:gd name="T27" fmla="*/ 150 h 379"/>
                <a:gd name="T28" fmla="*/ 282 w 299"/>
                <a:gd name="T29" fmla="*/ 128 h 379"/>
                <a:gd name="T30" fmla="*/ 289 w 299"/>
                <a:gd name="T31" fmla="*/ 111 h 379"/>
                <a:gd name="T32" fmla="*/ 283 w 299"/>
                <a:gd name="T33" fmla="*/ 104 h 379"/>
                <a:gd name="T34" fmla="*/ 296 w 299"/>
                <a:gd name="T35" fmla="*/ 94 h 379"/>
                <a:gd name="T36" fmla="*/ 299 w 299"/>
                <a:gd name="T37" fmla="*/ 76 h 379"/>
                <a:gd name="T38" fmla="*/ 293 w 299"/>
                <a:gd name="T39" fmla="*/ 57 h 379"/>
                <a:gd name="T40" fmla="*/ 286 w 299"/>
                <a:gd name="T41" fmla="*/ 30 h 379"/>
                <a:gd name="T42" fmla="*/ 285 w 299"/>
                <a:gd name="T43" fmla="*/ 0 h 379"/>
                <a:gd name="T44" fmla="*/ 240 w 299"/>
                <a:gd name="T45" fmla="*/ 15 h 379"/>
                <a:gd name="T46" fmla="*/ 193 w 299"/>
                <a:gd name="T47" fmla="*/ 43 h 379"/>
                <a:gd name="T48" fmla="*/ 157 w 299"/>
                <a:gd name="T49" fmla="*/ 55 h 379"/>
                <a:gd name="T50" fmla="*/ 132 w 299"/>
                <a:gd name="T51" fmla="*/ 61 h 379"/>
                <a:gd name="T52" fmla="*/ 110 w 299"/>
                <a:gd name="T53" fmla="*/ 94 h 379"/>
                <a:gd name="T54" fmla="*/ 97 w 299"/>
                <a:gd name="T55" fmla="*/ 105 h 379"/>
                <a:gd name="T56" fmla="*/ 79 w 299"/>
                <a:gd name="T57" fmla="*/ 107 h 379"/>
                <a:gd name="T58" fmla="*/ 67 w 299"/>
                <a:gd name="T59" fmla="*/ 108 h 379"/>
                <a:gd name="T60" fmla="*/ 52 w 299"/>
                <a:gd name="T61" fmla="*/ 141 h 379"/>
                <a:gd name="T62" fmla="*/ 24 w 299"/>
                <a:gd name="T63" fmla="*/ 165 h 379"/>
                <a:gd name="T64" fmla="*/ 5 w 299"/>
                <a:gd name="T65" fmla="*/ 181 h 379"/>
                <a:gd name="T66" fmla="*/ 15 w 299"/>
                <a:gd name="T67" fmla="*/ 206 h 379"/>
                <a:gd name="T68" fmla="*/ 6 w 299"/>
                <a:gd name="T69" fmla="*/ 215 h 379"/>
                <a:gd name="T70" fmla="*/ 6 w 299"/>
                <a:gd name="T71" fmla="*/ 225 h 379"/>
                <a:gd name="T72" fmla="*/ 18 w 299"/>
                <a:gd name="T73" fmla="*/ 239 h 379"/>
                <a:gd name="T74" fmla="*/ 9 w 299"/>
                <a:gd name="T75" fmla="*/ 249 h 379"/>
                <a:gd name="T76" fmla="*/ 2 w 299"/>
                <a:gd name="T77" fmla="*/ 265 h 379"/>
                <a:gd name="T78" fmla="*/ 22 w 299"/>
                <a:gd name="T79" fmla="*/ 292 h 379"/>
                <a:gd name="T80" fmla="*/ 33 w 299"/>
                <a:gd name="T81" fmla="*/ 298 h 379"/>
                <a:gd name="T82" fmla="*/ 40 w 299"/>
                <a:gd name="T83" fmla="*/ 325 h 379"/>
                <a:gd name="T84" fmla="*/ 46 w 299"/>
                <a:gd name="T85" fmla="*/ 353 h 379"/>
                <a:gd name="T86" fmla="*/ 62 w 299"/>
                <a:gd name="T87" fmla="*/ 363 h 379"/>
                <a:gd name="T88" fmla="*/ 73 w 299"/>
                <a:gd name="T89" fmla="*/ 379 h 379"/>
                <a:gd name="T90" fmla="*/ 89 w 299"/>
                <a:gd name="T91" fmla="*/ 365 h 379"/>
                <a:gd name="T92" fmla="*/ 114 w 299"/>
                <a:gd name="T93" fmla="*/ 359 h 379"/>
                <a:gd name="T94" fmla="*/ 136 w 299"/>
                <a:gd name="T95" fmla="*/ 342 h 379"/>
                <a:gd name="T96" fmla="*/ 132 w 299"/>
                <a:gd name="T97" fmla="*/ 317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9" h="379">
                  <a:moveTo>
                    <a:pt x="132" y="317"/>
                  </a:moveTo>
                  <a:lnTo>
                    <a:pt x="132" y="317"/>
                  </a:lnTo>
                  <a:lnTo>
                    <a:pt x="135" y="311"/>
                  </a:lnTo>
                  <a:lnTo>
                    <a:pt x="139" y="304"/>
                  </a:lnTo>
                  <a:lnTo>
                    <a:pt x="150" y="291"/>
                  </a:lnTo>
                  <a:lnTo>
                    <a:pt x="150" y="291"/>
                  </a:lnTo>
                  <a:lnTo>
                    <a:pt x="153" y="289"/>
                  </a:lnTo>
                  <a:lnTo>
                    <a:pt x="156" y="288"/>
                  </a:lnTo>
                  <a:lnTo>
                    <a:pt x="168" y="289"/>
                  </a:lnTo>
                  <a:lnTo>
                    <a:pt x="182" y="292"/>
                  </a:lnTo>
                  <a:lnTo>
                    <a:pt x="182" y="292"/>
                  </a:lnTo>
                  <a:lnTo>
                    <a:pt x="181" y="280"/>
                  </a:lnTo>
                  <a:lnTo>
                    <a:pt x="179" y="276"/>
                  </a:lnTo>
                  <a:lnTo>
                    <a:pt x="176" y="270"/>
                  </a:lnTo>
                  <a:lnTo>
                    <a:pt x="176" y="270"/>
                  </a:lnTo>
                  <a:lnTo>
                    <a:pt x="176" y="267"/>
                  </a:lnTo>
                  <a:lnTo>
                    <a:pt x="176" y="262"/>
                  </a:lnTo>
                  <a:lnTo>
                    <a:pt x="181" y="255"/>
                  </a:lnTo>
                  <a:lnTo>
                    <a:pt x="188" y="246"/>
                  </a:lnTo>
                  <a:lnTo>
                    <a:pt x="196" y="240"/>
                  </a:lnTo>
                  <a:lnTo>
                    <a:pt x="196" y="240"/>
                  </a:lnTo>
                  <a:lnTo>
                    <a:pt x="206" y="231"/>
                  </a:lnTo>
                  <a:lnTo>
                    <a:pt x="212" y="227"/>
                  </a:lnTo>
                  <a:lnTo>
                    <a:pt x="219" y="224"/>
                  </a:lnTo>
                  <a:lnTo>
                    <a:pt x="219" y="224"/>
                  </a:lnTo>
                  <a:lnTo>
                    <a:pt x="227" y="221"/>
                  </a:lnTo>
                  <a:lnTo>
                    <a:pt x="234" y="217"/>
                  </a:lnTo>
                  <a:lnTo>
                    <a:pt x="246" y="208"/>
                  </a:lnTo>
                  <a:lnTo>
                    <a:pt x="246" y="208"/>
                  </a:lnTo>
                  <a:lnTo>
                    <a:pt x="249" y="205"/>
                  </a:lnTo>
                  <a:lnTo>
                    <a:pt x="249" y="200"/>
                  </a:lnTo>
                  <a:lnTo>
                    <a:pt x="249" y="191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5" y="166"/>
                  </a:lnTo>
                  <a:lnTo>
                    <a:pt x="245" y="160"/>
                  </a:lnTo>
                  <a:lnTo>
                    <a:pt x="245" y="156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48"/>
                  </a:lnTo>
                  <a:lnTo>
                    <a:pt x="245" y="147"/>
                  </a:lnTo>
                  <a:lnTo>
                    <a:pt x="248" y="144"/>
                  </a:lnTo>
                  <a:lnTo>
                    <a:pt x="256" y="141"/>
                  </a:lnTo>
                  <a:lnTo>
                    <a:pt x="256" y="141"/>
                  </a:lnTo>
                  <a:lnTo>
                    <a:pt x="258" y="141"/>
                  </a:lnTo>
                  <a:lnTo>
                    <a:pt x="261" y="143"/>
                  </a:lnTo>
                  <a:lnTo>
                    <a:pt x="264" y="145"/>
                  </a:lnTo>
                  <a:lnTo>
                    <a:pt x="271" y="156"/>
                  </a:lnTo>
                  <a:lnTo>
                    <a:pt x="271" y="156"/>
                  </a:lnTo>
                  <a:lnTo>
                    <a:pt x="273" y="157"/>
                  </a:lnTo>
                  <a:lnTo>
                    <a:pt x="276" y="157"/>
                  </a:lnTo>
                  <a:lnTo>
                    <a:pt x="282" y="156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89" y="151"/>
                  </a:lnTo>
                  <a:lnTo>
                    <a:pt x="286" y="150"/>
                  </a:lnTo>
                  <a:lnTo>
                    <a:pt x="283" y="143"/>
                  </a:lnTo>
                  <a:lnTo>
                    <a:pt x="282" y="135"/>
                  </a:lnTo>
                  <a:lnTo>
                    <a:pt x="282" y="128"/>
                  </a:lnTo>
                  <a:lnTo>
                    <a:pt x="282" y="128"/>
                  </a:lnTo>
                  <a:lnTo>
                    <a:pt x="285" y="123"/>
                  </a:lnTo>
                  <a:lnTo>
                    <a:pt x="288" y="117"/>
                  </a:lnTo>
                  <a:lnTo>
                    <a:pt x="289" y="114"/>
                  </a:lnTo>
                  <a:lnTo>
                    <a:pt x="289" y="111"/>
                  </a:lnTo>
                  <a:lnTo>
                    <a:pt x="289" y="111"/>
                  </a:lnTo>
                  <a:lnTo>
                    <a:pt x="286" y="108"/>
                  </a:lnTo>
                  <a:lnTo>
                    <a:pt x="285" y="105"/>
                  </a:lnTo>
                  <a:lnTo>
                    <a:pt x="283" y="104"/>
                  </a:lnTo>
                  <a:lnTo>
                    <a:pt x="283" y="104"/>
                  </a:lnTo>
                  <a:lnTo>
                    <a:pt x="285" y="101"/>
                  </a:lnTo>
                  <a:lnTo>
                    <a:pt x="289" y="100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8" y="91"/>
                  </a:lnTo>
                  <a:lnTo>
                    <a:pt x="299" y="88"/>
                  </a:lnTo>
                  <a:lnTo>
                    <a:pt x="299" y="76"/>
                  </a:lnTo>
                  <a:lnTo>
                    <a:pt x="298" y="64"/>
                  </a:lnTo>
                  <a:lnTo>
                    <a:pt x="296" y="60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4"/>
                  </a:lnTo>
                  <a:lnTo>
                    <a:pt x="290" y="51"/>
                  </a:lnTo>
                  <a:lnTo>
                    <a:pt x="289" y="43"/>
                  </a:lnTo>
                  <a:lnTo>
                    <a:pt x="286" y="30"/>
                  </a:lnTo>
                  <a:lnTo>
                    <a:pt x="286" y="30"/>
                  </a:lnTo>
                  <a:lnTo>
                    <a:pt x="285" y="14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68" y="3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40" y="15"/>
                  </a:lnTo>
                  <a:lnTo>
                    <a:pt x="230" y="21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193" y="43"/>
                  </a:lnTo>
                  <a:lnTo>
                    <a:pt x="182" y="49"/>
                  </a:lnTo>
                  <a:lnTo>
                    <a:pt x="172" y="52"/>
                  </a:lnTo>
                  <a:lnTo>
                    <a:pt x="172" y="52"/>
                  </a:lnTo>
                  <a:lnTo>
                    <a:pt x="157" y="55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26" y="67"/>
                  </a:lnTo>
                  <a:lnTo>
                    <a:pt x="119" y="76"/>
                  </a:lnTo>
                  <a:lnTo>
                    <a:pt x="113" y="85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07" y="100"/>
                  </a:lnTo>
                  <a:lnTo>
                    <a:pt x="102" y="104"/>
                  </a:lnTo>
                  <a:lnTo>
                    <a:pt x="97" y="105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79" y="107"/>
                  </a:lnTo>
                  <a:lnTo>
                    <a:pt x="74" y="104"/>
                  </a:lnTo>
                  <a:lnTo>
                    <a:pt x="73" y="104"/>
                  </a:lnTo>
                  <a:lnTo>
                    <a:pt x="73" y="103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61" y="120"/>
                  </a:lnTo>
                  <a:lnTo>
                    <a:pt x="57" y="131"/>
                  </a:lnTo>
                  <a:lnTo>
                    <a:pt x="52" y="141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39" y="156"/>
                  </a:lnTo>
                  <a:lnTo>
                    <a:pt x="24" y="165"/>
                  </a:lnTo>
                  <a:lnTo>
                    <a:pt x="11" y="174"/>
                  </a:lnTo>
                  <a:lnTo>
                    <a:pt x="6" y="178"/>
                  </a:lnTo>
                  <a:lnTo>
                    <a:pt x="5" y="181"/>
                  </a:lnTo>
                  <a:lnTo>
                    <a:pt x="5" y="181"/>
                  </a:lnTo>
                  <a:lnTo>
                    <a:pt x="6" y="187"/>
                  </a:lnTo>
                  <a:lnTo>
                    <a:pt x="9" y="193"/>
                  </a:lnTo>
                  <a:lnTo>
                    <a:pt x="14" y="200"/>
                  </a:lnTo>
                  <a:lnTo>
                    <a:pt x="15" y="206"/>
                  </a:lnTo>
                  <a:lnTo>
                    <a:pt x="15" y="206"/>
                  </a:lnTo>
                  <a:lnTo>
                    <a:pt x="14" y="209"/>
                  </a:lnTo>
                  <a:lnTo>
                    <a:pt x="11" y="212"/>
                  </a:lnTo>
                  <a:lnTo>
                    <a:pt x="6" y="215"/>
                  </a:lnTo>
                  <a:lnTo>
                    <a:pt x="5" y="218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14" y="231"/>
                  </a:lnTo>
                  <a:lnTo>
                    <a:pt x="18" y="237"/>
                  </a:lnTo>
                  <a:lnTo>
                    <a:pt x="18" y="239"/>
                  </a:lnTo>
                  <a:lnTo>
                    <a:pt x="18" y="242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9" y="249"/>
                  </a:lnTo>
                  <a:lnTo>
                    <a:pt x="3" y="255"/>
                  </a:lnTo>
                  <a:lnTo>
                    <a:pt x="0" y="261"/>
                  </a:lnTo>
                  <a:lnTo>
                    <a:pt x="0" y="264"/>
                  </a:lnTo>
                  <a:lnTo>
                    <a:pt x="2" y="265"/>
                  </a:lnTo>
                  <a:lnTo>
                    <a:pt x="2" y="265"/>
                  </a:lnTo>
                  <a:lnTo>
                    <a:pt x="12" y="282"/>
                  </a:lnTo>
                  <a:lnTo>
                    <a:pt x="18" y="289"/>
                  </a:lnTo>
                  <a:lnTo>
                    <a:pt x="22" y="292"/>
                  </a:lnTo>
                  <a:lnTo>
                    <a:pt x="25" y="294"/>
                  </a:lnTo>
                  <a:lnTo>
                    <a:pt x="25" y="294"/>
                  </a:lnTo>
                  <a:lnTo>
                    <a:pt x="30" y="295"/>
                  </a:lnTo>
                  <a:lnTo>
                    <a:pt x="33" y="298"/>
                  </a:lnTo>
                  <a:lnTo>
                    <a:pt x="37" y="305"/>
                  </a:lnTo>
                  <a:lnTo>
                    <a:pt x="40" y="314"/>
                  </a:lnTo>
                  <a:lnTo>
                    <a:pt x="40" y="325"/>
                  </a:lnTo>
                  <a:lnTo>
                    <a:pt x="40" y="325"/>
                  </a:lnTo>
                  <a:lnTo>
                    <a:pt x="37" y="341"/>
                  </a:lnTo>
                  <a:lnTo>
                    <a:pt x="37" y="341"/>
                  </a:lnTo>
                  <a:lnTo>
                    <a:pt x="42" y="347"/>
                  </a:lnTo>
                  <a:lnTo>
                    <a:pt x="46" y="353"/>
                  </a:lnTo>
                  <a:lnTo>
                    <a:pt x="46" y="353"/>
                  </a:lnTo>
                  <a:lnTo>
                    <a:pt x="49" y="356"/>
                  </a:lnTo>
                  <a:lnTo>
                    <a:pt x="52" y="359"/>
                  </a:lnTo>
                  <a:lnTo>
                    <a:pt x="62" y="363"/>
                  </a:lnTo>
                  <a:lnTo>
                    <a:pt x="62" y="363"/>
                  </a:lnTo>
                  <a:lnTo>
                    <a:pt x="67" y="368"/>
                  </a:lnTo>
                  <a:lnTo>
                    <a:pt x="70" y="372"/>
                  </a:lnTo>
                  <a:lnTo>
                    <a:pt x="73" y="379"/>
                  </a:lnTo>
                  <a:lnTo>
                    <a:pt x="73" y="379"/>
                  </a:lnTo>
                  <a:lnTo>
                    <a:pt x="85" y="368"/>
                  </a:lnTo>
                  <a:lnTo>
                    <a:pt x="85" y="368"/>
                  </a:lnTo>
                  <a:lnTo>
                    <a:pt x="89" y="365"/>
                  </a:lnTo>
                  <a:lnTo>
                    <a:pt x="98" y="362"/>
                  </a:lnTo>
                  <a:lnTo>
                    <a:pt x="105" y="360"/>
                  </a:lnTo>
                  <a:lnTo>
                    <a:pt x="114" y="359"/>
                  </a:lnTo>
                  <a:lnTo>
                    <a:pt x="114" y="359"/>
                  </a:lnTo>
                  <a:lnTo>
                    <a:pt x="129" y="350"/>
                  </a:lnTo>
                  <a:lnTo>
                    <a:pt x="134" y="345"/>
                  </a:lnTo>
                  <a:lnTo>
                    <a:pt x="136" y="342"/>
                  </a:lnTo>
                  <a:lnTo>
                    <a:pt x="136" y="342"/>
                  </a:lnTo>
                  <a:lnTo>
                    <a:pt x="136" y="337"/>
                  </a:lnTo>
                  <a:lnTo>
                    <a:pt x="134" y="331"/>
                  </a:lnTo>
                  <a:lnTo>
                    <a:pt x="132" y="323"/>
                  </a:lnTo>
                  <a:lnTo>
                    <a:pt x="132" y="317"/>
                  </a:lnTo>
                  <a:lnTo>
                    <a:pt x="132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0" name="Freeform 49">
              <a:extLst>
                <a:ext uri="{FF2B5EF4-FFF2-40B4-BE49-F238E27FC236}">
                  <a16:creationId xmlns:a16="http://schemas.microsoft.com/office/drawing/2014/main" id="{AC3B661B-DCDF-C240-B734-32799606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60600" y="7373938"/>
              <a:ext cx="631825" cy="1411287"/>
            </a:xfrm>
            <a:custGeom>
              <a:avLst/>
              <a:gdLst>
                <a:gd name="T0" fmla="*/ 105 w 398"/>
                <a:gd name="T1" fmla="*/ 785 h 889"/>
                <a:gd name="T2" fmla="*/ 101 w 398"/>
                <a:gd name="T3" fmla="*/ 834 h 889"/>
                <a:gd name="T4" fmla="*/ 74 w 398"/>
                <a:gd name="T5" fmla="*/ 861 h 889"/>
                <a:gd name="T6" fmla="*/ 128 w 398"/>
                <a:gd name="T7" fmla="*/ 889 h 889"/>
                <a:gd name="T8" fmla="*/ 107 w 398"/>
                <a:gd name="T9" fmla="*/ 871 h 889"/>
                <a:gd name="T10" fmla="*/ 90 w 398"/>
                <a:gd name="T11" fmla="*/ 864 h 889"/>
                <a:gd name="T12" fmla="*/ 123 w 398"/>
                <a:gd name="T13" fmla="*/ 852 h 889"/>
                <a:gd name="T14" fmla="*/ 141 w 398"/>
                <a:gd name="T15" fmla="*/ 813 h 889"/>
                <a:gd name="T16" fmla="*/ 150 w 398"/>
                <a:gd name="T17" fmla="*/ 782 h 889"/>
                <a:gd name="T18" fmla="*/ 173 w 398"/>
                <a:gd name="T19" fmla="*/ 779 h 889"/>
                <a:gd name="T20" fmla="*/ 182 w 398"/>
                <a:gd name="T21" fmla="*/ 741 h 889"/>
                <a:gd name="T22" fmla="*/ 200 w 398"/>
                <a:gd name="T23" fmla="*/ 741 h 889"/>
                <a:gd name="T24" fmla="*/ 212 w 398"/>
                <a:gd name="T25" fmla="*/ 775 h 889"/>
                <a:gd name="T26" fmla="*/ 244 w 398"/>
                <a:gd name="T27" fmla="*/ 759 h 889"/>
                <a:gd name="T28" fmla="*/ 283 w 398"/>
                <a:gd name="T29" fmla="*/ 759 h 889"/>
                <a:gd name="T30" fmla="*/ 342 w 398"/>
                <a:gd name="T31" fmla="*/ 664 h 889"/>
                <a:gd name="T32" fmla="*/ 376 w 398"/>
                <a:gd name="T33" fmla="*/ 565 h 889"/>
                <a:gd name="T34" fmla="*/ 364 w 398"/>
                <a:gd name="T35" fmla="*/ 511 h 889"/>
                <a:gd name="T36" fmla="*/ 379 w 398"/>
                <a:gd name="T37" fmla="*/ 474 h 889"/>
                <a:gd name="T38" fmla="*/ 385 w 398"/>
                <a:gd name="T39" fmla="*/ 397 h 889"/>
                <a:gd name="T40" fmla="*/ 398 w 398"/>
                <a:gd name="T41" fmla="*/ 209 h 889"/>
                <a:gd name="T42" fmla="*/ 382 w 398"/>
                <a:gd name="T43" fmla="*/ 148 h 889"/>
                <a:gd name="T44" fmla="*/ 381 w 398"/>
                <a:gd name="T45" fmla="*/ 64 h 889"/>
                <a:gd name="T46" fmla="*/ 367 w 398"/>
                <a:gd name="T47" fmla="*/ 76 h 889"/>
                <a:gd name="T48" fmla="*/ 353 w 398"/>
                <a:gd name="T49" fmla="*/ 70 h 889"/>
                <a:gd name="T50" fmla="*/ 353 w 398"/>
                <a:gd name="T51" fmla="*/ 52 h 889"/>
                <a:gd name="T52" fmla="*/ 330 w 398"/>
                <a:gd name="T53" fmla="*/ 34 h 889"/>
                <a:gd name="T54" fmla="*/ 326 w 398"/>
                <a:gd name="T55" fmla="*/ 18 h 889"/>
                <a:gd name="T56" fmla="*/ 301 w 398"/>
                <a:gd name="T57" fmla="*/ 12 h 889"/>
                <a:gd name="T58" fmla="*/ 280 w 398"/>
                <a:gd name="T59" fmla="*/ 0 h 889"/>
                <a:gd name="T60" fmla="*/ 279 w 398"/>
                <a:gd name="T61" fmla="*/ 30 h 889"/>
                <a:gd name="T62" fmla="*/ 244 w 398"/>
                <a:gd name="T63" fmla="*/ 55 h 889"/>
                <a:gd name="T64" fmla="*/ 244 w 398"/>
                <a:gd name="T65" fmla="*/ 89 h 889"/>
                <a:gd name="T66" fmla="*/ 271 w 398"/>
                <a:gd name="T67" fmla="*/ 91 h 889"/>
                <a:gd name="T68" fmla="*/ 273 w 398"/>
                <a:gd name="T69" fmla="*/ 101 h 889"/>
                <a:gd name="T70" fmla="*/ 305 w 398"/>
                <a:gd name="T71" fmla="*/ 94 h 889"/>
                <a:gd name="T72" fmla="*/ 317 w 398"/>
                <a:gd name="T73" fmla="*/ 89 h 889"/>
                <a:gd name="T74" fmla="*/ 329 w 398"/>
                <a:gd name="T75" fmla="*/ 106 h 889"/>
                <a:gd name="T76" fmla="*/ 319 w 398"/>
                <a:gd name="T77" fmla="*/ 125 h 889"/>
                <a:gd name="T78" fmla="*/ 301 w 398"/>
                <a:gd name="T79" fmla="*/ 150 h 889"/>
                <a:gd name="T80" fmla="*/ 280 w 398"/>
                <a:gd name="T81" fmla="*/ 156 h 889"/>
                <a:gd name="T82" fmla="*/ 268 w 398"/>
                <a:gd name="T83" fmla="*/ 183 h 889"/>
                <a:gd name="T84" fmla="*/ 276 w 398"/>
                <a:gd name="T85" fmla="*/ 197 h 889"/>
                <a:gd name="T86" fmla="*/ 264 w 398"/>
                <a:gd name="T87" fmla="*/ 227 h 889"/>
                <a:gd name="T88" fmla="*/ 265 w 398"/>
                <a:gd name="T89" fmla="*/ 240 h 889"/>
                <a:gd name="T90" fmla="*/ 231 w 398"/>
                <a:gd name="T91" fmla="*/ 249 h 889"/>
                <a:gd name="T92" fmla="*/ 207 w 398"/>
                <a:gd name="T93" fmla="*/ 258 h 889"/>
                <a:gd name="T94" fmla="*/ 191 w 398"/>
                <a:gd name="T95" fmla="*/ 271 h 889"/>
                <a:gd name="T96" fmla="*/ 179 w 398"/>
                <a:gd name="T97" fmla="*/ 251 h 889"/>
                <a:gd name="T98" fmla="*/ 156 w 398"/>
                <a:gd name="T99" fmla="*/ 264 h 889"/>
                <a:gd name="T100" fmla="*/ 135 w 398"/>
                <a:gd name="T101" fmla="*/ 274 h 889"/>
                <a:gd name="T102" fmla="*/ 138 w 398"/>
                <a:gd name="T103" fmla="*/ 301 h 889"/>
                <a:gd name="T104" fmla="*/ 144 w 398"/>
                <a:gd name="T105" fmla="*/ 328 h 889"/>
                <a:gd name="T106" fmla="*/ 102 w 398"/>
                <a:gd name="T107" fmla="*/ 369 h 889"/>
                <a:gd name="T108" fmla="*/ 120 w 398"/>
                <a:gd name="T109" fmla="*/ 403 h 889"/>
                <a:gd name="T110" fmla="*/ 113 w 398"/>
                <a:gd name="T111" fmla="*/ 440 h 889"/>
                <a:gd name="T112" fmla="*/ 120 w 398"/>
                <a:gd name="T113" fmla="*/ 486 h 889"/>
                <a:gd name="T114" fmla="*/ 126 w 398"/>
                <a:gd name="T115" fmla="*/ 522 h 889"/>
                <a:gd name="T116" fmla="*/ 90 w 398"/>
                <a:gd name="T117" fmla="*/ 538 h 889"/>
                <a:gd name="T118" fmla="*/ 36 w 398"/>
                <a:gd name="T119" fmla="*/ 547 h 889"/>
                <a:gd name="T120" fmla="*/ 13 w 398"/>
                <a:gd name="T121" fmla="*/ 612 h 889"/>
                <a:gd name="T122" fmla="*/ 11 w 398"/>
                <a:gd name="T123" fmla="*/ 648 h 889"/>
                <a:gd name="T124" fmla="*/ 55 w 398"/>
                <a:gd name="T125" fmla="*/ 70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889">
                  <a:moveTo>
                    <a:pt x="77" y="747"/>
                  </a:moveTo>
                  <a:lnTo>
                    <a:pt x="77" y="747"/>
                  </a:lnTo>
                  <a:lnTo>
                    <a:pt x="92" y="762"/>
                  </a:lnTo>
                  <a:lnTo>
                    <a:pt x="101" y="772"/>
                  </a:lnTo>
                  <a:lnTo>
                    <a:pt x="104" y="778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10" y="803"/>
                  </a:lnTo>
                  <a:lnTo>
                    <a:pt x="111" y="816"/>
                  </a:lnTo>
                  <a:lnTo>
                    <a:pt x="110" y="822"/>
                  </a:lnTo>
                  <a:lnTo>
                    <a:pt x="108" y="828"/>
                  </a:lnTo>
                  <a:lnTo>
                    <a:pt x="105" y="833"/>
                  </a:lnTo>
                  <a:lnTo>
                    <a:pt x="101" y="834"/>
                  </a:lnTo>
                  <a:lnTo>
                    <a:pt x="101" y="834"/>
                  </a:lnTo>
                  <a:lnTo>
                    <a:pt x="90" y="839"/>
                  </a:lnTo>
                  <a:lnTo>
                    <a:pt x="83" y="843"/>
                  </a:lnTo>
                  <a:lnTo>
                    <a:pt x="80" y="846"/>
                  </a:lnTo>
                  <a:lnTo>
                    <a:pt x="77" y="850"/>
                  </a:lnTo>
                  <a:lnTo>
                    <a:pt x="74" y="855"/>
                  </a:lnTo>
                  <a:lnTo>
                    <a:pt x="74" y="861"/>
                  </a:lnTo>
                  <a:lnTo>
                    <a:pt x="74" y="861"/>
                  </a:lnTo>
                  <a:lnTo>
                    <a:pt x="74" y="862"/>
                  </a:lnTo>
                  <a:lnTo>
                    <a:pt x="76" y="865"/>
                  </a:lnTo>
                  <a:lnTo>
                    <a:pt x="80" y="870"/>
                  </a:lnTo>
                  <a:lnTo>
                    <a:pt x="88" y="874"/>
                  </a:lnTo>
                  <a:lnTo>
                    <a:pt x="95" y="879"/>
                  </a:lnTo>
                  <a:lnTo>
                    <a:pt x="114" y="885"/>
                  </a:lnTo>
                  <a:lnTo>
                    <a:pt x="128" y="889"/>
                  </a:lnTo>
                  <a:lnTo>
                    <a:pt x="128" y="889"/>
                  </a:lnTo>
                  <a:lnTo>
                    <a:pt x="128" y="886"/>
                  </a:lnTo>
                  <a:lnTo>
                    <a:pt x="128" y="883"/>
                  </a:lnTo>
                  <a:lnTo>
                    <a:pt x="128" y="883"/>
                  </a:lnTo>
                  <a:lnTo>
                    <a:pt x="119" y="876"/>
                  </a:lnTo>
                  <a:lnTo>
                    <a:pt x="113" y="873"/>
                  </a:lnTo>
                  <a:lnTo>
                    <a:pt x="107" y="871"/>
                  </a:lnTo>
                  <a:lnTo>
                    <a:pt x="107" y="871"/>
                  </a:lnTo>
                  <a:lnTo>
                    <a:pt x="101" y="871"/>
                  </a:lnTo>
                  <a:lnTo>
                    <a:pt x="96" y="871"/>
                  </a:lnTo>
                  <a:lnTo>
                    <a:pt x="95" y="870"/>
                  </a:lnTo>
                  <a:lnTo>
                    <a:pt x="95" y="870"/>
                  </a:lnTo>
                  <a:lnTo>
                    <a:pt x="90" y="865"/>
                  </a:lnTo>
                  <a:lnTo>
                    <a:pt x="90" y="864"/>
                  </a:lnTo>
                  <a:lnTo>
                    <a:pt x="90" y="864"/>
                  </a:lnTo>
                  <a:lnTo>
                    <a:pt x="93" y="862"/>
                  </a:lnTo>
                  <a:lnTo>
                    <a:pt x="98" y="861"/>
                  </a:lnTo>
                  <a:lnTo>
                    <a:pt x="107" y="855"/>
                  </a:lnTo>
                  <a:lnTo>
                    <a:pt x="107" y="855"/>
                  </a:lnTo>
                  <a:lnTo>
                    <a:pt x="113" y="853"/>
                  </a:lnTo>
                  <a:lnTo>
                    <a:pt x="123" y="852"/>
                  </a:lnTo>
                  <a:lnTo>
                    <a:pt x="133" y="850"/>
                  </a:lnTo>
                  <a:lnTo>
                    <a:pt x="139" y="848"/>
                  </a:lnTo>
                  <a:lnTo>
                    <a:pt x="139" y="848"/>
                  </a:lnTo>
                  <a:lnTo>
                    <a:pt x="141" y="845"/>
                  </a:lnTo>
                  <a:lnTo>
                    <a:pt x="142" y="840"/>
                  </a:lnTo>
                  <a:lnTo>
                    <a:pt x="142" y="830"/>
                  </a:lnTo>
                  <a:lnTo>
                    <a:pt x="141" y="813"/>
                  </a:lnTo>
                  <a:lnTo>
                    <a:pt x="141" y="813"/>
                  </a:lnTo>
                  <a:lnTo>
                    <a:pt x="142" y="800"/>
                  </a:lnTo>
                  <a:lnTo>
                    <a:pt x="142" y="791"/>
                  </a:lnTo>
                  <a:lnTo>
                    <a:pt x="144" y="784"/>
                  </a:lnTo>
                  <a:lnTo>
                    <a:pt x="144" y="784"/>
                  </a:lnTo>
                  <a:lnTo>
                    <a:pt x="145" y="782"/>
                  </a:lnTo>
                  <a:lnTo>
                    <a:pt x="150" y="782"/>
                  </a:lnTo>
                  <a:lnTo>
                    <a:pt x="160" y="785"/>
                  </a:lnTo>
                  <a:lnTo>
                    <a:pt x="160" y="785"/>
                  </a:lnTo>
                  <a:lnTo>
                    <a:pt x="166" y="785"/>
                  </a:lnTo>
                  <a:lnTo>
                    <a:pt x="169" y="785"/>
                  </a:lnTo>
                  <a:lnTo>
                    <a:pt x="169" y="785"/>
                  </a:lnTo>
                  <a:lnTo>
                    <a:pt x="170" y="784"/>
                  </a:lnTo>
                  <a:lnTo>
                    <a:pt x="173" y="779"/>
                  </a:lnTo>
                  <a:lnTo>
                    <a:pt x="176" y="775"/>
                  </a:lnTo>
                  <a:lnTo>
                    <a:pt x="179" y="768"/>
                  </a:lnTo>
                  <a:lnTo>
                    <a:pt x="179" y="768"/>
                  </a:lnTo>
                  <a:lnTo>
                    <a:pt x="181" y="759"/>
                  </a:lnTo>
                  <a:lnTo>
                    <a:pt x="181" y="751"/>
                  </a:lnTo>
                  <a:lnTo>
                    <a:pt x="181" y="744"/>
                  </a:lnTo>
                  <a:lnTo>
                    <a:pt x="182" y="741"/>
                  </a:lnTo>
                  <a:lnTo>
                    <a:pt x="182" y="741"/>
                  </a:lnTo>
                  <a:lnTo>
                    <a:pt x="190" y="738"/>
                  </a:lnTo>
                  <a:lnTo>
                    <a:pt x="194" y="736"/>
                  </a:lnTo>
                  <a:lnTo>
                    <a:pt x="197" y="736"/>
                  </a:lnTo>
                  <a:lnTo>
                    <a:pt x="197" y="736"/>
                  </a:lnTo>
                  <a:lnTo>
                    <a:pt x="199" y="738"/>
                  </a:lnTo>
                  <a:lnTo>
                    <a:pt x="200" y="741"/>
                  </a:lnTo>
                  <a:lnTo>
                    <a:pt x="200" y="748"/>
                  </a:lnTo>
                  <a:lnTo>
                    <a:pt x="202" y="768"/>
                  </a:lnTo>
                  <a:lnTo>
                    <a:pt x="202" y="768"/>
                  </a:lnTo>
                  <a:lnTo>
                    <a:pt x="202" y="771"/>
                  </a:lnTo>
                  <a:lnTo>
                    <a:pt x="203" y="773"/>
                  </a:lnTo>
                  <a:lnTo>
                    <a:pt x="207" y="775"/>
                  </a:lnTo>
                  <a:lnTo>
                    <a:pt x="212" y="775"/>
                  </a:lnTo>
                  <a:lnTo>
                    <a:pt x="216" y="775"/>
                  </a:lnTo>
                  <a:lnTo>
                    <a:pt x="216" y="775"/>
                  </a:lnTo>
                  <a:lnTo>
                    <a:pt x="222" y="772"/>
                  </a:lnTo>
                  <a:lnTo>
                    <a:pt x="228" y="766"/>
                  </a:lnTo>
                  <a:lnTo>
                    <a:pt x="240" y="759"/>
                  </a:lnTo>
                  <a:lnTo>
                    <a:pt x="240" y="759"/>
                  </a:lnTo>
                  <a:lnTo>
                    <a:pt x="244" y="759"/>
                  </a:lnTo>
                  <a:lnTo>
                    <a:pt x="250" y="762"/>
                  </a:lnTo>
                  <a:lnTo>
                    <a:pt x="256" y="766"/>
                  </a:lnTo>
                  <a:lnTo>
                    <a:pt x="264" y="768"/>
                  </a:lnTo>
                  <a:lnTo>
                    <a:pt x="264" y="768"/>
                  </a:lnTo>
                  <a:lnTo>
                    <a:pt x="270" y="766"/>
                  </a:lnTo>
                  <a:lnTo>
                    <a:pt x="274" y="765"/>
                  </a:lnTo>
                  <a:lnTo>
                    <a:pt x="283" y="759"/>
                  </a:lnTo>
                  <a:lnTo>
                    <a:pt x="283" y="759"/>
                  </a:lnTo>
                  <a:lnTo>
                    <a:pt x="292" y="747"/>
                  </a:lnTo>
                  <a:lnTo>
                    <a:pt x="305" y="726"/>
                  </a:lnTo>
                  <a:lnTo>
                    <a:pt x="329" y="691"/>
                  </a:lnTo>
                  <a:lnTo>
                    <a:pt x="329" y="691"/>
                  </a:lnTo>
                  <a:lnTo>
                    <a:pt x="335" y="680"/>
                  </a:lnTo>
                  <a:lnTo>
                    <a:pt x="342" y="664"/>
                  </a:lnTo>
                  <a:lnTo>
                    <a:pt x="353" y="639"/>
                  </a:lnTo>
                  <a:lnTo>
                    <a:pt x="353" y="639"/>
                  </a:lnTo>
                  <a:lnTo>
                    <a:pt x="363" y="609"/>
                  </a:lnTo>
                  <a:lnTo>
                    <a:pt x="370" y="590"/>
                  </a:lnTo>
                  <a:lnTo>
                    <a:pt x="375" y="575"/>
                  </a:lnTo>
                  <a:lnTo>
                    <a:pt x="375" y="575"/>
                  </a:lnTo>
                  <a:lnTo>
                    <a:pt x="376" y="565"/>
                  </a:lnTo>
                  <a:lnTo>
                    <a:pt x="376" y="556"/>
                  </a:lnTo>
                  <a:lnTo>
                    <a:pt x="375" y="550"/>
                  </a:lnTo>
                  <a:lnTo>
                    <a:pt x="373" y="544"/>
                  </a:lnTo>
                  <a:lnTo>
                    <a:pt x="373" y="544"/>
                  </a:lnTo>
                  <a:lnTo>
                    <a:pt x="367" y="531"/>
                  </a:lnTo>
                  <a:lnTo>
                    <a:pt x="366" y="520"/>
                  </a:lnTo>
                  <a:lnTo>
                    <a:pt x="364" y="511"/>
                  </a:lnTo>
                  <a:lnTo>
                    <a:pt x="364" y="511"/>
                  </a:lnTo>
                  <a:lnTo>
                    <a:pt x="366" y="502"/>
                  </a:lnTo>
                  <a:lnTo>
                    <a:pt x="367" y="494"/>
                  </a:lnTo>
                  <a:lnTo>
                    <a:pt x="372" y="488"/>
                  </a:lnTo>
                  <a:lnTo>
                    <a:pt x="375" y="480"/>
                  </a:lnTo>
                  <a:lnTo>
                    <a:pt x="375" y="480"/>
                  </a:lnTo>
                  <a:lnTo>
                    <a:pt x="379" y="474"/>
                  </a:lnTo>
                  <a:lnTo>
                    <a:pt x="382" y="467"/>
                  </a:lnTo>
                  <a:lnTo>
                    <a:pt x="384" y="460"/>
                  </a:lnTo>
                  <a:lnTo>
                    <a:pt x="384" y="454"/>
                  </a:lnTo>
                  <a:lnTo>
                    <a:pt x="384" y="454"/>
                  </a:lnTo>
                  <a:lnTo>
                    <a:pt x="384" y="427"/>
                  </a:lnTo>
                  <a:lnTo>
                    <a:pt x="385" y="397"/>
                  </a:lnTo>
                  <a:lnTo>
                    <a:pt x="385" y="397"/>
                  </a:lnTo>
                  <a:lnTo>
                    <a:pt x="390" y="354"/>
                  </a:lnTo>
                  <a:lnTo>
                    <a:pt x="393" y="328"/>
                  </a:lnTo>
                  <a:lnTo>
                    <a:pt x="394" y="310"/>
                  </a:lnTo>
                  <a:lnTo>
                    <a:pt x="394" y="310"/>
                  </a:lnTo>
                  <a:lnTo>
                    <a:pt x="397" y="291"/>
                  </a:lnTo>
                  <a:lnTo>
                    <a:pt x="398" y="260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7" y="197"/>
                  </a:lnTo>
                  <a:lnTo>
                    <a:pt x="394" y="183"/>
                  </a:lnTo>
                  <a:lnTo>
                    <a:pt x="390" y="166"/>
                  </a:lnTo>
                  <a:lnTo>
                    <a:pt x="385" y="154"/>
                  </a:lnTo>
                  <a:lnTo>
                    <a:pt x="385" y="154"/>
                  </a:lnTo>
                  <a:lnTo>
                    <a:pt x="382" y="148"/>
                  </a:lnTo>
                  <a:lnTo>
                    <a:pt x="382" y="143"/>
                  </a:lnTo>
                  <a:lnTo>
                    <a:pt x="382" y="131"/>
                  </a:lnTo>
                  <a:lnTo>
                    <a:pt x="382" y="119"/>
                  </a:lnTo>
                  <a:lnTo>
                    <a:pt x="382" y="110"/>
                  </a:lnTo>
                  <a:lnTo>
                    <a:pt x="382" y="110"/>
                  </a:lnTo>
                  <a:lnTo>
                    <a:pt x="381" y="91"/>
                  </a:lnTo>
                  <a:lnTo>
                    <a:pt x="381" y="64"/>
                  </a:lnTo>
                  <a:lnTo>
                    <a:pt x="378" y="64"/>
                  </a:lnTo>
                  <a:lnTo>
                    <a:pt x="378" y="64"/>
                  </a:lnTo>
                  <a:lnTo>
                    <a:pt x="375" y="66"/>
                  </a:lnTo>
                  <a:lnTo>
                    <a:pt x="373" y="69"/>
                  </a:lnTo>
                  <a:lnTo>
                    <a:pt x="369" y="74"/>
                  </a:lnTo>
                  <a:lnTo>
                    <a:pt x="369" y="74"/>
                  </a:lnTo>
                  <a:lnTo>
                    <a:pt x="367" y="76"/>
                  </a:lnTo>
                  <a:lnTo>
                    <a:pt x="364" y="77"/>
                  </a:lnTo>
                  <a:lnTo>
                    <a:pt x="361" y="76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57" y="70"/>
                  </a:lnTo>
                  <a:lnTo>
                    <a:pt x="356" y="70"/>
                  </a:lnTo>
                  <a:lnTo>
                    <a:pt x="353" y="70"/>
                  </a:lnTo>
                  <a:lnTo>
                    <a:pt x="348" y="70"/>
                  </a:lnTo>
                  <a:lnTo>
                    <a:pt x="348" y="70"/>
                  </a:lnTo>
                  <a:lnTo>
                    <a:pt x="347" y="67"/>
                  </a:lnTo>
                  <a:lnTo>
                    <a:pt x="347" y="66"/>
                  </a:lnTo>
                  <a:lnTo>
                    <a:pt x="351" y="58"/>
                  </a:lnTo>
                  <a:lnTo>
                    <a:pt x="351" y="58"/>
                  </a:lnTo>
                  <a:lnTo>
                    <a:pt x="353" y="52"/>
                  </a:lnTo>
                  <a:lnTo>
                    <a:pt x="354" y="48"/>
                  </a:lnTo>
                  <a:lnTo>
                    <a:pt x="353" y="39"/>
                  </a:lnTo>
                  <a:lnTo>
                    <a:pt x="353" y="39"/>
                  </a:lnTo>
                  <a:lnTo>
                    <a:pt x="351" y="36"/>
                  </a:lnTo>
                  <a:lnTo>
                    <a:pt x="350" y="36"/>
                  </a:lnTo>
                  <a:lnTo>
                    <a:pt x="344" y="34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6" y="33"/>
                  </a:lnTo>
                  <a:lnTo>
                    <a:pt x="324" y="31"/>
                  </a:lnTo>
                  <a:lnTo>
                    <a:pt x="324" y="27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18"/>
                  </a:lnTo>
                  <a:lnTo>
                    <a:pt x="324" y="15"/>
                  </a:lnTo>
                  <a:lnTo>
                    <a:pt x="321" y="12"/>
                  </a:lnTo>
                  <a:lnTo>
                    <a:pt x="316" y="9"/>
                  </a:lnTo>
                  <a:lnTo>
                    <a:pt x="316" y="9"/>
                  </a:lnTo>
                  <a:lnTo>
                    <a:pt x="310" y="9"/>
                  </a:lnTo>
                  <a:lnTo>
                    <a:pt x="305" y="11"/>
                  </a:lnTo>
                  <a:lnTo>
                    <a:pt x="301" y="12"/>
                  </a:lnTo>
                  <a:lnTo>
                    <a:pt x="296" y="12"/>
                  </a:lnTo>
                  <a:lnTo>
                    <a:pt x="296" y="12"/>
                  </a:lnTo>
                  <a:lnTo>
                    <a:pt x="292" y="11"/>
                  </a:lnTo>
                  <a:lnTo>
                    <a:pt x="289" y="8"/>
                  </a:lnTo>
                  <a:lnTo>
                    <a:pt x="284" y="3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279" y="0"/>
                  </a:lnTo>
                  <a:lnTo>
                    <a:pt x="277" y="2"/>
                  </a:lnTo>
                  <a:lnTo>
                    <a:pt x="277" y="8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6"/>
                  </a:lnTo>
                  <a:lnTo>
                    <a:pt x="279" y="30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64" y="48"/>
                  </a:lnTo>
                  <a:lnTo>
                    <a:pt x="258" y="51"/>
                  </a:lnTo>
                  <a:lnTo>
                    <a:pt x="250" y="54"/>
                  </a:lnTo>
                  <a:lnTo>
                    <a:pt x="244" y="55"/>
                  </a:lnTo>
                  <a:lnTo>
                    <a:pt x="244" y="55"/>
                  </a:lnTo>
                  <a:lnTo>
                    <a:pt x="243" y="57"/>
                  </a:lnTo>
                  <a:lnTo>
                    <a:pt x="242" y="60"/>
                  </a:lnTo>
                  <a:lnTo>
                    <a:pt x="240" y="69"/>
                  </a:lnTo>
                  <a:lnTo>
                    <a:pt x="240" y="79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4" y="89"/>
                  </a:lnTo>
                  <a:lnTo>
                    <a:pt x="246" y="91"/>
                  </a:lnTo>
                  <a:lnTo>
                    <a:pt x="255" y="91"/>
                  </a:lnTo>
                  <a:lnTo>
                    <a:pt x="262" y="89"/>
                  </a:lnTo>
                  <a:lnTo>
                    <a:pt x="270" y="89"/>
                  </a:lnTo>
                  <a:lnTo>
                    <a:pt x="270" y="89"/>
                  </a:lnTo>
                  <a:lnTo>
                    <a:pt x="271" y="89"/>
                  </a:lnTo>
                  <a:lnTo>
                    <a:pt x="271" y="91"/>
                  </a:lnTo>
                  <a:lnTo>
                    <a:pt x="270" y="94"/>
                  </a:lnTo>
                  <a:lnTo>
                    <a:pt x="267" y="97"/>
                  </a:lnTo>
                  <a:lnTo>
                    <a:pt x="265" y="101"/>
                  </a:lnTo>
                  <a:lnTo>
                    <a:pt x="265" y="101"/>
                  </a:lnTo>
                  <a:lnTo>
                    <a:pt x="265" y="101"/>
                  </a:lnTo>
                  <a:lnTo>
                    <a:pt x="267" y="103"/>
                  </a:lnTo>
                  <a:lnTo>
                    <a:pt x="273" y="101"/>
                  </a:lnTo>
                  <a:lnTo>
                    <a:pt x="284" y="97"/>
                  </a:lnTo>
                  <a:lnTo>
                    <a:pt x="284" y="97"/>
                  </a:lnTo>
                  <a:lnTo>
                    <a:pt x="287" y="95"/>
                  </a:lnTo>
                  <a:lnTo>
                    <a:pt x="290" y="95"/>
                  </a:lnTo>
                  <a:lnTo>
                    <a:pt x="301" y="95"/>
                  </a:lnTo>
                  <a:lnTo>
                    <a:pt x="301" y="95"/>
                  </a:lnTo>
                  <a:lnTo>
                    <a:pt x="305" y="94"/>
                  </a:lnTo>
                  <a:lnTo>
                    <a:pt x="307" y="91"/>
                  </a:lnTo>
                  <a:lnTo>
                    <a:pt x="308" y="88"/>
                  </a:lnTo>
                  <a:lnTo>
                    <a:pt x="311" y="85"/>
                  </a:lnTo>
                  <a:lnTo>
                    <a:pt x="311" y="85"/>
                  </a:lnTo>
                  <a:lnTo>
                    <a:pt x="314" y="85"/>
                  </a:lnTo>
                  <a:lnTo>
                    <a:pt x="316" y="85"/>
                  </a:lnTo>
                  <a:lnTo>
                    <a:pt x="317" y="89"/>
                  </a:lnTo>
                  <a:lnTo>
                    <a:pt x="319" y="100"/>
                  </a:lnTo>
                  <a:lnTo>
                    <a:pt x="319" y="100"/>
                  </a:lnTo>
                  <a:lnTo>
                    <a:pt x="320" y="101"/>
                  </a:lnTo>
                  <a:lnTo>
                    <a:pt x="323" y="103"/>
                  </a:lnTo>
                  <a:lnTo>
                    <a:pt x="326" y="104"/>
                  </a:lnTo>
                  <a:lnTo>
                    <a:pt x="329" y="106"/>
                  </a:lnTo>
                  <a:lnTo>
                    <a:pt x="329" y="106"/>
                  </a:lnTo>
                  <a:lnTo>
                    <a:pt x="329" y="109"/>
                  </a:lnTo>
                  <a:lnTo>
                    <a:pt x="327" y="111"/>
                  </a:lnTo>
                  <a:lnTo>
                    <a:pt x="326" y="114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1" y="122"/>
                  </a:lnTo>
                  <a:lnTo>
                    <a:pt x="319" y="125"/>
                  </a:lnTo>
                  <a:lnTo>
                    <a:pt x="314" y="126"/>
                  </a:lnTo>
                  <a:lnTo>
                    <a:pt x="310" y="128"/>
                  </a:lnTo>
                  <a:lnTo>
                    <a:pt x="310" y="128"/>
                  </a:lnTo>
                  <a:lnTo>
                    <a:pt x="308" y="128"/>
                  </a:lnTo>
                  <a:lnTo>
                    <a:pt x="307" y="129"/>
                  </a:lnTo>
                  <a:lnTo>
                    <a:pt x="304" y="137"/>
                  </a:lnTo>
                  <a:lnTo>
                    <a:pt x="301" y="150"/>
                  </a:lnTo>
                  <a:lnTo>
                    <a:pt x="301" y="150"/>
                  </a:lnTo>
                  <a:lnTo>
                    <a:pt x="299" y="153"/>
                  </a:lnTo>
                  <a:lnTo>
                    <a:pt x="296" y="154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83" y="154"/>
                  </a:lnTo>
                  <a:lnTo>
                    <a:pt x="280" y="156"/>
                  </a:lnTo>
                  <a:lnTo>
                    <a:pt x="276" y="160"/>
                  </a:lnTo>
                  <a:lnTo>
                    <a:pt x="267" y="169"/>
                  </a:lnTo>
                  <a:lnTo>
                    <a:pt x="267" y="169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7" y="178"/>
                  </a:lnTo>
                  <a:lnTo>
                    <a:pt x="268" y="183"/>
                  </a:lnTo>
                  <a:lnTo>
                    <a:pt x="267" y="188"/>
                  </a:lnTo>
                  <a:lnTo>
                    <a:pt x="267" y="188"/>
                  </a:lnTo>
                  <a:lnTo>
                    <a:pt x="267" y="191"/>
                  </a:lnTo>
                  <a:lnTo>
                    <a:pt x="268" y="194"/>
                  </a:lnTo>
                  <a:lnTo>
                    <a:pt x="271" y="196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76" y="217"/>
                  </a:lnTo>
                  <a:lnTo>
                    <a:pt x="276" y="217"/>
                  </a:lnTo>
                  <a:lnTo>
                    <a:pt x="274" y="223"/>
                  </a:lnTo>
                  <a:lnTo>
                    <a:pt x="273" y="224"/>
                  </a:lnTo>
                  <a:lnTo>
                    <a:pt x="264" y="227"/>
                  </a:lnTo>
                  <a:lnTo>
                    <a:pt x="264" y="227"/>
                  </a:lnTo>
                  <a:lnTo>
                    <a:pt x="262" y="228"/>
                  </a:lnTo>
                  <a:lnTo>
                    <a:pt x="261" y="230"/>
                  </a:lnTo>
                  <a:lnTo>
                    <a:pt x="262" y="233"/>
                  </a:lnTo>
                  <a:lnTo>
                    <a:pt x="264" y="237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2" y="242"/>
                  </a:lnTo>
                  <a:lnTo>
                    <a:pt x="258" y="243"/>
                  </a:lnTo>
                  <a:lnTo>
                    <a:pt x="242" y="243"/>
                  </a:lnTo>
                  <a:lnTo>
                    <a:pt x="242" y="243"/>
                  </a:lnTo>
                  <a:lnTo>
                    <a:pt x="237" y="245"/>
                  </a:lnTo>
                  <a:lnTo>
                    <a:pt x="234" y="245"/>
                  </a:lnTo>
                  <a:lnTo>
                    <a:pt x="231" y="249"/>
                  </a:lnTo>
                  <a:lnTo>
                    <a:pt x="228" y="252"/>
                  </a:lnTo>
                  <a:lnTo>
                    <a:pt x="227" y="255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16" y="260"/>
                  </a:lnTo>
                  <a:lnTo>
                    <a:pt x="212" y="260"/>
                  </a:lnTo>
                  <a:lnTo>
                    <a:pt x="207" y="258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199" y="263"/>
                  </a:lnTo>
                  <a:lnTo>
                    <a:pt x="197" y="265"/>
                  </a:lnTo>
                  <a:lnTo>
                    <a:pt x="194" y="270"/>
                  </a:lnTo>
                  <a:lnTo>
                    <a:pt x="191" y="271"/>
                  </a:lnTo>
                  <a:lnTo>
                    <a:pt x="191" y="271"/>
                  </a:lnTo>
                  <a:lnTo>
                    <a:pt x="190" y="271"/>
                  </a:lnTo>
                  <a:lnTo>
                    <a:pt x="188" y="271"/>
                  </a:lnTo>
                  <a:lnTo>
                    <a:pt x="187" y="268"/>
                  </a:lnTo>
                  <a:lnTo>
                    <a:pt x="185" y="258"/>
                  </a:lnTo>
                  <a:lnTo>
                    <a:pt x="185" y="258"/>
                  </a:lnTo>
                  <a:lnTo>
                    <a:pt x="184" y="254"/>
                  </a:lnTo>
                  <a:lnTo>
                    <a:pt x="179" y="251"/>
                  </a:lnTo>
                  <a:lnTo>
                    <a:pt x="169" y="246"/>
                  </a:lnTo>
                  <a:lnTo>
                    <a:pt x="169" y="246"/>
                  </a:lnTo>
                  <a:lnTo>
                    <a:pt x="167" y="246"/>
                  </a:lnTo>
                  <a:lnTo>
                    <a:pt x="165" y="246"/>
                  </a:lnTo>
                  <a:lnTo>
                    <a:pt x="162" y="251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4" y="267"/>
                  </a:lnTo>
                  <a:lnTo>
                    <a:pt x="150" y="268"/>
                  </a:lnTo>
                  <a:lnTo>
                    <a:pt x="139" y="267"/>
                  </a:lnTo>
                  <a:lnTo>
                    <a:pt x="139" y="267"/>
                  </a:lnTo>
                  <a:lnTo>
                    <a:pt x="138" y="267"/>
                  </a:lnTo>
                  <a:lnTo>
                    <a:pt x="136" y="268"/>
                  </a:lnTo>
                  <a:lnTo>
                    <a:pt x="135" y="274"/>
                  </a:lnTo>
                  <a:lnTo>
                    <a:pt x="135" y="280"/>
                  </a:lnTo>
                  <a:lnTo>
                    <a:pt x="136" y="286"/>
                  </a:lnTo>
                  <a:lnTo>
                    <a:pt x="136" y="286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8" y="300"/>
                  </a:lnTo>
                  <a:lnTo>
                    <a:pt x="138" y="301"/>
                  </a:lnTo>
                  <a:lnTo>
                    <a:pt x="139" y="304"/>
                  </a:lnTo>
                  <a:lnTo>
                    <a:pt x="142" y="310"/>
                  </a:lnTo>
                  <a:lnTo>
                    <a:pt x="147" y="317"/>
                  </a:lnTo>
                  <a:lnTo>
                    <a:pt x="147" y="320"/>
                  </a:lnTo>
                  <a:lnTo>
                    <a:pt x="147" y="322"/>
                  </a:lnTo>
                  <a:lnTo>
                    <a:pt x="147" y="322"/>
                  </a:lnTo>
                  <a:lnTo>
                    <a:pt x="144" y="328"/>
                  </a:lnTo>
                  <a:lnTo>
                    <a:pt x="138" y="33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13" y="353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2" y="369"/>
                  </a:lnTo>
                  <a:lnTo>
                    <a:pt x="104" y="374"/>
                  </a:lnTo>
                  <a:lnTo>
                    <a:pt x="107" y="377"/>
                  </a:lnTo>
                  <a:lnTo>
                    <a:pt x="107" y="377"/>
                  </a:lnTo>
                  <a:lnTo>
                    <a:pt x="113" y="381"/>
                  </a:lnTo>
                  <a:lnTo>
                    <a:pt x="116" y="387"/>
                  </a:lnTo>
                  <a:lnTo>
                    <a:pt x="119" y="393"/>
                  </a:lnTo>
                  <a:lnTo>
                    <a:pt x="120" y="403"/>
                  </a:lnTo>
                  <a:lnTo>
                    <a:pt x="120" y="403"/>
                  </a:lnTo>
                  <a:lnTo>
                    <a:pt x="119" y="412"/>
                  </a:lnTo>
                  <a:lnTo>
                    <a:pt x="117" y="420"/>
                  </a:lnTo>
                  <a:lnTo>
                    <a:pt x="114" y="425"/>
                  </a:lnTo>
                  <a:lnTo>
                    <a:pt x="113" y="431"/>
                  </a:lnTo>
                  <a:lnTo>
                    <a:pt x="113" y="431"/>
                  </a:lnTo>
                  <a:lnTo>
                    <a:pt x="113" y="440"/>
                  </a:lnTo>
                  <a:lnTo>
                    <a:pt x="116" y="449"/>
                  </a:lnTo>
                  <a:lnTo>
                    <a:pt x="122" y="460"/>
                  </a:lnTo>
                  <a:lnTo>
                    <a:pt x="122" y="460"/>
                  </a:lnTo>
                  <a:lnTo>
                    <a:pt x="123" y="462"/>
                  </a:lnTo>
                  <a:lnTo>
                    <a:pt x="125" y="468"/>
                  </a:lnTo>
                  <a:lnTo>
                    <a:pt x="123" y="477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16" y="494"/>
                  </a:lnTo>
                  <a:lnTo>
                    <a:pt x="114" y="499"/>
                  </a:lnTo>
                  <a:lnTo>
                    <a:pt x="116" y="504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6" y="522"/>
                  </a:lnTo>
                  <a:lnTo>
                    <a:pt x="128" y="525"/>
                  </a:lnTo>
                  <a:lnTo>
                    <a:pt x="126" y="528"/>
                  </a:lnTo>
                  <a:lnTo>
                    <a:pt x="123" y="531"/>
                  </a:lnTo>
                  <a:lnTo>
                    <a:pt x="117" y="534"/>
                  </a:lnTo>
                  <a:lnTo>
                    <a:pt x="107" y="535"/>
                  </a:lnTo>
                  <a:lnTo>
                    <a:pt x="90" y="538"/>
                  </a:lnTo>
                  <a:lnTo>
                    <a:pt x="90" y="538"/>
                  </a:lnTo>
                  <a:lnTo>
                    <a:pt x="74" y="539"/>
                  </a:lnTo>
                  <a:lnTo>
                    <a:pt x="62" y="541"/>
                  </a:lnTo>
                  <a:lnTo>
                    <a:pt x="46" y="541"/>
                  </a:lnTo>
                  <a:lnTo>
                    <a:pt x="42" y="541"/>
                  </a:lnTo>
                  <a:lnTo>
                    <a:pt x="39" y="541"/>
                  </a:lnTo>
                  <a:lnTo>
                    <a:pt x="36" y="542"/>
                  </a:lnTo>
                  <a:lnTo>
                    <a:pt x="36" y="547"/>
                  </a:lnTo>
                  <a:lnTo>
                    <a:pt x="36" y="547"/>
                  </a:lnTo>
                  <a:lnTo>
                    <a:pt x="33" y="568"/>
                  </a:lnTo>
                  <a:lnTo>
                    <a:pt x="30" y="590"/>
                  </a:lnTo>
                  <a:lnTo>
                    <a:pt x="30" y="590"/>
                  </a:lnTo>
                  <a:lnTo>
                    <a:pt x="28" y="594"/>
                  </a:lnTo>
                  <a:lnTo>
                    <a:pt x="24" y="600"/>
                  </a:lnTo>
                  <a:lnTo>
                    <a:pt x="13" y="612"/>
                  </a:lnTo>
                  <a:lnTo>
                    <a:pt x="3" y="624"/>
                  </a:lnTo>
                  <a:lnTo>
                    <a:pt x="0" y="630"/>
                  </a:lnTo>
                  <a:lnTo>
                    <a:pt x="0" y="633"/>
                  </a:lnTo>
                  <a:lnTo>
                    <a:pt x="0" y="633"/>
                  </a:lnTo>
                  <a:lnTo>
                    <a:pt x="2" y="639"/>
                  </a:lnTo>
                  <a:lnTo>
                    <a:pt x="5" y="643"/>
                  </a:lnTo>
                  <a:lnTo>
                    <a:pt x="11" y="648"/>
                  </a:lnTo>
                  <a:lnTo>
                    <a:pt x="19" y="654"/>
                  </a:lnTo>
                  <a:lnTo>
                    <a:pt x="19" y="654"/>
                  </a:lnTo>
                  <a:lnTo>
                    <a:pt x="25" y="656"/>
                  </a:lnTo>
                  <a:lnTo>
                    <a:pt x="30" y="662"/>
                  </a:lnTo>
                  <a:lnTo>
                    <a:pt x="39" y="674"/>
                  </a:lnTo>
                  <a:lnTo>
                    <a:pt x="55" y="704"/>
                  </a:lnTo>
                  <a:lnTo>
                    <a:pt x="55" y="704"/>
                  </a:lnTo>
                  <a:lnTo>
                    <a:pt x="62" y="717"/>
                  </a:lnTo>
                  <a:lnTo>
                    <a:pt x="68" y="729"/>
                  </a:lnTo>
                  <a:lnTo>
                    <a:pt x="73" y="739"/>
                  </a:lnTo>
                  <a:lnTo>
                    <a:pt x="77" y="747"/>
                  </a:lnTo>
                  <a:lnTo>
                    <a:pt x="77" y="7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1" name="Freeform 50">
              <a:extLst>
                <a:ext uri="{FF2B5EF4-FFF2-40B4-BE49-F238E27FC236}">
                  <a16:creationId xmlns:a16="http://schemas.microsoft.com/office/drawing/2014/main" id="{0F96F8ED-EDCE-2F4D-AB26-6F7F5B3162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0400" y="5041900"/>
              <a:ext cx="927100" cy="955675"/>
            </a:xfrm>
            <a:custGeom>
              <a:avLst/>
              <a:gdLst>
                <a:gd name="T0" fmla="*/ 310 w 584"/>
                <a:gd name="T1" fmla="*/ 65 h 602"/>
                <a:gd name="T2" fmla="*/ 290 w 584"/>
                <a:gd name="T3" fmla="*/ 67 h 602"/>
                <a:gd name="T4" fmla="*/ 295 w 584"/>
                <a:gd name="T5" fmla="*/ 43 h 602"/>
                <a:gd name="T6" fmla="*/ 264 w 584"/>
                <a:gd name="T7" fmla="*/ 27 h 602"/>
                <a:gd name="T8" fmla="*/ 249 w 584"/>
                <a:gd name="T9" fmla="*/ 18 h 602"/>
                <a:gd name="T10" fmla="*/ 199 w 584"/>
                <a:gd name="T11" fmla="*/ 14 h 602"/>
                <a:gd name="T12" fmla="*/ 206 w 584"/>
                <a:gd name="T13" fmla="*/ 36 h 602"/>
                <a:gd name="T14" fmla="*/ 203 w 584"/>
                <a:gd name="T15" fmla="*/ 55 h 602"/>
                <a:gd name="T16" fmla="*/ 200 w 584"/>
                <a:gd name="T17" fmla="*/ 88 h 602"/>
                <a:gd name="T18" fmla="*/ 237 w 584"/>
                <a:gd name="T19" fmla="*/ 108 h 602"/>
                <a:gd name="T20" fmla="*/ 231 w 584"/>
                <a:gd name="T21" fmla="*/ 138 h 602"/>
                <a:gd name="T22" fmla="*/ 193 w 584"/>
                <a:gd name="T23" fmla="*/ 160 h 602"/>
                <a:gd name="T24" fmla="*/ 169 w 584"/>
                <a:gd name="T25" fmla="*/ 175 h 602"/>
                <a:gd name="T26" fmla="*/ 162 w 584"/>
                <a:gd name="T27" fmla="*/ 203 h 602"/>
                <a:gd name="T28" fmla="*/ 160 w 584"/>
                <a:gd name="T29" fmla="*/ 225 h 602"/>
                <a:gd name="T30" fmla="*/ 151 w 584"/>
                <a:gd name="T31" fmla="*/ 249 h 602"/>
                <a:gd name="T32" fmla="*/ 134 w 584"/>
                <a:gd name="T33" fmla="*/ 256 h 602"/>
                <a:gd name="T34" fmla="*/ 120 w 584"/>
                <a:gd name="T35" fmla="*/ 282 h 602"/>
                <a:gd name="T36" fmla="*/ 105 w 584"/>
                <a:gd name="T37" fmla="*/ 307 h 602"/>
                <a:gd name="T38" fmla="*/ 80 w 584"/>
                <a:gd name="T39" fmla="*/ 354 h 602"/>
                <a:gd name="T40" fmla="*/ 65 w 584"/>
                <a:gd name="T41" fmla="*/ 373 h 602"/>
                <a:gd name="T42" fmla="*/ 57 w 584"/>
                <a:gd name="T43" fmla="*/ 390 h 602"/>
                <a:gd name="T44" fmla="*/ 36 w 584"/>
                <a:gd name="T45" fmla="*/ 413 h 602"/>
                <a:gd name="T46" fmla="*/ 9 w 584"/>
                <a:gd name="T47" fmla="*/ 416 h 602"/>
                <a:gd name="T48" fmla="*/ 0 w 584"/>
                <a:gd name="T49" fmla="*/ 419 h 602"/>
                <a:gd name="T50" fmla="*/ 19 w 584"/>
                <a:gd name="T51" fmla="*/ 471 h 602"/>
                <a:gd name="T52" fmla="*/ 24 w 584"/>
                <a:gd name="T53" fmla="*/ 493 h 602"/>
                <a:gd name="T54" fmla="*/ 37 w 584"/>
                <a:gd name="T55" fmla="*/ 520 h 602"/>
                <a:gd name="T56" fmla="*/ 62 w 584"/>
                <a:gd name="T57" fmla="*/ 529 h 602"/>
                <a:gd name="T58" fmla="*/ 74 w 584"/>
                <a:gd name="T59" fmla="*/ 554 h 602"/>
                <a:gd name="T60" fmla="*/ 101 w 584"/>
                <a:gd name="T61" fmla="*/ 572 h 602"/>
                <a:gd name="T62" fmla="*/ 131 w 584"/>
                <a:gd name="T63" fmla="*/ 600 h 602"/>
                <a:gd name="T64" fmla="*/ 169 w 584"/>
                <a:gd name="T65" fmla="*/ 553 h 602"/>
                <a:gd name="T66" fmla="*/ 182 w 584"/>
                <a:gd name="T67" fmla="*/ 542 h 602"/>
                <a:gd name="T68" fmla="*/ 225 w 584"/>
                <a:gd name="T69" fmla="*/ 559 h 602"/>
                <a:gd name="T70" fmla="*/ 237 w 584"/>
                <a:gd name="T71" fmla="*/ 544 h 602"/>
                <a:gd name="T72" fmla="*/ 249 w 584"/>
                <a:gd name="T73" fmla="*/ 513 h 602"/>
                <a:gd name="T74" fmla="*/ 271 w 584"/>
                <a:gd name="T75" fmla="*/ 511 h 602"/>
                <a:gd name="T76" fmla="*/ 301 w 584"/>
                <a:gd name="T77" fmla="*/ 523 h 602"/>
                <a:gd name="T78" fmla="*/ 308 w 584"/>
                <a:gd name="T79" fmla="*/ 496 h 602"/>
                <a:gd name="T80" fmla="*/ 338 w 584"/>
                <a:gd name="T81" fmla="*/ 471 h 602"/>
                <a:gd name="T82" fmla="*/ 353 w 584"/>
                <a:gd name="T83" fmla="*/ 479 h 602"/>
                <a:gd name="T84" fmla="*/ 387 w 584"/>
                <a:gd name="T85" fmla="*/ 461 h 602"/>
                <a:gd name="T86" fmla="*/ 381 w 584"/>
                <a:gd name="T87" fmla="*/ 437 h 602"/>
                <a:gd name="T88" fmla="*/ 406 w 584"/>
                <a:gd name="T89" fmla="*/ 416 h 602"/>
                <a:gd name="T90" fmla="*/ 402 w 584"/>
                <a:gd name="T91" fmla="*/ 382 h 602"/>
                <a:gd name="T92" fmla="*/ 409 w 584"/>
                <a:gd name="T93" fmla="*/ 362 h 602"/>
                <a:gd name="T94" fmla="*/ 399 w 584"/>
                <a:gd name="T95" fmla="*/ 338 h 602"/>
                <a:gd name="T96" fmla="*/ 430 w 584"/>
                <a:gd name="T97" fmla="*/ 328 h 602"/>
                <a:gd name="T98" fmla="*/ 462 w 584"/>
                <a:gd name="T99" fmla="*/ 319 h 602"/>
                <a:gd name="T100" fmla="*/ 520 w 584"/>
                <a:gd name="T101" fmla="*/ 282 h 602"/>
                <a:gd name="T102" fmla="*/ 545 w 584"/>
                <a:gd name="T103" fmla="*/ 248 h 602"/>
                <a:gd name="T104" fmla="*/ 564 w 584"/>
                <a:gd name="T105" fmla="*/ 206 h 602"/>
                <a:gd name="T106" fmla="*/ 584 w 584"/>
                <a:gd name="T107" fmla="*/ 188 h 602"/>
                <a:gd name="T108" fmla="*/ 566 w 584"/>
                <a:gd name="T109" fmla="*/ 179 h 602"/>
                <a:gd name="T110" fmla="*/ 495 w 584"/>
                <a:gd name="T111" fmla="*/ 129 h 602"/>
                <a:gd name="T112" fmla="*/ 459 w 584"/>
                <a:gd name="T113" fmla="*/ 117 h 602"/>
                <a:gd name="T114" fmla="*/ 444 w 584"/>
                <a:gd name="T115" fmla="*/ 105 h 602"/>
                <a:gd name="T116" fmla="*/ 415 w 584"/>
                <a:gd name="T117" fmla="*/ 116 h 602"/>
                <a:gd name="T118" fmla="*/ 402 w 584"/>
                <a:gd name="T119" fmla="*/ 105 h 602"/>
                <a:gd name="T120" fmla="*/ 388 w 584"/>
                <a:gd name="T121" fmla="*/ 110 h 602"/>
                <a:gd name="T122" fmla="*/ 369 w 584"/>
                <a:gd name="T123" fmla="*/ 105 h 602"/>
                <a:gd name="T124" fmla="*/ 351 w 584"/>
                <a:gd name="T125" fmla="*/ 1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4" h="602">
                  <a:moveTo>
                    <a:pt x="347" y="105"/>
                  </a:moveTo>
                  <a:lnTo>
                    <a:pt x="347" y="105"/>
                  </a:lnTo>
                  <a:lnTo>
                    <a:pt x="342" y="101"/>
                  </a:lnTo>
                  <a:lnTo>
                    <a:pt x="342" y="101"/>
                  </a:lnTo>
                  <a:lnTo>
                    <a:pt x="326" y="82"/>
                  </a:lnTo>
                  <a:lnTo>
                    <a:pt x="310" y="65"/>
                  </a:lnTo>
                  <a:lnTo>
                    <a:pt x="310" y="65"/>
                  </a:lnTo>
                  <a:lnTo>
                    <a:pt x="307" y="64"/>
                  </a:lnTo>
                  <a:lnTo>
                    <a:pt x="305" y="64"/>
                  </a:lnTo>
                  <a:lnTo>
                    <a:pt x="299" y="70"/>
                  </a:lnTo>
                  <a:lnTo>
                    <a:pt x="299" y="70"/>
                  </a:lnTo>
                  <a:lnTo>
                    <a:pt x="296" y="70"/>
                  </a:lnTo>
                  <a:lnTo>
                    <a:pt x="295" y="70"/>
                  </a:lnTo>
                  <a:lnTo>
                    <a:pt x="290" y="67"/>
                  </a:lnTo>
                  <a:lnTo>
                    <a:pt x="283" y="59"/>
                  </a:lnTo>
                  <a:lnTo>
                    <a:pt x="283" y="59"/>
                  </a:lnTo>
                  <a:lnTo>
                    <a:pt x="283" y="56"/>
                  </a:lnTo>
                  <a:lnTo>
                    <a:pt x="283" y="55"/>
                  </a:lnTo>
                  <a:lnTo>
                    <a:pt x="288" y="51"/>
                  </a:lnTo>
                  <a:lnTo>
                    <a:pt x="295" y="43"/>
                  </a:lnTo>
                  <a:lnTo>
                    <a:pt x="295" y="43"/>
                  </a:lnTo>
                  <a:lnTo>
                    <a:pt x="293" y="40"/>
                  </a:lnTo>
                  <a:lnTo>
                    <a:pt x="286" y="34"/>
                  </a:lnTo>
                  <a:lnTo>
                    <a:pt x="279" y="28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68" y="25"/>
                  </a:lnTo>
                  <a:lnTo>
                    <a:pt x="264" y="27"/>
                  </a:lnTo>
                  <a:lnTo>
                    <a:pt x="264" y="27"/>
                  </a:lnTo>
                  <a:lnTo>
                    <a:pt x="261" y="27"/>
                  </a:lnTo>
                  <a:lnTo>
                    <a:pt x="259" y="25"/>
                  </a:lnTo>
                  <a:lnTo>
                    <a:pt x="256" y="22"/>
                  </a:lnTo>
                  <a:lnTo>
                    <a:pt x="253" y="19"/>
                  </a:lnTo>
                  <a:lnTo>
                    <a:pt x="253" y="19"/>
                  </a:lnTo>
                  <a:lnTo>
                    <a:pt x="249" y="18"/>
                  </a:lnTo>
                  <a:lnTo>
                    <a:pt x="246" y="19"/>
                  </a:lnTo>
                  <a:lnTo>
                    <a:pt x="245" y="21"/>
                  </a:lnTo>
                  <a:lnTo>
                    <a:pt x="243" y="19"/>
                  </a:lnTo>
                  <a:lnTo>
                    <a:pt x="243" y="19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7" y="17"/>
                  </a:lnTo>
                  <a:lnTo>
                    <a:pt x="200" y="19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8" y="34"/>
                  </a:lnTo>
                  <a:lnTo>
                    <a:pt x="206" y="36"/>
                  </a:lnTo>
                  <a:lnTo>
                    <a:pt x="205" y="37"/>
                  </a:lnTo>
                  <a:lnTo>
                    <a:pt x="203" y="40"/>
                  </a:lnTo>
                  <a:lnTo>
                    <a:pt x="203" y="40"/>
                  </a:lnTo>
                  <a:lnTo>
                    <a:pt x="203" y="45"/>
                  </a:lnTo>
                  <a:lnTo>
                    <a:pt x="203" y="48"/>
                  </a:lnTo>
                  <a:lnTo>
                    <a:pt x="205" y="52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2" y="59"/>
                  </a:lnTo>
                  <a:lnTo>
                    <a:pt x="199" y="62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7" y="77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3" y="92"/>
                  </a:lnTo>
                  <a:lnTo>
                    <a:pt x="208" y="95"/>
                  </a:lnTo>
                  <a:lnTo>
                    <a:pt x="219" y="102"/>
                  </a:lnTo>
                  <a:lnTo>
                    <a:pt x="230" y="107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7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4" y="129"/>
                  </a:lnTo>
                  <a:lnTo>
                    <a:pt x="231" y="138"/>
                  </a:lnTo>
                  <a:lnTo>
                    <a:pt x="227" y="147"/>
                  </a:lnTo>
                  <a:lnTo>
                    <a:pt x="222" y="153"/>
                  </a:lnTo>
                  <a:lnTo>
                    <a:pt x="222" y="153"/>
                  </a:lnTo>
                  <a:lnTo>
                    <a:pt x="221" y="154"/>
                  </a:lnTo>
                  <a:lnTo>
                    <a:pt x="216" y="157"/>
                  </a:lnTo>
                  <a:lnTo>
                    <a:pt x="208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0" y="162"/>
                  </a:lnTo>
                  <a:lnTo>
                    <a:pt x="185" y="165"/>
                  </a:lnTo>
                  <a:lnTo>
                    <a:pt x="181" y="169"/>
                  </a:lnTo>
                  <a:lnTo>
                    <a:pt x="176" y="172"/>
                  </a:lnTo>
                  <a:lnTo>
                    <a:pt x="176" y="172"/>
                  </a:lnTo>
                  <a:lnTo>
                    <a:pt x="169" y="175"/>
                  </a:lnTo>
                  <a:lnTo>
                    <a:pt x="165" y="179"/>
                  </a:lnTo>
                  <a:lnTo>
                    <a:pt x="160" y="184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6" y="193"/>
                  </a:lnTo>
                  <a:lnTo>
                    <a:pt x="157" y="196"/>
                  </a:lnTo>
                  <a:lnTo>
                    <a:pt x="162" y="203"/>
                  </a:lnTo>
                  <a:lnTo>
                    <a:pt x="169" y="211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21"/>
                  </a:lnTo>
                  <a:lnTo>
                    <a:pt x="172" y="222"/>
                  </a:lnTo>
                  <a:lnTo>
                    <a:pt x="160" y="225"/>
                  </a:lnTo>
                  <a:lnTo>
                    <a:pt x="160" y="225"/>
                  </a:lnTo>
                  <a:lnTo>
                    <a:pt x="156" y="227"/>
                  </a:lnTo>
                  <a:lnTo>
                    <a:pt x="154" y="230"/>
                  </a:lnTo>
                  <a:lnTo>
                    <a:pt x="153" y="234"/>
                  </a:lnTo>
                  <a:lnTo>
                    <a:pt x="151" y="240"/>
                  </a:lnTo>
                  <a:lnTo>
                    <a:pt x="153" y="246"/>
                  </a:lnTo>
                  <a:lnTo>
                    <a:pt x="153" y="246"/>
                  </a:lnTo>
                  <a:lnTo>
                    <a:pt x="151" y="249"/>
                  </a:lnTo>
                  <a:lnTo>
                    <a:pt x="147" y="252"/>
                  </a:lnTo>
                  <a:lnTo>
                    <a:pt x="147" y="252"/>
                  </a:lnTo>
                  <a:lnTo>
                    <a:pt x="147" y="252"/>
                  </a:lnTo>
                  <a:lnTo>
                    <a:pt x="347" y="105"/>
                  </a:lnTo>
                  <a:close/>
                  <a:moveTo>
                    <a:pt x="147" y="252"/>
                  </a:moveTo>
                  <a:lnTo>
                    <a:pt x="147" y="252"/>
                  </a:lnTo>
                  <a:lnTo>
                    <a:pt x="134" y="256"/>
                  </a:lnTo>
                  <a:lnTo>
                    <a:pt x="134" y="256"/>
                  </a:lnTo>
                  <a:lnTo>
                    <a:pt x="128" y="261"/>
                  </a:lnTo>
                  <a:lnTo>
                    <a:pt x="120" y="267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9" y="279"/>
                  </a:lnTo>
                  <a:lnTo>
                    <a:pt x="120" y="282"/>
                  </a:lnTo>
                  <a:lnTo>
                    <a:pt x="119" y="286"/>
                  </a:lnTo>
                  <a:lnTo>
                    <a:pt x="119" y="286"/>
                  </a:lnTo>
                  <a:lnTo>
                    <a:pt x="114" y="290"/>
                  </a:lnTo>
                  <a:lnTo>
                    <a:pt x="110" y="296"/>
                  </a:lnTo>
                  <a:lnTo>
                    <a:pt x="107" y="301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20"/>
                  </a:lnTo>
                  <a:lnTo>
                    <a:pt x="104" y="326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91" y="345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79" y="359"/>
                  </a:lnTo>
                  <a:lnTo>
                    <a:pt x="77" y="362"/>
                  </a:lnTo>
                  <a:lnTo>
                    <a:pt x="76" y="369"/>
                  </a:lnTo>
                  <a:lnTo>
                    <a:pt x="76" y="369"/>
                  </a:lnTo>
                  <a:lnTo>
                    <a:pt x="74" y="370"/>
                  </a:lnTo>
                  <a:lnTo>
                    <a:pt x="71" y="372"/>
                  </a:lnTo>
                  <a:lnTo>
                    <a:pt x="65" y="373"/>
                  </a:lnTo>
                  <a:lnTo>
                    <a:pt x="58" y="375"/>
                  </a:lnTo>
                  <a:lnTo>
                    <a:pt x="55" y="376"/>
                  </a:lnTo>
                  <a:lnTo>
                    <a:pt x="55" y="376"/>
                  </a:lnTo>
                  <a:lnTo>
                    <a:pt x="54" y="379"/>
                  </a:lnTo>
                  <a:lnTo>
                    <a:pt x="55" y="382"/>
                  </a:lnTo>
                  <a:lnTo>
                    <a:pt x="57" y="390"/>
                  </a:lnTo>
                  <a:lnTo>
                    <a:pt x="57" y="390"/>
                  </a:lnTo>
                  <a:lnTo>
                    <a:pt x="58" y="403"/>
                  </a:lnTo>
                  <a:lnTo>
                    <a:pt x="57" y="409"/>
                  </a:lnTo>
                  <a:lnTo>
                    <a:pt x="55" y="412"/>
                  </a:lnTo>
                  <a:lnTo>
                    <a:pt x="55" y="412"/>
                  </a:lnTo>
                  <a:lnTo>
                    <a:pt x="55" y="412"/>
                  </a:lnTo>
                  <a:lnTo>
                    <a:pt x="43" y="413"/>
                  </a:lnTo>
                  <a:lnTo>
                    <a:pt x="36" y="413"/>
                  </a:lnTo>
                  <a:lnTo>
                    <a:pt x="28" y="415"/>
                  </a:lnTo>
                  <a:lnTo>
                    <a:pt x="28" y="415"/>
                  </a:lnTo>
                  <a:lnTo>
                    <a:pt x="17" y="419"/>
                  </a:lnTo>
                  <a:lnTo>
                    <a:pt x="11" y="419"/>
                  </a:lnTo>
                  <a:lnTo>
                    <a:pt x="9" y="418"/>
                  </a:lnTo>
                  <a:lnTo>
                    <a:pt x="9" y="416"/>
                  </a:lnTo>
                  <a:lnTo>
                    <a:pt x="9" y="416"/>
                  </a:lnTo>
                  <a:lnTo>
                    <a:pt x="8" y="413"/>
                  </a:lnTo>
                  <a:lnTo>
                    <a:pt x="8" y="410"/>
                  </a:lnTo>
                  <a:lnTo>
                    <a:pt x="5" y="410"/>
                  </a:lnTo>
                  <a:lnTo>
                    <a:pt x="2" y="413"/>
                  </a:lnTo>
                  <a:lnTo>
                    <a:pt x="2" y="413"/>
                  </a:lnTo>
                  <a:lnTo>
                    <a:pt x="0" y="416"/>
                  </a:lnTo>
                  <a:lnTo>
                    <a:pt x="0" y="419"/>
                  </a:lnTo>
                  <a:lnTo>
                    <a:pt x="2" y="427"/>
                  </a:lnTo>
                  <a:lnTo>
                    <a:pt x="3" y="434"/>
                  </a:lnTo>
                  <a:lnTo>
                    <a:pt x="3" y="445"/>
                  </a:lnTo>
                  <a:lnTo>
                    <a:pt x="3" y="445"/>
                  </a:lnTo>
                  <a:lnTo>
                    <a:pt x="2" y="462"/>
                  </a:lnTo>
                  <a:lnTo>
                    <a:pt x="3" y="473"/>
                  </a:lnTo>
                  <a:lnTo>
                    <a:pt x="19" y="471"/>
                  </a:lnTo>
                  <a:lnTo>
                    <a:pt x="19" y="471"/>
                  </a:lnTo>
                  <a:lnTo>
                    <a:pt x="18" y="485"/>
                  </a:lnTo>
                  <a:lnTo>
                    <a:pt x="18" y="485"/>
                  </a:lnTo>
                  <a:lnTo>
                    <a:pt x="19" y="487"/>
                  </a:lnTo>
                  <a:lnTo>
                    <a:pt x="21" y="490"/>
                  </a:lnTo>
                  <a:lnTo>
                    <a:pt x="24" y="493"/>
                  </a:lnTo>
                  <a:lnTo>
                    <a:pt x="24" y="493"/>
                  </a:lnTo>
                  <a:lnTo>
                    <a:pt x="25" y="502"/>
                  </a:lnTo>
                  <a:lnTo>
                    <a:pt x="27" y="508"/>
                  </a:lnTo>
                  <a:lnTo>
                    <a:pt x="28" y="510"/>
                  </a:lnTo>
                  <a:lnTo>
                    <a:pt x="28" y="510"/>
                  </a:lnTo>
                  <a:lnTo>
                    <a:pt x="31" y="513"/>
                  </a:lnTo>
                  <a:lnTo>
                    <a:pt x="34" y="516"/>
                  </a:lnTo>
                  <a:lnTo>
                    <a:pt x="37" y="520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9" y="529"/>
                  </a:lnTo>
                  <a:lnTo>
                    <a:pt x="42" y="530"/>
                  </a:lnTo>
                  <a:lnTo>
                    <a:pt x="49" y="530"/>
                  </a:lnTo>
                  <a:lnTo>
                    <a:pt x="62" y="529"/>
                  </a:lnTo>
                  <a:lnTo>
                    <a:pt x="62" y="529"/>
                  </a:lnTo>
                  <a:lnTo>
                    <a:pt x="65" y="529"/>
                  </a:lnTo>
                  <a:lnTo>
                    <a:pt x="67" y="532"/>
                  </a:lnTo>
                  <a:lnTo>
                    <a:pt x="70" y="539"/>
                  </a:lnTo>
                  <a:lnTo>
                    <a:pt x="73" y="553"/>
                  </a:lnTo>
                  <a:lnTo>
                    <a:pt x="73" y="553"/>
                  </a:lnTo>
                  <a:lnTo>
                    <a:pt x="74" y="554"/>
                  </a:lnTo>
                  <a:lnTo>
                    <a:pt x="76" y="554"/>
                  </a:lnTo>
                  <a:lnTo>
                    <a:pt x="85" y="556"/>
                  </a:lnTo>
                  <a:lnTo>
                    <a:pt x="98" y="554"/>
                  </a:lnTo>
                  <a:lnTo>
                    <a:pt x="98" y="554"/>
                  </a:lnTo>
                  <a:lnTo>
                    <a:pt x="99" y="556"/>
                  </a:lnTo>
                  <a:lnTo>
                    <a:pt x="99" y="560"/>
                  </a:lnTo>
                  <a:lnTo>
                    <a:pt x="101" y="572"/>
                  </a:lnTo>
                  <a:lnTo>
                    <a:pt x="104" y="596"/>
                  </a:lnTo>
                  <a:lnTo>
                    <a:pt x="104" y="596"/>
                  </a:lnTo>
                  <a:lnTo>
                    <a:pt x="104" y="599"/>
                  </a:lnTo>
                  <a:lnTo>
                    <a:pt x="105" y="600"/>
                  </a:lnTo>
                  <a:lnTo>
                    <a:pt x="113" y="600"/>
                  </a:lnTo>
                  <a:lnTo>
                    <a:pt x="122" y="600"/>
                  </a:lnTo>
                  <a:lnTo>
                    <a:pt x="131" y="600"/>
                  </a:lnTo>
                  <a:lnTo>
                    <a:pt x="131" y="600"/>
                  </a:lnTo>
                  <a:lnTo>
                    <a:pt x="134" y="602"/>
                  </a:lnTo>
                  <a:lnTo>
                    <a:pt x="136" y="597"/>
                  </a:lnTo>
                  <a:lnTo>
                    <a:pt x="156" y="572"/>
                  </a:lnTo>
                  <a:lnTo>
                    <a:pt x="156" y="572"/>
                  </a:lnTo>
                  <a:lnTo>
                    <a:pt x="165" y="559"/>
                  </a:lnTo>
                  <a:lnTo>
                    <a:pt x="169" y="553"/>
                  </a:lnTo>
                  <a:lnTo>
                    <a:pt x="172" y="547"/>
                  </a:lnTo>
                  <a:lnTo>
                    <a:pt x="172" y="547"/>
                  </a:lnTo>
                  <a:lnTo>
                    <a:pt x="173" y="542"/>
                  </a:lnTo>
                  <a:lnTo>
                    <a:pt x="176" y="541"/>
                  </a:lnTo>
                  <a:lnTo>
                    <a:pt x="179" y="541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208" y="550"/>
                  </a:lnTo>
                  <a:lnTo>
                    <a:pt x="208" y="550"/>
                  </a:lnTo>
                  <a:lnTo>
                    <a:pt x="213" y="551"/>
                  </a:lnTo>
                  <a:lnTo>
                    <a:pt x="218" y="554"/>
                  </a:lnTo>
                  <a:lnTo>
                    <a:pt x="221" y="556"/>
                  </a:lnTo>
                  <a:lnTo>
                    <a:pt x="225" y="559"/>
                  </a:lnTo>
                  <a:lnTo>
                    <a:pt x="225" y="559"/>
                  </a:lnTo>
                  <a:lnTo>
                    <a:pt x="227" y="559"/>
                  </a:lnTo>
                  <a:lnTo>
                    <a:pt x="228" y="557"/>
                  </a:lnTo>
                  <a:lnTo>
                    <a:pt x="230" y="554"/>
                  </a:lnTo>
                  <a:lnTo>
                    <a:pt x="231" y="548"/>
                  </a:lnTo>
                  <a:lnTo>
                    <a:pt x="233" y="545"/>
                  </a:lnTo>
                  <a:lnTo>
                    <a:pt x="237" y="544"/>
                  </a:lnTo>
                  <a:lnTo>
                    <a:pt x="237" y="544"/>
                  </a:lnTo>
                  <a:lnTo>
                    <a:pt x="240" y="541"/>
                  </a:lnTo>
                  <a:lnTo>
                    <a:pt x="243" y="538"/>
                  </a:lnTo>
                  <a:lnTo>
                    <a:pt x="246" y="529"/>
                  </a:lnTo>
                  <a:lnTo>
                    <a:pt x="248" y="522"/>
                  </a:lnTo>
                  <a:lnTo>
                    <a:pt x="248" y="516"/>
                  </a:lnTo>
                  <a:lnTo>
                    <a:pt x="248" y="516"/>
                  </a:lnTo>
                  <a:lnTo>
                    <a:pt x="249" y="513"/>
                  </a:lnTo>
                  <a:lnTo>
                    <a:pt x="255" y="510"/>
                  </a:lnTo>
                  <a:lnTo>
                    <a:pt x="261" y="507"/>
                  </a:lnTo>
                  <a:lnTo>
                    <a:pt x="267" y="505"/>
                  </a:lnTo>
                  <a:lnTo>
                    <a:pt x="267" y="505"/>
                  </a:lnTo>
                  <a:lnTo>
                    <a:pt x="268" y="507"/>
                  </a:lnTo>
                  <a:lnTo>
                    <a:pt x="270" y="507"/>
                  </a:lnTo>
                  <a:lnTo>
                    <a:pt x="271" y="511"/>
                  </a:lnTo>
                  <a:lnTo>
                    <a:pt x="274" y="522"/>
                  </a:lnTo>
                  <a:lnTo>
                    <a:pt x="274" y="522"/>
                  </a:lnTo>
                  <a:lnTo>
                    <a:pt x="276" y="523"/>
                  </a:lnTo>
                  <a:lnTo>
                    <a:pt x="277" y="524"/>
                  </a:lnTo>
                  <a:lnTo>
                    <a:pt x="285" y="526"/>
                  </a:lnTo>
                  <a:lnTo>
                    <a:pt x="293" y="524"/>
                  </a:lnTo>
                  <a:lnTo>
                    <a:pt x="301" y="523"/>
                  </a:lnTo>
                  <a:lnTo>
                    <a:pt x="301" y="523"/>
                  </a:lnTo>
                  <a:lnTo>
                    <a:pt x="307" y="522"/>
                  </a:lnTo>
                  <a:lnTo>
                    <a:pt x="310" y="517"/>
                  </a:lnTo>
                  <a:lnTo>
                    <a:pt x="311" y="511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08" y="496"/>
                  </a:lnTo>
                  <a:lnTo>
                    <a:pt x="310" y="486"/>
                  </a:lnTo>
                  <a:lnTo>
                    <a:pt x="311" y="480"/>
                  </a:lnTo>
                  <a:lnTo>
                    <a:pt x="313" y="477"/>
                  </a:lnTo>
                  <a:lnTo>
                    <a:pt x="316" y="474"/>
                  </a:lnTo>
                  <a:lnTo>
                    <a:pt x="320" y="473"/>
                  </a:lnTo>
                  <a:lnTo>
                    <a:pt x="320" y="473"/>
                  </a:lnTo>
                  <a:lnTo>
                    <a:pt x="338" y="471"/>
                  </a:lnTo>
                  <a:lnTo>
                    <a:pt x="338" y="471"/>
                  </a:lnTo>
                  <a:lnTo>
                    <a:pt x="341" y="473"/>
                  </a:lnTo>
                  <a:lnTo>
                    <a:pt x="342" y="474"/>
                  </a:lnTo>
                  <a:lnTo>
                    <a:pt x="345" y="477"/>
                  </a:lnTo>
                  <a:lnTo>
                    <a:pt x="348" y="479"/>
                  </a:lnTo>
                  <a:lnTo>
                    <a:pt x="348" y="479"/>
                  </a:lnTo>
                  <a:lnTo>
                    <a:pt x="353" y="479"/>
                  </a:lnTo>
                  <a:lnTo>
                    <a:pt x="356" y="477"/>
                  </a:lnTo>
                  <a:lnTo>
                    <a:pt x="360" y="476"/>
                  </a:lnTo>
                  <a:lnTo>
                    <a:pt x="366" y="474"/>
                  </a:lnTo>
                  <a:lnTo>
                    <a:pt x="366" y="474"/>
                  </a:lnTo>
                  <a:lnTo>
                    <a:pt x="375" y="471"/>
                  </a:lnTo>
                  <a:lnTo>
                    <a:pt x="382" y="467"/>
                  </a:lnTo>
                  <a:lnTo>
                    <a:pt x="387" y="461"/>
                  </a:lnTo>
                  <a:lnTo>
                    <a:pt x="388" y="458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384" y="449"/>
                  </a:lnTo>
                  <a:lnTo>
                    <a:pt x="381" y="442"/>
                  </a:lnTo>
                  <a:lnTo>
                    <a:pt x="381" y="442"/>
                  </a:lnTo>
                  <a:lnTo>
                    <a:pt x="381" y="437"/>
                  </a:lnTo>
                  <a:lnTo>
                    <a:pt x="382" y="433"/>
                  </a:lnTo>
                  <a:lnTo>
                    <a:pt x="387" y="431"/>
                  </a:lnTo>
                  <a:lnTo>
                    <a:pt x="393" y="430"/>
                  </a:lnTo>
                  <a:lnTo>
                    <a:pt x="393" y="430"/>
                  </a:lnTo>
                  <a:lnTo>
                    <a:pt x="396" y="428"/>
                  </a:lnTo>
                  <a:lnTo>
                    <a:pt x="400" y="425"/>
                  </a:lnTo>
                  <a:lnTo>
                    <a:pt x="406" y="416"/>
                  </a:lnTo>
                  <a:lnTo>
                    <a:pt x="410" y="407"/>
                  </a:lnTo>
                  <a:lnTo>
                    <a:pt x="412" y="402"/>
                  </a:lnTo>
                  <a:lnTo>
                    <a:pt x="412" y="399"/>
                  </a:lnTo>
                  <a:lnTo>
                    <a:pt x="412" y="399"/>
                  </a:lnTo>
                  <a:lnTo>
                    <a:pt x="409" y="393"/>
                  </a:lnTo>
                  <a:lnTo>
                    <a:pt x="406" y="388"/>
                  </a:lnTo>
                  <a:lnTo>
                    <a:pt x="402" y="382"/>
                  </a:lnTo>
                  <a:lnTo>
                    <a:pt x="399" y="376"/>
                  </a:lnTo>
                  <a:lnTo>
                    <a:pt x="399" y="376"/>
                  </a:lnTo>
                  <a:lnTo>
                    <a:pt x="399" y="373"/>
                  </a:lnTo>
                  <a:lnTo>
                    <a:pt x="399" y="370"/>
                  </a:lnTo>
                  <a:lnTo>
                    <a:pt x="402" y="366"/>
                  </a:lnTo>
                  <a:lnTo>
                    <a:pt x="409" y="362"/>
                  </a:lnTo>
                  <a:lnTo>
                    <a:pt x="409" y="362"/>
                  </a:lnTo>
                  <a:lnTo>
                    <a:pt x="412" y="357"/>
                  </a:lnTo>
                  <a:lnTo>
                    <a:pt x="410" y="353"/>
                  </a:lnTo>
                  <a:lnTo>
                    <a:pt x="407" y="348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399" y="339"/>
                  </a:lnTo>
                  <a:lnTo>
                    <a:pt x="399" y="338"/>
                  </a:lnTo>
                  <a:lnTo>
                    <a:pt x="399" y="338"/>
                  </a:lnTo>
                  <a:lnTo>
                    <a:pt x="403" y="336"/>
                  </a:lnTo>
                  <a:lnTo>
                    <a:pt x="406" y="335"/>
                  </a:lnTo>
                  <a:lnTo>
                    <a:pt x="406" y="335"/>
                  </a:lnTo>
                  <a:lnTo>
                    <a:pt x="412" y="332"/>
                  </a:lnTo>
                  <a:lnTo>
                    <a:pt x="421" y="329"/>
                  </a:lnTo>
                  <a:lnTo>
                    <a:pt x="430" y="328"/>
                  </a:lnTo>
                  <a:lnTo>
                    <a:pt x="439" y="328"/>
                  </a:lnTo>
                  <a:lnTo>
                    <a:pt x="439" y="328"/>
                  </a:lnTo>
                  <a:lnTo>
                    <a:pt x="446" y="328"/>
                  </a:lnTo>
                  <a:lnTo>
                    <a:pt x="452" y="326"/>
                  </a:lnTo>
                  <a:lnTo>
                    <a:pt x="458" y="323"/>
                  </a:lnTo>
                  <a:lnTo>
                    <a:pt x="462" y="319"/>
                  </a:lnTo>
                  <a:lnTo>
                    <a:pt x="462" y="319"/>
                  </a:lnTo>
                  <a:lnTo>
                    <a:pt x="468" y="313"/>
                  </a:lnTo>
                  <a:lnTo>
                    <a:pt x="477" y="305"/>
                  </a:lnTo>
                  <a:lnTo>
                    <a:pt x="486" y="299"/>
                  </a:lnTo>
                  <a:lnTo>
                    <a:pt x="493" y="295"/>
                  </a:lnTo>
                  <a:lnTo>
                    <a:pt x="493" y="295"/>
                  </a:lnTo>
                  <a:lnTo>
                    <a:pt x="510" y="288"/>
                  </a:lnTo>
                  <a:lnTo>
                    <a:pt x="520" y="282"/>
                  </a:lnTo>
                  <a:lnTo>
                    <a:pt x="530" y="274"/>
                  </a:lnTo>
                  <a:lnTo>
                    <a:pt x="530" y="274"/>
                  </a:lnTo>
                  <a:lnTo>
                    <a:pt x="538" y="267"/>
                  </a:lnTo>
                  <a:lnTo>
                    <a:pt x="542" y="259"/>
                  </a:lnTo>
                  <a:lnTo>
                    <a:pt x="545" y="253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7" y="243"/>
                  </a:lnTo>
                  <a:lnTo>
                    <a:pt x="550" y="239"/>
                  </a:lnTo>
                  <a:lnTo>
                    <a:pt x="554" y="227"/>
                  </a:lnTo>
                  <a:lnTo>
                    <a:pt x="554" y="227"/>
                  </a:lnTo>
                  <a:lnTo>
                    <a:pt x="558" y="215"/>
                  </a:lnTo>
                  <a:lnTo>
                    <a:pt x="561" y="211"/>
                  </a:lnTo>
                  <a:lnTo>
                    <a:pt x="564" y="206"/>
                  </a:lnTo>
                  <a:lnTo>
                    <a:pt x="564" y="206"/>
                  </a:lnTo>
                  <a:lnTo>
                    <a:pt x="569" y="203"/>
                  </a:lnTo>
                  <a:lnTo>
                    <a:pt x="573" y="200"/>
                  </a:lnTo>
                  <a:lnTo>
                    <a:pt x="579" y="197"/>
                  </a:lnTo>
                  <a:lnTo>
                    <a:pt x="582" y="193"/>
                  </a:lnTo>
                  <a:lnTo>
                    <a:pt x="582" y="193"/>
                  </a:lnTo>
                  <a:lnTo>
                    <a:pt x="584" y="188"/>
                  </a:lnTo>
                  <a:lnTo>
                    <a:pt x="584" y="185"/>
                  </a:lnTo>
                  <a:lnTo>
                    <a:pt x="584" y="185"/>
                  </a:lnTo>
                  <a:lnTo>
                    <a:pt x="582" y="182"/>
                  </a:lnTo>
                  <a:lnTo>
                    <a:pt x="581" y="181"/>
                  </a:lnTo>
                  <a:lnTo>
                    <a:pt x="576" y="179"/>
                  </a:lnTo>
                  <a:lnTo>
                    <a:pt x="576" y="179"/>
                  </a:lnTo>
                  <a:lnTo>
                    <a:pt x="566" y="179"/>
                  </a:lnTo>
                  <a:lnTo>
                    <a:pt x="557" y="179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33" y="171"/>
                  </a:lnTo>
                  <a:lnTo>
                    <a:pt x="517" y="159"/>
                  </a:lnTo>
                  <a:lnTo>
                    <a:pt x="496" y="144"/>
                  </a:lnTo>
                  <a:lnTo>
                    <a:pt x="495" y="129"/>
                  </a:lnTo>
                  <a:lnTo>
                    <a:pt x="495" y="129"/>
                  </a:lnTo>
                  <a:lnTo>
                    <a:pt x="486" y="128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67" y="125"/>
                  </a:lnTo>
                  <a:lnTo>
                    <a:pt x="464" y="122"/>
                  </a:lnTo>
                  <a:lnTo>
                    <a:pt x="459" y="117"/>
                  </a:lnTo>
                  <a:lnTo>
                    <a:pt x="459" y="117"/>
                  </a:lnTo>
                  <a:lnTo>
                    <a:pt x="456" y="113"/>
                  </a:lnTo>
                  <a:lnTo>
                    <a:pt x="455" y="110"/>
                  </a:lnTo>
                  <a:lnTo>
                    <a:pt x="453" y="107"/>
                  </a:lnTo>
                  <a:lnTo>
                    <a:pt x="449" y="105"/>
                  </a:lnTo>
                  <a:lnTo>
                    <a:pt x="449" y="105"/>
                  </a:lnTo>
                  <a:lnTo>
                    <a:pt x="444" y="105"/>
                  </a:lnTo>
                  <a:lnTo>
                    <a:pt x="439" y="108"/>
                  </a:lnTo>
                  <a:lnTo>
                    <a:pt x="434" y="111"/>
                  </a:lnTo>
                  <a:lnTo>
                    <a:pt x="431" y="114"/>
                  </a:lnTo>
                  <a:lnTo>
                    <a:pt x="431" y="114"/>
                  </a:lnTo>
                  <a:lnTo>
                    <a:pt x="428" y="117"/>
                  </a:lnTo>
                  <a:lnTo>
                    <a:pt x="425" y="117"/>
                  </a:lnTo>
                  <a:lnTo>
                    <a:pt x="415" y="116"/>
                  </a:lnTo>
                  <a:lnTo>
                    <a:pt x="415" y="116"/>
                  </a:lnTo>
                  <a:lnTo>
                    <a:pt x="410" y="114"/>
                  </a:lnTo>
                  <a:lnTo>
                    <a:pt x="407" y="111"/>
                  </a:lnTo>
                  <a:lnTo>
                    <a:pt x="406" y="108"/>
                  </a:lnTo>
                  <a:lnTo>
                    <a:pt x="404" y="105"/>
                  </a:lnTo>
                  <a:lnTo>
                    <a:pt x="404" y="105"/>
                  </a:lnTo>
                  <a:lnTo>
                    <a:pt x="402" y="105"/>
                  </a:lnTo>
                  <a:lnTo>
                    <a:pt x="399" y="108"/>
                  </a:lnTo>
                  <a:lnTo>
                    <a:pt x="397" y="111"/>
                  </a:lnTo>
                  <a:lnTo>
                    <a:pt x="394" y="113"/>
                  </a:lnTo>
                  <a:lnTo>
                    <a:pt x="394" y="113"/>
                  </a:lnTo>
                  <a:lnTo>
                    <a:pt x="393" y="114"/>
                  </a:lnTo>
                  <a:lnTo>
                    <a:pt x="391" y="113"/>
                  </a:lnTo>
                  <a:lnTo>
                    <a:pt x="388" y="110"/>
                  </a:lnTo>
                  <a:lnTo>
                    <a:pt x="384" y="105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69" y="105"/>
                  </a:lnTo>
                  <a:lnTo>
                    <a:pt x="369" y="105"/>
                  </a:lnTo>
                  <a:lnTo>
                    <a:pt x="367" y="105"/>
                  </a:lnTo>
                  <a:lnTo>
                    <a:pt x="365" y="104"/>
                  </a:lnTo>
                  <a:lnTo>
                    <a:pt x="363" y="102"/>
                  </a:lnTo>
                  <a:lnTo>
                    <a:pt x="360" y="101"/>
                  </a:lnTo>
                  <a:lnTo>
                    <a:pt x="360" y="101"/>
                  </a:lnTo>
                  <a:lnTo>
                    <a:pt x="356" y="101"/>
                  </a:lnTo>
                  <a:lnTo>
                    <a:pt x="351" y="102"/>
                  </a:lnTo>
                  <a:lnTo>
                    <a:pt x="347" y="105"/>
                  </a:lnTo>
                  <a:lnTo>
                    <a:pt x="147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2" name="Freeform 51">
              <a:extLst>
                <a:ext uri="{FF2B5EF4-FFF2-40B4-BE49-F238E27FC236}">
                  <a16:creationId xmlns:a16="http://schemas.microsoft.com/office/drawing/2014/main" id="{855255D4-4E0F-8749-AA29-87B8AA5ED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3763" y="5041900"/>
              <a:ext cx="317500" cy="400050"/>
            </a:xfrm>
            <a:custGeom>
              <a:avLst/>
              <a:gdLst>
                <a:gd name="T0" fmla="*/ 200 w 200"/>
                <a:gd name="T1" fmla="*/ 105 h 252"/>
                <a:gd name="T2" fmla="*/ 195 w 200"/>
                <a:gd name="T3" fmla="*/ 101 h 252"/>
                <a:gd name="T4" fmla="*/ 163 w 200"/>
                <a:gd name="T5" fmla="*/ 65 h 252"/>
                <a:gd name="T6" fmla="*/ 160 w 200"/>
                <a:gd name="T7" fmla="*/ 64 h 252"/>
                <a:gd name="T8" fmla="*/ 152 w 200"/>
                <a:gd name="T9" fmla="*/ 70 h 252"/>
                <a:gd name="T10" fmla="*/ 149 w 200"/>
                <a:gd name="T11" fmla="*/ 70 h 252"/>
                <a:gd name="T12" fmla="*/ 143 w 200"/>
                <a:gd name="T13" fmla="*/ 67 h 252"/>
                <a:gd name="T14" fmla="*/ 136 w 200"/>
                <a:gd name="T15" fmla="*/ 59 h 252"/>
                <a:gd name="T16" fmla="*/ 136 w 200"/>
                <a:gd name="T17" fmla="*/ 55 h 252"/>
                <a:gd name="T18" fmla="*/ 148 w 200"/>
                <a:gd name="T19" fmla="*/ 43 h 252"/>
                <a:gd name="T20" fmla="*/ 146 w 200"/>
                <a:gd name="T21" fmla="*/ 40 h 252"/>
                <a:gd name="T22" fmla="*/ 132 w 200"/>
                <a:gd name="T23" fmla="*/ 28 h 252"/>
                <a:gd name="T24" fmla="*/ 127 w 200"/>
                <a:gd name="T25" fmla="*/ 25 h 252"/>
                <a:gd name="T26" fmla="*/ 117 w 200"/>
                <a:gd name="T27" fmla="*/ 27 h 252"/>
                <a:gd name="T28" fmla="*/ 114 w 200"/>
                <a:gd name="T29" fmla="*/ 27 h 252"/>
                <a:gd name="T30" fmla="*/ 109 w 200"/>
                <a:gd name="T31" fmla="*/ 22 h 252"/>
                <a:gd name="T32" fmla="*/ 106 w 200"/>
                <a:gd name="T33" fmla="*/ 19 h 252"/>
                <a:gd name="T34" fmla="*/ 99 w 200"/>
                <a:gd name="T35" fmla="*/ 19 h 252"/>
                <a:gd name="T36" fmla="*/ 96 w 200"/>
                <a:gd name="T37" fmla="*/ 19 h 252"/>
                <a:gd name="T38" fmla="*/ 72 w 200"/>
                <a:gd name="T39" fmla="*/ 0 h 252"/>
                <a:gd name="T40" fmla="*/ 52 w 200"/>
                <a:gd name="T41" fmla="*/ 14 h 252"/>
                <a:gd name="T42" fmla="*/ 50 w 200"/>
                <a:gd name="T43" fmla="*/ 17 h 252"/>
                <a:gd name="T44" fmla="*/ 59 w 200"/>
                <a:gd name="T45" fmla="*/ 30 h 252"/>
                <a:gd name="T46" fmla="*/ 61 w 200"/>
                <a:gd name="T47" fmla="*/ 34 h 252"/>
                <a:gd name="T48" fmla="*/ 58 w 200"/>
                <a:gd name="T49" fmla="*/ 37 h 252"/>
                <a:gd name="T50" fmla="*/ 56 w 200"/>
                <a:gd name="T51" fmla="*/ 40 h 252"/>
                <a:gd name="T52" fmla="*/ 56 w 200"/>
                <a:gd name="T53" fmla="*/ 48 h 252"/>
                <a:gd name="T54" fmla="*/ 56 w 200"/>
                <a:gd name="T55" fmla="*/ 55 h 252"/>
                <a:gd name="T56" fmla="*/ 55 w 200"/>
                <a:gd name="T57" fmla="*/ 59 h 252"/>
                <a:gd name="T58" fmla="*/ 46 w 200"/>
                <a:gd name="T59" fmla="*/ 65 h 252"/>
                <a:gd name="T60" fmla="*/ 50 w 200"/>
                <a:gd name="T61" fmla="*/ 77 h 252"/>
                <a:gd name="T62" fmla="*/ 53 w 200"/>
                <a:gd name="T63" fmla="*/ 88 h 252"/>
                <a:gd name="T64" fmla="*/ 61 w 200"/>
                <a:gd name="T65" fmla="*/ 95 h 252"/>
                <a:gd name="T66" fmla="*/ 83 w 200"/>
                <a:gd name="T67" fmla="*/ 107 h 252"/>
                <a:gd name="T68" fmla="*/ 90 w 200"/>
                <a:gd name="T69" fmla="*/ 108 h 252"/>
                <a:gd name="T70" fmla="*/ 92 w 200"/>
                <a:gd name="T71" fmla="*/ 113 h 252"/>
                <a:gd name="T72" fmla="*/ 89 w 200"/>
                <a:gd name="T73" fmla="*/ 122 h 252"/>
                <a:gd name="T74" fmla="*/ 87 w 200"/>
                <a:gd name="T75" fmla="*/ 129 h 252"/>
                <a:gd name="T76" fmla="*/ 80 w 200"/>
                <a:gd name="T77" fmla="*/ 147 h 252"/>
                <a:gd name="T78" fmla="*/ 75 w 200"/>
                <a:gd name="T79" fmla="*/ 153 h 252"/>
                <a:gd name="T80" fmla="*/ 69 w 200"/>
                <a:gd name="T81" fmla="*/ 157 h 252"/>
                <a:gd name="T82" fmla="*/ 46 w 200"/>
                <a:gd name="T83" fmla="*/ 160 h 252"/>
                <a:gd name="T84" fmla="*/ 43 w 200"/>
                <a:gd name="T85" fmla="*/ 162 h 252"/>
                <a:gd name="T86" fmla="*/ 34 w 200"/>
                <a:gd name="T87" fmla="*/ 169 h 252"/>
                <a:gd name="T88" fmla="*/ 29 w 200"/>
                <a:gd name="T89" fmla="*/ 172 h 252"/>
                <a:gd name="T90" fmla="*/ 18 w 200"/>
                <a:gd name="T91" fmla="*/ 179 h 252"/>
                <a:gd name="T92" fmla="*/ 10 w 200"/>
                <a:gd name="T93" fmla="*/ 190 h 252"/>
                <a:gd name="T94" fmla="*/ 9 w 200"/>
                <a:gd name="T95" fmla="*/ 193 h 252"/>
                <a:gd name="T96" fmla="*/ 15 w 200"/>
                <a:gd name="T97" fmla="*/ 203 h 252"/>
                <a:gd name="T98" fmla="*/ 26 w 200"/>
                <a:gd name="T99" fmla="*/ 216 h 252"/>
                <a:gd name="T100" fmla="*/ 26 w 200"/>
                <a:gd name="T101" fmla="*/ 221 h 252"/>
                <a:gd name="T102" fmla="*/ 13 w 200"/>
                <a:gd name="T103" fmla="*/ 225 h 252"/>
                <a:gd name="T104" fmla="*/ 9 w 200"/>
                <a:gd name="T105" fmla="*/ 227 h 252"/>
                <a:gd name="T106" fmla="*/ 6 w 200"/>
                <a:gd name="T107" fmla="*/ 234 h 252"/>
                <a:gd name="T108" fmla="*/ 6 w 200"/>
                <a:gd name="T109" fmla="*/ 246 h 252"/>
                <a:gd name="T110" fmla="*/ 4 w 200"/>
                <a:gd name="T111" fmla="*/ 249 h 252"/>
                <a:gd name="T112" fmla="*/ 0 w 200"/>
                <a:gd name="T113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252">
                  <a:moveTo>
                    <a:pt x="200" y="105"/>
                  </a:moveTo>
                  <a:lnTo>
                    <a:pt x="200" y="105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79" y="82"/>
                  </a:lnTo>
                  <a:lnTo>
                    <a:pt x="163" y="65"/>
                  </a:lnTo>
                  <a:lnTo>
                    <a:pt x="163" y="65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49" y="70"/>
                  </a:lnTo>
                  <a:lnTo>
                    <a:pt x="148" y="70"/>
                  </a:lnTo>
                  <a:lnTo>
                    <a:pt x="143" y="67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6"/>
                  </a:lnTo>
                  <a:lnTo>
                    <a:pt x="136" y="55"/>
                  </a:lnTo>
                  <a:lnTo>
                    <a:pt x="141" y="51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6" y="40"/>
                  </a:lnTo>
                  <a:lnTo>
                    <a:pt x="139" y="34"/>
                  </a:lnTo>
                  <a:lnTo>
                    <a:pt x="132" y="28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1" y="25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4" y="27"/>
                  </a:lnTo>
                  <a:lnTo>
                    <a:pt x="112" y="25"/>
                  </a:lnTo>
                  <a:lnTo>
                    <a:pt x="109" y="22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2" y="18"/>
                  </a:lnTo>
                  <a:lnTo>
                    <a:pt x="99" y="19"/>
                  </a:lnTo>
                  <a:lnTo>
                    <a:pt x="98" y="21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7"/>
                  </a:lnTo>
                  <a:lnTo>
                    <a:pt x="53" y="19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59" y="36"/>
                  </a:lnTo>
                  <a:lnTo>
                    <a:pt x="58" y="37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5"/>
                  </a:lnTo>
                  <a:lnTo>
                    <a:pt x="56" y="48"/>
                  </a:lnTo>
                  <a:lnTo>
                    <a:pt x="58" y="52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5" y="59"/>
                  </a:lnTo>
                  <a:lnTo>
                    <a:pt x="52" y="62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50" y="77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6" y="92"/>
                  </a:lnTo>
                  <a:lnTo>
                    <a:pt x="61" y="95"/>
                  </a:lnTo>
                  <a:lnTo>
                    <a:pt x="72" y="102"/>
                  </a:lnTo>
                  <a:lnTo>
                    <a:pt x="83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3" y="110"/>
                  </a:lnTo>
                  <a:lnTo>
                    <a:pt x="92" y="113"/>
                  </a:lnTo>
                  <a:lnTo>
                    <a:pt x="90" y="117"/>
                  </a:lnTo>
                  <a:lnTo>
                    <a:pt x="89" y="122"/>
                  </a:lnTo>
                  <a:lnTo>
                    <a:pt x="89" y="122"/>
                  </a:lnTo>
                  <a:lnTo>
                    <a:pt x="87" y="129"/>
                  </a:lnTo>
                  <a:lnTo>
                    <a:pt x="84" y="138"/>
                  </a:lnTo>
                  <a:lnTo>
                    <a:pt x="80" y="147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4" y="154"/>
                  </a:lnTo>
                  <a:lnTo>
                    <a:pt x="69" y="157"/>
                  </a:lnTo>
                  <a:lnTo>
                    <a:pt x="61" y="159"/>
                  </a:lnTo>
                  <a:lnTo>
                    <a:pt x="46" y="160"/>
                  </a:lnTo>
                  <a:lnTo>
                    <a:pt x="46" y="160"/>
                  </a:lnTo>
                  <a:lnTo>
                    <a:pt x="43" y="162"/>
                  </a:lnTo>
                  <a:lnTo>
                    <a:pt x="38" y="165"/>
                  </a:lnTo>
                  <a:lnTo>
                    <a:pt x="34" y="169"/>
                  </a:lnTo>
                  <a:lnTo>
                    <a:pt x="29" y="172"/>
                  </a:lnTo>
                  <a:lnTo>
                    <a:pt x="29" y="172"/>
                  </a:lnTo>
                  <a:lnTo>
                    <a:pt x="22" y="175"/>
                  </a:lnTo>
                  <a:lnTo>
                    <a:pt x="18" y="179"/>
                  </a:lnTo>
                  <a:lnTo>
                    <a:pt x="13" y="184"/>
                  </a:lnTo>
                  <a:lnTo>
                    <a:pt x="10" y="190"/>
                  </a:lnTo>
                  <a:lnTo>
                    <a:pt x="10" y="190"/>
                  </a:lnTo>
                  <a:lnTo>
                    <a:pt x="9" y="193"/>
                  </a:lnTo>
                  <a:lnTo>
                    <a:pt x="10" y="196"/>
                  </a:lnTo>
                  <a:lnTo>
                    <a:pt x="15" y="203"/>
                  </a:lnTo>
                  <a:lnTo>
                    <a:pt x="22" y="211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26" y="221"/>
                  </a:lnTo>
                  <a:lnTo>
                    <a:pt x="25" y="222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9" y="227"/>
                  </a:lnTo>
                  <a:lnTo>
                    <a:pt x="7" y="230"/>
                  </a:lnTo>
                  <a:lnTo>
                    <a:pt x="6" y="234"/>
                  </a:lnTo>
                  <a:lnTo>
                    <a:pt x="4" y="240"/>
                  </a:lnTo>
                  <a:lnTo>
                    <a:pt x="6" y="246"/>
                  </a:lnTo>
                  <a:lnTo>
                    <a:pt x="6" y="246"/>
                  </a:lnTo>
                  <a:lnTo>
                    <a:pt x="4" y="249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3" name="Freeform 52">
              <a:extLst>
                <a:ext uri="{FF2B5EF4-FFF2-40B4-BE49-F238E27FC236}">
                  <a16:creationId xmlns:a16="http://schemas.microsoft.com/office/drawing/2014/main" id="{BF5A3FCB-86AD-1149-8B78-CA2EC9DF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0" y="5202238"/>
              <a:ext cx="927100" cy="795337"/>
            </a:xfrm>
            <a:custGeom>
              <a:avLst/>
              <a:gdLst>
                <a:gd name="T0" fmla="*/ 120 w 584"/>
                <a:gd name="T1" fmla="*/ 166 h 501"/>
                <a:gd name="T2" fmla="*/ 119 w 584"/>
                <a:gd name="T3" fmla="*/ 185 h 501"/>
                <a:gd name="T4" fmla="*/ 105 w 584"/>
                <a:gd name="T5" fmla="*/ 219 h 501"/>
                <a:gd name="T6" fmla="*/ 80 w 584"/>
                <a:gd name="T7" fmla="*/ 253 h 501"/>
                <a:gd name="T8" fmla="*/ 71 w 584"/>
                <a:gd name="T9" fmla="*/ 271 h 501"/>
                <a:gd name="T10" fmla="*/ 55 w 584"/>
                <a:gd name="T11" fmla="*/ 281 h 501"/>
                <a:gd name="T12" fmla="*/ 55 w 584"/>
                <a:gd name="T13" fmla="*/ 311 h 501"/>
                <a:gd name="T14" fmla="*/ 17 w 584"/>
                <a:gd name="T15" fmla="*/ 318 h 501"/>
                <a:gd name="T16" fmla="*/ 8 w 584"/>
                <a:gd name="T17" fmla="*/ 309 h 501"/>
                <a:gd name="T18" fmla="*/ 2 w 584"/>
                <a:gd name="T19" fmla="*/ 326 h 501"/>
                <a:gd name="T20" fmla="*/ 19 w 584"/>
                <a:gd name="T21" fmla="*/ 370 h 501"/>
                <a:gd name="T22" fmla="*/ 24 w 584"/>
                <a:gd name="T23" fmla="*/ 392 h 501"/>
                <a:gd name="T24" fmla="*/ 31 w 584"/>
                <a:gd name="T25" fmla="*/ 412 h 501"/>
                <a:gd name="T26" fmla="*/ 39 w 584"/>
                <a:gd name="T27" fmla="*/ 428 h 501"/>
                <a:gd name="T28" fmla="*/ 67 w 584"/>
                <a:gd name="T29" fmla="*/ 431 h 501"/>
                <a:gd name="T30" fmla="*/ 85 w 584"/>
                <a:gd name="T31" fmla="*/ 455 h 501"/>
                <a:gd name="T32" fmla="*/ 104 w 584"/>
                <a:gd name="T33" fmla="*/ 495 h 501"/>
                <a:gd name="T34" fmla="*/ 131 w 584"/>
                <a:gd name="T35" fmla="*/ 499 h 501"/>
                <a:gd name="T36" fmla="*/ 165 w 584"/>
                <a:gd name="T37" fmla="*/ 458 h 501"/>
                <a:gd name="T38" fmla="*/ 179 w 584"/>
                <a:gd name="T39" fmla="*/ 440 h 501"/>
                <a:gd name="T40" fmla="*/ 218 w 584"/>
                <a:gd name="T41" fmla="*/ 453 h 501"/>
                <a:gd name="T42" fmla="*/ 230 w 584"/>
                <a:gd name="T43" fmla="*/ 453 h 501"/>
                <a:gd name="T44" fmla="*/ 243 w 584"/>
                <a:gd name="T45" fmla="*/ 437 h 501"/>
                <a:gd name="T46" fmla="*/ 255 w 584"/>
                <a:gd name="T47" fmla="*/ 409 h 501"/>
                <a:gd name="T48" fmla="*/ 271 w 584"/>
                <a:gd name="T49" fmla="*/ 410 h 501"/>
                <a:gd name="T50" fmla="*/ 293 w 584"/>
                <a:gd name="T51" fmla="*/ 423 h 501"/>
                <a:gd name="T52" fmla="*/ 310 w 584"/>
                <a:gd name="T53" fmla="*/ 404 h 501"/>
                <a:gd name="T54" fmla="*/ 316 w 584"/>
                <a:gd name="T55" fmla="*/ 373 h 501"/>
                <a:gd name="T56" fmla="*/ 342 w 584"/>
                <a:gd name="T57" fmla="*/ 373 h 501"/>
                <a:gd name="T58" fmla="*/ 360 w 584"/>
                <a:gd name="T59" fmla="*/ 375 h 501"/>
                <a:gd name="T60" fmla="*/ 388 w 584"/>
                <a:gd name="T61" fmla="*/ 357 h 501"/>
                <a:gd name="T62" fmla="*/ 381 w 584"/>
                <a:gd name="T63" fmla="*/ 336 h 501"/>
                <a:gd name="T64" fmla="*/ 400 w 584"/>
                <a:gd name="T65" fmla="*/ 324 h 501"/>
                <a:gd name="T66" fmla="*/ 409 w 584"/>
                <a:gd name="T67" fmla="*/ 292 h 501"/>
                <a:gd name="T68" fmla="*/ 399 w 584"/>
                <a:gd name="T69" fmla="*/ 269 h 501"/>
                <a:gd name="T70" fmla="*/ 407 w 584"/>
                <a:gd name="T71" fmla="*/ 247 h 501"/>
                <a:gd name="T72" fmla="*/ 403 w 584"/>
                <a:gd name="T73" fmla="*/ 235 h 501"/>
                <a:gd name="T74" fmla="*/ 439 w 584"/>
                <a:gd name="T75" fmla="*/ 227 h 501"/>
                <a:gd name="T76" fmla="*/ 462 w 584"/>
                <a:gd name="T77" fmla="*/ 218 h 501"/>
                <a:gd name="T78" fmla="*/ 510 w 584"/>
                <a:gd name="T79" fmla="*/ 187 h 501"/>
                <a:gd name="T80" fmla="*/ 545 w 584"/>
                <a:gd name="T81" fmla="*/ 152 h 501"/>
                <a:gd name="T82" fmla="*/ 554 w 584"/>
                <a:gd name="T83" fmla="*/ 126 h 501"/>
                <a:gd name="T84" fmla="*/ 573 w 584"/>
                <a:gd name="T85" fmla="*/ 99 h 501"/>
                <a:gd name="T86" fmla="*/ 584 w 584"/>
                <a:gd name="T87" fmla="*/ 84 h 501"/>
                <a:gd name="T88" fmla="*/ 557 w 584"/>
                <a:gd name="T89" fmla="*/ 78 h 501"/>
                <a:gd name="T90" fmla="*/ 495 w 584"/>
                <a:gd name="T91" fmla="*/ 28 h 501"/>
                <a:gd name="T92" fmla="*/ 464 w 584"/>
                <a:gd name="T93" fmla="*/ 21 h 501"/>
                <a:gd name="T94" fmla="*/ 449 w 584"/>
                <a:gd name="T95" fmla="*/ 4 h 501"/>
                <a:gd name="T96" fmla="*/ 431 w 584"/>
                <a:gd name="T97" fmla="*/ 13 h 501"/>
                <a:gd name="T98" fmla="*/ 407 w 584"/>
                <a:gd name="T99" fmla="*/ 10 h 501"/>
                <a:gd name="T100" fmla="*/ 397 w 584"/>
                <a:gd name="T101" fmla="*/ 10 h 501"/>
                <a:gd name="T102" fmla="*/ 384 w 584"/>
                <a:gd name="T103" fmla="*/ 4 h 501"/>
                <a:gd name="T104" fmla="*/ 369 w 584"/>
                <a:gd name="T105" fmla="*/ 4 h 501"/>
                <a:gd name="T106" fmla="*/ 356 w 584"/>
                <a:gd name="T107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84" h="501">
                  <a:moveTo>
                    <a:pt x="147" y="151"/>
                  </a:moveTo>
                  <a:lnTo>
                    <a:pt x="147" y="151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28" y="160"/>
                  </a:lnTo>
                  <a:lnTo>
                    <a:pt x="120" y="166"/>
                  </a:lnTo>
                  <a:lnTo>
                    <a:pt x="114" y="172"/>
                  </a:lnTo>
                  <a:lnTo>
                    <a:pt x="114" y="172"/>
                  </a:lnTo>
                  <a:lnTo>
                    <a:pt x="119" y="178"/>
                  </a:lnTo>
                  <a:lnTo>
                    <a:pt x="120" y="181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4" y="189"/>
                  </a:lnTo>
                  <a:lnTo>
                    <a:pt x="110" y="195"/>
                  </a:lnTo>
                  <a:lnTo>
                    <a:pt x="107" y="200"/>
                  </a:lnTo>
                  <a:lnTo>
                    <a:pt x="105" y="206"/>
                  </a:lnTo>
                  <a:lnTo>
                    <a:pt x="105" y="206"/>
                  </a:lnTo>
                  <a:lnTo>
                    <a:pt x="105" y="219"/>
                  </a:lnTo>
                  <a:lnTo>
                    <a:pt x="104" y="225"/>
                  </a:lnTo>
                  <a:lnTo>
                    <a:pt x="101" y="231"/>
                  </a:lnTo>
                  <a:lnTo>
                    <a:pt x="101" y="231"/>
                  </a:lnTo>
                  <a:lnTo>
                    <a:pt x="91" y="244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79" y="258"/>
                  </a:lnTo>
                  <a:lnTo>
                    <a:pt x="77" y="261"/>
                  </a:lnTo>
                  <a:lnTo>
                    <a:pt x="76" y="268"/>
                  </a:lnTo>
                  <a:lnTo>
                    <a:pt x="76" y="268"/>
                  </a:lnTo>
                  <a:lnTo>
                    <a:pt x="74" y="269"/>
                  </a:lnTo>
                  <a:lnTo>
                    <a:pt x="71" y="271"/>
                  </a:lnTo>
                  <a:lnTo>
                    <a:pt x="65" y="272"/>
                  </a:lnTo>
                  <a:lnTo>
                    <a:pt x="58" y="274"/>
                  </a:lnTo>
                  <a:lnTo>
                    <a:pt x="55" y="275"/>
                  </a:lnTo>
                  <a:lnTo>
                    <a:pt x="55" y="275"/>
                  </a:lnTo>
                  <a:lnTo>
                    <a:pt x="54" y="278"/>
                  </a:lnTo>
                  <a:lnTo>
                    <a:pt x="55" y="281"/>
                  </a:lnTo>
                  <a:lnTo>
                    <a:pt x="57" y="289"/>
                  </a:lnTo>
                  <a:lnTo>
                    <a:pt x="57" y="289"/>
                  </a:lnTo>
                  <a:lnTo>
                    <a:pt x="58" y="302"/>
                  </a:lnTo>
                  <a:lnTo>
                    <a:pt x="57" y="308"/>
                  </a:lnTo>
                  <a:lnTo>
                    <a:pt x="55" y="311"/>
                  </a:lnTo>
                  <a:lnTo>
                    <a:pt x="55" y="311"/>
                  </a:lnTo>
                  <a:lnTo>
                    <a:pt x="55" y="311"/>
                  </a:lnTo>
                  <a:lnTo>
                    <a:pt x="43" y="312"/>
                  </a:lnTo>
                  <a:lnTo>
                    <a:pt x="36" y="312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17" y="318"/>
                  </a:lnTo>
                  <a:lnTo>
                    <a:pt x="11" y="318"/>
                  </a:lnTo>
                  <a:lnTo>
                    <a:pt x="9" y="317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8" y="312"/>
                  </a:lnTo>
                  <a:lnTo>
                    <a:pt x="8" y="309"/>
                  </a:lnTo>
                  <a:lnTo>
                    <a:pt x="5" y="309"/>
                  </a:lnTo>
                  <a:lnTo>
                    <a:pt x="2" y="312"/>
                  </a:lnTo>
                  <a:lnTo>
                    <a:pt x="2" y="312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2" y="326"/>
                  </a:lnTo>
                  <a:lnTo>
                    <a:pt x="3" y="333"/>
                  </a:lnTo>
                  <a:lnTo>
                    <a:pt x="3" y="344"/>
                  </a:lnTo>
                  <a:lnTo>
                    <a:pt x="3" y="344"/>
                  </a:lnTo>
                  <a:lnTo>
                    <a:pt x="2" y="361"/>
                  </a:lnTo>
                  <a:lnTo>
                    <a:pt x="3" y="372"/>
                  </a:lnTo>
                  <a:lnTo>
                    <a:pt x="19" y="370"/>
                  </a:lnTo>
                  <a:lnTo>
                    <a:pt x="19" y="370"/>
                  </a:lnTo>
                  <a:lnTo>
                    <a:pt x="18" y="384"/>
                  </a:lnTo>
                  <a:lnTo>
                    <a:pt x="18" y="384"/>
                  </a:lnTo>
                  <a:lnTo>
                    <a:pt x="19" y="386"/>
                  </a:lnTo>
                  <a:lnTo>
                    <a:pt x="21" y="389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5" y="401"/>
                  </a:lnTo>
                  <a:lnTo>
                    <a:pt x="27" y="407"/>
                  </a:lnTo>
                  <a:lnTo>
                    <a:pt x="28" y="409"/>
                  </a:lnTo>
                  <a:lnTo>
                    <a:pt x="28" y="409"/>
                  </a:lnTo>
                  <a:lnTo>
                    <a:pt x="31" y="412"/>
                  </a:lnTo>
                  <a:lnTo>
                    <a:pt x="34" y="415"/>
                  </a:lnTo>
                  <a:lnTo>
                    <a:pt x="37" y="419"/>
                  </a:lnTo>
                  <a:lnTo>
                    <a:pt x="39" y="425"/>
                  </a:lnTo>
                  <a:lnTo>
                    <a:pt x="39" y="425"/>
                  </a:lnTo>
                  <a:lnTo>
                    <a:pt x="39" y="425"/>
                  </a:lnTo>
                  <a:lnTo>
                    <a:pt x="39" y="428"/>
                  </a:lnTo>
                  <a:lnTo>
                    <a:pt x="42" y="429"/>
                  </a:lnTo>
                  <a:lnTo>
                    <a:pt x="49" y="429"/>
                  </a:lnTo>
                  <a:lnTo>
                    <a:pt x="62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7" y="431"/>
                  </a:lnTo>
                  <a:lnTo>
                    <a:pt x="70" y="438"/>
                  </a:lnTo>
                  <a:lnTo>
                    <a:pt x="73" y="452"/>
                  </a:lnTo>
                  <a:lnTo>
                    <a:pt x="73" y="452"/>
                  </a:lnTo>
                  <a:lnTo>
                    <a:pt x="74" y="453"/>
                  </a:lnTo>
                  <a:lnTo>
                    <a:pt x="76" y="453"/>
                  </a:lnTo>
                  <a:lnTo>
                    <a:pt x="85" y="455"/>
                  </a:lnTo>
                  <a:lnTo>
                    <a:pt x="98" y="453"/>
                  </a:lnTo>
                  <a:lnTo>
                    <a:pt x="98" y="453"/>
                  </a:lnTo>
                  <a:lnTo>
                    <a:pt x="99" y="455"/>
                  </a:lnTo>
                  <a:lnTo>
                    <a:pt x="99" y="459"/>
                  </a:lnTo>
                  <a:lnTo>
                    <a:pt x="101" y="471"/>
                  </a:lnTo>
                  <a:lnTo>
                    <a:pt x="104" y="495"/>
                  </a:lnTo>
                  <a:lnTo>
                    <a:pt x="104" y="495"/>
                  </a:lnTo>
                  <a:lnTo>
                    <a:pt x="104" y="498"/>
                  </a:lnTo>
                  <a:lnTo>
                    <a:pt x="105" y="499"/>
                  </a:lnTo>
                  <a:lnTo>
                    <a:pt x="113" y="499"/>
                  </a:lnTo>
                  <a:lnTo>
                    <a:pt x="122" y="499"/>
                  </a:lnTo>
                  <a:lnTo>
                    <a:pt x="131" y="499"/>
                  </a:lnTo>
                  <a:lnTo>
                    <a:pt x="131" y="499"/>
                  </a:lnTo>
                  <a:lnTo>
                    <a:pt x="134" y="501"/>
                  </a:lnTo>
                  <a:lnTo>
                    <a:pt x="136" y="496"/>
                  </a:lnTo>
                  <a:lnTo>
                    <a:pt x="156" y="471"/>
                  </a:lnTo>
                  <a:lnTo>
                    <a:pt x="156" y="471"/>
                  </a:lnTo>
                  <a:lnTo>
                    <a:pt x="165" y="458"/>
                  </a:lnTo>
                  <a:lnTo>
                    <a:pt x="169" y="452"/>
                  </a:lnTo>
                  <a:lnTo>
                    <a:pt x="172" y="446"/>
                  </a:lnTo>
                  <a:lnTo>
                    <a:pt x="172" y="446"/>
                  </a:lnTo>
                  <a:lnTo>
                    <a:pt x="173" y="441"/>
                  </a:lnTo>
                  <a:lnTo>
                    <a:pt x="176" y="440"/>
                  </a:lnTo>
                  <a:lnTo>
                    <a:pt x="179" y="440"/>
                  </a:lnTo>
                  <a:lnTo>
                    <a:pt x="182" y="441"/>
                  </a:lnTo>
                  <a:lnTo>
                    <a:pt x="182" y="441"/>
                  </a:lnTo>
                  <a:lnTo>
                    <a:pt x="208" y="449"/>
                  </a:lnTo>
                  <a:lnTo>
                    <a:pt x="208" y="449"/>
                  </a:lnTo>
                  <a:lnTo>
                    <a:pt x="213" y="450"/>
                  </a:lnTo>
                  <a:lnTo>
                    <a:pt x="218" y="453"/>
                  </a:lnTo>
                  <a:lnTo>
                    <a:pt x="221" y="455"/>
                  </a:lnTo>
                  <a:lnTo>
                    <a:pt x="225" y="458"/>
                  </a:lnTo>
                  <a:lnTo>
                    <a:pt x="225" y="458"/>
                  </a:lnTo>
                  <a:lnTo>
                    <a:pt x="227" y="458"/>
                  </a:lnTo>
                  <a:lnTo>
                    <a:pt x="228" y="456"/>
                  </a:lnTo>
                  <a:lnTo>
                    <a:pt x="230" y="453"/>
                  </a:lnTo>
                  <a:lnTo>
                    <a:pt x="231" y="447"/>
                  </a:lnTo>
                  <a:lnTo>
                    <a:pt x="233" y="444"/>
                  </a:lnTo>
                  <a:lnTo>
                    <a:pt x="237" y="443"/>
                  </a:lnTo>
                  <a:lnTo>
                    <a:pt x="237" y="443"/>
                  </a:lnTo>
                  <a:lnTo>
                    <a:pt x="240" y="440"/>
                  </a:lnTo>
                  <a:lnTo>
                    <a:pt x="243" y="437"/>
                  </a:lnTo>
                  <a:lnTo>
                    <a:pt x="246" y="428"/>
                  </a:lnTo>
                  <a:lnTo>
                    <a:pt x="248" y="421"/>
                  </a:lnTo>
                  <a:lnTo>
                    <a:pt x="248" y="415"/>
                  </a:lnTo>
                  <a:lnTo>
                    <a:pt x="248" y="415"/>
                  </a:lnTo>
                  <a:lnTo>
                    <a:pt x="249" y="412"/>
                  </a:lnTo>
                  <a:lnTo>
                    <a:pt x="255" y="409"/>
                  </a:lnTo>
                  <a:lnTo>
                    <a:pt x="261" y="406"/>
                  </a:lnTo>
                  <a:lnTo>
                    <a:pt x="267" y="404"/>
                  </a:lnTo>
                  <a:lnTo>
                    <a:pt x="267" y="404"/>
                  </a:lnTo>
                  <a:lnTo>
                    <a:pt x="268" y="406"/>
                  </a:lnTo>
                  <a:lnTo>
                    <a:pt x="270" y="406"/>
                  </a:lnTo>
                  <a:lnTo>
                    <a:pt x="271" y="410"/>
                  </a:lnTo>
                  <a:lnTo>
                    <a:pt x="274" y="421"/>
                  </a:lnTo>
                  <a:lnTo>
                    <a:pt x="274" y="421"/>
                  </a:lnTo>
                  <a:lnTo>
                    <a:pt x="276" y="422"/>
                  </a:lnTo>
                  <a:lnTo>
                    <a:pt x="277" y="423"/>
                  </a:lnTo>
                  <a:lnTo>
                    <a:pt x="285" y="425"/>
                  </a:lnTo>
                  <a:lnTo>
                    <a:pt x="293" y="423"/>
                  </a:lnTo>
                  <a:lnTo>
                    <a:pt x="301" y="422"/>
                  </a:lnTo>
                  <a:lnTo>
                    <a:pt x="301" y="422"/>
                  </a:lnTo>
                  <a:lnTo>
                    <a:pt x="307" y="421"/>
                  </a:lnTo>
                  <a:lnTo>
                    <a:pt x="310" y="416"/>
                  </a:lnTo>
                  <a:lnTo>
                    <a:pt x="311" y="410"/>
                  </a:lnTo>
                  <a:lnTo>
                    <a:pt x="310" y="404"/>
                  </a:lnTo>
                  <a:lnTo>
                    <a:pt x="310" y="404"/>
                  </a:lnTo>
                  <a:lnTo>
                    <a:pt x="308" y="395"/>
                  </a:lnTo>
                  <a:lnTo>
                    <a:pt x="310" y="385"/>
                  </a:lnTo>
                  <a:lnTo>
                    <a:pt x="311" y="379"/>
                  </a:lnTo>
                  <a:lnTo>
                    <a:pt x="313" y="376"/>
                  </a:lnTo>
                  <a:lnTo>
                    <a:pt x="316" y="373"/>
                  </a:lnTo>
                  <a:lnTo>
                    <a:pt x="320" y="372"/>
                  </a:lnTo>
                  <a:lnTo>
                    <a:pt x="320" y="372"/>
                  </a:lnTo>
                  <a:lnTo>
                    <a:pt x="338" y="370"/>
                  </a:lnTo>
                  <a:lnTo>
                    <a:pt x="338" y="370"/>
                  </a:lnTo>
                  <a:lnTo>
                    <a:pt x="341" y="372"/>
                  </a:lnTo>
                  <a:lnTo>
                    <a:pt x="342" y="373"/>
                  </a:lnTo>
                  <a:lnTo>
                    <a:pt x="345" y="376"/>
                  </a:lnTo>
                  <a:lnTo>
                    <a:pt x="348" y="378"/>
                  </a:lnTo>
                  <a:lnTo>
                    <a:pt x="348" y="378"/>
                  </a:lnTo>
                  <a:lnTo>
                    <a:pt x="353" y="378"/>
                  </a:lnTo>
                  <a:lnTo>
                    <a:pt x="356" y="376"/>
                  </a:lnTo>
                  <a:lnTo>
                    <a:pt x="360" y="375"/>
                  </a:lnTo>
                  <a:lnTo>
                    <a:pt x="366" y="373"/>
                  </a:lnTo>
                  <a:lnTo>
                    <a:pt x="366" y="373"/>
                  </a:lnTo>
                  <a:lnTo>
                    <a:pt x="375" y="370"/>
                  </a:lnTo>
                  <a:lnTo>
                    <a:pt x="382" y="366"/>
                  </a:lnTo>
                  <a:lnTo>
                    <a:pt x="387" y="360"/>
                  </a:lnTo>
                  <a:lnTo>
                    <a:pt x="388" y="357"/>
                  </a:lnTo>
                  <a:lnTo>
                    <a:pt x="388" y="354"/>
                  </a:lnTo>
                  <a:lnTo>
                    <a:pt x="388" y="354"/>
                  </a:lnTo>
                  <a:lnTo>
                    <a:pt x="384" y="348"/>
                  </a:lnTo>
                  <a:lnTo>
                    <a:pt x="381" y="341"/>
                  </a:lnTo>
                  <a:lnTo>
                    <a:pt x="381" y="341"/>
                  </a:lnTo>
                  <a:lnTo>
                    <a:pt x="381" y="336"/>
                  </a:lnTo>
                  <a:lnTo>
                    <a:pt x="382" y="332"/>
                  </a:lnTo>
                  <a:lnTo>
                    <a:pt x="387" y="330"/>
                  </a:lnTo>
                  <a:lnTo>
                    <a:pt x="393" y="329"/>
                  </a:lnTo>
                  <a:lnTo>
                    <a:pt x="393" y="329"/>
                  </a:lnTo>
                  <a:lnTo>
                    <a:pt x="396" y="327"/>
                  </a:lnTo>
                  <a:lnTo>
                    <a:pt x="400" y="324"/>
                  </a:lnTo>
                  <a:lnTo>
                    <a:pt x="406" y="315"/>
                  </a:lnTo>
                  <a:lnTo>
                    <a:pt x="410" y="306"/>
                  </a:lnTo>
                  <a:lnTo>
                    <a:pt x="412" y="301"/>
                  </a:lnTo>
                  <a:lnTo>
                    <a:pt x="412" y="298"/>
                  </a:lnTo>
                  <a:lnTo>
                    <a:pt x="412" y="298"/>
                  </a:lnTo>
                  <a:lnTo>
                    <a:pt x="409" y="292"/>
                  </a:lnTo>
                  <a:lnTo>
                    <a:pt x="406" y="287"/>
                  </a:lnTo>
                  <a:lnTo>
                    <a:pt x="402" y="281"/>
                  </a:lnTo>
                  <a:lnTo>
                    <a:pt x="399" y="275"/>
                  </a:lnTo>
                  <a:lnTo>
                    <a:pt x="399" y="275"/>
                  </a:lnTo>
                  <a:lnTo>
                    <a:pt x="399" y="272"/>
                  </a:lnTo>
                  <a:lnTo>
                    <a:pt x="399" y="269"/>
                  </a:lnTo>
                  <a:lnTo>
                    <a:pt x="402" y="265"/>
                  </a:lnTo>
                  <a:lnTo>
                    <a:pt x="409" y="261"/>
                  </a:lnTo>
                  <a:lnTo>
                    <a:pt x="409" y="261"/>
                  </a:lnTo>
                  <a:lnTo>
                    <a:pt x="412" y="256"/>
                  </a:lnTo>
                  <a:lnTo>
                    <a:pt x="410" y="252"/>
                  </a:lnTo>
                  <a:lnTo>
                    <a:pt x="407" y="247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399" y="238"/>
                  </a:lnTo>
                  <a:lnTo>
                    <a:pt x="399" y="237"/>
                  </a:lnTo>
                  <a:lnTo>
                    <a:pt x="399" y="237"/>
                  </a:lnTo>
                  <a:lnTo>
                    <a:pt x="403" y="235"/>
                  </a:lnTo>
                  <a:lnTo>
                    <a:pt x="406" y="234"/>
                  </a:lnTo>
                  <a:lnTo>
                    <a:pt x="406" y="234"/>
                  </a:lnTo>
                  <a:lnTo>
                    <a:pt x="412" y="231"/>
                  </a:lnTo>
                  <a:lnTo>
                    <a:pt x="421" y="228"/>
                  </a:lnTo>
                  <a:lnTo>
                    <a:pt x="430" y="227"/>
                  </a:lnTo>
                  <a:lnTo>
                    <a:pt x="439" y="227"/>
                  </a:lnTo>
                  <a:lnTo>
                    <a:pt x="439" y="227"/>
                  </a:lnTo>
                  <a:lnTo>
                    <a:pt x="446" y="227"/>
                  </a:lnTo>
                  <a:lnTo>
                    <a:pt x="452" y="225"/>
                  </a:lnTo>
                  <a:lnTo>
                    <a:pt x="458" y="222"/>
                  </a:lnTo>
                  <a:lnTo>
                    <a:pt x="462" y="218"/>
                  </a:lnTo>
                  <a:lnTo>
                    <a:pt x="462" y="218"/>
                  </a:lnTo>
                  <a:lnTo>
                    <a:pt x="468" y="212"/>
                  </a:lnTo>
                  <a:lnTo>
                    <a:pt x="477" y="204"/>
                  </a:lnTo>
                  <a:lnTo>
                    <a:pt x="486" y="198"/>
                  </a:lnTo>
                  <a:lnTo>
                    <a:pt x="493" y="194"/>
                  </a:lnTo>
                  <a:lnTo>
                    <a:pt x="493" y="194"/>
                  </a:lnTo>
                  <a:lnTo>
                    <a:pt x="510" y="187"/>
                  </a:lnTo>
                  <a:lnTo>
                    <a:pt x="520" y="181"/>
                  </a:lnTo>
                  <a:lnTo>
                    <a:pt x="530" y="173"/>
                  </a:lnTo>
                  <a:lnTo>
                    <a:pt x="530" y="173"/>
                  </a:lnTo>
                  <a:lnTo>
                    <a:pt x="538" y="166"/>
                  </a:lnTo>
                  <a:lnTo>
                    <a:pt x="542" y="158"/>
                  </a:lnTo>
                  <a:lnTo>
                    <a:pt x="545" y="152"/>
                  </a:lnTo>
                  <a:lnTo>
                    <a:pt x="545" y="147"/>
                  </a:lnTo>
                  <a:lnTo>
                    <a:pt x="545" y="147"/>
                  </a:lnTo>
                  <a:lnTo>
                    <a:pt x="547" y="142"/>
                  </a:lnTo>
                  <a:lnTo>
                    <a:pt x="550" y="138"/>
                  </a:lnTo>
                  <a:lnTo>
                    <a:pt x="554" y="126"/>
                  </a:lnTo>
                  <a:lnTo>
                    <a:pt x="554" y="126"/>
                  </a:lnTo>
                  <a:lnTo>
                    <a:pt x="558" y="114"/>
                  </a:lnTo>
                  <a:lnTo>
                    <a:pt x="561" y="110"/>
                  </a:lnTo>
                  <a:lnTo>
                    <a:pt x="564" y="105"/>
                  </a:lnTo>
                  <a:lnTo>
                    <a:pt x="564" y="105"/>
                  </a:lnTo>
                  <a:lnTo>
                    <a:pt x="569" y="102"/>
                  </a:lnTo>
                  <a:lnTo>
                    <a:pt x="573" y="99"/>
                  </a:lnTo>
                  <a:lnTo>
                    <a:pt x="579" y="96"/>
                  </a:lnTo>
                  <a:lnTo>
                    <a:pt x="582" y="92"/>
                  </a:lnTo>
                  <a:lnTo>
                    <a:pt x="582" y="92"/>
                  </a:lnTo>
                  <a:lnTo>
                    <a:pt x="584" y="87"/>
                  </a:lnTo>
                  <a:lnTo>
                    <a:pt x="584" y="84"/>
                  </a:lnTo>
                  <a:lnTo>
                    <a:pt x="584" y="84"/>
                  </a:lnTo>
                  <a:lnTo>
                    <a:pt x="582" y="81"/>
                  </a:lnTo>
                  <a:lnTo>
                    <a:pt x="581" y="80"/>
                  </a:lnTo>
                  <a:lnTo>
                    <a:pt x="576" y="78"/>
                  </a:lnTo>
                  <a:lnTo>
                    <a:pt x="576" y="78"/>
                  </a:lnTo>
                  <a:lnTo>
                    <a:pt x="566" y="78"/>
                  </a:lnTo>
                  <a:lnTo>
                    <a:pt x="557" y="78"/>
                  </a:lnTo>
                  <a:lnTo>
                    <a:pt x="547" y="77"/>
                  </a:lnTo>
                  <a:lnTo>
                    <a:pt x="547" y="77"/>
                  </a:lnTo>
                  <a:lnTo>
                    <a:pt x="533" y="70"/>
                  </a:lnTo>
                  <a:lnTo>
                    <a:pt x="517" y="58"/>
                  </a:lnTo>
                  <a:lnTo>
                    <a:pt x="496" y="43"/>
                  </a:lnTo>
                  <a:lnTo>
                    <a:pt x="495" y="28"/>
                  </a:lnTo>
                  <a:lnTo>
                    <a:pt x="495" y="28"/>
                  </a:lnTo>
                  <a:lnTo>
                    <a:pt x="486" y="27"/>
                  </a:lnTo>
                  <a:lnTo>
                    <a:pt x="471" y="25"/>
                  </a:lnTo>
                  <a:lnTo>
                    <a:pt x="471" y="25"/>
                  </a:lnTo>
                  <a:lnTo>
                    <a:pt x="467" y="24"/>
                  </a:lnTo>
                  <a:lnTo>
                    <a:pt x="464" y="21"/>
                  </a:lnTo>
                  <a:lnTo>
                    <a:pt x="459" y="16"/>
                  </a:lnTo>
                  <a:lnTo>
                    <a:pt x="459" y="16"/>
                  </a:lnTo>
                  <a:lnTo>
                    <a:pt x="456" y="12"/>
                  </a:lnTo>
                  <a:lnTo>
                    <a:pt x="455" y="9"/>
                  </a:lnTo>
                  <a:lnTo>
                    <a:pt x="453" y="6"/>
                  </a:lnTo>
                  <a:lnTo>
                    <a:pt x="449" y="4"/>
                  </a:lnTo>
                  <a:lnTo>
                    <a:pt x="449" y="4"/>
                  </a:lnTo>
                  <a:lnTo>
                    <a:pt x="444" y="4"/>
                  </a:lnTo>
                  <a:lnTo>
                    <a:pt x="439" y="7"/>
                  </a:lnTo>
                  <a:lnTo>
                    <a:pt x="434" y="10"/>
                  </a:lnTo>
                  <a:lnTo>
                    <a:pt x="431" y="13"/>
                  </a:lnTo>
                  <a:lnTo>
                    <a:pt x="431" y="13"/>
                  </a:lnTo>
                  <a:lnTo>
                    <a:pt x="428" y="16"/>
                  </a:lnTo>
                  <a:lnTo>
                    <a:pt x="425" y="16"/>
                  </a:lnTo>
                  <a:lnTo>
                    <a:pt x="415" y="15"/>
                  </a:lnTo>
                  <a:lnTo>
                    <a:pt x="415" y="15"/>
                  </a:lnTo>
                  <a:lnTo>
                    <a:pt x="410" y="13"/>
                  </a:lnTo>
                  <a:lnTo>
                    <a:pt x="407" y="10"/>
                  </a:lnTo>
                  <a:lnTo>
                    <a:pt x="406" y="7"/>
                  </a:lnTo>
                  <a:lnTo>
                    <a:pt x="404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399" y="7"/>
                  </a:lnTo>
                  <a:lnTo>
                    <a:pt x="397" y="10"/>
                  </a:lnTo>
                  <a:lnTo>
                    <a:pt x="394" y="12"/>
                  </a:lnTo>
                  <a:lnTo>
                    <a:pt x="394" y="12"/>
                  </a:lnTo>
                  <a:lnTo>
                    <a:pt x="393" y="13"/>
                  </a:lnTo>
                  <a:lnTo>
                    <a:pt x="391" y="12"/>
                  </a:lnTo>
                  <a:lnTo>
                    <a:pt x="388" y="9"/>
                  </a:lnTo>
                  <a:lnTo>
                    <a:pt x="384" y="4"/>
                  </a:lnTo>
                  <a:lnTo>
                    <a:pt x="381" y="0"/>
                  </a:lnTo>
                  <a:lnTo>
                    <a:pt x="381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69" y="4"/>
                  </a:lnTo>
                  <a:lnTo>
                    <a:pt x="369" y="4"/>
                  </a:lnTo>
                  <a:lnTo>
                    <a:pt x="367" y="4"/>
                  </a:lnTo>
                  <a:lnTo>
                    <a:pt x="365" y="3"/>
                  </a:lnTo>
                  <a:lnTo>
                    <a:pt x="363" y="1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6" y="0"/>
                  </a:lnTo>
                  <a:lnTo>
                    <a:pt x="351" y="1"/>
                  </a:lnTo>
                  <a:lnTo>
                    <a:pt x="347" y="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4" name="Freeform 53">
              <a:extLst>
                <a:ext uri="{FF2B5EF4-FFF2-40B4-BE49-F238E27FC236}">
                  <a16:creationId xmlns:a16="http://schemas.microsoft.com/office/drawing/2014/main" id="{9256ABB7-AA0F-0745-9AC8-6B8B143F6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25" y="5226050"/>
              <a:ext cx="425450" cy="509587"/>
            </a:xfrm>
            <a:custGeom>
              <a:avLst/>
              <a:gdLst>
                <a:gd name="T0" fmla="*/ 16 w 268"/>
                <a:gd name="T1" fmla="*/ 163 h 321"/>
                <a:gd name="T2" fmla="*/ 16 w 268"/>
                <a:gd name="T3" fmla="*/ 180 h 321"/>
                <a:gd name="T4" fmla="*/ 40 w 268"/>
                <a:gd name="T5" fmla="*/ 201 h 321"/>
                <a:gd name="T6" fmla="*/ 59 w 268"/>
                <a:gd name="T7" fmla="*/ 229 h 321"/>
                <a:gd name="T8" fmla="*/ 67 w 268"/>
                <a:gd name="T9" fmla="*/ 229 h 321"/>
                <a:gd name="T10" fmla="*/ 84 w 268"/>
                <a:gd name="T11" fmla="*/ 228 h 321"/>
                <a:gd name="T12" fmla="*/ 89 w 268"/>
                <a:gd name="T13" fmla="*/ 240 h 321"/>
                <a:gd name="T14" fmla="*/ 89 w 268"/>
                <a:gd name="T15" fmla="*/ 254 h 321"/>
                <a:gd name="T16" fmla="*/ 102 w 268"/>
                <a:gd name="T17" fmla="*/ 263 h 321"/>
                <a:gd name="T18" fmla="*/ 132 w 268"/>
                <a:gd name="T19" fmla="*/ 278 h 321"/>
                <a:gd name="T20" fmla="*/ 123 w 268"/>
                <a:gd name="T21" fmla="*/ 284 h 321"/>
                <a:gd name="T22" fmla="*/ 139 w 268"/>
                <a:gd name="T23" fmla="*/ 299 h 321"/>
                <a:gd name="T24" fmla="*/ 157 w 268"/>
                <a:gd name="T25" fmla="*/ 297 h 321"/>
                <a:gd name="T26" fmla="*/ 170 w 268"/>
                <a:gd name="T27" fmla="*/ 296 h 321"/>
                <a:gd name="T28" fmla="*/ 194 w 268"/>
                <a:gd name="T29" fmla="*/ 318 h 321"/>
                <a:gd name="T30" fmla="*/ 201 w 268"/>
                <a:gd name="T31" fmla="*/ 321 h 321"/>
                <a:gd name="T32" fmla="*/ 216 w 268"/>
                <a:gd name="T33" fmla="*/ 315 h 321"/>
                <a:gd name="T34" fmla="*/ 221 w 268"/>
                <a:gd name="T35" fmla="*/ 306 h 321"/>
                <a:gd name="T36" fmla="*/ 238 w 268"/>
                <a:gd name="T37" fmla="*/ 299 h 321"/>
                <a:gd name="T38" fmla="*/ 250 w 268"/>
                <a:gd name="T39" fmla="*/ 283 h 321"/>
                <a:gd name="T40" fmla="*/ 253 w 268"/>
                <a:gd name="T41" fmla="*/ 274 h 321"/>
                <a:gd name="T42" fmla="*/ 247 w 268"/>
                <a:gd name="T43" fmla="*/ 257 h 321"/>
                <a:gd name="T44" fmla="*/ 249 w 268"/>
                <a:gd name="T45" fmla="*/ 226 h 321"/>
                <a:gd name="T46" fmla="*/ 256 w 268"/>
                <a:gd name="T47" fmla="*/ 207 h 321"/>
                <a:gd name="T48" fmla="*/ 261 w 268"/>
                <a:gd name="T49" fmla="*/ 192 h 321"/>
                <a:gd name="T50" fmla="*/ 268 w 268"/>
                <a:gd name="T51" fmla="*/ 185 h 321"/>
                <a:gd name="T52" fmla="*/ 261 w 268"/>
                <a:gd name="T53" fmla="*/ 174 h 321"/>
                <a:gd name="T54" fmla="*/ 234 w 268"/>
                <a:gd name="T55" fmla="*/ 154 h 321"/>
                <a:gd name="T56" fmla="*/ 216 w 268"/>
                <a:gd name="T57" fmla="*/ 136 h 321"/>
                <a:gd name="T58" fmla="*/ 200 w 268"/>
                <a:gd name="T59" fmla="*/ 121 h 321"/>
                <a:gd name="T60" fmla="*/ 185 w 268"/>
                <a:gd name="T61" fmla="*/ 124 h 321"/>
                <a:gd name="T62" fmla="*/ 173 w 268"/>
                <a:gd name="T63" fmla="*/ 129 h 321"/>
                <a:gd name="T64" fmla="*/ 166 w 268"/>
                <a:gd name="T65" fmla="*/ 111 h 321"/>
                <a:gd name="T66" fmla="*/ 158 w 268"/>
                <a:gd name="T67" fmla="*/ 102 h 321"/>
                <a:gd name="T68" fmla="*/ 160 w 268"/>
                <a:gd name="T69" fmla="*/ 90 h 321"/>
                <a:gd name="T70" fmla="*/ 158 w 268"/>
                <a:gd name="T71" fmla="*/ 68 h 321"/>
                <a:gd name="T72" fmla="*/ 144 w 268"/>
                <a:gd name="T73" fmla="*/ 46 h 321"/>
                <a:gd name="T74" fmla="*/ 135 w 268"/>
                <a:gd name="T75" fmla="*/ 49 h 321"/>
                <a:gd name="T76" fmla="*/ 113 w 268"/>
                <a:gd name="T77" fmla="*/ 38 h 321"/>
                <a:gd name="T78" fmla="*/ 96 w 268"/>
                <a:gd name="T79" fmla="*/ 20 h 321"/>
                <a:gd name="T80" fmla="*/ 92 w 268"/>
                <a:gd name="T81" fmla="*/ 13 h 321"/>
                <a:gd name="T82" fmla="*/ 96 w 268"/>
                <a:gd name="T83" fmla="*/ 9 h 321"/>
                <a:gd name="T84" fmla="*/ 77 w 268"/>
                <a:gd name="T85" fmla="*/ 9 h 321"/>
                <a:gd name="T86" fmla="*/ 62 w 268"/>
                <a:gd name="T87" fmla="*/ 20 h 321"/>
                <a:gd name="T88" fmla="*/ 56 w 268"/>
                <a:gd name="T89" fmla="*/ 29 h 321"/>
                <a:gd name="T90" fmla="*/ 43 w 268"/>
                <a:gd name="T91" fmla="*/ 38 h 321"/>
                <a:gd name="T92" fmla="*/ 43 w 268"/>
                <a:gd name="T93" fmla="*/ 44 h 321"/>
                <a:gd name="T94" fmla="*/ 55 w 268"/>
                <a:gd name="T95" fmla="*/ 69 h 321"/>
                <a:gd name="T96" fmla="*/ 53 w 268"/>
                <a:gd name="T97" fmla="*/ 86 h 321"/>
                <a:gd name="T98" fmla="*/ 38 w 268"/>
                <a:gd name="T99" fmla="*/ 123 h 321"/>
                <a:gd name="T100" fmla="*/ 24 w 268"/>
                <a:gd name="T101" fmla="*/ 142 h 321"/>
                <a:gd name="T102" fmla="*/ 16 w 268"/>
                <a:gd name="T103" fmla="*/ 142 h 321"/>
                <a:gd name="T104" fmla="*/ 0 w 268"/>
                <a:gd name="T105" fmla="*/ 149 h 321"/>
                <a:gd name="T106" fmla="*/ 3 w 268"/>
                <a:gd name="T107" fmla="*/ 15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8" h="321">
                  <a:moveTo>
                    <a:pt x="12" y="160"/>
                  </a:moveTo>
                  <a:lnTo>
                    <a:pt x="12" y="160"/>
                  </a:lnTo>
                  <a:lnTo>
                    <a:pt x="15" y="161"/>
                  </a:lnTo>
                  <a:lnTo>
                    <a:pt x="16" y="163"/>
                  </a:lnTo>
                  <a:lnTo>
                    <a:pt x="18" y="167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6" y="180"/>
                  </a:lnTo>
                  <a:lnTo>
                    <a:pt x="19" y="183"/>
                  </a:lnTo>
                  <a:lnTo>
                    <a:pt x="30" y="189"/>
                  </a:lnTo>
                  <a:lnTo>
                    <a:pt x="30" y="189"/>
                  </a:lnTo>
                  <a:lnTo>
                    <a:pt x="40" y="201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6" y="222"/>
                  </a:lnTo>
                  <a:lnTo>
                    <a:pt x="59" y="229"/>
                  </a:lnTo>
                  <a:lnTo>
                    <a:pt x="59" y="229"/>
                  </a:lnTo>
                  <a:lnTo>
                    <a:pt x="61" y="231"/>
                  </a:lnTo>
                  <a:lnTo>
                    <a:pt x="62" y="231"/>
                  </a:lnTo>
                  <a:lnTo>
                    <a:pt x="67" y="229"/>
                  </a:lnTo>
                  <a:lnTo>
                    <a:pt x="73" y="228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4" y="228"/>
                  </a:lnTo>
                  <a:lnTo>
                    <a:pt x="86" y="228"/>
                  </a:lnTo>
                  <a:lnTo>
                    <a:pt x="87" y="231"/>
                  </a:lnTo>
                  <a:lnTo>
                    <a:pt x="89" y="232"/>
                  </a:lnTo>
                  <a:lnTo>
                    <a:pt x="89" y="240"/>
                  </a:lnTo>
                  <a:lnTo>
                    <a:pt x="87" y="246"/>
                  </a:lnTo>
                  <a:lnTo>
                    <a:pt x="87" y="246"/>
                  </a:lnTo>
                  <a:lnTo>
                    <a:pt x="87" y="252"/>
                  </a:lnTo>
                  <a:lnTo>
                    <a:pt x="89" y="254"/>
                  </a:lnTo>
                  <a:lnTo>
                    <a:pt x="92" y="256"/>
                  </a:lnTo>
                  <a:lnTo>
                    <a:pt x="96" y="259"/>
                  </a:lnTo>
                  <a:lnTo>
                    <a:pt x="96" y="259"/>
                  </a:lnTo>
                  <a:lnTo>
                    <a:pt x="102" y="263"/>
                  </a:lnTo>
                  <a:lnTo>
                    <a:pt x="108" y="266"/>
                  </a:lnTo>
                  <a:lnTo>
                    <a:pt x="127" y="274"/>
                  </a:lnTo>
                  <a:lnTo>
                    <a:pt x="127" y="274"/>
                  </a:lnTo>
                  <a:lnTo>
                    <a:pt x="132" y="278"/>
                  </a:lnTo>
                  <a:lnTo>
                    <a:pt x="133" y="280"/>
                  </a:lnTo>
                  <a:lnTo>
                    <a:pt x="132" y="281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6"/>
                  </a:lnTo>
                  <a:lnTo>
                    <a:pt x="123" y="289"/>
                  </a:lnTo>
                  <a:lnTo>
                    <a:pt x="130" y="293"/>
                  </a:lnTo>
                  <a:lnTo>
                    <a:pt x="139" y="299"/>
                  </a:lnTo>
                  <a:lnTo>
                    <a:pt x="147" y="300"/>
                  </a:lnTo>
                  <a:lnTo>
                    <a:pt x="147" y="300"/>
                  </a:lnTo>
                  <a:lnTo>
                    <a:pt x="152" y="300"/>
                  </a:lnTo>
                  <a:lnTo>
                    <a:pt x="157" y="297"/>
                  </a:lnTo>
                  <a:lnTo>
                    <a:pt x="161" y="296"/>
                  </a:lnTo>
                  <a:lnTo>
                    <a:pt x="167" y="294"/>
                  </a:lnTo>
                  <a:lnTo>
                    <a:pt x="167" y="294"/>
                  </a:lnTo>
                  <a:lnTo>
                    <a:pt x="170" y="296"/>
                  </a:lnTo>
                  <a:lnTo>
                    <a:pt x="173" y="297"/>
                  </a:lnTo>
                  <a:lnTo>
                    <a:pt x="179" y="302"/>
                  </a:lnTo>
                  <a:lnTo>
                    <a:pt x="187" y="309"/>
                  </a:lnTo>
                  <a:lnTo>
                    <a:pt x="194" y="318"/>
                  </a:lnTo>
                  <a:lnTo>
                    <a:pt x="194" y="318"/>
                  </a:lnTo>
                  <a:lnTo>
                    <a:pt x="197" y="320"/>
                  </a:lnTo>
                  <a:lnTo>
                    <a:pt x="197" y="320"/>
                  </a:lnTo>
                  <a:lnTo>
                    <a:pt x="201" y="321"/>
                  </a:lnTo>
                  <a:lnTo>
                    <a:pt x="206" y="321"/>
                  </a:lnTo>
                  <a:lnTo>
                    <a:pt x="209" y="321"/>
                  </a:lnTo>
                  <a:lnTo>
                    <a:pt x="212" y="320"/>
                  </a:lnTo>
                  <a:lnTo>
                    <a:pt x="216" y="315"/>
                  </a:lnTo>
                  <a:lnTo>
                    <a:pt x="218" y="309"/>
                  </a:lnTo>
                  <a:lnTo>
                    <a:pt x="218" y="309"/>
                  </a:lnTo>
                  <a:lnTo>
                    <a:pt x="219" y="308"/>
                  </a:lnTo>
                  <a:lnTo>
                    <a:pt x="221" y="306"/>
                  </a:lnTo>
                  <a:lnTo>
                    <a:pt x="227" y="303"/>
                  </a:lnTo>
                  <a:lnTo>
                    <a:pt x="232" y="302"/>
                  </a:lnTo>
                  <a:lnTo>
                    <a:pt x="238" y="299"/>
                  </a:lnTo>
                  <a:lnTo>
                    <a:pt x="238" y="299"/>
                  </a:lnTo>
                  <a:lnTo>
                    <a:pt x="241" y="294"/>
                  </a:lnTo>
                  <a:lnTo>
                    <a:pt x="244" y="290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0" y="283"/>
                  </a:lnTo>
                  <a:lnTo>
                    <a:pt x="252" y="281"/>
                  </a:lnTo>
                  <a:lnTo>
                    <a:pt x="252" y="280"/>
                  </a:lnTo>
                  <a:lnTo>
                    <a:pt x="253" y="274"/>
                  </a:lnTo>
                  <a:lnTo>
                    <a:pt x="252" y="268"/>
                  </a:lnTo>
                  <a:lnTo>
                    <a:pt x="249" y="263"/>
                  </a:lnTo>
                  <a:lnTo>
                    <a:pt x="249" y="263"/>
                  </a:lnTo>
                  <a:lnTo>
                    <a:pt x="247" y="257"/>
                  </a:lnTo>
                  <a:lnTo>
                    <a:pt x="246" y="250"/>
                  </a:lnTo>
                  <a:lnTo>
                    <a:pt x="246" y="235"/>
                  </a:lnTo>
                  <a:lnTo>
                    <a:pt x="246" y="235"/>
                  </a:lnTo>
                  <a:lnTo>
                    <a:pt x="249" y="226"/>
                  </a:lnTo>
                  <a:lnTo>
                    <a:pt x="253" y="216"/>
                  </a:lnTo>
                  <a:lnTo>
                    <a:pt x="253" y="216"/>
                  </a:lnTo>
                  <a:lnTo>
                    <a:pt x="256" y="212"/>
                  </a:lnTo>
                  <a:lnTo>
                    <a:pt x="256" y="207"/>
                  </a:lnTo>
                  <a:lnTo>
                    <a:pt x="255" y="201"/>
                  </a:lnTo>
                  <a:lnTo>
                    <a:pt x="255" y="201"/>
                  </a:lnTo>
                  <a:lnTo>
                    <a:pt x="256" y="197"/>
                  </a:lnTo>
                  <a:lnTo>
                    <a:pt x="261" y="192"/>
                  </a:lnTo>
                  <a:lnTo>
                    <a:pt x="265" y="188"/>
                  </a:lnTo>
                  <a:lnTo>
                    <a:pt x="267" y="186"/>
                  </a:lnTo>
                  <a:lnTo>
                    <a:pt x="268" y="185"/>
                  </a:lnTo>
                  <a:lnTo>
                    <a:pt x="268" y="185"/>
                  </a:lnTo>
                  <a:lnTo>
                    <a:pt x="267" y="182"/>
                  </a:lnTo>
                  <a:lnTo>
                    <a:pt x="265" y="179"/>
                  </a:lnTo>
                  <a:lnTo>
                    <a:pt x="261" y="174"/>
                  </a:lnTo>
                  <a:lnTo>
                    <a:pt x="261" y="174"/>
                  </a:lnTo>
                  <a:lnTo>
                    <a:pt x="250" y="167"/>
                  </a:lnTo>
                  <a:lnTo>
                    <a:pt x="250" y="167"/>
                  </a:lnTo>
                  <a:lnTo>
                    <a:pt x="240" y="158"/>
                  </a:lnTo>
                  <a:lnTo>
                    <a:pt x="234" y="154"/>
                  </a:lnTo>
                  <a:lnTo>
                    <a:pt x="228" y="148"/>
                  </a:lnTo>
                  <a:lnTo>
                    <a:pt x="228" y="148"/>
                  </a:lnTo>
                  <a:lnTo>
                    <a:pt x="222" y="142"/>
                  </a:lnTo>
                  <a:lnTo>
                    <a:pt x="216" y="136"/>
                  </a:lnTo>
                  <a:lnTo>
                    <a:pt x="212" y="132"/>
                  </a:lnTo>
                  <a:lnTo>
                    <a:pt x="206" y="126"/>
                  </a:lnTo>
                  <a:lnTo>
                    <a:pt x="206" y="126"/>
                  </a:lnTo>
                  <a:lnTo>
                    <a:pt x="200" y="121"/>
                  </a:lnTo>
                  <a:lnTo>
                    <a:pt x="195" y="120"/>
                  </a:lnTo>
                  <a:lnTo>
                    <a:pt x="191" y="121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1" y="132"/>
                  </a:lnTo>
                  <a:lnTo>
                    <a:pt x="178" y="132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2" y="126"/>
                  </a:lnTo>
                  <a:lnTo>
                    <a:pt x="170" y="123"/>
                  </a:lnTo>
                  <a:lnTo>
                    <a:pt x="167" y="117"/>
                  </a:lnTo>
                  <a:lnTo>
                    <a:pt x="166" y="111"/>
                  </a:lnTo>
                  <a:lnTo>
                    <a:pt x="164" y="108"/>
                  </a:lnTo>
                  <a:lnTo>
                    <a:pt x="161" y="105"/>
                  </a:lnTo>
                  <a:lnTo>
                    <a:pt x="161" y="105"/>
                  </a:lnTo>
                  <a:lnTo>
                    <a:pt x="158" y="102"/>
                  </a:lnTo>
                  <a:lnTo>
                    <a:pt x="157" y="99"/>
                  </a:lnTo>
                  <a:lnTo>
                    <a:pt x="157" y="97"/>
                  </a:lnTo>
                  <a:lnTo>
                    <a:pt x="157" y="96"/>
                  </a:lnTo>
                  <a:lnTo>
                    <a:pt x="160" y="90"/>
                  </a:lnTo>
                  <a:lnTo>
                    <a:pt x="163" y="83"/>
                  </a:lnTo>
                  <a:lnTo>
                    <a:pt x="163" y="83"/>
                  </a:lnTo>
                  <a:lnTo>
                    <a:pt x="161" y="75"/>
                  </a:lnTo>
                  <a:lnTo>
                    <a:pt x="158" y="68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5" y="47"/>
                  </a:lnTo>
                  <a:lnTo>
                    <a:pt x="144" y="46"/>
                  </a:lnTo>
                  <a:lnTo>
                    <a:pt x="142" y="46"/>
                  </a:lnTo>
                  <a:lnTo>
                    <a:pt x="139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27" y="47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05" y="34"/>
                  </a:lnTo>
                  <a:lnTo>
                    <a:pt x="104" y="29"/>
                  </a:lnTo>
                  <a:lnTo>
                    <a:pt x="101" y="2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3" y="18"/>
                  </a:lnTo>
                  <a:lnTo>
                    <a:pt x="92" y="16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5" y="10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89" y="4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7" y="9"/>
                  </a:lnTo>
                  <a:lnTo>
                    <a:pt x="73" y="15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2" y="20"/>
                  </a:lnTo>
                  <a:lnTo>
                    <a:pt x="59" y="22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2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3" y="44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3" y="60"/>
                  </a:lnTo>
                  <a:lnTo>
                    <a:pt x="55" y="69"/>
                  </a:lnTo>
                  <a:lnTo>
                    <a:pt x="56" y="78"/>
                  </a:lnTo>
                  <a:lnTo>
                    <a:pt x="55" y="83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49" y="93"/>
                  </a:lnTo>
                  <a:lnTo>
                    <a:pt x="46" y="10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6" y="130"/>
                  </a:lnTo>
                  <a:lnTo>
                    <a:pt x="31" y="136"/>
                  </a:lnTo>
                  <a:lnTo>
                    <a:pt x="27" y="140"/>
                  </a:lnTo>
                  <a:lnTo>
                    <a:pt x="24" y="142"/>
                  </a:lnTo>
                  <a:lnTo>
                    <a:pt x="21" y="142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6" y="142"/>
                  </a:lnTo>
                  <a:lnTo>
                    <a:pt x="12" y="145"/>
                  </a:lnTo>
                  <a:lnTo>
                    <a:pt x="7" y="148"/>
                  </a:lnTo>
                  <a:lnTo>
                    <a:pt x="4" y="149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1" y="157"/>
                  </a:lnTo>
                  <a:lnTo>
                    <a:pt x="1" y="157"/>
                  </a:lnTo>
                  <a:lnTo>
                    <a:pt x="3" y="158"/>
                  </a:lnTo>
                  <a:lnTo>
                    <a:pt x="4" y="160"/>
                  </a:lnTo>
                  <a:lnTo>
                    <a:pt x="12" y="160"/>
                  </a:lnTo>
                  <a:lnTo>
                    <a:pt x="12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5" name="Freeform 54">
              <a:extLst>
                <a:ext uri="{FF2B5EF4-FFF2-40B4-BE49-F238E27FC236}">
                  <a16:creationId xmlns:a16="http://schemas.microsoft.com/office/drawing/2014/main" id="{6221EBFE-3957-C54A-A24B-E6DE9EA42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4699000"/>
              <a:ext cx="288925" cy="355600"/>
            </a:xfrm>
            <a:custGeom>
              <a:avLst/>
              <a:gdLst>
                <a:gd name="T0" fmla="*/ 75 w 182"/>
                <a:gd name="T1" fmla="*/ 222 h 224"/>
                <a:gd name="T2" fmla="*/ 86 w 182"/>
                <a:gd name="T3" fmla="*/ 219 h 224"/>
                <a:gd name="T4" fmla="*/ 100 w 182"/>
                <a:gd name="T5" fmla="*/ 213 h 224"/>
                <a:gd name="T6" fmla="*/ 108 w 182"/>
                <a:gd name="T7" fmla="*/ 219 h 224"/>
                <a:gd name="T8" fmla="*/ 114 w 182"/>
                <a:gd name="T9" fmla="*/ 216 h 224"/>
                <a:gd name="T10" fmla="*/ 121 w 182"/>
                <a:gd name="T11" fmla="*/ 201 h 224"/>
                <a:gd name="T12" fmla="*/ 126 w 182"/>
                <a:gd name="T13" fmla="*/ 187 h 224"/>
                <a:gd name="T14" fmla="*/ 129 w 182"/>
                <a:gd name="T15" fmla="*/ 184 h 224"/>
                <a:gd name="T16" fmla="*/ 138 w 182"/>
                <a:gd name="T17" fmla="*/ 182 h 224"/>
                <a:gd name="T18" fmla="*/ 169 w 182"/>
                <a:gd name="T19" fmla="*/ 160 h 224"/>
                <a:gd name="T20" fmla="*/ 170 w 182"/>
                <a:gd name="T21" fmla="*/ 151 h 224"/>
                <a:gd name="T22" fmla="*/ 169 w 182"/>
                <a:gd name="T23" fmla="*/ 144 h 224"/>
                <a:gd name="T24" fmla="*/ 170 w 182"/>
                <a:gd name="T25" fmla="*/ 135 h 224"/>
                <a:gd name="T26" fmla="*/ 179 w 182"/>
                <a:gd name="T27" fmla="*/ 133 h 224"/>
                <a:gd name="T28" fmla="*/ 180 w 182"/>
                <a:gd name="T29" fmla="*/ 127 h 224"/>
                <a:gd name="T30" fmla="*/ 173 w 182"/>
                <a:gd name="T31" fmla="*/ 120 h 224"/>
                <a:gd name="T32" fmla="*/ 152 w 182"/>
                <a:gd name="T33" fmla="*/ 99 h 224"/>
                <a:gd name="T34" fmla="*/ 152 w 182"/>
                <a:gd name="T35" fmla="*/ 93 h 224"/>
                <a:gd name="T36" fmla="*/ 152 w 182"/>
                <a:gd name="T37" fmla="*/ 74 h 224"/>
                <a:gd name="T38" fmla="*/ 146 w 182"/>
                <a:gd name="T39" fmla="*/ 67 h 224"/>
                <a:gd name="T40" fmla="*/ 149 w 182"/>
                <a:gd name="T41" fmla="*/ 55 h 224"/>
                <a:gd name="T42" fmla="*/ 154 w 182"/>
                <a:gd name="T43" fmla="*/ 28 h 224"/>
                <a:gd name="T44" fmla="*/ 155 w 182"/>
                <a:gd name="T45" fmla="*/ 24 h 224"/>
                <a:gd name="T46" fmla="*/ 143 w 182"/>
                <a:gd name="T47" fmla="*/ 15 h 224"/>
                <a:gd name="T48" fmla="*/ 130 w 182"/>
                <a:gd name="T49" fmla="*/ 7 h 224"/>
                <a:gd name="T50" fmla="*/ 115 w 182"/>
                <a:gd name="T51" fmla="*/ 12 h 224"/>
                <a:gd name="T52" fmla="*/ 98 w 182"/>
                <a:gd name="T53" fmla="*/ 6 h 224"/>
                <a:gd name="T54" fmla="*/ 80 w 182"/>
                <a:gd name="T55" fmla="*/ 6 h 224"/>
                <a:gd name="T56" fmla="*/ 75 w 182"/>
                <a:gd name="T57" fmla="*/ 12 h 224"/>
                <a:gd name="T58" fmla="*/ 72 w 182"/>
                <a:gd name="T59" fmla="*/ 27 h 224"/>
                <a:gd name="T60" fmla="*/ 62 w 182"/>
                <a:gd name="T61" fmla="*/ 16 h 224"/>
                <a:gd name="T62" fmla="*/ 52 w 182"/>
                <a:gd name="T63" fmla="*/ 13 h 224"/>
                <a:gd name="T64" fmla="*/ 47 w 182"/>
                <a:gd name="T65" fmla="*/ 16 h 224"/>
                <a:gd name="T66" fmla="*/ 40 w 182"/>
                <a:gd name="T67" fmla="*/ 28 h 224"/>
                <a:gd name="T68" fmla="*/ 18 w 182"/>
                <a:gd name="T69" fmla="*/ 31 h 224"/>
                <a:gd name="T70" fmla="*/ 6 w 182"/>
                <a:gd name="T71" fmla="*/ 34 h 224"/>
                <a:gd name="T72" fmla="*/ 1 w 182"/>
                <a:gd name="T73" fmla="*/ 47 h 224"/>
                <a:gd name="T74" fmla="*/ 9 w 182"/>
                <a:gd name="T75" fmla="*/ 56 h 224"/>
                <a:gd name="T76" fmla="*/ 23 w 182"/>
                <a:gd name="T77" fmla="*/ 64 h 224"/>
                <a:gd name="T78" fmla="*/ 26 w 182"/>
                <a:gd name="T79" fmla="*/ 73 h 224"/>
                <a:gd name="T80" fmla="*/ 22 w 182"/>
                <a:gd name="T81" fmla="*/ 87 h 224"/>
                <a:gd name="T82" fmla="*/ 25 w 182"/>
                <a:gd name="T83" fmla="*/ 96 h 224"/>
                <a:gd name="T84" fmla="*/ 32 w 182"/>
                <a:gd name="T85" fmla="*/ 107 h 224"/>
                <a:gd name="T86" fmla="*/ 43 w 182"/>
                <a:gd name="T87" fmla="*/ 121 h 224"/>
                <a:gd name="T88" fmla="*/ 50 w 182"/>
                <a:gd name="T89" fmla="*/ 124 h 224"/>
                <a:gd name="T90" fmla="*/ 55 w 182"/>
                <a:gd name="T91" fmla="*/ 136 h 224"/>
                <a:gd name="T92" fmla="*/ 55 w 182"/>
                <a:gd name="T93" fmla="*/ 169 h 224"/>
                <a:gd name="T94" fmla="*/ 58 w 182"/>
                <a:gd name="T95" fmla="*/ 184 h 224"/>
                <a:gd name="T96" fmla="*/ 59 w 182"/>
                <a:gd name="T97" fmla="*/ 195 h 224"/>
                <a:gd name="T98" fmla="*/ 65 w 182"/>
                <a:gd name="T99" fmla="*/ 203 h 224"/>
                <a:gd name="T100" fmla="*/ 72 w 182"/>
                <a:gd name="T101" fmla="*/ 21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" h="224">
                  <a:moveTo>
                    <a:pt x="72" y="219"/>
                  </a:moveTo>
                  <a:lnTo>
                    <a:pt x="72" y="219"/>
                  </a:lnTo>
                  <a:lnTo>
                    <a:pt x="75" y="222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86" y="219"/>
                  </a:lnTo>
                  <a:lnTo>
                    <a:pt x="93" y="215"/>
                  </a:lnTo>
                  <a:lnTo>
                    <a:pt x="100" y="213"/>
                  </a:lnTo>
                  <a:lnTo>
                    <a:pt x="100" y="213"/>
                  </a:lnTo>
                  <a:lnTo>
                    <a:pt x="103" y="215"/>
                  </a:lnTo>
                  <a:lnTo>
                    <a:pt x="106" y="216"/>
                  </a:lnTo>
                  <a:lnTo>
                    <a:pt x="108" y="219"/>
                  </a:lnTo>
                  <a:lnTo>
                    <a:pt x="111" y="219"/>
                  </a:lnTo>
                  <a:lnTo>
                    <a:pt x="111" y="219"/>
                  </a:lnTo>
                  <a:lnTo>
                    <a:pt x="114" y="216"/>
                  </a:lnTo>
                  <a:lnTo>
                    <a:pt x="117" y="212"/>
                  </a:lnTo>
                  <a:lnTo>
                    <a:pt x="121" y="201"/>
                  </a:lnTo>
                  <a:lnTo>
                    <a:pt x="121" y="201"/>
                  </a:lnTo>
                  <a:lnTo>
                    <a:pt x="124" y="197"/>
                  </a:lnTo>
                  <a:lnTo>
                    <a:pt x="124" y="193"/>
                  </a:lnTo>
                  <a:lnTo>
                    <a:pt x="126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9" y="184"/>
                  </a:lnTo>
                  <a:lnTo>
                    <a:pt x="130" y="185"/>
                  </a:lnTo>
                  <a:lnTo>
                    <a:pt x="133" y="185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55" y="17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70" y="157"/>
                  </a:lnTo>
                  <a:lnTo>
                    <a:pt x="170" y="151"/>
                  </a:lnTo>
                  <a:lnTo>
                    <a:pt x="170" y="147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6" y="138"/>
                  </a:lnTo>
                  <a:lnTo>
                    <a:pt x="166" y="135"/>
                  </a:lnTo>
                  <a:lnTo>
                    <a:pt x="170" y="135"/>
                  </a:lnTo>
                  <a:lnTo>
                    <a:pt x="170" y="135"/>
                  </a:lnTo>
                  <a:lnTo>
                    <a:pt x="176" y="133"/>
                  </a:lnTo>
                  <a:lnTo>
                    <a:pt x="179" y="133"/>
                  </a:lnTo>
                  <a:lnTo>
                    <a:pt x="180" y="132"/>
                  </a:lnTo>
                  <a:lnTo>
                    <a:pt x="182" y="129"/>
                  </a:lnTo>
                  <a:lnTo>
                    <a:pt x="180" y="127"/>
                  </a:lnTo>
                  <a:lnTo>
                    <a:pt x="179" y="123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64" y="111"/>
                  </a:lnTo>
                  <a:lnTo>
                    <a:pt x="157" y="105"/>
                  </a:lnTo>
                  <a:lnTo>
                    <a:pt x="152" y="99"/>
                  </a:lnTo>
                  <a:lnTo>
                    <a:pt x="152" y="96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4" y="81"/>
                  </a:lnTo>
                  <a:lnTo>
                    <a:pt x="154" y="77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48" y="70"/>
                  </a:lnTo>
                  <a:lnTo>
                    <a:pt x="146" y="67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49" y="55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4" y="28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55" y="24"/>
                  </a:lnTo>
                  <a:lnTo>
                    <a:pt x="151" y="21"/>
                  </a:lnTo>
                  <a:lnTo>
                    <a:pt x="151" y="21"/>
                  </a:lnTo>
                  <a:lnTo>
                    <a:pt x="143" y="15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0" y="7"/>
                  </a:lnTo>
                  <a:lnTo>
                    <a:pt x="126" y="9"/>
                  </a:lnTo>
                  <a:lnTo>
                    <a:pt x="121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6" y="9"/>
                  </a:lnTo>
                  <a:lnTo>
                    <a:pt x="98" y="6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0" y="6"/>
                  </a:lnTo>
                  <a:lnTo>
                    <a:pt x="77" y="9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72" y="27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62" y="16"/>
                  </a:lnTo>
                  <a:lnTo>
                    <a:pt x="56" y="13"/>
                  </a:lnTo>
                  <a:lnTo>
                    <a:pt x="53" y="12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5"/>
                  </a:lnTo>
                  <a:lnTo>
                    <a:pt x="47" y="16"/>
                  </a:lnTo>
                  <a:lnTo>
                    <a:pt x="46" y="22"/>
                  </a:lnTo>
                  <a:lnTo>
                    <a:pt x="43" y="27"/>
                  </a:lnTo>
                  <a:lnTo>
                    <a:pt x="40" y="28"/>
                  </a:lnTo>
                  <a:lnTo>
                    <a:pt x="35" y="30"/>
                  </a:lnTo>
                  <a:lnTo>
                    <a:pt x="35" y="30"/>
                  </a:lnTo>
                  <a:lnTo>
                    <a:pt x="18" y="31"/>
                  </a:lnTo>
                  <a:lnTo>
                    <a:pt x="12" y="31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47"/>
                  </a:lnTo>
                  <a:lnTo>
                    <a:pt x="4" y="52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5" y="59"/>
                  </a:lnTo>
                  <a:lnTo>
                    <a:pt x="19" y="61"/>
                  </a:lnTo>
                  <a:lnTo>
                    <a:pt x="23" y="64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6" y="73"/>
                  </a:lnTo>
                  <a:lnTo>
                    <a:pt x="25" y="7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90"/>
                  </a:lnTo>
                  <a:lnTo>
                    <a:pt x="22" y="93"/>
                  </a:lnTo>
                  <a:lnTo>
                    <a:pt x="25" y="96"/>
                  </a:lnTo>
                  <a:lnTo>
                    <a:pt x="29" y="101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7" y="118"/>
                  </a:lnTo>
                  <a:lnTo>
                    <a:pt x="38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7" y="123"/>
                  </a:lnTo>
                  <a:lnTo>
                    <a:pt x="50" y="124"/>
                  </a:lnTo>
                  <a:lnTo>
                    <a:pt x="53" y="129"/>
                  </a:lnTo>
                  <a:lnTo>
                    <a:pt x="55" y="136"/>
                  </a:lnTo>
                  <a:lnTo>
                    <a:pt x="55" y="136"/>
                  </a:lnTo>
                  <a:lnTo>
                    <a:pt x="56" y="147"/>
                  </a:lnTo>
                  <a:lnTo>
                    <a:pt x="56" y="155"/>
                  </a:lnTo>
                  <a:lnTo>
                    <a:pt x="55" y="169"/>
                  </a:lnTo>
                  <a:lnTo>
                    <a:pt x="55" y="169"/>
                  </a:lnTo>
                  <a:lnTo>
                    <a:pt x="58" y="173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9" y="190"/>
                  </a:lnTo>
                  <a:lnTo>
                    <a:pt x="59" y="195"/>
                  </a:lnTo>
                  <a:lnTo>
                    <a:pt x="62" y="200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9" y="212"/>
                  </a:lnTo>
                  <a:lnTo>
                    <a:pt x="72" y="219"/>
                  </a:lnTo>
                  <a:lnTo>
                    <a:pt x="7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6" name="Freeform 55">
              <a:extLst>
                <a:ext uri="{FF2B5EF4-FFF2-40B4-BE49-F238E27FC236}">
                  <a16:creationId xmlns:a16="http://schemas.microsoft.com/office/drawing/2014/main" id="{89EF3D5B-E5A9-6642-B468-3A6339059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4425" y="5937250"/>
              <a:ext cx="860425" cy="1087437"/>
            </a:xfrm>
            <a:custGeom>
              <a:avLst/>
              <a:gdLst>
                <a:gd name="T0" fmla="*/ 289 w 542"/>
                <a:gd name="T1" fmla="*/ 301 h 685"/>
                <a:gd name="T2" fmla="*/ 292 w 542"/>
                <a:gd name="T3" fmla="*/ 273 h 685"/>
                <a:gd name="T4" fmla="*/ 304 w 542"/>
                <a:gd name="T5" fmla="*/ 266 h 685"/>
                <a:gd name="T6" fmla="*/ 320 w 542"/>
                <a:gd name="T7" fmla="*/ 252 h 685"/>
                <a:gd name="T8" fmla="*/ 310 w 542"/>
                <a:gd name="T9" fmla="*/ 223 h 685"/>
                <a:gd name="T10" fmla="*/ 323 w 542"/>
                <a:gd name="T11" fmla="*/ 197 h 685"/>
                <a:gd name="T12" fmla="*/ 304 w 542"/>
                <a:gd name="T13" fmla="*/ 160 h 685"/>
                <a:gd name="T14" fmla="*/ 292 w 542"/>
                <a:gd name="T15" fmla="*/ 128 h 685"/>
                <a:gd name="T16" fmla="*/ 295 w 542"/>
                <a:gd name="T17" fmla="*/ 66 h 685"/>
                <a:gd name="T18" fmla="*/ 294 w 542"/>
                <a:gd name="T19" fmla="*/ 35 h 685"/>
                <a:gd name="T20" fmla="*/ 282 w 542"/>
                <a:gd name="T21" fmla="*/ 6 h 685"/>
                <a:gd name="T22" fmla="*/ 251 w 542"/>
                <a:gd name="T23" fmla="*/ 24 h 685"/>
                <a:gd name="T24" fmla="*/ 200 w 542"/>
                <a:gd name="T25" fmla="*/ 48 h 685"/>
                <a:gd name="T26" fmla="*/ 180 w 542"/>
                <a:gd name="T27" fmla="*/ 70 h 685"/>
                <a:gd name="T28" fmla="*/ 168 w 542"/>
                <a:gd name="T29" fmla="*/ 91 h 685"/>
                <a:gd name="T30" fmla="*/ 150 w 542"/>
                <a:gd name="T31" fmla="*/ 92 h 685"/>
                <a:gd name="T32" fmla="*/ 119 w 542"/>
                <a:gd name="T33" fmla="*/ 100 h 685"/>
                <a:gd name="T34" fmla="*/ 97 w 542"/>
                <a:gd name="T35" fmla="*/ 92 h 685"/>
                <a:gd name="T36" fmla="*/ 82 w 542"/>
                <a:gd name="T37" fmla="*/ 115 h 685"/>
                <a:gd name="T38" fmla="*/ 33 w 542"/>
                <a:gd name="T39" fmla="*/ 138 h 685"/>
                <a:gd name="T40" fmla="*/ 2 w 542"/>
                <a:gd name="T41" fmla="*/ 138 h 685"/>
                <a:gd name="T42" fmla="*/ 26 w 542"/>
                <a:gd name="T43" fmla="*/ 202 h 685"/>
                <a:gd name="T44" fmla="*/ 71 w 542"/>
                <a:gd name="T45" fmla="*/ 211 h 685"/>
                <a:gd name="T46" fmla="*/ 91 w 542"/>
                <a:gd name="T47" fmla="*/ 270 h 685"/>
                <a:gd name="T48" fmla="*/ 110 w 542"/>
                <a:gd name="T49" fmla="*/ 372 h 685"/>
                <a:gd name="T50" fmla="*/ 95 w 542"/>
                <a:gd name="T51" fmla="*/ 409 h 685"/>
                <a:gd name="T52" fmla="*/ 132 w 542"/>
                <a:gd name="T53" fmla="*/ 411 h 685"/>
                <a:gd name="T54" fmla="*/ 157 w 542"/>
                <a:gd name="T55" fmla="*/ 473 h 685"/>
                <a:gd name="T56" fmla="*/ 214 w 542"/>
                <a:gd name="T57" fmla="*/ 468 h 685"/>
                <a:gd name="T58" fmla="*/ 240 w 542"/>
                <a:gd name="T59" fmla="*/ 483 h 685"/>
                <a:gd name="T60" fmla="*/ 273 w 542"/>
                <a:gd name="T61" fmla="*/ 483 h 685"/>
                <a:gd name="T62" fmla="*/ 277 w 542"/>
                <a:gd name="T63" fmla="*/ 520 h 685"/>
                <a:gd name="T64" fmla="*/ 313 w 542"/>
                <a:gd name="T65" fmla="*/ 529 h 685"/>
                <a:gd name="T66" fmla="*/ 344 w 542"/>
                <a:gd name="T67" fmla="*/ 556 h 685"/>
                <a:gd name="T68" fmla="*/ 365 w 542"/>
                <a:gd name="T69" fmla="*/ 627 h 685"/>
                <a:gd name="T70" fmla="*/ 388 w 542"/>
                <a:gd name="T71" fmla="*/ 651 h 685"/>
                <a:gd name="T72" fmla="*/ 439 w 542"/>
                <a:gd name="T73" fmla="*/ 668 h 685"/>
                <a:gd name="T74" fmla="*/ 505 w 542"/>
                <a:gd name="T75" fmla="*/ 683 h 685"/>
                <a:gd name="T76" fmla="*/ 542 w 542"/>
                <a:gd name="T77" fmla="*/ 633 h 685"/>
                <a:gd name="T78" fmla="*/ 533 w 542"/>
                <a:gd name="T79" fmla="*/ 577 h 685"/>
                <a:gd name="T80" fmla="*/ 522 w 542"/>
                <a:gd name="T81" fmla="*/ 556 h 685"/>
                <a:gd name="T82" fmla="*/ 510 w 542"/>
                <a:gd name="T83" fmla="*/ 522 h 685"/>
                <a:gd name="T84" fmla="*/ 533 w 542"/>
                <a:gd name="T85" fmla="*/ 497 h 685"/>
                <a:gd name="T86" fmla="*/ 522 w 542"/>
                <a:gd name="T87" fmla="*/ 482 h 685"/>
                <a:gd name="T88" fmla="*/ 505 w 542"/>
                <a:gd name="T89" fmla="*/ 468 h 685"/>
                <a:gd name="T90" fmla="*/ 485 w 542"/>
                <a:gd name="T91" fmla="*/ 457 h 685"/>
                <a:gd name="T92" fmla="*/ 474 w 542"/>
                <a:gd name="T93" fmla="*/ 449 h 685"/>
                <a:gd name="T94" fmla="*/ 455 w 542"/>
                <a:gd name="T95" fmla="*/ 458 h 685"/>
                <a:gd name="T96" fmla="*/ 437 w 542"/>
                <a:gd name="T97" fmla="*/ 442 h 685"/>
                <a:gd name="T98" fmla="*/ 421 w 542"/>
                <a:gd name="T99" fmla="*/ 467 h 685"/>
                <a:gd name="T100" fmla="*/ 402 w 542"/>
                <a:gd name="T101" fmla="*/ 477 h 685"/>
                <a:gd name="T102" fmla="*/ 378 w 542"/>
                <a:gd name="T103" fmla="*/ 451 h 685"/>
                <a:gd name="T104" fmla="*/ 351 w 542"/>
                <a:gd name="T105" fmla="*/ 448 h 685"/>
                <a:gd name="T106" fmla="*/ 331 w 542"/>
                <a:gd name="T107" fmla="*/ 442 h 685"/>
                <a:gd name="T108" fmla="*/ 322 w 542"/>
                <a:gd name="T109" fmla="*/ 421 h 685"/>
                <a:gd name="T110" fmla="*/ 308 w 542"/>
                <a:gd name="T111" fmla="*/ 421 h 685"/>
                <a:gd name="T112" fmla="*/ 307 w 542"/>
                <a:gd name="T113" fmla="*/ 403 h 685"/>
                <a:gd name="T114" fmla="*/ 323 w 542"/>
                <a:gd name="T115" fmla="*/ 368 h 685"/>
                <a:gd name="T116" fmla="*/ 356 w 542"/>
                <a:gd name="T117" fmla="*/ 323 h 685"/>
                <a:gd name="T118" fmla="*/ 338 w 542"/>
                <a:gd name="T119" fmla="*/ 310 h 685"/>
                <a:gd name="T120" fmla="*/ 314 w 542"/>
                <a:gd name="T121" fmla="*/ 313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2" h="685">
                  <a:moveTo>
                    <a:pt x="297" y="319"/>
                  </a:moveTo>
                  <a:lnTo>
                    <a:pt x="297" y="319"/>
                  </a:lnTo>
                  <a:lnTo>
                    <a:pt x="294" y="316"/>
                  </a:lnTo>
                  <a:lnTo>
                    <a:pt x="292" y="313"/>
                  </a:lnTo>
                  <a:lnTo>
                    <a:pt x="289" y="306"/>
                  </a:lnTo>
                  <a:lnTo>
                    <a:pt x="289" y="306"/>
                  </a:lnTo>
                  <a:lnTo>
                    <a:pt x="288" y="304"/>
                  </a:lnTo>
                  <a:lnTo>
                    <a:pt x="289" y="301"/>
                  </a:lnTo>
                  <a:lnTo>
                    <a:pt x="294" y="297"/>
                  </a:lnTo>
                  <a:lnTo>
                    <a:pt x="302" y="289"/>
                  </a:lnTo>
                  <a:lnTo>
                    <a:pt x="302" y="289"/>
                  </a:lnTo>
                  <a:lnTo>
                    <a:pt x="304" y="286"/>
                  </a:lnTo>
                  <a:lnTo>
                    <a:pt x="302" y="282"/>
                  </a:lnTo>
                  <a:lnTo>
                    <a:pt x="298" y="277"/>
                  </a:lnTo>
                  <a:lnTo>
                    <a:pt x="292" y="273"/>
                  </a:lnTo>
                  <a:lnTo>
                    <a:pt x="292" y="273"/>
                  </a:lnTo>
                  <a:lnTo>
                    <a:pt x="291" y="272"/>
                  </a:lnTo>
                  <a:lnTo>
                    <a:pt x="291" y="270"/>
                  </a:lnTo>
                  <a:lnTo>
                    <a:pt x="292" y="267"/>
                  </a:lnTo>
                  <a:lnTo>
                    <a:pt x="297" y="266"/>
                  </a:lnTo>
                  <a:lnTo>
                    <a:pt x="300" y="266"/>
                  </a:lnTo>
                  <a:lnTo>
                    <a:pt x="300" y="266"/>
                  </a:lnTo>
                  <a:lnTo>
                    <a:pt x="301" y="267"/>
                  </a:lnTo>
                  <a:lnTo>
                    <a:pt x="304" y="266"/>
                  </a:lnTo>
                  <a:lnTo>
                    <a:pt x="307" y="264"/>
                  </a:lnTo>
                  <a:lnTo>
                    <a:pt x="308" y="261"/>
                  </a:lnTo>
                  <a:lnTo>
                    <a:pt x="308" y="261"/>
                  </a:lnTo>
                  <a:lnTo>
                    <a:pt x="310" y="257"/>
                  </a:lnTo>
                  <a:lnTo>
                    <a:pt x="314" y="255"/>
                  </a:lnTo>
                  <a:lnTo>
                    <a:pt x="319" y="254"/>
                  </a:lnTo>
                  <a:lnTo>
                    <a:pt x="320" y="252"/>
                  </a:lnTo>
                  <a:lnTo>
                    <a:pt x="320" y="252"/>
                  </a:lnTo>
                  <a:lnTo>
                    <a:pt x="319" y="249"/>
                  </a:lnTo>
                  <a:lnTo>
                    <a:pt x="314" y="245"/>
                  </a:lnTo>
                  <a:lnTo>
                    <a:pt x="310" y="239"/>
                  </a:lnTo>
                  <a:lnTo>
                    <a:pt x="305" y="233"/>
                  </a:lnTo>
                  <a:lnTo>
                    <a:pt x="305" y="233"/>
                  </a:lnTo>
                  <a:lnTo>
                    <a:pt x="305" y="230"/>
                  </a:lnTo>
                  <a:lnTo>
                    <a:pt x="305" y="227"/>
                  </a:lnTo>
                  <a:lnTo>
                    <a:pt x="310" y="223"/>
                  </a:lnTo>
                  <a:lnTo>
                    <a:pt x="314" y="218"/>
                  </a:lnTo>
                  <a:lnTo>
                    <a:pt x="319" y="215"/>
                  </a:lnTo>
                  <a:lnTo>
                    <a:pt x="319" y="215"/>
                  </a:lnTo>
                  <a:lnTo>
                    <a:pt x="320" y="214"/>
                  </a:lnTo>
                  <a:lnTo>
                    <a:pt x="322" y="212"/>
                  </a:lnTo>
                  <a:lnTo>
                    <a:pt x="323" y="206"/>
                  </a:lnTo>
                  <a:lnTo>
                    <a:pt x="323" y="197"/>
                  </a:lnTo>
                  <a:lnTo>
                    <a:pt x="323" y="197"/>
                  </a:lnTo>
                  <a:lnTo>
                    <a:pt x="307" y="192"/>
                  </a:lnTo>
                  <a:lnTo>
                    <a:pt x="307" y="192"/>
                  </a:lnTo>
                  <a:lnTo>
                    <a:pt x="305" y="190"/>
                  </a:lnTo>
                  <a:lnTo>
                    <a:pt x="304" y="189"/>
                  </a:lnTo>
                  <a:lnTo>
                    <a:pt x="304" y="183"/>
                  </a:lnTo>
                  <a:lnTo>
                    <a:pt x="304" y="166"/>
                  </a:lnTo>
                  <a:lnTo>
                    <a:pt x="304" y="166"/>
                  </a:lnTo>
                  <a:lnTo>
                    <a:pt x="304" y="160"/>
                  </a:lnTo>
                  <a:lnTo>
                    <a:pt x="301" y="157"/>
                  </a:lnTo>
                  <a:lnTo>
                    <a:pt x="295" y="153"/>
                  </a:lnTo>
                  <a:lnTo>
                    <a:pt x="295" y="153"/>
                  </a:lnTo>
                  <a:lnTo>
                    <a:pt x="292" y="147"/>
                  </a:lnTo>
                  <a:lnTo>
                    <a:pt x="291" y="141"/>
                  </a:lnTo>
                  <a:lnTo>
                    <a:pt x="291" y="134"/>
                  </a:lnTo>
                  <a:lnTo>
                    <a:pt x="292" y="128"/>
                  </a:lnTo>
                  <a:lnTo>
                    <a:pt x="292" y="128"/>
                  </a:lnTo>
                  <a:lnTo>
                    <a:pt x="295" y="113"/>
                  </a:lnTo>
                  <a:lnTo>
                    <a:pt x="298" y="98"/>
                  </a:lnTo>
                  <a:lnTo>
                    <a:pt x="298" y="73"/>
                  </a:lnTo>
                  <a:lnTo>
                    <a:pt x="298" y="73"/>
                  </a:lnTo>
                  <a:lnTo>
                    <a:pt x="295" y="73"/>
                  </a:lnTo>
                  <a:lnTo>
                    <a:pt x="295" y="72"/>
                  </a:lnTo>
                  <a:lnTo>
                    <a:pt x="295" y="66"/>
                  </a:lnTo>
                  <a:lnTo>
                    <a:pt x="295" y="66"/>
                  </a:lnTo>
                  <a:lnTo>
                    <a:pt x="295" y="58"/>
                  </a:lnTo>
                  <a:lnTo>
                    <a:pt x="294" y="55"/>
                  </a:lnTo>
                  <a:lnTo>
                    <a:pt x="291" y="52"/>
                  </a:lnTo>
                  <a:lnTo>
                    <a:pt x="291" y="52"/>
                  </a:lnTo>
                  <a:lnTo>
                    <a:pt x="289" y="48"/>
                  </a:lnTo>
                  <a:lnTo>
                    <a:pt x="289" y="45"/>
                  </a:lnTo>
                  <a:lnTo>
                    <a:pt x="292" y="40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4" y="27"/>
                  </a:lnTo>
                  <a:lnTo>
                    <a:pt x="292" y="20"/>
                  </a:lnTo>
                  <a:lnTo>
                    <a:pt x="288" y="5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2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79" y="9"/>
                  </a:lnTo>
                  <a:lnTo>
                    <a:pt x="276" y="9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3" y="11"/>
                  </a:lnTo>
                  <a:lnTo>
                    <a:pt x="260" y="15"/>
                  </a:lnTo>
                  <a:lnTo>
                    <a:pt x="251" y="24"/>
                  </a:lnTo>
                  <a:lnTo>
                    <a:pt x="251" y="24"/>
                  </a:lnTo>
                  <a:lnTo>
                    <a:pt x="246" y="29"/>
                  </a:lnTo>
                  <a:lnTo>
                    <a:pt x="240" y="33"/>
                  </a:lnTo>
                  <a:lnTo>
                    <a:pt x="234" y="38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11" y="45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196" y="49"/>
                  </a:lnTo>
                  <a:lnTo>
                    <a:pt x="193" y="51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7" y="61"/>
                  </a:lnTo>
                  <a:lnTo>
                    <a:pt x="184" y="66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74" y="75"/>
                  </a:lnTo>
                  <a:lnTo>
                    <a:pt x="171" y="76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6" y="83"/>
                  </a:lnTo>
                  <a:lnTo>
                    <a:pt x="166" y="88"/>
                  </a:lnTo>
                  <a:lnTo>
                    <a:pt x="168" y="91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7"/>
                  </a:lnTo>
                  <a:lnTo>
                    <a:pt x="163" y="97"/>
                  </a:lnTo>
                  <a:lnTo>
                    <a:pt x="160" y="95"/>
                  </a:lnTo>
                  <a:lnTo>
                    <a:pt x="154" y="94"/>
                  </a:lnTo>
                  <a:lnTo>
                    <a:pt x="150" y="92"/>
                  </a:lnTo>
                  <a:lnTo>
                    <a:pt x="150" y="92"/>
                  </a:lnTo>
                  <a:lnTo>
                    <a:pt x="140" y="92"/>
                  </a:lnTo>
                  <a:lnTo>
                    <a:pt x="135" y="91"/>
                  </a:lnTo>
                  <a:lnTo>
                    <a:pt x="131" y="89"/>
                  </a:lnTo>
                  <a:lnTo>
                    <a:pt x="131" y="89"/>
                  </a:lnTo>
                  <a:lnTo>
                    <a:pt x="129" y="89"/>
                  </a:lnTo>
                  <a:lnTo>
                    <a:pt x="126" y="91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6" y="101"/>
                  </a:lnTo>
                  <a:lnTo>
                    <a:pt x="113" y="103"/>
                  </a:lnTo>
                  <a:lnTo>
                    <a:pt x="109" y="101"/>
                  </a:lnTo>
                  <a:lnTo>
                    <a:pt x="103" y="98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5" y="95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89" y="106"/>
                  </a:lnTo>
                  <a:lnTo>
                    <a:pt x="89" y="109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1" y="123"/>
                  </a:lnTo>
                  <a:lnTo>
                    <a:pt x="69" y="129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48" y="138"/>
                  </a:lnTo>
                  <a:lnTo>
                    <a:pt x="33" y="138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18" y="135"/>
                  </a:lnTo>
                  <a:lnTo>
                    <a:pt x="11" y="134"/>
                  </a:lnTo>
                  <a:lnTo>
                    <a:pt x="3" y="134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38"/>
                  </a:lnTo>
                  <a:lnTo>
                    <a:pt x="2" y="146"/>
                  </a:lnTo>
                  <a:lnTo>
                    <a:pt x="5" y="163"/>
                  </a:lnTo>
                  <a:lnTo>
                    <a:pt x="6" y="172"/>
                  </a:lnTo>
                  <a:lnTo>
                    <a:pt x="9" y="181"/>
                  </a:lnTo>
                  <a:lnTo>
                    <a:pt x="14" y="190"/>
                  </a:lnTo>
                  <a:lnTo>
                    <a:pt x="20" y="197"/>
                  </a:lnTo>
                  <a:lnTo>
                    <a:pt x="20" y="197"/>
                  </a:lnTo>
                  <a:lnTo>
                    <a:pt x="26" y="202"/>
                  </a:lnTo>
                  <a:lnTo>
                    <a:pt x="32" y="205"/>
                  </a:lnTo>
                  <a:lnTo>
                    <a:pt x="36" y="208"/>
                  </a:lnTo>
                  <a:lnTo>
                    <a:pt x="42" y="208"/>
                  </a:lnTo>
                  <a:lnTo>
                    <a:pt x="52" y="208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9" y="209"/>
                  </a:lnTo>
                  <a:lnTo>
                    <a:pt x="71" y="211"/>
                  </a:lnTo>
                  <a:lnTo>
                    <a:pt x="74" y="217"/>
                  </a:lnTo>
                  <a:lnTo>
                    <a:pt x="76" y="224"/>
                  </a:lnTo>
                  <a:lnTo>
                    <a:pt x="77" y="232"/>
                  </a:lnTo>
                  <a:lnTo>
                    <a:pt x="79" y="249"/>
                  </a:lnTo>
                  <a:lnTo>
                    <a:pt x="80" y="257"/>
                  </a:lnTo>
                  <a:lnTo>
                    <a:pt x="83" y="261"/>
                  </a:lnTo>
                  <a:lnTo>
                    <a:pt x="83" y="261"/>
                  </a:lnTo>
                  <a:lnTo>
                    <a:pt x="91" y="270"/>
                  </a:lnTo>
                  <a:lnTo>
                    <a:pt x="97" y="279"/>
                  </a:lnTo>
                  <a:lnTo>
                    <a:pt x="101" y="291"/>
                  </a:lnTo>
                  <a:lnTo>
                    <a:pt x="106" y="309"/>
                  </a:lnTo>
                  <a:lnTo>
                    <a:pt x="106" y="309"/>
                  </a:lnTo>
                  <a:lnTo>
                    <a:pt x="110" y="347"/>
                  </a:lnTo>
                  <a:lnTo>
                    <a:pt x="111" y="360"/>
                  </a:lnTo>
                  <a:lnTo>
                    <a:pt x="110" y="372"/>
                  </a:lnTo>
                  <a:lnTo>
                    <a:pt x="110" y="372"/>
                  </a:lnTo>
                  <a:lnTo>
                    <a:pt x="107" y="378"/>
                  </a:lnTo>
                  <a:lnTo>
                    <a:pt x="106" y="381"/>
                  </a:lnTo>
                  <a:lnTo>
                    <a:pt x="100" y="387"/>
                  </a:lnTo>
                  <a:lnTo>
                    <a:pt x="95" y="393"/>
                  </a:lnTo>
                  <a:lnTo>
                    <a:pt x="94" y="396"/>
                  </a:lnTo>
                  <a:lnTo>
                    <a:pt x="94" y="400"/>
                  </a:lnTo>
                  <a:lnTo>
                    <a:pt x="94" y="400"/>
                  </a:lnTo>
                  <a:lnTo>
                    <a:pt x="95" y="409"/>
                  </a:lnTo>
                  <a:lnTo>
                    <a:pt x="100" y="417"/>
                  </a:lnTo>
                  <a:lnTo>
                    <a:pt x="103" y="420"/>
                  </a:lnTo>
                  <a:lnTo>
                    <a:pt x="106" y="421"/>
                  </a:lnTo>
                  <a:lnTo>
                    <a:pt x="110" y="423"/>
                  </a:lnTo>
                  <a:lnTo>
                    <a:pt x="116" y="421"/>
                  </a:lnTo>
                  <a:lnTo>
                    <a:pt x="116" y="421"/>
                  </a:lnTo>
                  <a:lnTo>
                    <a:pt x="125" y="417"/>
                  </a:lnTo>
                  <a:lnTo>
                    <a:pt x="132" y="411"/>
                  </a:lnTo>
                  <a:lnTo>
                    <a:pt x="138" y="403"/>
                  </a:lnTo>
                  <a:lnTo>
                    <a:pt x="138" y="403"/>
                  </a:lnTo>
                  <a:lnTo>
                    <a:pt x="140" y="414"/>
                  </a:lnTo>
                  <a:lnTo>
                    <a:pt x="144" y="436"/>
                  </a:lnTo>
                  <a:lnTo>
                    <a:pt x="147" y="449"/>
                  </a:lnTo>
                  <a:lnTo>
                    <a:pt x="150" y="461"/>
                  </a:lnTo>
                  <a:lnTo>
                    <a:pt x="154" y="470"/>
                  </a:lnTo>
                  <a:lnTo>
                    <a:pt x="157" y="473"/>
                  </a:lnTo>
                  <a:lnTo>
                    <a:pt x="160" y="474"/>
                  </a:lnTo>
                  <a:lnTo>
                    <a:pt x="160" y="474"/>
                  </a:lnTo>
                  <a:lnTo>
                    <a:pt x="172" y="477"/>
                  </a:lnTo>
                  <a:lnTo>
                    <a:pt x="184" y="477"/>
                  </a:lnTo>
                  <a:lnTo>
                    <a:pt x="196" y="476"/>
                  </a:lnTo>
                  <a:lnTo>
                    <a:pt x="206" y="473"/>
                  </a:lnTo>
                  <a:lnTo>
                    <a:pt x="206" y="473"/>
                  </a:lnTo>
                  <a:lnTo>
                    <a:pt x="214" y="468"/>
                  </a:lnTo>
                  <a:lnTo>
                    <a:pt x="221" y="466"/>
                  </a:lnTo>
                  <a:lnTo>
                    <a:pt x="224" y="464"/>
                  </a:lnTo>
                  <a:lnTo>
                    <a:pt x="227" y="466"/>
                  </a:lnTo>
                  <a:lnTo>
                    <a:pt x="231" y="468"/>
                  </a:lnTo>
                  <a:lnTo>
                    <a:pt x="234" y="474"/>
                  </a:lnTo>
                  <a:lnTo>
                    <a:pt x="234" y="474"/>
                  </a:lnTo>
                  <a:lnTo>
                    <a:pt x="237" y="479"/>
                  </a:lnTo>
                  <a:lnTo>
                    <a:pt x="240" y="483"/>
                  </a:lnTo>
                  <a:lnTo>
                    <a:pt x="243" y="485"/>
                  </a:lnTo>
                  <a:lnTo>
                    <a:pt x="246" y="486"/>
                  </a:lnTo>
                  <a:lnTo>
                    <a:pt x="252" y="486"/>
                  </a:lnTo>
                  <a:lnTo>
                    <a:pt x="258" y="483"/>
                  </a:lnTo>
                  <a:lnTo>
                    <a:pt x="258" y="483"/>
                  </a:lnTo>
                  <a:lnTo>
                    <a:pt x="264" y="482"/>
                  </a:lnTo>
                  <a:lnTo>
                    <a:pt x="268" y="482"/>
                  </a:lnTo>
                  <a:lnTo>
                    <a:pt x="273" y="483"/>
                  </a:lnTo>
                  <a:lnTo>
                    <a:pt x="276" y="485"/>
                  </a:lnTo>
                  <a:lnTo>
                    <a:pt x="277" y="489"/>
                  </a:lnTo>
                  <a:lnTo>
                    <a:pt x="279" y="494"/>
                  </a:lnTo>
                  <a:lnTo>
                    <a:pt x="277" y="501"/>
                  </a:lnTo>
                  <a:lnTo>
                    <a:pt x="277" y="501"/>
                  </a:lnTo>
                  <a:lnTo>
                    <a:pt x="274" y="508"/>
                  </a:lnTo>
                  <a:lnTo>
                    <a:pt x="276" y="514"/>
                  </a:lnTo>
                  <a:lnTo>
                    <a:pt x="277" y="520"/>
                  </a:lnTo>
                  <a:lnTo>
                    <a:pt x="282" y="525"/>
                  </a:lnTo>
                  <a:lnTo>
                    <a:pt x="286" y="528"/>
                  </a:lnTo>
                  <a:lnTo>
                    <a:pt x="292" y="531"/>
                  </a:lnTo>
                  <a:lnTo>
                    <a:pt x="298" y="531"/>
                  </a:lnTo>
                  <a:lnTo>
                    <a:pt x="302" y="531"/>
                  </a:lnTo>
                  <a:lnTo>
                    <a:pt x="302" y="531"/>
                  </a:lnTo>
                  <a:lnTo>
                    <a:pt x="308" y="529"/>
                  </a:lnTo>
                  <a:lnTo>
                    <a:pt x="313" y="529"/>
                  </a:lnTo>
                  <a:lnTo>
                    <a:pt x="319" y="529"/>
                  </a:lnTo>
                  <a:lnTo>
                    <a:pt x="325" y="531"/>
                  </a:lnTo>
                  <a:lnTo>
                    <a:pt x="329" y="534"/>
                  </a:lnTo>
                  <a:lnTo>
                    <a:pt x="334" y="537"/>
                  </a:lnTo>
                  <a:lnTo>
                    <a:pt x="338" y="541"/>
                  </a:lnTo>
                  <a:lnTo>
                    <a:pt x="340" y="545"/>
                  </a:lnTo>
                  <a:lnTo>
                    <a:pt x="340" y="545"/>
                  </a:lnTo>
                  <a:lnTo>
                    <a:pt x="344" y="556"/>
                  </a:lnTo>
                  <a:lnTo>
                    <a:pt x="348" y="569"/>
                  </a:lnTo>
                  <a:lnTo>
                    <a:pt x="353" y="584"/>
                  </a:lnTo>
                  <a:lnTo>
                    <a:pt x="359" y="599"/>
                  </a:lnTo>
                  <a:lnTo>
                    <a:pt x="359" y="599"/>
                  </a:lnTo>
                  <a:lnTo>
                    <a:pt x="365" y="611"/>
                  </a:lnTo>
                  <a:lnTo>
                    <a:pt x="366" y="617"/>
                  </a:lnTo>
                  <a:lnTo>
                    <a:pt x="366" y="623"/>
                  </a:lnTo>
                  <a:lnTo>
                    <a:pt x="365" y="627"/>
                  </a:lnTo>
                  <a:lnTo>
                    <a:pt x="365" y="627"/>
                  </a:lnTo>
                  <a:lnTo>
                    <a:pt x="365" y="631"/>
                  </a:lnTo>
                  <a:lnTo>
                    <a:pt x="366" y="636"/>
                  </a:lnTo>
                  <a:lnTo>
                    <a:pt x="368" y="640"/>
                  </a:lnTo>
                  <a:lnTo>
                    <a:pt x="372" y="643"/>
                  </a:lnTo>
                  <a:lnTo>
                    <a:pt x="377" y="648"/>
                  </a:lnTo>
                  <a:lnTo>
                    <a:pt x="382" y="649"/>
                  </a:lnTo>
                  <a:lnTo>
                    <a:pt x="388" y="651"/>
                  </a:lnTo>
                  <a:lnTo>
                    <a:pt x="393" y="651"/>
                  </a:lnTo>
                  <a:lnTo>
                    <a:pt x="393" y="651"/>
                  </a:lnTo>
                  <a:lnTo>
                    <a:pt x="415" y="649"/>
                  </a:lnTo>
                  <a:lnTo>
                    <a:pt x="425" y="649"/>
                  </a:lnTo>
                  <a:lnTo>
                    <a:pt x="425" y="649"/>
                  </a:lnTo>
                  <a:lnTo>
                    <a:pt x="427" y="652"/>
                  </a:lnTo>
                  <a:lnTo>
                    <a:pt x="433" y="662"/>
                  </a:lnTo>
                  <a:lnTo>
                    <a:pt x="439" y="668"/>
                  </a:lnTo>
                  <a:lnTo>
                    <a:pt x="445" y="674"/>
                  </a:lnTo>
                  <a:lnTo>
                    <a:pt x="452" y="679"/>
                  </a:lnTo>
                  <a:lnTo>
                    <a:pt x="462" y="682"/>
                  </a:lnTo>
                  <a:lnTo>
                    <a:pt x="462" y="682"/>
                  </a:lnTo>
                  <a:lnTo>
                    <a:pt x="473" y="685"/>
                  </a:lnTo>
                  <a:lnTo>
                    <a:pt x="483" y="685"/>
                  </a:lnTo>
                  <a:lnTo>
                    <a:pt x="495" y="685"/>
                  </a:lnTo>
                  <a:lnTo>
                    <a:pt x="505" y="683"/>
                  </a:lnTo>
                  <a:lnTo>
                    <a:pt x="516" y="682"/>
                  </a:lnTo>
                  <a:lnTo>
                    <a:pt x="525" y="677"/>
                  </a:lnTo>
                  <a:lnTo>
                    <a:pt x="532" y="671"/>
                  </a:lnTo>
                  <a:lnTo>
                    <a:pt x="538" y="662"/>
                  </a:lnTo>
                  <a:lnTo>
                    <a:pt x="538" y="662"/>
                  </a:lnTo>
                  <a:lnTo>
                    <a:pt x="541" y="654"/>
                  </a:lnTo>
                  <a:lnTo>
                    <a:pt x="542" y="643"/>
                  </a:lnTo>
                  <a:lnTo>
                    <a:pt x="542" y="633"/>
                  </a:lnTo>
                  <a:lnTo>
                    <a:pt x="541" y="624"/>
                  </a:lnTo>
                  <a:lnTo>
                    <a:pt x="536" y="608"/>
                  </a:lnTo>
                  <a:lnTo>
                    <a:pt x="535" y="602"/>
                  </a:lnTo>
                  <a:lnTo>
                    <a:pt x="535" y="597"/>
                  </a:lnTo>
                  <a:lnTo>
                    <a:pt x="535" y="597"/>
                  </a:lnTo>
                  <a:lnTo>
                    <a:pt x="536" y="584"/>
                  </a:lnTo>
                  <a:lnTo>
                    <a:pt x="535" y="578"/>
                  </a:lnTo>
                  <a:lnTo>
                    <a:pt x="533" y="577"/>
                  </a:lnTo>
                  <a:lnTo>
                    <a:pt x="532" y="575"/>
                  </a:lnTo>
                  <a:lnTo>
                    <a:pt x="532" y="575"/>
                  </a:lnTo>
                  <a:lnTo>
                    <a:pt x="523" y="571"/>
                  </a:lnTo>
                  <a:lnTo>
                    <a:pt x="522" y="568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59"/>
                  </a:lnTo>
                  <a:lnTo>
                    <a:pt x="522" y="556"/>
                  </a:lnTo>
                  <a:lnTo>
                    <a:pt x="519" y="550"/>
                  </a:lnTo>
                  <a:lnTo>
                    <a:pt x="513" y="541"/>
                  </a:lnTo>
                  <a:lnTo>
                    <a:pt x="513" y="541"/>
                  </a:lnTo>
                  <a:lnTo>
                    <a:pt x="511" y="540"/>
                  </a:lnTo>
                  <a:lnTo>
                    <a:pt x="511" y="540"/>
                  </a:lnTo>
                  <a:lnTo>
                    <a:pt x="513" y="538"/>
                  </a:lnTo>
                  <a:lnTo>
                    <a:pt x="513" y="538"/>
                  </a:lnTo>
                  <a:lnTo>
                    <a:pt x="510" y="522"/>
                  </a:lnTo>
                  <a:lnTo>
                    <a:pt x="511" y="514"/>
                  </a:lnTo>
                  <a:lnTo>
                    <a:pt x="511" y="511"/>
                  </a:lnTo>
                  <a:lnTo>
                    <a:pt x="514" y="508"/>
                  </a:lnTo>
                  <a:lnTo>
                    <a:pt x="514" y="508"/>
                  </a:lnTo>
                  <a:lnTo>
                    <a:pt x="519" y="506"/>
                  </a:lnTo>
                  <a:lnTo>
                    <a:pt x="526" y="503"/>
                  </a:lnTo>
                  <a:lnTo>
                    <a:pt x="532" y="498"/>
                  </a:lnTo>
                  <a:lnTo>
                    <a:pt x="533" y="497"/>
                  </a:lnTo>
                  <a:lnTo>
                    <a:pt x="535" y="494"/>
                  </a:lnTo>
                  <a:lnTo>
                    <a:pt x="535" y="494"/>
                  </a:lnTo>
                  <a:lnTo>
                    <a:pt x="533" y="489"/>
                  </a:lnTo>
                  <a:lnTo>
                    <a:pt x="532" y="488"/>
                  </a:lnTo>
                  <a:lnTo>
                    <a:pt x="528" y="488"/>
                  </a:lnTo>
                  <a:lnTo>
                    <a:pt x="523" y="485"/>
                  </a:lnTo>
                  <a:lnTo>
                    <a:pt x="523" y="485"/>
                  </a:lnTo>
                  <a:lnTo>
                    <a:pt x="522" y="482"/>
                  </a:lnTo>
                  <a:lnTo>
                    <a:pt x="522" y="479"/>
                  </a:lnTo>
                  <a:lnTo>
                    <a:pt x="523" y="477"/>
                  </a:lnTo>
                  <a:lnTo>
                    <a:pt x="522" y="474"/>
                  </a:lnTo>
                  <a:lnTo>
                    <a:pt x="522" y="474"/>
                  </a:lnTo>
                  <a:lnTo>
                    <a:pt x="520" y="473"/>
                  </a:lnTo>
                  <a:lnTo>
                    <a:pt x="516" y="471"/>
                  </a:lnTo>
                  <a:lnTo>
                    <a:pt x="511" y="471"/>
                  </a:lnTo>
                  <a:lnTo>
                    <a:pt x="505" y="468"/>
                  </a:lnTo>
                  <a:lnTo>
                    <a:pt x="505" y="468"/>
                  </a:lnTo>
                  <a:lnTo>
                    <a:pt x="501" y="464"/>
                  </a:lnTo>
                  <a:lnTo>
                    <a:pt x="499" y="461"/>
                  </a:lnTo>
                  <a:lnTo>
                    <a:pt x="498" y="458"/>
                  </a:lnTo>
                  <a:lnTo>
                    <a:pt x="494" y="455"/>
                  </a:lnTo>
                  <a:lnTo>
                    <a:pt x="494" y="455"/>
                  </a:lnTo>
                  <a:lnTo>
                    <a:pt x="488" y="455"/>
                  </a:lnTo>
                  <a:lnTo>
                    <a:pt x="485" y="457"/>
                  </a:lnTo>
                  <a:lnTo>
                    <a:pt x="483" y="460"/>
                  </a:lnTo>
                  <a:lnTo>
                    <a:pt x="480" y="463"/>
                  </a:lnTo>
                  <a:lnTo>
                    <a:pt x="480" y="463"/>
                  </a:lnTo>
                  <a:lnTo>
                    <a:pt x="477" y="463"/>
                  </a:lnTo>
                  <a:lnTo>
                    <a:pt x="476" y="461"/>
                  </a:lnTo>
                  <a:lnTo>
                    <a:pt x="476" y="452"/>
                  </a:lnTo>
                  <a:lnTo>
                    <a:pt x="476" y="452"/>
                  </a:lnTo>
                  <a:lnTo>
                    <a:pt x="474" y="449"/>
                  </a:lnTo>
                  <a:lnTo>
                    <a:pt x="473" y="448"/>
                  </a:lnTo>
                  <a:lnTo>
                    <a:pt x="467" y="448"/>
                  </a:lnTo>
                  <a:lnTo>
                    <a:pt x="458" y="448"/>
                  </a:lnTo>
                  <a:lnTo>
                    <a:pt x="458" y="448"/>
                  </a:lnTo>
                  <a:lnTo>
                    <a:pt x="458" y="452"/>
                  </a:lnTo>
                  <a:lnTo>
                    <a:pt x="456" y="457"/>
                  </a:lnTo>
                  <a:lnTo>
                    <a:pt x="456" y="457"/>
                  </a:lnTo>
                  <a:lnTo>
                    <a:pt x="455" y="458"/>
                  </a:lnTo>
                  <a:lnTo>
                    <a:pt x="454" y="458"/>
                  </a:lnTo>
                  <a:lnTo>
                    <a:pt x="451" y="455"/>
                  </a:lnTo>
                  <a:lnTo>
                    <a:pt x="449" y="448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3" y="440"/>
                  </a:lnTo>
                  <a:lnTo>
                    <a:pt x="440" y="440"/>
                  </a:lnTo>
                  <a:lnTo>
                    <a:pt x="437" y="442"/>
                  </a:lnTo>
                  <a:lnTo>
                    <a:pt x="436" y="446"/>
                  </a:lnTo>
                  <a:lnTo>
                    <a:pt x="434" y="452"/>
                  </a:lnTo>
                  <a:lnTo>
                    <a:pt x="434" y="452"/>
                  </a:lnTo>
                  <a:lnTo>
                    <a:pt x="433" y="458"/>
                  </a:lnTo>
                  <a:lnTo>
                    <a:pt x="430" y="461"/>
                  </a:lnTo>
                  <a:lnTo>
                    <a:pt x="425" y="464"/>
                  </a:lnTo>
                  <a:lnTo>
                    <a:pt x="421" y="467"/>
                  </a:lnTo>
                  <a:lnTo>
                    <a:pt x="421" y="467"/>
                  </a:lnTo>
                  <a:lnTo>
                    <a:pt x="419" y="470"/>
                  </a:lnTo>
                  <a:lnTo>
                    <a:pt x="418" y="474"/>
                  </a:lnTo>
                  <a:lnTo>
                    <a:pt x="417" y="477"/>
                  </a:lnTo>
                  <a:lnTo>
                    <a:pt x="415" y="480"/>
                  </a:lnTo>
                  <a:lnTo>
                    <a:pt x="415" y="480"/>
                  </a:lnTo>
                  <a:lnTo>
                    <a:pt x="412" y="483"/>
                  </a:lnTo>
                  <a:lnTo>
                    <a:pt x="409" y="482"/>
                  </a:lnTo>
                  <a:lnTo>
                    <a:pt x="402" y="477"/>
                  </a:lnTo>
                  <a:lnTo>
                    <a:pt x="402" y="477"/>
                  </a:lnTo>
                  <a:lnTo>
                    <a:pt x="397" y="474"/>
                  </a:lnTo>
                  <a:lnTo>
                    <a:pt x="393" y="473"/>
                  </a:lnTo>
                  <a:lnTo>
                    <a:pt x="387" y="471"/>
                  </a:lnTo>
                  <a:lnTo>
                    <a:pt x="382" y="466"/>
                  </a:lnTo>
                  <a:lnTo>
                    <a:pt x="382" y="466"/>
                  </a:lnTo>
                  <a:lnTo>
                    <a:pt x="379" y="458"/>
                  </a:lnTo>
                  <a:lnTo>
                    <a:pt x="378" y="451"/>
                  </a:lnTo>
                  <a:lnTo>
                    <a:pt x="375" y="442"/>
                  </a:lnTo>
                  <a:lnTo>
                    <a:pt x="375" y="442"/>
                  </a:lnTo>
                  <a:lnTo>
                    <a:pt x="374" y="440"/>
                  </a:lnTo>
                  <a:lnTo>
                    <a:pt x="369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56" y="445"/>
                  </a:lnTo>
                  <a:lnTo>
                    <a:pt x="351" y="448"/>
                  </a:lnTo>
                  <a:lnTo>
                    <a:pt x="351" y="448"/>
                  </a:lnTo>
                  <a:lnTo>
                    <a:pt x="348" y="448"/>
                  </a:lnTo>
                  <a:lnTo>
                    <a:pt x="347" y="446"/>
                  </a:lnTo>
                  <a:lnTo>
                    <a:pt x="341" y="442"/>
                  </a:lnTo>
                  <a:lnTo>
                    <a:pt x="341" y="442"/>
                  </a:lnTo>
                  <a:lnTo>
                    <a:pt x="338" y="439"/>
                  </a:lnTo>
                  <a:lnTo>
                    <a:pt x="335" y="440"/>
                  </a:lnTo>
                  <a:lnTo>
                    <a:pt x="331" y="442"/>
                  </a:lnTo>
                  <a:lnTo>
                    <a:pt x="325" y="442"/>
                  </a:lnTo>
                  <a:lnTo>
                    <a:pt x="325" y="442"/>
                  </a:lnTo>
                  <a:lnTo>
                    <a:pt x="320" y="442"/>
                  </a:lnTo>
                  <a:lnTo>
                    <a:pt x="319" y="439"/>
                  </a:lnTo>
                  <a:lnTo>
                    <a:pt x="322" y="430"/>
                  </a:lnTo>
                  <a:lnTo>
                    <a:pt x="322" y="430"/>
                  </a:lnTo>
                  <a:lnTo>
                    <a:pt x="323" y="426"/>
                  </a:lnTo>
                  <a:lnTo>
                    <a:pt x="322" y="421"/>
                  </a:lnTo>
                  <a:lnTo>
                    <a:pt x="317" y="414"/>
                  </a:lnTo>
                  <a:lnTo>
                    <a:pt x="317" y="414"/>
                  </a:lnTo>
                  <a:lnTo>
                    <a:pt x="316" y="412"/>
                  </a:lnTo>
                  <a:lnTo>
                    <a:pt x="314" y="414"/>
                  </a:lnTo>
                  <a:lnTo>
                    <a:pt x="311" y="420"/>
                  </a:lnTo>
                  <a:lnTo>
                    <a:pt x="311" y="420"/>
                  </a:lnTo>
                  <a:lnTo>
                    <a:pt x="310" y="421"/>
                  </a:lnTo>
                  <a:lnTo>
                    <a:pt x="308" y="421"/>
                  </a:lnTo>
                  <a:lnTo>
                    <a:pt x="305" y="420"/>
                  </a:lnTo>
                  <a:lnTo>
                    <a:pt x="302" y="415"/>
                  </a:lnTo>
                  <a:lnTo>
                    <a:pt x="300" y="412"/>
                  </a:lnTo>
                  <a:lnTo>
                    <a:pt x="300" y="412"/>
                  </a:lnTo>
                  <a:lnTo>
                    <a:pt x="300" y="409"/>
                  </a:lnTo>
                  <a:lnTo>
                    <a:pt x="301" y="408"/>
                  </a:lnTo>
                  <a:lnTo>
                    <a:pt x="307" y="403"/>
                  </a:lnTo>
                  <a:lnTo>
                    <a:pt x="307" y="403"/>
                  </a:lnTo>
                  <a:lnTo>
                    <a:pt x="310" y="402"/>
                  </a:lnTo>
                  <a:lnTo>
                    <a:pt x="310" y="397"/>
                  </a:lnTo>
                  <a:lnTo>
                    <a:pt x="310" y="389"/>
                  </a:lnTo>
                  <a:lnTo>
                    <a:pt x="310" y="389"/>
                  </a:lnTo>
                  <a:lnTo>
                    <a:pt x="310" y="383"/>
                  </a:lnTo>
                  <a:lnTo>
                    <a:pt x="314" y="378"/>
                  </a:lnTo>
                  <a:lnTo>
                    <a:pt x="323" y="368"/>
                  </a:lnTo>
                  <a:lnTo>
                    <a:pt x="323" y="368"/>
                  </a:lnTo>
                  <a:lnTo>
                    <a:pt x="328" y="363"/>
                  </a:lnTo>
                  <a:lnTo>
                    <a:pt x="331" y="356"/>
                  </a:lnTo>
                  <a:lnTo>
                    <a:pt x="335" y="343"/>
                  </a:lnTo>
                  <a:lnTo>
                    <a:pt x="335" y="343"/>
                  </a:lnTo>
                  <a:lnTo>
                    <a:pt x="340" y="337"/>
                  </a:lnTo>
                  <a:lnTo>
                    <a:pt x="345" y="329"/>
                  </a:lnTo>
                  <a:lnTo>
                    <a:pt x="356" y="323"/>
                  </a:lnTo>
                  <a:lnTo>
                    <a:pt x="356" y="323"/>
                  </a:lnTo>
                  <a:lnTo>
                    <a:pt x="354" y="322"/>
                  </a:lnTo>
                  <a:lnTo>
                    <a:pt x="351" y="320"/>
                  </a:lnTo>
                  <a:lnTo>
                    <a:pt x="342" y="319"/>
                  </a:lnTo>
                  <a:lnTo>
                    <a:pt x="342" y="319"/>
                  </a:lnTo>
                  <a:lnTo>
                    <a:pt x="341" y="319"/>
                  </a:lnTo>
                  <a:lnTo>
                    <a:pt x="340" y="316"/>
                  </a:lnTo>
                  <a:lnTo>
                    <a:pt x="338" y="310"/>
                  </a:lnTo>
                  <a:lnTo>
                    <a:pt x="338" y="310"/>
                  </a:lnTo>
                  <a:lnTo>
                    <a:pt x="337" y="307"/>
                  </a:lnTo>
                  <a:lnTo>
                    <a:pt x="334" y="307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22" y="307"/>
                  </a:lnTo>
                  <a:lnTo>
                    <a:pt x="319" y="309"/>
                  </a:lnTo>
                  <a:lnTo>
                    <a:pt x="314" y="313"/>
                  </a:lnTo>
                  <a:lnTo>
                    <a:pt x="314" y="313"/>
                  </a:lnTo>
                  <a:lnTo>
                    <a:pt x="311" y="316"/>
                  </a:lnTo>
                  <a:lnTo>
                    <a:pt x="305" y="319"/>
                  </a:lnTo>
                  <a:lnTo>
                    <a:pt x="301" y="319"/>
                  </a:lnTo>
                  <a:lnTo>
                    <a:pt x="297" y="319"/>
                  </a:lnTo>
                  <a:lnTo>
                    <a:pt x="297" y="3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7" name="Freeform 56">
              <a:extLst>
                <a:ext uri="{FF2B5EF4-FFF2-40B4-BE49-F238E27FC236}">
                  <a16:creationId xmlns:a16="http://schemas.microsoft.com/office/drawing/2014/main" id="{92EF2DEF-9CA6-DF4F-BB67-8C3A2E8D2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7688" y="6330950"/>
              <a:ext cx="715963" cy="974725"/>
            </a:xfrm>
            <a:custGeom>
              <a:avLst/>
              <a:gdLst>
                <a:gd name="T0" fmla="*/ 306 w 451"/>
                <a:gd name="T1" fmla="*/ 456 h 614"/>
                <a:gd name="T2" fmla="*/ 314 w 451"/>
                <a:gd name="T3" fmla="*/ 422 h 614"/>
                <a:gd name="T4" fmla="*/ 320 w 451"/>
                <a:gd name="T5" fmla="*/ 401 h 614"/>
                <a:gd name="T6" fmla="*/ 336 w 451"/>
                <a:gd name="T7" fmla="*/ 386 h 614"/>
                <a:gd name="T8" fmla="*/ 357 w 451"/>
                <a:gd name="T9" fmla="*/ 369 h 614"/>
                <a:gd name="T10" fmla="*/ 398 w 451"/>
                <a:gd name="T11" fmla="*/ 375 h 614"/>
                <a:gd name="T12" fmla="*/ 394 w 451"/>
                <a:gd name="T13" fmla="*/ 355 h 614"/>
                <a:gd name="T14" fmla="*/ 388 w 451"/>
                <a:gd name="T15" fmla="*/ 337 h 614"/>
                <a:gd name="T16" fmla="*/ 423 w 451"/>
                <a:gd name="T17" fmla="*/ 312 h 614"/>
                <a:gd name="T18" fmla="*/ 440 w 451"/>
                <a:gd name="T19" fmla="*/ 244 h 614"/>
                <a:gd name="T20" fmla="*/ 428 w 451"/>
                <a:gd name="T21" fmla="*/ 225 h 614"/>
                <a:gd name="T22" fmla="*/ 425 w 451"/>
                <a:gd name="T23" fmla="*/ 197 h 614"/>
                <a:gd name="T24" fmla="*/ 428 w 451"/>
                <a:gd name="T25" fmla="*/ 155 h 614"/>
                <a:gd name="T26" fmla="*/ 432 w 451"/>
                <a:gd name="T27" fmla="*/ 123 h 614"/>
                <a:gd name="T28" fmla="*/ 444 w 451"/>
                <a:gd name="T29" fmla="*/ 103 h 614"/>
                <a:gd name="T30" fmla="*/ 416 w 451"/>
                <a:gd name="T31" fmla="*/ 112 h 614"/>
                <a:gd name="T32" fmla="*/ 370 w 451"/>
                <a:gd name="T33" fmla="*/ 121 h 614"/>
                <a:gd name="T34" fmla="*/ 324 w 451"/>
                <a:gd name="T35" fmla="*/ 93 h 614"/>
                <a:gd name="T36" fmla="*/ 291 w 451"/>
                <a:gd name="T37" fmla="*/ 105 h 614"/>
                <a:gd name="T38" fmla="*/ 256 w 451"/>
                <a:gd name="T39" fmla="*/ 66 h 614"/>
                <a:gd name="T40" fmla="*/ 225 w 451"/>
                <a:gd name="T41" fmla="*/ 52 h 614"/>
                <a:gd name="T42" fmla="*/ 229 w 451"/>
                <a:gd name="T43" fmla="*/ 19 h 614"/>
                <a:gd name="T44" fmla="*/ 214 w 451"/>
                <a:gd name="T45" fmla="*/ 0 h 614"/>
                <a:gd name="T46" fmla="*/ 154 w 451"/>
                <a:gd name="T47" fmla="*/ 56 h 614"/>
                <a:gd name="T48" fmla="*/ 149 w 451"/>
                <a:gd name="T49" fmla="*/ 98 h 614"/>
                <a:gd name="T50" fmla="*/ 127 w 451"/>
                <a:gd name="T51" fmla="*/ 106 h 614"/>
                <a:gd name="T52" fmla="*/ 135 w 451"/>
                <a:gd name="T53" fmla="*/ 124 h 614"/>
                <a:gd name="T54" fmla="*/ 148 w 451"/>
                <a:gd name="T55" fmla="*/ 133 h 614"/>
                <a:gd name="T56" fmla="*/ 170 w 451"/>
                <a:gd name="T57" fmla="*/ 132 h 614"/>
                <a:gd name="T58" fmla="*/ 172 w 451"/>
                <a:gd name="T59" fmla="*/ 172 h 614"/>
                <a:gd name="T60" fmla="*/ 160 w 451"/>
                <a:gd name="T61" fmla="*/ 206 h 614"/>
                <a:gd name="T62" fmla="*/ 142 w 451"/>
                <a:gd name="T63" fmla="*/ 197 h 614"/>
                <a:gd name="T64" fmla="*/ 120 w 451"/>
                <a:gd name="T65" fmla="*/ 204 h 614"/>
                <a:gd name="T66" fmla="*/ 108 w 451"/>
                <a:gd name="T67" fmla="*/ 223 h 614"/>
                <a:gd name="T68" fmla="*/ 96 w 451"/>
                <a:gd name="T69" fmla="*/ 243 h 614"/>
                <a:gd name="T70" fmla="*/ 65 w 451"/>
                <a:gd name="T71" fmla="*/ 278 h 614"/>
                <a:gd name="T72" fmla="*/ 52 w 451"/>
                <a:gd name="T73" fmla="*/ 287 h 614"/>
                <a:gd name="T74" fmla="*/ 44 w 451"/>
                <a:gd name="T75" fmla="*/ 300 h 614"/>
                <a:gd name="T76" fmla="*/ 29 w 451"/>
                <a:gd name="T77" fmla="*/ 330 h 614"/>
                <a:gd name="T78" fmla="*/ 28 w 451"/>
                <a:gd name="T79" fmla="*/ 366 h 614"/>
                <a:gd name="T80" fmla="*/ 32 w 451"/>
                <a:gd name="T81" fmla="*/ 401 h 614"/>
                <a:gd name="T82" fmla="*/ 1 w 451"/>
                <a:gd name="T83" fmla="*/ 417 h 614"/>
                <a:gd name="T84" fmla="*/ 12 w 451"/>
                <a:gd name="T85" fmla="*/ 459 h 614"/>
                <a:gd name="T86" fmla="*/ 47 w 451"/>
                <a:gd name="T87" fmla="*/ 475 h 614"/>
                <a:gd name="T88" fmla="*/ 68 w 451"/>
                <a:gd name="T89" fmla="*/ 494 h 614"/>
                <a:gd name="T90" fmla="*/ 102 w 451"/>
                <a:gd name="T91" fmla="*/ 512 h 614"/>
                <a:gd name="T92" fmla="*/ 112 w 451"/>
                <a:gd name="T93" fmla="*/ 546 h 614"/>
                <a:gd name="T94" fmla="*/ 114 w 451"/>
                <a:gd name="T95" fmla="*/ 588 h 614"/>
                <a:gd name="T96" fmla="*/ 148 w 451"/>
                <a:gd name="T97" fmla="*/ 586 h 614"/>
                <a:gd name="T98" fmla="*/ 166 w 451"/>
                <a:gd name="T99" fmla="*/ 614 h 614"/>
                <a:gd name="T100" fmla="*/ 207 w 451"/>
                <a:gd name="T101" fmla="*/ 600 h 614"/>
                <a:gd name="T102" fmla="*/ 265 w 451"/>
                <a:gd name="T103" fmla="*/ 592 h 614"/>
                <a:gd name="T104" fmla="*/ 290 w 451"/>
                <a:gd name="T105" fmla="*/ 567 h 614"/>
                <a:gd name="T106" fmla="*/ 303 w 451"/>
                <a:gd name="T107" fmla="*/ 542 h 614"/>
                <a:gd name="T108" fmla="*/ 305 w 451"/>
                <a:gd name="T109" fmla="*/ 514 h 614"/>
                <a:gd name="T110" fmla="*/ 296 w 451"/>
                <a:gd name="T111" fmla="*/ 49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1" h="614">
                  <a:moveTo>
                    <a:pt x="291" y="490"/>
                  </a:moveTo>
                  <a:lnTo>
                    <a:pt x="291" y="490"/>
                  </a:lnTo>
                  <a:lnTo>
                    <a:pt x="293" y="487"/>
                  </a:lnTo>
                  <a:lnTo>
                    <a:pt x="294" y="483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5" y="465"/>
                  </a:lnTo>
                  <a:lnTo>
                    <a:pt x="306" y="456"/>
                  </a:lnTo>
                  <a:lnTo>
                    <a:pt x="306" y="447"/>
                  </a:lnTo>
                  <a:lnTo>
                    <a:pt x="306" y="441"/>
                  </a:lnTo>
                  <a:lnTo>
                    <a:pt x="306" y="441"/>
                  </a:lnTo>
                  <a:lnTo>
                    <a:pt x="308" y="438"/>
                  </a:lnTo>
                  <a:lnTo>
                    <a:pt x="309" y="435"/>
                  </a:lnTo>
                  <a:lnTo>
                    <a:pt x="312" y="429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5" y="413"/>
                  </a:lnTo>
                  <a:lnTo>
                    <a:pt x="315" y="413"/>
                  </a:lnTo>
                  <a:lnTo>
                    <a:pt x="317" y="412"/>
                  </a:lnTo>
                  <a:lnTo>
                    <a:pt x="317" y="412"/>
                  </a:lnTo>
                  <a:lnTo>
                    <a:pt x="317" y="409"/>
                  </a:lnTo>
                  <a:lnTo>
                    <a:pt x="320" y="406"/>
                  </a:lnTo>
                  <a:lnTo>
                    <a:pt x="321" y="404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20" y="398"/>
                  </a:lnTo>
                  <a:lnTo>
                    <a:pt x="321" y="395"/>
                  </a:lnTo>
                  <a:lnTo>
                    <a:pt x="324" y="394"/>
                  </a:lnTo>
                  <a:lnTo>
                    <a:pt x="330" y="391"/>
                  </a:lnTo>
                  <a:lnTo>
                    <a:pt x="330" y="391"/>
                  </a:lnTo>
                  <a:lnTo>
                    <a:pt x="334" y="389"/>
                  </a:lnTo>
                  <a:lnTo>
                    <a:pt x="336" y="386"/>
                  </a:lnTo>
                  <a:lnTo>
                    <a:pt x="336" y="383"/>
                  </a:lnTo>
                  <a:lnTo>
                    <a:pt x="333" y="379"/>
                  </a:lnTo>
                  <a:lnTo>
                    <a:pt x="333" y="379"/>
                  </a:lnTo>
                  <a:lnTo>
                    <a:pt x="333" y="377"/>
                  </a:lnTo>
                  <a:lnTo>
                    <a:pt x="333" y="376"/>
                  </a:lnTo>
                  <a:lnTo>
                    <a:pt x="339" y="372"/>
                  </a:lnTo>
                  <a:lnTo>
                    <a:pt x="346" y="370"/>
                  </a:lnTo>
                  <a:lnTo>
                    <a:pt x="357" y="369"/>
                  </a:lnTo>
                  <a:lnTo>
                    <a:pt x="357" y="369"/>
                  </a:lnTo>
                  <a:lnTo>
                    <a:pt x="367" y="369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83" y="370"/>
                  </a:lnTo>
                  <a:lnTo>
                    <a:pt x="389" y="372"/>
                  </a:lnTo>
                  <a:lnTo>
                    <a:pt x="395" y="373"/>
                  </a:lnTo>
                  <a:lnTo>
                    <a:pt x="398" y="375"/>
                  </a:lnTo>
                  <a:lnTo>
                    <a:pt x="398" y="375"/>
                  </a:lnTo>
                  <a:lnTo>
                    <a:pt x="401" y="373"/>
                  </a:lnTo>
                  <a:lnTo>
                    <a:pt x="401" y="370"/>
                  </a:lnTo>
                  <a:lnTo>
                    <a:pt x="400" y="366"/>
                  </a:lnTo>
                  <a:lnTo>
                    <a:pt x="395" y="363"/>
                  </a:lnTo>
                  <a:lnTo>
                    <a:pt x="395" y="363"/>
                  </a:lnTo>
                  <a:lnTo>
                    <a:pt x="392" y="360"/>
                  </a:lnTo>
                  <a:lnTo>
                    <a:pt x="394" y="355"/>
                  </a:lnTo>
                  <a:lnTo>
                    <a:pt x="398" y="346"/>
                  </a:lnTo>
                  <a:lnTo>
                    <a:pt x="398" y="346"/>
                  </a:lnTo>
                  <a:lnTo>
                    <a:pt x="398" y="343"/>
                  </a:lnTo>
                  <a:lnTo>
                    <a:pt x="398" y="342"/>
                  </a:lnTo>
                  <a:lnTo>
                    <a:pt x="395" y="340"/>
                  </a:lnTo>
                  <a:lnTo>
                    <a:pt x="392" y="339"/>
                  </a:lnTo>
                  <a:lnTo>
                    <a:pt x="388" y="337"/>
                  </a:lnTo>
                  <a:lnTo>
                    <a:pt x="388" y="337"/>
                  </a:lnTo>
                  <a:lnTo>
                    <a:pt x="388" y="336"/>
                  </a:lnTo>
                  <a:lnTo>
                    <a:pt x="389" y="335"/>
                  </a:lnTo>
                  <a:lnTo>
                    <a:pt x="394" y="332"/>
                  </a:lnTo>
                  <a:lnTo>
                    <a:pt x="410" y="324"/>
                  </a:lnTo>
                  <a:lnTo>
                    <a:pt x="410" y="324"/>
                  </a:lnTo>
                  <a:lnTo>
                    <a:pt x="414" y="323"/>
                  </a:lnTo>
                  <a:lnTo>
                    <a:pt x="417" y="320"/>
                  </a:lnTo>
                  <a:lnTo>
                    <a:pt x="423" y="312"/>
                  </a:lnTo>
                  <a:lnTo>
                    <a:pt x="428" y="300"/>
                  </a:lnTo>
                  <a:lnTo>
                    <a:pt x="431" y="289"/>
                  </a:lnTo>
                  <a:lnTo>
                    <a:pt x="431" y="289"/>
                  </a:lnTo>
                  <a:lnTo>
                    <a:pt x="434" y="271"/>
                  </a:lnTo>
                  <a:lnTo>
                    <a:pt x="438" y="255"/>
                  </a:lnTo>
                  <a:lnTo>
                    <a:pt x="438" y="252"/>
                  </a:lnTo>
                  <a:lnTo>
                    <a:pt x="438" y="252"/>
                  </a:lnTo>
                  <a:lnTo>
                    <a:pt x="440" y="244"/>
                  </a:lnTo>
                  <a:lnTo>
                    <a:pt x="440" y="243"/>
                  </a:lnTo>
                  <a:lnTo>
                    <a:pt x="438" y="241"/>
                  </a:lnTo>
                  <a:lnTo>
                    <a:pt x="435" y="240"/>
                  </a:lnTo>
                  <a:lnTo>
                    <a:pt x="429" y="237"/>
                  </a:lnTo>
                  <a:lnTo>
                    <a:pt x="429" y="237"/>
                  </a:lnTo>
                  <a:lnTo>
                    <a:pt x="428" y="235"/>
                  </a:lnTo>
                  <a:lnTo>
                    <a:pt x="426" y="232"/>
                  </a:lnTo>
                  <a:lnTo>
                    <a:pt x="428" y="225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34" y="210"/>
                  </a:lnTo>
                  <a:lnTo>
                    <a:pt x="432" y="207"/>
                  </a:lnTo>
                  <a:lnTo>
                    <a:pt x="429" y="204"/>
                  </a:lnTo>
                  <a:lnTo>
                    <a:pt x="426" y="201"/>
                  </a:lnTo>
                  <a:lnTo>
                    <a:pt x="425" y="200"/>
                  </a:lnTo>
                  <a:lnTo>
                    <a:pt x="425" y="197"/>
                  </a:lnTo>
                  <a:lnTo>
                    <a:pt x="425" y="197"/>
                  </a:lnTo>
                  <a:lnTo>
                    <a:pt x="428" y="191"/>
                  </a:lnTo>
                  <a:lnTo>
                    <a:pt x="431" y="183"/>
                  </a:lnTo>
                  <a:lnTo>
                    <a:pt x="434" y="176"/>
                  </a:lnTo>
                  <a:lnTo>
                    <a:pt x="434" y="172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28" y="155"/>
                  </a:lnTo>
                  <a:lnTo>
                    <a:pt x="425" y="149"/>
                  </a:lnTo>
                  <a:lnTo>
                    <a:pt x="423" y="143"/>
                  </a:lnTo>
                  <a:lnTo>
                    <a:pt x="423" y="143"/>
                  </a:lnTo>
                  <a:lnTo>
                    <a:pt x="423" y="141"/>
                  </a:lnTo>
                  <a:lnTo>
                    <a:pt x="423" y="138"/>
                  </a:lnTo>
                  <a:lnTo>
                    <a:pt x="426" y="133"/>
                  </a:lnTo>
                  <a:lnTo>
                    <a:pt x="429" y="129"/>
                  </a:lnTo>
                  <a:lnTo>
                    <a:pt x="432" y="123"/>
                  </a:lnTo>
                  <a:lnTo>
                    <a:pt x="432" y="123"/>
                  </a:lnTo>
                  <a:lnTo>
                    <a:pt x="435" y="118"/>
                  </a:lnTo>
                  <a:lnTo>
                    <a:pt x="438" y="115"/>
                  </a:lnTo>
                  <a:lnTo>
                    <a:pt x="448" y="114"/>
                  </a:lnTo>
                  <a:lnTo>
                    <a:pt x="448" y="114"/>
                  </a:lnTo>
                  <a:lnTo>
                    <a:pt x="451" y="111"/>
                  </a:lnTo>
                  <a:lnTo>
                    <a:pt x="450" y="109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32" y="112"/>
                  </a:lnTo>
                  <a:lnTo>
                    <a:pt x="432" y="112"/>
                  </a:lnTo>
                  <a:lnTo>
                    <a:pt x="431" y="115"/>
                  </a:lnTo>
                  <a:lnTo>
                    <a:pt x="426" y="115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16" y="112"/>
                  </a:lnTo>
                  <a:lnTo>
                    <a:pt x="411" y="112"/>
                  </a:lnTo>
                  <a:lnTo>
                    <a:pt x="401" y="114"/>
                  </a:lnTo>
                  <a:lnTo>
                    <a:pt x="401" y="114"/>
                  </a:lnTo>
                  <a:lnTo>
                    <a:pt x="388" y="118"/>
                  </a:lnTo>
                  <a:lnTo>
                    <a:pt x="380" y="121"/>
                  </a:lnTo>
                  <a:lnTo>
                    <a:pt x="373" y="123"/>
                  </a:lnTo>
                  <a:lnTo>
                    <a:pt x="373" y="123"/>
                  </a:lnTo>
                  <a:lnTo>
                    <a:pt x="370" y="121"/>
                  </a:lnTo>
                  <a:lnTo>
                    <a:pt x="367" y="120"/>
                  </a:lnTo>
                  <a:lnTo>
                    <a:pt x="360" y="115"/>
                  </a:lnTo>
                  <a:lnTo>
                    <a:pt x="352" y="108"/>
                  </a:lnTo>
                  <a:lnTo>
                    <a:pt x="345" y="105"/>
                  </a:lnTo>
                  <a:lnTo>
                    <a:pt x="345" y="105"/>
                  </a:lnTo>
                  <a:lnTo>
                    <a:pt x="337" y="101"/>
                  </a:lnTo>
                  <a:lnTo>
                    <a:pt x="330" y="98"/>
                  </a:lnTo>
                  <a:lnTo>
                    <a:pt x="324" y="93"/>
                  </a:lnTo>
                  <a:lnTo>
                    <a:pt x="318" y="92"/>
                  </a:lnTo>
                  <a:lnTo>
                    <a:pt x="318" y="92"/>
                  </a:lnTo>
                  <a:lnTo>
                    <a:pt x="315" y="90"/>
                  </a:lnTo>
                  <a:lnTo>
                    <a:pt x="312" y="92"/>
                  </a:lnTo>
                  <a:lnTo>
                    <a:pt x="305" y="95"/>
                  </a:lnTo>
                  <a:lnTo>
                    <a:pt x="294" y="103"/>
                  </a:lnTo>
                  <a:lnTo>
                    <a:pt x="294" y="103"/>
                  </a:lnTo>
                  <a:lnTo>
                    <a:pt x="291" y="105"/>
                  </a:lnTo>
                  <a:lnTo>
                    <a:pt x="289" y="103"/>
                  </a:lnTo>
                  <a:lnTo>
                    <a:pt x="281" y="101"/>
                  </a:lnTo>
                  <a:lnTo>
                    <a:pt x="265" y="89"/>
                  </a:lnTo>
                  <a:lnTo>
                    <a:pt x="265" y="89"/>
                  </a:lnTo>
                  <a:lnTo>
                    <a:pt x="259" y="84"/>
                  </a:lnTo>
                  <a:lnTo>
                    <a:pt x="256" y="78"/>
                  </a:lnTo>
                  <a:lnTo>
                    <a:pt x="256" y="74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2"/>
                  </a:lnTo>
                  <a:lnTo>
                    <a:pt x="254" y="61"/>
                  </a:lnTo>
                  <a:lnTo>
                    <a:pt x="250" y="61"/>
                  </a:lnTo>
                  <a:lnTo>
                    <a:pt x="246" y="59"/>
                  </a:lnTo>
                  <a:lnTo>
                    <a:pt x="246" y="59"/>
                  </a:lnTo>
                  <a:lnTo>
                    <a:pt x="232" y="55"/>
                  </a:lnTo>
                  <a:lnTo>
                    <a:pt x="225" y="52"/>
                  </a:lnTo>
                  <a:lnTo>
                    <a:pt x="219" y="49"/>
                  </a:lnTo>
                  <a:lnTo>
                    <a:pt x="219" y="49"/>
                  </a:lnTo>
                  <a:lnTo>
                    <a:pt x="216" y="46"/>
                  </a:lnTo>
                  <a:lnTo>
                    <a:pt x="217" y="41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9" y="22"/>
                  </a:lnTo>
                  <a:lnTo>
                    <a:pt x="229" y="19"/>
                  </a:lnTo>
                  <a:lnTo>
                    <a:pt x="228" y="18"/>
                  </a:lnTo>
                  <a:lnTo>
                    <a:pt x="225" y="13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19" y="7"/>
                  </a:lnTo>
                  <a:lnTo>
                    <a:pt x="219" y="4"/>
                  </a:lnTo>
                  <a:lnTo>
                    <a:pt x="217" y="3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0" y="1"/>
                  </a:lnTo>
                  <a:lnTo>
                    <a:pt x="206" y="4"/>
                  </a:lnTo>
                  <a:lnTo>
                    <a:pt x="195" y="13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63" y="4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2" y="59"/>
                  </a:lnTo>
                  <a:lnTo>
                    <a:pt x="152" y="62"/>
                  </a:lnTo>
                  <a:lnTo>
                    <a:pt x="152" y="71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4" y="90"/>
                  </a:lnTo>
                  <a:lnTo>
                    <a:pt x="149" y="98"/>
                  </a:lnTo>
                  <a:lnTo>
                    <a:pt x="146" y="101"/>
                  </a:lnTo>
                  <a:lnTo>
                    <a:pt x="143" y="103"/>
                  </a:lnTo>
                  <a:lnTo>
                    <a:pt x="139" y="105"/>
                  </a:lnTo>
                  <a:lnTo>
                    <a:pt x="135" y="105"/>
                  </a:lnTo>
                  <a:lnTo>
                    <a:pt x="135" y="105"/>
                  </a:lnTo>
                  <a:lnTo>
                    <a:pt x="129" y="105"/>
                  </a:lnTo>
                  <a:lnTo>
                    <a:pt x="127" y="105"/>
                  </a:lnTo>
                  <a:lnTo>
                    <a:pt x="127" y="106"/>
                  </a:lnTo>
                  <a:lnTo>
                    <a:pt x="127" y="111"/>
                  </a:lnTo>
                  <a:lnTo>
                    <a:pt x="127" y="115"/>
                  </a:lnTo>
                  <a:lnTo>
                    <a:pt x="127" y="115"/>
                  </a:lnTo>
                  <a:lnTo>
                    <a:pt x="126" y="120"/>
                  </a:lnTo>
                  <a:lnTo>
                    <a:pt x="127" y="121"/>
                  </a:lnTo>
                  <a:lnTo>
                    <a:pt x="130" y="123"/>
                  </a:lnTo>
                  <a:lnTo>
                    <a:pt x="135" y="124"/>
                  </a:lnTo>
                  <a:lnTo>
                    <a:pt x="135" y="124"/>
                  </a:lnTo>
                  <a:lnTo>
                    <a:pt x="136" y="127"/>
                  </a:lnTo>
                  <a:lnTo>
                    <a:pt x="137" y="132"/>
                  </a:lnTo>
                  <a:lnTo>
                    <a:pt x="139" y="135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3" y="138"/>
                  </a:lnTo>
                  <a:lnTo>
                    <a:pt x="145" y="136"/>
                  </a:lnTo>
                  <a:lnTo>
                    <a:pt x="148" y="133"/>
                  </a:lnTo>
                  <a:lnTo>
                    <a:pt x="151" y="129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60" y="123"/>
                  </a:lnTo>
                  <a:lnTo>
                    <a:pt x="164" y="124"/>
                  </a:lnTo>
                  <a:lnTo>
                    <a:pt x="167" y="127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72" y="135"/>
                  </a:lnTo>
                  <a:lnTo>
                    <a:pt x="170" y="138"/>
                  </a:lnTo>
                  <a:lnTo>
                    <a:pt x="169" y="142"/>
                  </a:lnTo>
                  <a:lnTo>
                    <a:pt x="167" y="148"/>
                  </a:lnTo>
                  <a:lnTo>
                    <a:pt x="167" y="148"/>
                  </a:lnTo>
                  <a:lnTo>
                    <a:pt x="167" y="155"/>
                  </a:lnTo>
                  <a:lnTo>
                    <a:pt x="169" y="164"/>
                  </a:lnTo>
                  <a:lnTo>
                    <a:pt x="172" y="172"/>
                  </a:lnTo>
                  <a:lnTo>
                    <a:pt x="173" y="179"/>
                  </a:lnTo>
                  <a:lnTo>
                    <a:pt x="173" y="179"/>
                  </a:lnTo>
                  <a:lnTo>
                    <a:pt x="172" y="185"/>
                  </a:lnTo>
                  <a:lnTo>
                    <a:pt x="170" y="192"/>
                  </a:lnTo>
                  <a:lnTo>
                    <a:pt x="169" y="198"/>
                  </a:lnTo>
                  <a:lnTo>
                    <a:pt x="164" y="203"/>
                  </a:lnTo>
                  <a:lnTo>
                    <a:pt x="164" y="203"/>
                  </a:lnTo>
                  <a:lnTo>
                    <a:pt x="160" y="206"/>
                  </a:lnTo>
                  <a:lnTo>
                    <a:pt x="157" y="207"/>
                  </a:lnTo>
                  <a:lnTo>
                    <a:pt x="154" y="207"/>
                  </a:lnTo>
                  <a:lnTo>
                    <a:pt x="154" y="207"/>
                  </a:lnTo>
                  <a:lnTo>
                    <a:pt x="151" y="206"/>
                  </a:lnTo>
                  <a:lnTo>
                    <a:pt x="148" y="203"/>
                  </a:lnTo>
                  <a:lnTo>
                    <a:pt x="145" y="200"/>
                  </a:lnTo>
                  <a:lnTo>
                    <a:pt x="142" y="197"/>
                  </a:lnTo>
                  <a:lnTo>
                    <a:pt x="142" y="197"/>
                  </a:lnTo>
                  <a:lnTo>
                    <a:pt x="136" y="194"/>
                  </a:lnTo>
                  <a:lnTo>
                    <a:pt x="135" y="192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29" y="191"/>
                  </a:lnTo>
                  <a:lnTo>
                    <a:pt x="126" y="192"/>
                  </a:lnTo>
                  <a:lnTo>
                    <a:pt x="123" y="198"/>
                  </a:lnTo>
                  <a:lnTo>
                    <a:pt x="120" y="204"/>
                  </a:lnTo>
                  <a:lnTo>
                    <a:pt x="118" y="207"/>
                  </a:lnTo>
                  <a:lnTo>
                    <a:pt x="118" y="207"/>
                  </a:lnTo>
                  <a:lnTo>
                    <a:pt x="117" y="207"/>
                  </a:lnTo>
                  <a:lnTo>
                    <a:pt x="115" y="210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1" y="222"/>
                  </a:lnTo>
                  <a:lnTo>
                    <a:pt x="108" y="223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3" y="222"/>
                  </a:lnTo>
                  <a:lnTo>
                    <a:pt x="102" y="225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6" y="243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0" y="265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2" y="277"/>
                  </a:lnTo>
                  <a:lnTo>
                    <a:pt x="68" y="278"/>
                  </a:lnTo>
                  <a:lnTo>
                    <a:pt x="65" y="278"/>
                  </a:lnTo>
                  <a:lnTo>
                    <a:pt x="60" y="277"/>
                  </a:lnTo>
                  <a:lnTo>
                    <a:pt x="60" y="277"/>
                  </a:lnTo>
                  <a:lnTo>
                    <a:pt x="58" y="277"/>
                  </a:lnTo>
                  <a:lnTo>
                    <a:pt x="55" y="278"/>
                  </a:lnTo>
                  <a:lnTo>
                    <a:pt x="52" y="281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7"/>
                  </a:lnTo>
                  <a:lnTo>
                    <a:pt x="53" y="289"/>
                  </a:lnTo>
                  <a:lnTo>
                    <a:pt x="56" y="292"/>
                  </a:lnTo>
                  <a:lnTo>
                    <a:pt x="59" y="296"/>
                  </a:lnTo>
                  <a:lnTo>
                    <a:pt x="59" y="296"/>
                  </a:lnTo>
                  <a:lnTo>
                    <a:pt x="60" y="299"/>
                  </a:lnTo>
                  <a:lnTo>
                    <a:pt x="59" y="300"/>
                  </a:lnTo>
                  <a:lnTo>
                    <a:pt x="56" y="302"/>
                  </a:lnTo>
                  <a:lnTo>
                    <a:pt x="44" y="300"/>
                  </a:lnTo>
                  <a:lnTo>
                    <a:pt x="44" y="300"/>
                  </a:lnTo>
                  <a:lnTo>
                    <a:pt x="40" y="300"/>
                  </a:lnTo>
                  <a:lnTo>
                    <a:pt x="38" y="303"/>
                  </a:lnTo>
                  <a:lnTo>
                    <a:pt x="38" y="305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29" y="330"/>
                  </a:lnTo>
                  <a:lnTo>
                    <a:pt x="29" y="330"/>
                  </a:lnTo>
                  <a:lnTo>
                    <a:pt x="34" y="332"/>
                  </a:lnTo>
                  <a:lnTo>
                    <a:pt x="35" y="333"/>
                  </a:lnTo>
                  <a:lnTo>
                    <a:pt x="35" y="333"/>
                  </a:lnTo>
                  <a:lnTo>
                    <a:pt x="35" y="336"/>
                  </a:lnTo>
                  <a:lnTo>
                    <a:pt x="35" y="339"/>
                  </a:lnTo>
                  <a:lnTo>
                    <a:pt x="32" y="349"/>
                  </a:lnTo>
                  <a:lnTo>
                    <a:pt x="28" y="360"/>
                  </a:lnTo>
                  <a:lnTo>
                    <a:pt x="28" y="366"/>
                  </a:lnTo>
                  <a:lnTo>
                    <a:pt x="28" y="373"/>
                  </a:lnTo>
                  <a:lnTo>
                    <a:pt x="28" y="373"/>
                  </a:lnTo>
                  <a:lnTo>
                    <a:pt x="29" y="379"/>
                  </a:lnTo>
                  <a:lnTo>
                    <a:pt x="31" y="383"/>
                  </a:lnTo>
                  <a:lnTo>
                    <a:pt x="35" y="391"/>
                  </a:lnTo>
                  <a:lnTo>
                    <a:pt x="35" y="394"/>
                  </a:lnTo>
                  <a:lnTo>
                    <a:pt x="35" y="397"/>
                  </a:lnTo>
                  <a:lnTo>
                    <a:pt x="32" y="401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2" y="407"/>
                  </a:lnTo>
                  <a:lnTo>
                    <a:pt x="18" y="409"/>
                  </a:lnTo>
                  <a:lnTo>
                    <a:pt x="9" y="412"/>
                  </a:lnTo>
                  <a:lnTo>
                    <a:pt x="4" y="412"/>
                  </a:lnTo>
                  <a:lnTo>
                    <a:pt x="3" y="414"/>
                  </a:lnTo>
                  <a:lnTo>
                    <a:pt x="1" y="417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35"/>
                  </a:lnTo>
                  <a:lnTo>
                    <a:pt x="1" y="444"/>
                  </a:lnTo>
                  <a:lnTo>
                    <a:pt x="4" y="452"/>
                  </a:lnTo>
                  <a:lnTo>
                    <a:pt x="7" y="456"/>
                  </a:lnTo>
                  <a:lnTo>
                    <a:pt x="7" y="456"/>
                  </a:lnTo>
                  <a:lnTo>
                    <a:pt x="12" y="459"/>
                  </a:lnTo>
                  <a:lnTo>
                    <a:pt x="18" y="460"/>
                  </a:lnTo>
                  <a:lnTo>
                    <a:pt x="22" y="462"/>
                  </a:lnTo>
                  <a:lnTo>
                    <a:pt x="28" y="465"/>
                  </a:lnTo>
                  <a:lnTo>
                    <a:pt x="28" y="465"/>
                  </a:lnTo>
                  <a:lnTo>
                    <a:pt x="34" y="469"/>
                  </a:lnTo>
                  <a:lnTo>
                    <a:pt x="37" y="472"/>
                  </a:lnTo>
                  <a:lnTo>
                    <a:pt x="40" y="475"/>
                  </a:lnTo>
                  <a:lnTo>
                    <a:pt x="47" y="475"/>
                  </a:lnTo>
                  <a:lnTo>
                    <a:pt x="47" y="475"/>
                  </a:lnTo>
                  <a:lnTo>
                    <a:pt x="56" y="475"/>
                  </a:lnTo>
                  <a:lnTo>
                    <a:pt x="63" y="478"/>
                  </a:lnTo>
                  <a:lnTo>
                    <a:pt x="69" y="481"/>
                  </a:lnTo>
                  <a:lnTo>
                    <a:pt x="72" y="484"/>
                  </a:lnTo>
                  <a:lnTo>
                    <a:pt x="72" y="484"/>
                  </a:lnTo>
                  <a:lnTo>
                    <a:pt x="69" y="487"/>
                  </a:lnTo>
                  <a:lnTo>
                    <a:pt x="68" y="494"/>
                  </a:lnTo>
                  <a:lnTo>
                    <a:pt x="66" y="499"/>
                  </a:lnTo>
                  <a:lnTo>
                    <a:pt x="66" y="502"/>
                  </a:lnTo>
                  <a:lnTo>
                    <a:pt x="69" y="506"/>
                  </a:lnTo>
                  <a:lnTo>
                    <a:pt x="74" y="509"/>
                  </a:lnTo>
                  <a:lnTo>
                    <a:pt x="74" y="509"/>
                  </a:lnTo>
                  <a:lnTo>
                    <a:pt x="83" y="512"/>
                  </a:lnTo>
                  <a:lnTo>
                    <a:pt x="92" y="514"/>
                  </a:lnTo>
                  <a:lnTo>
                    <a:pt x="102" y="512"/>
                  </a:lnTo>
                  <a:lnTo>
                    <a:pt x="102" y="512"/>
                  </a:lnTo>
                  <a:lnTo>
                    <a:pt x="105" y="514"/>
                  </a:lnTo>
                  <a:lnTo>
                    <a:pt x="108" y="517"/>
                  </a:lnTo>
                  <a:lnTo>
                    <a:pt x="115" y="526"/>
                  </a:lnTo>
                  <a:lnTo>
                    <a:pt x="126" y="539"/>
                  </a:lnTo>
                  <a:lnTo>
                    <a:pt x="126" y="539"/>
                  </a:lnTo>
                  <a:lnTo>
                    <a:pt x="121" y="540"/>
                  </a:lnTo>
                  <a:lnTo>
                    <a:pt x="112" y="546"/>
                  </a:lnTo>
                  <a:lnTo>
                    <a:pt x="106" y="551"/>
                  </a:lnTo>
                  <a:lnTo>
                    <a:pt x="103" y="555"/>
                  </a:lnTo>
                  <a:lnTo>
                    <a:pt x="100" y="560"/>
                  </a:lnTo>
                  <a:lnTo>
                    <a:pt x="100" y="564"/>
                  </a:lnTo>
                  <a:lnTo>
                    <a:pt x="100" y="564"/>
                  </a:lnTo>
                  <a:lnTo>
                    <a:pt x="103" y="574"/>
                  </a:lnTo>
                  <a:lnTo>
                    <a:pt x="109" y="585"/>
                  </a:lnTo>
                  <a:lnTo>
                    <a:pt x="114" y="588"/>
                  </a:lnTo>
                  <a:lnTo>
                    <a:pt x="118" y="591"/>
                  </a:lnTo>
                  <a:lnTo>
                    <a:pt x="123" y="592"/>
                  </a:lnTo>
                  <a:lnTo>
                    <a:pt x="127" y="592"/>
                  </a:lnTo>
                  <a:lnTo>
                    <a:pt x="127" y="592"/>
                  </a:lnTo>
                  <a:lnTo>
                    <a:pt x="135" y="589"/>
                  </a:lnTo>
                  <a:lnTo>
                    <a:pt x="142" y="586"/>
                  </a:lnTo>
                  <a:lnTo>
                    <a:pt x="145" y="586"/>
                  </a:lnTo>
                  <a:lnTo>
                    <a:pt x="148" y="586"/>
                  </a:lnTo>
                  <a:lnTo>
                    <a:pt x="151" y="588"/>
                  </a:lnTo>
                  <a:lnTo>
                    <a:pt x="154" y="592"/>
                  </a:lnTo>
                  <a:lnTo>
                    <a:pt x="154" y="592"/>
                  </a:lnTo>
                  <a:lnTo>
                    <a:pt x="157" y="600"/>
                  </a:lnTo>
                  <a:lnTo>
                    <a:pt x="160" y="607"/>
                  </a:lnTo>
                  <a:lnTo>
                    <a:pt x="163" y="613"/>
                  </a:lnTo>
                  <a:lnTo>
                    <a:pt x="164" y="614"/>
                  </a:lnTo>
                  <a:lnTo>
                    <a:pt x="166" y="614"/>
                  </a:lnTo>
                  <a:lnTo>
                    <a:pt x="166" y="614"/>
                  </a:lnTo>
                  <a:lnTo>
                    <a:pt x="173" y="614"/>
                  </a:lnTo>
                  <a:lnTo>
                    <a:pt x="182" y="611"/>
                  </a:lnTo>
                  <a:lnTo>
                    <a:pt x="191" y="607"/>
                  </a:lnTo>
                  <a:lnTo>
                    <a:pt x="200" y="603"/>
                  </a:lnTo>
                  <a:lnTo>
                    <a:pt x="200" y="603"/>
                  </a:lnTo>
                  <a:lnTo>
                    <a:pt x="203" y="601"/>
                  </a:lnTo>
                  <a:lnTo>
                    <a:pt x="207" y="600"/>
                  </a:lnTo>
                  <a:lnTo>
                    <a:pt x="217" y="601"/>
                  </a:lnTo>
                  <a:lnTo>
                    <a:pt x="228" y="601"/>
                  </a:lnTo>
                  <a:lnTo>
                    <a:pt x="234" y="603"/>
                  </a:lnTo>
                  <a:lnTo>
                    <a:pt x="234" y="603"/>
                  </a:lnTo>
                  <a:lnTo>
                    <a:pt x="249" y="598"/>
                  </a:lnTo>
                  <a:lnTo>
                    <a:pt x="259" y="595"/>
                  </a:lnTo>
                  <a:lnTo>
                    <a:pt x="265" y="592"/>
                  </a:lnTo>
                  <a:lnTo>
                    <a:pt x="265" y="592"/>
                  </a:lnTo>
                  <a:lnTo>
                    <a:pt x="268" y="589"/>
                  </a:lnTo>
                  <a:lnTo>
                    <a:pt x="271" y="588"/>
                  </a:lnTo>
                  <a:lnTo>
                    <a:pt x="278" y="588"/>
                  </a:lnTo>
                  <a:lnTo>
                    <a:pt x="293" y="588"/>
                  </a:lnTo>
                  <a:lnTo>
                    <a:pt x="293" y="588"/>
                  </a:lnTo>
                  <a:lnTo>
                    <a:pt x="291" y="577"/>
                  </a:lnTo>
                  <a:lnTo>
                    <a:pt x="290" y="571"/>
                  </a:lnTo>
                  <a:lnTo>
                    <a:pt x="290" y="567"/>
                  </a:lnTo>
                  <a:lnTo>
                    <a:pt x="290" y="567"/>
                  </a:lnTo>
                  <a:lnTo>
                    <a:pt x="293" y="558"/>
                  </a:lnTo>
                  <a:lnTo>
                    <a:pt x="294" y="549"/>
                  </a:lnTo>
                  <a:lnTo>
                    <a:pt x="294" y="549"/>
                  </a:lnTo>
                  <a:lnTo>
                    <a:pt x="296" y="546"/>
                  </a:lnTo>
                  <a:lnTo>
                    <a:pt x="297" y="545"/>
                  </a:lnTo>
                  <a:lnTo>
                    <a:pt x="303" y="542"/>
                  </a:lnTo>
                  <a:lnTo>
                    <a:pt x="303" y="542"/>
                  </a:lnTo>
                  <a:lnTo>
                    <a:pt x="306" y="540"/>
                  </a:lnTo>
                  <a:lnTo>
                    <a:pt x="308" y="536"/>
                  </a:lnTo>
                  <a:lnTo>
                    <a:pt x="306" y="532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3" y="521"/>
                  </a:lnTo>
                  <a:lnTo>
                    <a:pt x="303" y="517"/>
                  </a:lnTo>
                  <a:lnTo>
                    <a:pt x="305" y="514"/>
                  </a:lnTo>
                  <a:lnTo>
                    <a:pt x="303" y="512"/>
                  </a:lnTo>
                  <a:lnTo>
                    <a:pt x="303" y="512"/>
                  </a:lnTo>
                  <a:lnTo>
                    <a:pt x="302" y="511"/>
                  </a:lnTo>
                  <a:lnTo>
                    <a:pt x="300" y="508"/>
                  </a:lnTo>
                  <a:lnTo>
                    <a:pt x="299" y="500"/>
                  </a:lnTo>
                  <a:lnTo>
                    <a:pt x="299" y="500"/>
                  </a:lnTo>
                  <a:lnTo>
                    <a:pt x="299" y="497"/>
                  </a:lnTo>
                  <a:lnTo>
                    <a:pt x="296" y="496"/>
                  </a:lnTo>
                  <a:lnTo>
                    <a:pt x="293" y="493"/>
                  </a:lnTo>
                  <a:lnTo>
                    <a:pt x="291" y="490"/>
                  </a:lnTo>
                  <a:lnTo>
                    <a:pt x="291" y="4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8" name="Freeform 57">
              <a:extLst>
                <a:ext uri="{FF2B5EF4-FFF2-40B4-BE49-F238E27FC236}">
                  <a16:creationId xmlns:a16="http://schemas.microsoft.com/office/drawing/2014/main" id="{735221C9-14E9-0246-A626-0FF4BE4B2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6735763"/>
              <a:ext cx="957263" cy="842962"/>
            </a:xfrm>
            <a:custGeom>
              <a:avLst/>
              <a:gdLst>
                <a:gd name="T0" fmla="*/ 323 w 603"/>
                <a:gd name="T1" fmla="*/ 404 h 531"/>
                <a:gd name="T2" fmla="*/ 335 w 603"/>
                <a:gd name="T3" fmla="*/ 436 h 531"/>
                <a:gd name="T4" fmla="*/ 357 w 603"/>
                <a:gd name="T5" fmla="*/ 463 h 531"/>
                <a:gd name="T6" fmla="*/ 366 w 603"/>
                <a:gd name="T7" fmla="*/ 484 h 531"/>
                <a:gd name="T8" fmla="*/ 363 w 603"/>
                <a:gd name="T9" fmla="*/ 508 h 531"/>
                <a:gd name="T10" fmla="*/ 401 w 603"/>
                <a:gd name="T11" fmla="*/ 528 h 531"/>
                <a:gd name="T12" fmla="*/ 441 w 603"/>
                <a:gd name="T13" fmla="*/ 491 h 531"/>
                <a:gd name="T14" fmla="*/ 515 w 603"/>
                <a:gd name="T15" fmla="*/ 485 h 531"/>
                <a:gd name="T16" fmla="*/ 546 w 603"/>
                <a:gd name="T17" fmla="*/ 500 h 531"/>
                <a:gd name="T18" fmla="*/ 572 w 603"/>
                <a:gd name="T19" fmla="*/ 488 h 531"/>
                <a:gd name="T20" fmla="*/ 577 w 603"/>
                <a:gd name="T21" fmla="*/ 469 h 531"/>
                <a:gd name="T22" fmla="*/ 586 w 603"/>
                <a:gd name="T23" fmla="*/ 444 h 531"/>
                <a:gd name="T24" fmla="*/ 586 w 603"/>
                <a:gd name="T25" fmla="*/ 417 h 531"/>
                <a:gd name="T26" fmla="*/ 591 w 603"/>
                <a:gd name="T27" fmla="*/ 395 h 531"/>
                <a:gd name="T28" fmla="*/ 586 w 603"/>
                <a:gd name="T29" fmla="*/ 365 h 531"/>
                <a:gd name="T30" fmla="*/ 589 w 603"/>
                <a:gd name="T31" fmla="*/ 343 h 531"/>
                <a:gd name="T32" fmla="*/ 600 w 603"/>
                <a:gd name="T33" fmla="*/ 302 h 531"/>
                <a:gd name="T34" fmla="*/ 589 w 603"/>
                <a:gd name="T35" fmla="*/ 287 h 531"/>
                <a:gd name="T36" fmla="*/ 564 w 603"/>
                <a:gd name="T37" fmla="*/ 288 h 531"/>
                <a:gd name="T38" fmla="*/ 539 w 603"/>
                <a:gd name="T39" fmla="*/ 299 h 531"/>
                <a:gd name="T40" fmla="*/ 506 w 603"/>
                <a:gd name="T41" fmla="*/ 305 h 531"/>
                <a:gd name="T42" fmla="*/ 523 w 603"/>
                <a:gd name="T43" fmla="*/ 282 h 531"/>
                <a:gd name="T44" fmla="*/ 526 w 603"/>
                <a:gd name="T45" fmla="*/ 237 h 531"/>
                <a:gd name="T46" fmla="*/ 527 w 603"/>
                <a:gd name="T47" fmla="*/ 214 h 531"/>
                <a:gd name="T48" fmla="*/ 505 w 603"/>
                <a:gd name="T49" fmla="*/ 207 h 531"/>
                <a:gd name="T50" fmla="*/ 490 w 603"/>
                <a:gd name="T51" fmla="*/ 219 h 531"/>
                <a:gd name="T52" fmla="*/ 438 w 603"/>
                <a:gd name="T53" fmla="*/ 214 h 531"/>
                <a:gd name="T54" fmla="*/ 415 w 603"/>
                <a:gd name="T55" fmla="*/ 183 h 531"/>
                <a:gd name="T56" fmla="*/ 360 w 603"/>
                <a:gd name="T57" fmla="*/ 177 h 531"/>
                <a:gd name="T58" fmla="*/ 335 w 603"/>
                <a:gd name="T59" fmla="*/ 122 h 531"/>
                <a:gd name="T60" fmla="*/ 287 w 603"/>
                <a:gd name="T61" fmla="*/ 81 h 531"/>
                <a:gd name="T62" fmla="*/ 268 w 603"/>
                <a:gd name="T63" fmla="*/ 59 h 531"/>
                <a:gd name="T64" fmla="*/ 224 w 603"/>
                <a:gd name="T65" fmla="*/ 42 h 531"/>
                <a:gd name="T66" fmla="*/ 164 w 603"/>
                <a:gd name="T67" fmla="*/ 8 h 531"/>
                <a:gd name="T68" fmla="*/ 138 w 603"/>
                <a:gd name="T69" fmla="*/ 45 h 531"/>
                <a:gd name="T70" fmla="*/ 99 w 603"/>
                <a:gd name="T71" fmla="*/ 80 h 531"/>
                <a:gd name="T72" fmla="*/ 108 w 603"/>
                <a:gd name="T73" fmla="*/ 88 h 531"/>
                <a:gd name="T74" fmla="*/ 110 w 603"/>
                <a:gd name="T75" fmla="*/ 111 h 531"/>
                <a:gd name="T76" fmla="*/ 93 w 603"/>
                <a:gd name="T77" fmla="*/ 115 h 531"/>
                <a:gd name="T78" fmla="*/ 49 w 603"/>
                <a:gd name="T79" fmla="*/ 117 h 531"/>
                <a:gd name="T80" fmla="*/ 44 w 603"/>
                <a:gd name="T81" fmla="*/ 134 h 531"/>
                <a:gd name="T82" fmla="*/ 30 w 603"/>
                <a:gd name="T83" fmla="*/ 146 h 531"/>
                <a:gd name="T84" fmla="*/ 25 w 603"/>
                <a:gd name="T85" fmla="*/ 158 h 531"/>
                <a:gd name="T86" fmla="*/ 16 w 603"/>
                <a:gd name="T87" fmla="*/ 186 h 531"/>
                <a:gd name="T88" fmla="*/ 3 w 603"/>
                <a:gd name="T89" fmla="*/ 232 h 531"/>
                <a:gd name="T90" fmla="*/ 9 w 603"/>
                <a:gd name="T91" fmla="*/ 245 h 531"/>
                <a:gd name="T92" fmla="*/ 13 w 603"/>
                <a:gd name="T93" fmla="*/ 266 h 531"/>
                <a:gd name="T94" fmla="*/ 13 w 603"/>
                <a:gd name="T95" fmla="*/ 287 h 531"/>
                <a:gd name="T96" fmla="*/ 0 w 603"/>
                <a:gd name="T97" fmla="*/ 312 h 531"/>
                <a:gd name="T98" fmla="*/ 24 w 603"/>
                <a:gd name="T99" fmla="*/ 333 h 531"/>
                <a:gd name="T100" fmla="*/ 47 w 603"/>
                <a:gd name="T101" fmla="*/ 336 h 531"/>
                <a:gd name="T102" fmla="*/ 71 w 603"/>
                <a:gd name="T103" fmla="*/ 410 h 531"/>
                <a:gd name="T104" fmla="*/ 108 w 603"/>
                <a:gd name="T105" fmla="*/ 442 h 531"/>
                <a:gd name="T106" fmla="*/ 118 w 603"/>
                <a:gd name="T107" fmla="*/ 428 h 531"/>
                <a:gd name="T108" fmla="*/ 132 w 603"/>
                <a:gd name="T109" fmla="*/ 445 h 531"/>
                <a:gd name="T110" fmla="*/ 154 w 603"/>
                <a:gd name="T111" fmla="*/ 439 h 531"/>
                <a:gd name="T112" fmla="*/ 204 w 603"/>
                <a:gd name="T113" fmla="*/ 451 h 531"/>
                <a:gd name="T114" fmla="*/ 225 w 603"/>
                <a:gd name="T115" fmla="*/ 436 h 531"/>
                <a:gd name="T116" fmla="*/ 250 w 603"/>
                <a:gd name="T117" fmla="*/ 428 h 531"/>
                <a:gd name="T118" fmla="*/ 275 w 603"/>
                <a:gd name="T119" fmla="*/ 428 h 531"/>
                <a:gd name="T120" fmla="*/ 302 w 603"/>
                <a:gd name="T121" fmla="*/ 425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3" h="531">
                  <a:moveTo>
                    <a:pt x="315" y="419"/>
                  </a:moveTo>
                  <a:lnTo>
                    <a:pt x="315" y="419"/>
                  </a:lnTo>
                  <a:lnTo>
                    <a:pt x="317" y="414"/>
                  </a:lnTo>
                  <a:lnTo>
                    <a:pt x="318" y="408"/>
                  </a:lnTo>
                  <a:lnTo>
                    <a:pt x="320" y="405"/>
                  </a:lnTo>
                  <a:lnTo>
                    <a:pt x="321" y="404"/>
                  </a:lnTo>
                  <a:lnTo>
                    <a:pt x="323" y="404"/>
                  </a:lnTo>
                  <a:lnTo>
                    <a:pt x="323" y="404"/>
                  </a:lnTo>
                  <a:lnTo>
                    <a:pt x="326" y="408"/>
                  </a:lnTo>
                  <a:lnTo>
                    <a:pt x="327" y="413"/>
                  </a:lnTo>
                  <a:lnTo>
                    <a:pt x="330" y="428"/>
                  </a:lnTo>
                  <a:lnTo>
                    <a:pt x="330" y="428"/>
                  </a:lnTo>
                  <a:lnTo>
                    <a:pt x="332" y="432"/>
                  </a:lnTo>
                  <a:lnTo>
                    <a:pt x="335" y="436"/>
                  </a:lnTo>
                  <a:lnTo>
                    <a:pt x="344" y="447"/>
                  </a:lnTo>
                  <a:lnTo>
                    <a:pt x="344" y="447"/>
                  </a:lnTo>
                  <a:lnTo>
                    <a:pt x="352" y="456"/>
                  </a:lnTo>
                  <a:lnTo>
                    <a:pt x="355" y="457"/>
                  </a:lnTo>
                  <a:lnTo>
                    <a:pt x="355" y="460"/>
                  </a:lnTo>
                  <a:lnTo>
                    <a:pt x="355" y="460"/>
                  </a:lnTo>
                  <a:lnTo>
                    <a:pt x="357" y="463"/>
                  </a:lnTo>
                  <a:lnTo>
                    <a:pt x="358" y="465"/>
                  </a:lnTo>
                  <a:lnTo>
                    <a:pt x="363" y="466"/>
                  </a:lnTo>
                  <a:lnTo>
                    <a:pt x="363" y="466"/>
                  </a:lnTo>
                  <a:lnTo>
                    <a:pt x="367" y="468"/>
                  </a:lnTo>
                  <a:lnTo>
                    <a:pt x="369" y="472"/>
                  </a:lnTo>
                  <a:lnTo>
                    <a:pt x="370" y="476"/>
                  </a:lnTo>
                  <a:lnTo>
                    <a:pt x="366" y="484"/>
                  </a:lnTo>
                  <a:lnTo>
                    <a:pt x="366" y="484"/>
                  </a:lnTo>
                  <a:lnTo>
                    <a:pt x="361" y="491"/>
                  </a:lnTo>
                  <a:lnTo>
                    <a:pt x="357" y="497"/>
                  </a:lnTo>
                  <a:lnTo>
                    <a:pt x="357" y="499"/>
                  </a:lnTo>
                  <a:lnTo>
                    <a:pt x="357" y="502"/>
                  </a:lnTo>
                  <a:lnTo>
                    <a:pt x="358" y="505"/>
                  </a:lnTo>
                  <a:lnTo>
                    <a:pt x="363" y="508"/>
                  </a:lnTo>
                  <a:lnTo>
                    <a:pt x="363" y="508"/>
                  </a:lnTo>
                  <a:lnTo>
                    <a:pt x="382" y="522"/>
                  </a:lnTo>
                  <a:lnTo>
                    <a:pt x="391" y="528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400" y="530"/>
                  </a:lnTo>
                  <a:lnTo>
                    <a:pt x="401" y="528"/>
                  </a:lnTo>
                  <a:lnTo>
                    <a:pt x="404" y="524"/>
                  </a:lnTo>
                  <a:lnTo>
                    <a:pt x="409" y="516"/>
                  </a:lnTo>
                  <a:lnTo>
                    <a:pt x="412" y="511"/>
                  </a:lnTo>
                  <a:lnTo>
                    <a:pt x="412" y="511"/>
                  </a:lnTo>
                  <a:lnTo>
                    <a:pt x="419" y="505"/>
                  </a:lnTo>
                  <a:lnTo>
                    <a:pt x="429" y="497"/>
                  </a:lnTo>
                  <a:lnTo>
                    <a:pt x="441" y="491"/>
                  </a:lnTo>
                  <a:lnTo>
                    <a:pt x="450" y="487"/>
                  </a:lnTo>
                  <a:lnTo>
                    <a:pt x="450" y="487"/>
                  </a:lnTo>
                  <a:lnTo>
                    <a:pt x="459" y="485"/>
                  </a:lnTo>
                  <a:lnTo>
                    <a:pt x="471" y="484"/>
                  </a:lnTo>
                  <a:lnTo>
                    <a:pt x="500" y="485"/>
                  </a:lnTo>
                  <a:lnTo>
                    <a:pt x="500" y="485"/>
                  </a:lnTo>
                  <a:lnTo>
                    <a:pt x="515" y="485"/>
                  </a:lnTo>
                  <a:lnTo>
                    <a:pt x="524" y="488"/>
                  </a:lnTo>
                  <a:lnTo>
                    <a:pt x="532" y="490"/>
                  </a:lnTo>
                  <a:lnTo>
                    <a:pt x="536" y="494"/>
                  </a:lnTo>
                  <a:lnTo>
                    <a:pt x="536" y="494"/>
                  </a:lnTo>
                  <a:lnTo>
                    <a:pt x="540" y="499"/>
                  </a:lnTo>
                  <a:lnTo>
                    <a:pt x="543" y="502"/>
                  </a:lnTo>
                  <a:lnTo>
                    <a:pt x="546" y="500"/>
                  </a:lnTo>
                  <a:lnTo>
                    <a:pt x="551" y="497"/>
                  </a:lnTo>
                  <a:lnTo>
                    <a:pt x="551" y="497"/>
                  </a:lnTo>
                  <a:lnTo>
                    <a:pt x="555" y="493"/>
                  </a:lnTo>
                  <a:lnTo>
                    <a:pt x="558" y="490"/>
                  </a:lnTo>
                  <a:lnTo>
                    <a:pt x="564" y="488"/>
                  </a:lnTo>
                  <a:lnTo>
                    <a:pt x="572" y="488"/>
                  </a:lnTo>
                  <a:lnTo>
                    <a:pt x="572" y="488"/>
                  </a:lnTo>
                  <a:lnTo>
                    <a:pt x="583" y="487"/>
                  </a:lnTo>
                  <a:lnTo>
                    <a:pt x="586" y="485"/>
                  </a:lnTo>
                  <a:lnTo>
                    <a:pt x="588" y="484"/>
                  </a:lnTo>
                  <a:lnTo>
                    <a:pt x="588" y="484"/>
                  </a:lnTo>
                  <a:lnTo>
                    <a:pt x="586" y="481"/>
                  </a:lnTo>
                  <a:lnTo>
                    <a:pt x="582" y="475"/>
                  </a:lnTo>
                  <a:lnTo>
                    <a:pt x="577" y="469"/>
                  </a:lnTo>
                  <a:lnTo>
                    <a:pt x="575" y="465"/>
                  </a:lnTo>
                  <a:lnTo>
                    <a:pt x="575" y="465"/>
                  </a:lnTo>
                  <a:lnTo>
                    <a:pt x="577" y="456"/>
                  </a:lnTo>
                  <a:lnTo>
                    <a:pt x="580" y="451"/>
                  </a:lnTo>
                  <a:lnTo>
                    <a:pt x="583" y="447"/>
                  </a:lnTo>
                  <a:lnTo>
                    <a:pt x="583" y="447"/>
                  </a:lnTo>
                  <a:lnTo>
                    <a:pt x="586" y="444"/>
                  </a:lnTo>
                  <a:lnTo>
                    <a:pt x="591" y="442"/>
                  </a:lnTo>
                  <a:lnTo>
                    <a:pt x="594" y="441"/>
                  </a:lnTo>
                  <a:lnTo>
                    <a:pt x="595" y="438"/>
                  </a:lnTo>
                  <a:lnTo>
                    <a:pt x="595" y="438"/>
                  </a:lnTo>
                  <a:lnTo>
                    <a:pt x="594" y="433"/>
                  </a:lnTo>
                  <a:lnTo>
                    <a:pt x="592" y="429"/>
                  </a:lnTo>
                  <a:lnTo>
                    <a:pt x="586" y="417"/>
                  </a:lnTo>
                  <a:lnTo>
                    <a:pt x="586" y="417"/>
                  </a:lnTo>
                  <a:lnTo>
                    <a:pt x="585" y="411"/>
                  </a:lnTo>
                  <a:lnTo>
                    <a:pt x="585" y="408"/>
                  </a:lnTo>
                  <a:lnTo>
                    <a:pt x="585" y="405"/>
                  </a:lnTo>
                  <a:lnTo>
                    <a:pt x="588" y="401"/>
                  </a:lnTo>
                  <a:lnTo>
                    <a:pt x="588" y="401"/>
                  </a:lnTo>
                  <a:lnTo>
                    <a:pt x="591" y="395"/>
                  </a:lnTo>
                  <a:lnTo>
                    <a:pt x="592" y="388"/>
                  </a:lnTo>
                  <a:lnTo>
                    <a:pt x="594" y="380"/>
                  </a:lnTo>
                  <a:lnTo>
                    <a:pt x="592" y="373"/>
                  </a:lnTo>
                  <a:lnTo>
                    <a:pt x="592" y="373"/>
                  </a:lnTo>
                  <a:lnTo>
                    <a:pt x="591" y="370"/>
                  </a:lnTo>
                  <a:lnTo>
                    <a:pt x="588" y="367"/>
                  </a:lnTo>
                  <a:lnTo>
                    <a:pt x="586" y="365"/>
                  </a:lnTo>
                  <a:lnTo>
                    <a:pt x="586" y="362"/>
                  </a:lnTo>
                  <a:lnTo>
                    <a:pt x="586" y="362"/>
                  </a:lnTo>
                  <a:lnTo>
                    <a:pt x="586" y="361"/>
                  </a:lnTo>
                  <a:lnTo>
                    <a:pt x="586" y="356"/>
                  </a:lnTo>
                  <a:lnTo>
                    <a:pt x="586" y="351"/>
                  </a:lnTo>
                  <a:lnTo>
                    <a:pt x="589" y="343"/>
                  </a:lnTo>
                  <a:lnTo>
                    <a:pt x="589" y="343"/>
                  </a:lnTo>
                  <a:lnTo>
                    <a:pt x="594" y="330"/>
                  </a:lnTo>
                  <a:lnTo>
                    <a:pt x="594" y="319"/>
                  </a:lnTo>
                  <a:lnTo>
                    <a:pt x="594" y="319"/>
                  </a:lnTo>
                  <a:lnTo>
                    <a:pt x="595" y="312"/>
                  </a:lnTo>
                  <a:lnTo>
                    <a:pt x="598" y="306"/>
                  </a:lnTo>
                  <a:lnTo>
                    <a:pt x="598" y="306"/>
                  </a:lnTo>
                  <a:lnTo>
                    <a:pt x="600" y="302"/>
                  </a:lnTo>
                  <a:lnTo>
                    <a:pt x="601" y="296"/>
                  </a:lnTo>
                  <a:lnTo>
                    <a:pt x="603" y="290"/>
                  </a:lnTo>
                  <a:lnTo>
                    <a:pt x="603" y="290"/>
                  </a:lnTo>
                  <a:lnTo>
                    <a:pt x="598" y="290"/>
                  </a:lnTo>
                  <a:lnTo>
                    <a:pt x="598" y="290"/>
                  </a:lnTo>
                  <a:lnTo>
                    <a:pt x="594" y="288"/>
                  </a:lnTo>
                  <a:lnTo>
                    <a:pt x="589" y="287"/>
                  </a:lnTo>
                  <a:lnTo>
                    <a:pt x="580" y="282"/>
                  </a:lnTo>
                  <a:lnTo>
                    <a:pt x="580" y="282"/>
                  </a:lnTo>
                  <a:lnTo>
                    <a:pt x="575" y="281"/>
                  </a:lnTo>
                  <a:lnTo>
                    <a:pt x="570" y="282"/>
                  </a:lnTo>
                  <a:lnTo>
                    <a:pt x="567" y="284"/>
                  </a:lnTo>
                  <a:lnTo>
                    <a:pt x="564" y="288"/>
                  </a:lnTo>
                  <a:lnTo>
                    <a:pt x="564" y="288"/>
                  </a:lnTo>
                  <a:lnTo>
                    <a:pt x="561" y="291"/>
                  </a:lnTo>
                  <a:lnTo>
                    <a:pt x="558" y="291"/>
                  </a:lnTo>
                  <a:lnTo>
                    <a:pt x="548" y="291"/>
                  </a:lnTo>
                  <a:lnTo>
                    <a:pt x="548" y="291"/>
                  </a:lnTo>
                  <a:lnTo>
                    <a:pt x="545" y="291"/>
                  </a:lnTo>
                  <a:lnTo>
                    <a:pt x="542" y="293"/>
                  </a:lnTo>
                  <a:lnTo>
                    <a:pt x="539" y="299"/>
                  </a:lnTo>
                  <a:lnTo>
                    <a:pt x="536" y="305"/>
                  </a:lnTo>
                  <a:lnTo>
                    <a:pt x="533" y="308"/>
                  </a:lnTo>
                  <a:lnTo>
                    <a:pt x="533" y="308"/>
                  </a:lnTo>
                  <a:lnTo>
                    <a:pt x="527" y="309"/>
                  </a:lnTo>
                  <a:lnTo>
                    <a:pt x="520" y="308"/>
                  </a:lnTo>
                  <a:lnTo>
                    <a:pt x="506" y="305"/>
                  </a:lnTo>
                  <a:lnTo>
                    <a:pt x="506" y="305"/>
                  </a:lnTo>
                  <a:lnTo>
                    <a:pt x="506" y="303"/>
                  </a:lnTo>
                  <a:lnTo>
                    <a:pt x="508" y="302"/>
                  </a:lnTo>
                  <a:lnTo>
                    <a:pt x="511" y="299"/>
                  </a:lnTo>
                  <a:lnTo>
                    <a:pt x="520" y="290"/>
                  </a:lnTo>
                  <a:lnTo>
                    <a:pt x="520" y="290"/>
                  </a:lnTo>
                  <a:lnTo>
                    <a:pt x="521" y="287"/>
                  </a:lnTo>
                  <a:lnTo>
                    <a:pt x="523" y="282"/>
                  </a:lnTo>
                  <a:lnTo>
                    <a:pt x="523" y="271"/>
                  </a:lnTo>
                  <a:lnTo>
                    <a:pt x="521" y="245"/>
                  </a:lnTo>
                  <a:lnTo>
                    <a:pt x="521" y="245"/>
                  </a:lnTo>
                  <a:lnTo>
                    <a:pt x="521" y="238"/>
                  </a:lnTo>
                  <a:lnTo>
                    <a:pt x="521" y="237"/>
                  </a:lnTo>
                  <a:lnTo>
                    <a:pt x="523" y="237"/>
                  </a:lnTo>
                  <a:lnTo>
                    <a:pt x="526" y="237"/>
                  </a:lnTo>
                  <a:lnTo>
                    <a:pt x="532" y="237"/>
                  </a:lnTo>
                  <a:lnTo>
                    <a:pt x="532" y="237"/>
                  </a:lnTo>
                  <a:lnTo>
                    <a:pt x="533" y="235"/>
                  </a:lnTo>
                  <a:lnTo>
                    <a:pt x="535" y="232"/>
                  </a:lnTo>
                  <a:lnTo>
                    <a:pt x="533" y="226"/>
                  </a:lnTo>
                  <a:lnTo>
                    <a:pt x="530" y="219"/>
                  </a:lnTo>
                  <a:lnTo>
                    <a:pt x="527" y="214"/>
                  </a:lnTo>
                  <a:lnTo>
                    <a:pt x="527" y="214"/>
                  </a:lnTo>
                  <a:lnTo>
                    <a:pt x="524" y="210"/>
                  </a:lnTo>
                  <a:lnTo>
                    <a:pt x="520" y="207"/>
                  </a:lnTo>
                  <a:lnTo>
                    <a:pt x="515" y="205"/>
                  </a:lnTo>
                  <a:lnTo>
                    <a:pt x="508" y="205"/>
                  </a:lnTo>
                  <a:lnTo>
                    <a:pt x="508" y="205"/>
                  </a:lnTo>
                  <a:lnTo>
                    <a:pt x="505" y="207"/>
                  </a:lnTo>
                  <a:lnTo>
                    <a:pt x="503" y="208"/>
                  </a:lnTo>
                  <a:lnTo>
                    <a:pt x="502" y="213"/>
                  </a:lnTo>
                  <a:lnTo>
                    <a:pt x="502" y="217"/>
                  </a:lnTo>
                  <a:lnTo>
                    <a:pt x="502" y="220"/>
                  </a:lnTo>
                  <a:lnTo>
                    <a:pt x="502" y="220"/>
                  </a:lnTo>
                  <a:lnTo>
                    <a:pt x="498" y="220"/>
                  </a:lnTo>
                  <a:lnTo>
                    <a:pt x="490" y="219"/>
                  </a:lnTo>
                  <a:lnTo>
                    <a:pt x="474" y="217"/>
                  </a:lnTo>
                  <a:lnTo>
                    <a:pt x="474" y="217"/>
                  </a:lnTo>
                  <a:lnTo>
                    <a:pt x="459" y="214"/>
                  </a:lnTo>
                  <a:lnTo>
                    <a:pt x="452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38" y="214"/>
                  </a:lnTo>
                  <a:lnTo>
                    <a:pt x="431" y="214"/>
                  </a:lnTo>
                  <a:lnTo>
                    <a:pt x="425" y="213"/>
                  </a:lnTo>
                  <a:lnTo>
                    <a:pt x="422" y="210"/>
                  </a:lnTo>
                  <a:lnTo>
                    <a:pt x="421" y="207"/>
                  </a:lnTo>
                  <a:lnTo>
                    <a:pt x="421" y="207"/>
                  </a:lnTo>
                  <a:lnTo>
                    <a:pt x="416" y="191"/>
                  </a:lnTo>
                  <a:lnTo>
                    <a:pt x="415" y="183"/>
                  </a:lnTo>
                  <a:lnTo>
                    <a:pt x="413" y="180"/>
                  </a:lnTo>
                  <a:lnTo>
                    <a:pt x="412" y="179"/>
                  </a:lnTo>
                  <a:lnTo>
                    <a:pt x="412" y="179"/>
                  </a:lnTo>
                  <a:lnTo>
                    <a:pt x="403" y="179"/>
                  </a:lnTo>
                  <a:lnTo>
                    <a:pt x="388" y="177"/>
                  </a:lnTo>
                  <a:lnTo>
                    <a:pt x="360" y="177"/>
                  </a:lnTo>
                  <a:lnTo>
                    <a:pt x="360" y="177"/>
                  </a:lnTo>
                  <a:lnTo>
                    <a:pt x="352" y="176"/>
                  </a:lnTo>
                  <a:lnTo>
                    <a:pt x="348" y="173"/>
                  </a:lnTo>
                  <a:lnTo>
                    <a:pt x="345" y="168"/>
                  </a:lnTo>
                  <a:lnTo>
                    <a:pt x="344" y="161"/>
                  </a:lnTo>
                  <a:lnTo>
                    <a:pt x="344" y="161"/>
                  </a:lnTo>
                  <a:lnTo>
                    <a:pt x="339" y="14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2" y="115"/>
                  </a:lnTo>
                  <a:lnTo>
                    <a:pt x="327" y="111"/>
                  </a:lnTo>
                  <a:lnTo>
                    <a:pt x="314" y="100"/>
                  </a:lnTo>
                  <a:lnTo>
                    <a:pt x="314" y="100"/>
                  </a:lnTo>
                  <a:lnTo>
                    <a:pt x="296" y="87"/>
                  </a:lnTo>
                  <a:lnTo>
                    <a:pt x="287" y="81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4" y="75"/>
                  </a:lnTo>
                  <a:lnTo>
                    <a:pt x="272" y="72"/>
                  </a:lnTo>
                  <a:lnTo>
                    <a:pt x="269" y="68"/>
                  </a:lnTo>
                  <a:lnTo>
                    <a:pt x="268" y="62"/>
                  </a:lnTo>
                  <a:lnTo>
                    <a:pt x="268" y="59"/>
                  </a:lnTo>
                  <a:lnTo>
                    <a:pt x="268" y="59"/>
                  </a:lnTo>
                  <a:lnTo>
                    <a:pt x="264" y="56"/>
                  </a:lnTo>
                  <a:lnTo>
                    <a:pt x="258" y="54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232" y="47"/>
                  </a:lnTo>
                  <a:lnTo>
                    <a:pt x="224" y="42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195" y="29"/>
                  </a:lnTo>
                  <a:lnTo>
                    <a:pt x="187" y="2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4" y="8"/>
                  </a:lnTo>
                  <a:lnTo>
                    <a:pt x="157" y="4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16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38" y="45"/>
                  </a:lnTo>
                  <a:lnTo>
                    <a:pt x="133" y="57"/>
                  </a:lnTo>
                  <a:lnTo>
                    <a:pt x="127" y="65"/>
                  </a:lnTo>
                  <a:lnTo>
                    <a:pt x="124" y="68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04" y="77"/>
                  </a:lnTo>
                  <a:lnTo>
                    <a:pt x="99" y="80"/>
                  </a:lnTo>
                  <a:lnTo>
                    <a:pt x="98" y="81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2" y="84"/>
                  </a:lnTo>
                  <a:lnTo>
                    <a:pt x="105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1"/>
                  </a:lnTo>
                  <a:lnTo>
                    <a:pt x="108" y="91"/>
                  </a:lnTo>
                  <a:lnTo>
                    <a:pt x="104" y="100"/>
                  </a:lnTo>
                  <a:lnTo>
                    <a:pt x="102" y="103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10" y="111"/>
                  </a:lnTo>
                  <a:lnTo>
                    <a:pt x="111" y="115"/>
                  </a:lnTo>
                  <a:lnTo>
                    <a:pt x="111" y="118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5" y="118"/>
                  </a:lnTo>
                  <a:lnTo>
                    <a:pt x="99" y="117"/>
                  </a:lnTo>
                  <a:lnTo>
                    <a:pt x="93" y="115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77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56" y="115"/>
                  </a:lnTo>
                  <a:lnTo>
                    <a:pt x="49" y="117"/>
                  </a:lnTo>
                  <a:lnTo>
                    <a:pt x="43" y="121"/>
                  </a:lnTo>
                  <a:lnTo>
                    <a:pt x="43" y="122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6" y="128"/>
                  </a:lnTo>
                  <a:lnTo>
                    <a:pt x="46" y="131"/>
                  </a:lnTo>
                  <a:lnTo>
                    <a:pt x="44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4" y="139"/>
                  </a:lnTo>
                  <a:lnTo>
                    <a:pt x="31" y="140"/>
                  </a:lnTo>
                  <a:lnTo>
                    <a:pt x="30" y="143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1" y="149"/>
                  </a:lnTo>
                  <a:lnTo>
                    <a:pt x="30" y="151"/>
                  </a:lnTo>
                  <a:lnTo>
                    <a:pt x="27" y="154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2" y="174"/>
                  </a:lnTo>
                  <a:lnTo>
                    <a:pt x="19" y="180"/>
                  </a:lnTo>
                  <a:lnTo>
                    <a:pt x="18" y="183"/>
                  </a:lnTo>
                  <a:lnTo>
                    <a:pt x="16" y="186"/>
                  </a:lnTo>
                  <a:lnTo>
                    <a:pt x="16" y="186"/>
                  </a:lnTo>
                  <a:lnTo>
                    <a:pt x="16" y="192"/>
                  </a:lnTo>
                  <a:lnTo>
                    <a:pt x="16" y="201"/>
                  </a:lnTo>
                  <a:lnTo>
                    <a:pt x="15" y="210"/>
                  </a:lnTo>
                  <a:lnTo>
                    <a:pt x="12" y="219"/>
                  </a:lnTo>
                  <a:lnTo>
                    <a:pt x="12" y="219"/>
                  </a:lnTo>
                  <a:lnTo>
                    <a:pt x="4" y="228"/>
                  </a:lnTo>
                  <a:lnTo>
                    <a:pt x="3" y="232"/>
                  </a:lnTo>
                  <a:lnTo>
                    <a:pt x="1" y="235"/>
                  </a:lnTo>
                  <a:lnTo>
                    <a:pt x="1" y="235"/>
                  </a:lnTo>
                  <a:lnTo>
                    <a:pt x="3" y="238"/>
                  </a:lnTo>
                  <a:lnTo>
                    <a:pt x="6" y="241"/>
                  </a:lnTo>
                  <a:lnTo>
                    <a:pt x="9" y="242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10" y="253"/>
                  </a:lnTo>
                  <a:lnTo>
                    <a:pt x="12" y="256"/>
                  </a:lnTo>
                  <a:lnTo>
                    <a:pt x="13" y="257"/>
                  </a:lnTo>
                  <a:lnTo>
                    <a:pt x="13" y="257"/>
                  </a:lnTo>
                  <a:lnTo>
                    <a:pt x="15" y="259"/>
                  </a:lnTo>
                  <a:lnTo>
                    <a:pt x="13" y="262"/>
                  </a:lnTo>
                  <a:lnTo>
                    <a:pt x="13" y="266"/>
                  </a:lnTo>
                  <a:lnTo>
                    <a:pt x="15" y="271"/>
                  </a:lnTo>
                  <a:lnTo>
                    <a:pt x="15" y="271"/>
                  </a:lnTo>
                  <a:lnTo>
                    <a:pt x="16" y="277"/>
                  </a:lnTo>
                  <a:lnTo>
                    <a:pt x="18" y="281"/>
                  </a:lnTo>
                  <a:lnTo>
                    <a:pt x="16" y="285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7" y="290"/>
                  </a:lnTo>
                  <a:lnTo>
                    <a:pt x="6" y="291"/>
                  </a:lnTo>
                  <a:lnTo>
                    <a:pt x="4" y="294"/>
                  </a:lnTo>
                  <a:lnTo>
                    <a:pt x="4" y="294"/>
                  </a:lnTo>
                  <a:lnTo>
                    <a:pt x="3" y="303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0" y="316"/>
                  </a:lnTo>
                  <a:lnTo>
                    <a:pt x="1" y="322"/>
                  </a:lnTo>
                  <a:lnTo>
                    <a:pt x="3" y="333"/>
                  </a:lnTo>
                  <a:lnTo>
                    <a:pt x="3" y="333"/>
                  </a:lnTo>
                  <a:lnTo>
                    <a:pt x="4" y="333"/>
                  </a:lnTo>
                  <a:lnTo>
                    <a:pt x="4" y="333"/>
                  </a:lnTo>
                  <a:lnTo>
                    <a:pt x="24" y="333"/>
                  </a:lnTo>
                  <a:lnTo>
                    <a:pt x="40" y="331"/>
                  </a:lnTo>
                  <a:lnTo>
                    <a:pt x="52" y="330"/>
                  </a:lnTo>
                  <a:lnTo>
                    <a:pt x="59" y="328"/>
                  </a:lnTo>
                  <a:lnTo>
                    <a:pt x="59" y="328"/>
                  </a:lnTo>
                  <a:lnTo>
                    <a:pt x="56" y="330"/>
                  </a:lnTo>
                  <a:lnTo>
                    <a:pt x="52" y="333"/>
                  </a:lnTo>
                  <a:lnTo>
                    <a:pt x="47" y="336"/>
                  </a:lnTo>
                  <a:lnTo>
                    <a:pt x="44" y="342"/>
                  </a:lnTo>
                  <a:lnTo>
                    <a:pt x="43" y="349"/>
                  </a:lnTo>
                  <a:lnTo>
                    <a:pt x="44" y="359"/>
                  </a:lnTo>
                  <a:lnTo>
                    <a:pt x="49" y="371"/>
                  </a:lnTo>
                  <a:lnTo>
                    <a:pt x="49" y="371"/>
                  </a:lnTo>
                  <a:lnTo>
                    <a:pt x="59" y="391"/>
                  </a:lnTo>
                  <a:lnTo>
                    <a:pt x="71" y="410"/>
                  </a:lnTo>
                  <a:lnTo>
                    <a:pt x="81" y="428"/>
                  </a:lnTo>
                  <a:lnTo>
                    <a:pt x="89" y="442"/>
                  </a:lnTo>
                  <a:lnTo>
                    <a:pt x="89" y="442"/>
                  </a:lnTo>
                  <a:lnTo>
                    <a:pt x="93" y="442"/>
                  </a:lnTo>
                  <a:lnTo>
                    <a:pt x="99" y="444"/>
                  </a:lnTo>
                  <a:lnTo>
                    <a:pt x="104" y="444"/>
                  </a:lnTo>
                  <a:lnTo>
                    <a:pt x="108" y="442"/>
                  </a:lnTo>
                  <a:lnTo>
                    <a:pt x="108" y="442"/>
                  </a:lnTo>
                  <a:lnTo>
                    <a:pt x="110" y="439"/>
                  </a:lnTo>
                  <a:lnTo>
                    <a:pt x="111" y="436"/>
                  </a:lnTo>
                  <a:lnTo>
                    <a:pt x="113" y="432"/>
                  </a:lnTo>
                  <a:lnTo>
                    <a:pt x="113" y="432"/>
                  </a:lnTo>
                  <a:lnTo>
                    <a:pt x="114" y="429"/>
                  </a:lnTo>
                  <a:lnTo>
                    <a:pt x="118" y="428"/>
                  </a:lnTo>
                  <a:lnTo>
                    <a:pt x="123" y="429"/>
                  </a:lnTo>
                  <a:lnTo>
                    <a:pt x="126" y="431"/>
                  </a:lnTo>
                  <a:lnTo>
                    <a:pt x="126" y="432"/>
                  </a:lnTo>
                  <a:lnTo>
                    <a:pt x="126" y="432"/>
                  </a:lnTo>
                  <a:lnTo>
                    <a:pt x="127" y="436"/>
                  </a:lnTo>
                  <a:lnTo>
                    <a:pt x="129" y="441"/>
                  </a:lnTo>
                  <a:lnTo>
                    <a:pt x="132" y="445"/>
                  </a:lnTo>
                  <a:lnTo>
                    <a:pt x="136" y="447"/>
                  </a:lnTo>
                  <a:lnTo>
                    <a:pt x="136" y="447"/>
                  </a:lnTo>
                  <a:lnTo>
                    <a:pt x="147" y="445"/>
                  </a:lnTo>
                  <a:lnTo>
                    <a:pt x="150" y="444"/>
                  </a:lnTo>
                  <a:lnTo>
                    <a:pt x="153" y="442"/>
                  </a:lnTo>
                  <a:lnTo>
                    <a:pt x="153" y="442"/>
                  </a:lnTo>
                  <a:lnTo>
                    <a:pt x="154" y="439"/>
                  </a:lnTo>
                  <a:lnTo>
                    <a:pt x="155" y="438"/>
                  </a:lnTo>
                  <a:lnTo>
                    <a:pt x="160" y="438"/>
                  </a:lnTo>
                  <a:lnTo>
                    <a:pt x="167" y="439"/>
                  </a:lnTo>
                  <a:lnTo>
                    <a:pt x="167" y="439"/>
                  </a:lnTo>
                  <a:lnTo>
                    <a:pt x="194" y="447"/>
                  </a:lnTo>
                  <a:lnTo>
                    <a:pt x="194" y="447"/>
                  </a:lnTo>
                  <a:lnTo>
                    <a:pt x="204" y="451"/>
                  </a:lnTo>
                  <a:lnTo>
                    <a:pt x="209" y="451"/>
                  </a:lnTo>
                  <a:lnTo>
                    <a:pt x="215" y="448"/>
                  </a:lnTo>
                  <a:lnTo>
                    <a:pt x="215" y="448"/>
                  </a:lnTo>
                  <a:lnTo>
                    <a:pt x="219" y="445"/>
                  </a:lnTo>
                  <a:lnTo>
                    <a:pt x="221" y="441"/>
                  </a:lnTo>
                  <a:lnTo>
                    <a:pt x="222" y="438"/>
                  </a:lnTo>
                  <a:lnTo>
                    <a:pt x="225" y="436"/>
                  </a:lnTo>
                  <a:lnTo>
                    <a:pt x="225" y="436"/>
                  </a:lnTo>
                  <a:lnTo>
                    <a:pt x="227" y="436"/>
                  </a:lnTo>
                  <a:lnTo>
                    <a:pt x="230" y="436"/>
                  </a:lnTo>
                  <a:lnTo>
                    <a:pt x="237" y="436"/>
                  </a:lnTo>
                  <a:lnTo>
                    <a:pt x="237" y="436"/>
                  </a:lnTo>
                  <a:lnTo>
                    <a:pt x="244" y="433"/>
                  </a:lnTo>
                  <a:lnTo>
                    <a:pt x="250" y="428"/>
                  </a:lnTo>
                  <a:lnTo>
                    <a:pt x="250" y="428"/>
                  </a:lnTo>
                  <a:lnTo>
                    <a:pt x="256" y="422"/>
                  </a:lnTo>
                  <a:lnTo>
                    <a:pt x="258" y="422"/>
                  </a:lnTo>
                  <a:lnTo>
                    <a:pt x="262" y="422"/>
                  </a:lnTo>
                  <a:lnTo>
                    <a:pt x="262" y="422"/>
                  </a:lnTo>
                  <a:lnTo>
                    <a:pt x="271" y="426"/>
                  </a:lnTo>
                  <a:lnTo>
                    <a:pt x="275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92" y="428"/>
                  </a:lnTo>
                  <a:lnTo>
                    <a:pt x="296" y="428"/>
                  </a:lnTo>
                  <a:lnTo>
                    <a:pt x="299" y="426"/>
                  </a:lnTo>
                  <a:lnTo>
                    <a:pt x="299" y="426"/>
                  </a:lnTo>
                  <a:lnTo>
                    <a:pt x="302" y="425"/>
                  </a:lnTo>
                  <a:lnTo>
                    <a:pt x="307" y="423"/>
                  </a:lnTo>
                  <a:lnTo>
                    <a:pt x="311" y="422"/>
                  </a:lnTo>
                  <a:lnTo>
                    <a:pt x="315" y="419"/>
                  </a:lnTo>
                  <a:lnTo>
                    <a:pt x="315" y="4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9" name="Freeform 58">
              <a:extLst>
                <a:ext uri="{FF2B5EF4-FFF2-40B4-BE49-F238E27FC236}">
                  <a16:creationId xmlns:a16="http://schemas.microsoft.com/office/drawing/2014/main" id="{7900851E-0078-EB40-9407-2BFACCE1A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3763963"/>
              <a:ext cx="527050" cy="474662"/>
            </a:xfrm>
            <a:custGeom>
              <a:avLst/>
              <a:gdLst>
                <a:gd name="T0" fmla="*/ 12 w 332"/>
                <a:gd name="T1" fmla="*/ 165 h 299"/>
                <a:gd name="T2" fmla="*/ 35 w 332"/>
                <a:gd name="T3" fmla="*/ 179 h 299"/>
                <a:gd name="T4" fmla="*/ 43 w 332"/>
                <a:gd name="T5" fmla="*/ 185 h 299"/>
                <a:gd name="T6" fmla="*/ 61 w 332"/>
                <a:gd name="T7" fmla="*/ 189 h 299"/>
                <a:gd name="T8" fmla="*/ 79 w 332"/>
                <a:gd name="T9" fmla="*/ 194 h 299"/>
                <a:gd name="T10" fmla="*/ 88 w 332"/>
                <a:gd name="T11" fmla="*/ 202 h 299"/>
                <a:gd name="T12" fmla="*/ 103 w 332"/>
                <a:gd name="T13" fmla="*/ 205 h 299"/>
                <a:gd name="T14" fmla="*/ 110 w 332"/>
                <a:gd name="T15" fmla="*/ 217 h 299"/>
                <a:gd name="T16" fmla="*/ 114 w 332"/>
                <a:gd name="T17" fmla="*/ 225 h 299"/>
                <a:gd name="T18" fmla="*/ 120 w 332"/>
                <a:gd name="T19" fmla="*/ 223 h 299"/>
                <a:gd name="T20" fmla="*/ 132 w 332"/>
                <a:gd name="T21" fmla="*/ 219 h 299"/>
                <a:gd name="T22" fmla="*/ 156 w 332"/>
                <a:gd name="T23" fmla="*/ 225 h 299"/>
                <a:gd name="T24" fmla="*/ 180 w 332"/>
                <a:gd name="T25" fmla="*/ 217 h 299"/>
                <a:gd name="T26" fmla="*/ 187 w 332"/>
                <a:gd name="T27" fmla="*/ 207 h 299"/>
                <a:gd name="T28" fmla="*/ 206 w 332"/>
                <a:gd name="T29" fmla="*/ 210 h 299"/>
                <a:gd name="T30" fmla="*/ 218 w 332"/>
                <a:gd name="T31" fmla="*/ 225 h 299"/>
                <a:gd name="T32" fmla="*/ 224 w 332"/>
                <a:gd name="T33" fmla="*/ 253 h 299"/>
                <a:gd name="T34" fmla="*/ 245 w 332"/>
                <a:gd name="T35" fmla="*/ 257 h 299"/>
                <a:gd name="T36" fmla="*/ 248 w 332"/>
                <a:gd name="T37" fmla="*/ 271 h 299"/>
                <a:gd name="T38" fmla="*/ 257 w 332"/>
                <a:gd name="T39" fmla="*/ 276 h 299"/>
                <a:gd name="T40" fmla="*/ 282 w 332"/>
                <a:gd name="T41" fmla="*/ 276 h 299"/>
                <a:gd name="T42" fmla="*/ 294 w 332"/>
                <a:gd name="T43" fmla="*/ 287 h 299"/>
                <a:gd name="T44" fmla="*/ 301 w 332"/>
                <a:gd name="T45" fmla="*/ 297 h 299"/>
                <a:gd name="T46" fmla="*/ 314 w 332"/>
                <a:gd name="T47" fmla="*/ 299 h 299"/>
                <a:gd name="T48" fmla="*/ 325 w 332"/>
                <a:gd name="T49" fmla="*/ 290 h 299"/>
                <a:gd name="T50" fmla="*/ 328 w 332"/>
                <a:gd name="T51" fmla="*/ 250 h 299"/>
                <a:gd name="T52" fmla="*/ 320 w 332"/>
                <a:gd name="T53" fmla="*/ 231 h 299"/>
                <a:gd name="T54" fmla="*/ 325 w 332"/>
                <a:gd name="T55" fmla="*/ 211 h 299"/>
                <a:gd name="T56" fmla="*/ 326 w 332"/>
                <a:gd name="T57" fmla="*/ 201 h 299"/>
                <a:gd name="T58" fmla="*/ 323 w 332"/>
                <a:gd name="T59" fmla="*/ 179 h 299"/>
                <a:gd name="T60" fmla="*/ 314 w 332"/>
                <a:gd name="T61" fmla="*/ 165 h 299"/>
                <a:gd name="T62" fmla="*/ 311 w 332"/>
                <a:gd name="T63" fmla="*/ 142 h 299"/>
                <a:gd name="T64" fmla="*/ 310 w 332"/>
                <a:gd name="T65" fmla="*/ 125 h 299"/>
                <a:gd name="T66" fmla="*/ 300 w 332"/>
                <a:gd name="T67" fmla="*/ 117 h 299"/>
                <a:gd name="T68" fmla="*/ 289 w 332"/>
                <a:gd name="T69" fmla="*/ 97 h 299"/>
                <a:gd name="T70" fmla="*/ 274 w 332"/>
                <a:gd name="T71" fmla="*/ 99 h 299"/>
                <a:gd name="T72" fmla="*/ 258 w 332"/>
                <a:gd name="T73" fmla="*/ 97 h 299"/>
                <a:gd name="T74" fmla="*/ 258 w 332"/>
                <a:gd name="T75" fmla="*/ 84 h 299"/>
                <a:gd name="T76" fmla="*/ 268 w 332"/>
                <a:gd name="T77" fmla="*/ 59 h 299"/>
                <a:gd name="T78" fmla="*/ 261 w 332"/>
                <a:gd name="T79" fmla="*/ 44 h 299"/>
                <a:gd name="T80" fmla="*/ 257 w 332"/>
                <a:gd name="T81" fmla="*/ 28 h 299"/>
                <a:gd name="T82" fmla="*/ 242 w 332"/>
                <a:gd name="T83" fmla="*/ 29 h 299"/>
                <a:gd name="T84" fmla="*/ 217 w 332"/>
                <a:gd name="T85" fmla="*/ 40 h 299"/>
                <a:gd name="T86" fmla="*/ 205 w 332"/>
                <a:gd name="T87" fmla="*/ 32 h 299"/>
                <a:gd name="T88" fmla="*/ 187 w 332"/>
                <a:gd name="T89" fmla="*/ 28 h 299"/>
                <a:gd name="T90" fmla="*/ 157 w 332"/>
                <a:gd name="T91" fmla="*/ 11 h 299"/>
                <a:gd name="T92" fmla="*/ 140 w 332"/>
                <a:gd name="T93" fmla="*/ 0 h 299"/>
                <a:gd name="T94" fmla="*/ 126 w 332"/>
                <a:gd name="T95" fmla="*/ 5 h 299"/>
                <a:gd name="T96" fmla="*/ 114 w 332"/>
                <a:gd name="T97" fmla="*/ 13 h 299"/>
                <a:gd name="T98" fmla="*/ 95 w 332"/>
                <a:gd name="T99" fmla="*/ 16 h 299"/>
                <a:gd name="T100" fmla="*/ 82 w 332"/>
                <a:gd name="T101" fmla="*/ 1 h 299"/>
                <a:gd name="T102" fmla="*/ 69 w 332"/>
                <a:gd name="T103" fmla="*/ 7 h 299"/>
                <a:gd name="T104" fmla="*/ 69 w 332"/>
                <a:gd name="T105" fmla="*/ 16 h 299"/>
                <a:gd name="T106" fmla="*/ 70 w 332"/>
                <a:gd name="T107" fmla="*/ 34 h 299"/>
                <a:gd name="T108" fmla="*/ 70 w 332"/>
                <a:gd name="T109" fmla="*/ 68 h 299"/>
                <a:gd name="T110" fmla="*/ 43 w 332"/>
                <a:gd name="T111" fmla="*/ 84 h 299"/>
                <a:gd name="T112" fmla="*/ 20 w 332"/>
                <a:gd name="T113" fmla="*/ 100 h 299"/>
                <a:gd name="T114" fmla="*/ 0 w 332"/>
                <a:gd name="T115" fmla="*/ 122 h 299"/>
                <a:gd name="T116" fmla="*/ 3 w 332"/>
                <a:gd name="T117" fmla="*/ 1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2" h="299">
                  <a:moveTo>
                    <a:pt x="6" y="152"/>
                  </a:moveTo>
                  <a:lnTo>
                    <a:pt x="6" y="152"/>
                  </a:lnTo>
                  <a:lnTo>
                    <a:pt x="9" y="161"/>
                  </a:lnTo>
                  <a:lnTo>
                    <a:pt x="12" y="165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26" y="176"/>
                  </a:lnTo>
                  <a:lnTo>
                    <a:pt x="35" y="179"/>
                  </a:lnTo>
                  <a:lnTo>
                    <a:pt x="35" y="179"/>
                  </a:lnTo>
                  <a:lnTo>
                    <a:pt x="39" y="180"/>
                  </a:lnTo>
                  <a:lnTo>
                    <a:pt x="42" y="183"/>
                  </a:lnTo>
                  <a:lnTo>
                    <a:pt x="43" y="185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2" y="189"/>
                  </a:lnTo>
                  <a:lnTo>
                    <a:pt x="61" y="189"/>
                  </a:lnTo>
                  <a:lnTo>
                    <a:pt x="69" y="189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79" y="194"/>
                  </a:lnTo>
                  <a:lnTo>
                    <a:pt x="82" y="198"/>
                  </a:lnTo>
                  <a:lnTo>
                    <a:pt x="85" y="201"/>
                  </a:lnTo>
                  <a:lnTo>
                    <a:pt x="88" y="202"/>
                  </a:lnTo>
                  <a:lnTo>
                    <a:pt x="88" y="202"/>
                  </a:lnTo>
                  <a:lnTo>
                    <a:pt x="95" y="202"/>
                  </a:lnTo>
                  <a:lnTo>
                    <a:pt x="100" y="202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6" y="211"/>
                  </a:lnTo>
                  <a:lnTo>
                    <a:pt x="107" y="214"/>
                  </a:lnTo>
                  <a:lnTo>
                    <a:pt x="110" y="217"/>
                  </a:lnTo>
                  <a:lnTo>
                    <a:pt x="110" y="217"/>
                  </a:lnTo>
                  <a:lnTo>
                    <a:pt x="112" y="219"/>
                  </a:lnTo>
                  <a:lnTo>
                    <a:pt x="112" y="220"/>
                  </a:lnTo>
                  <a:lnTo>
                    <a:pt x="112" y="223"/>
                  </a:lnTo>
                  <a:lnTo>
                    <a:pt x="114" y="225"/>
                  </a:lnTo>
                  <a:lnTo>
                    <a:pt x="114" y="225"/>
                  </a:lnTo>
                  <a:lnTo>
                    <a:pt x="116" y="226"/>
                  </a:lnTo>
                  <a:lnTo>
                    <a:pt x="117" y="225"/>
                  </a:lnTo>
                  <a:lnTo>
                    <a:pt x="120" y="223"/>
                  </a:lnTo>
                  <a:lnTo>
                    <a:pt x="125" y="220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40" y="220"/>
                  </a:lnTo>
                  <a:lnTo>
                    <a:pt x="146" y="222"/>
                  </a:lnTo>
                  <a:lnTo>
                    <a:pt x="150" y="223"/>
                  </a:lnTo>
                  <a:lnTo>
                    <a:pt x="156" y="225"/>
                  </a:lnTo>
                  <a:lnTo>
                    <a:pt x="156" y="225"/>
                  </a:lnTo>
                  <a:lnTo>
                    <a:pt x="165" y="225"/>
                  </a:lnTo>
                  <a:lnTo>
                    <a:pt x="174" y="222"/>
                  </a:lnTo>
                  <a:lnTo>
                    <a:pt x="180" y="217"/>
                  </a:lnTo>
                  <a:lnTo>
                    <a:pt x="183" y="214"/>
                  </a:lnTo>
                  <a:lnTo>
                    <a:pt x="183" y="214"/>
                  </a:lnTo>
                  <a:lnTo>
                    <a:pt x="184" y="210"/>
                  </a:lnTo>
                  <a:lnTo>
                    <a:pt x="187" y="207"/>
                  </a:lnTo>
                  <a:lnTo>
                    <a:pt x="191" y="205"/>
                  </a:lnTo>
                  <a:lnTo>
                    <a:pt x="199" y="207"/>
                  </a:lnTo>
                  <a:lnTo>
                    <a:pt x="199" y="207"/>
                  </a:lnTo>
                  <a:lnTo>
                    <a:pt x="206" y="210"/>
                  </a:lnTo>
                  <a:lnTo>
                    <a:pt x="212" y="211"/>
                  </a:lnTo>
                  <a:lnTo>
                    <a:pt x="214" y="213"/>
                  </a:lnTo>
                  <a:lnTo>
                    <a:pt x="215" y="214"/>
                  </a:lnTo>
                  <a:lnTo>
                    <a:pt x="218" y="225"/>
                  </a:lnTo>
                  <a:lnTo>
                    <a:pt x="218" y="225"/>
                  </a:lnTo>
                  <a:lnTo>
                    <a:pt x="220" y="245"/>
                  </a:lnTo>
                  <a:lnTo>
                    <a:pt x="223" y="251"/>
                  </a:lnTo>
                  <a:lnTo>
                    <a:pt x="224" y="253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40" y="256"/>
                  </a:lnTo>
                  <a:lnTo>
                    <a:pt x="245" y="257"/>
                  </a:lnTo>
                  <a:lnTo>
                    <a:pt x="246" y="259"/>
                  </a:lnTo>
                  <a:lnTo>
                    <a:pt x="248" y="260"/>
                  </a:lnTo>
                  <a:lnTo>
                    <a:pt x="248" y="260"/>
                  </a:lnTo>
                  <a:lnTo>
                    <a:pt x="248" y="271"/>
                  </a:lnTo>
                  <a:lnTo>
                    <a:pt x="251" y="275"/>
                  </a:lnTo>
                  <a:lnTo>
                    <a:pt x="252" y="276"/>
                  </a:lnTo>
                  <a:lnTo>
                    <a:pt x="257" y="276"/>
                  </a:lnTo>
                  <a:lnTo>
                    <a:pt x="257" y="276"/>
                  </a:lnTo>
                  <a:lnTo>
                    <a:pt x="264" y="275"/>
                  </a:lnTo>
                  <a:lnTo>
                    <a:pt x="271" y="275"/>
                  </a:lnTo>
                  <a:lnTo>
                    <a:pt x="279" y="275"/>
                  </a:lnTo>
                  <a:lnTo>
                    <a:pt x="282" y="276"/>
                  </a:lnTo>
                  <a:lnTo>
                    <a:pt x="285" y="278"/>
                  </a:lnTo>
                  <a:lnTo>
                    <a:pt x="285" y="278"/>
                  </a:lnTo>
                  <a:lnTo>
                    <a:pt x="291" y="282"/>
                  </a:lnTo>
                  <a:lnTo>
                    <a:pt x="294" y="287"/>
                  </a:lnTo>
                  <a:lnTo>
                    <a:pt x="298" y="294"/>
                  </a:lnTo>
                  <a:lnTo>
                    <a:pt x="298" y="294"/>
                  </a:lnTo>
                  <a:lnTo>
                    <a:pt x="298" y="296"/>
                  </a:lnTo>
                  <a:lnTo>
                    <a:pt x="301" y="297"/>
                  </a:lnTo>
                  <a:lnTo>
                    <a:pt x="308" y="299"/>
                  </a:lnTo>
                  <a:lnTo>
                    <a:pt x="308" y="299"/>
                  </a:lnTo>
                  <a:lnTo>
                    <a:pt x="314" y="299"/>
                  </a:lnTo>
                  <a:lnTo>
                    <a:pt x="314" y="299"/>
                  </a:lnTo>
                  <a:lnTo>
                    <a:pt x="319" y="297"/>
                  </a:lnTo>
                  <a:lnTo>
                    <a:pt x="320" y="296"/>
                  </a:lnTo>
                  <a:lnTo>
                    <a:pt x="323" y="294"/>
                  </a:lnTo>
                  <a:lnTo>
                    <a:pt x="325" y="290"/>
                  </a:lnTo>
                  <a:lnTo>
                    <a:pt x="325" y="290"/>
                  </a:lnTo>
                  <a:lnTo>
                    <a:pt x="328" y="268"/>
                  </a:lnTo>
                  <a:lnTo>
                    <a:pt x="328" y="257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3" y="241"/>
                  </a:lnTo>
                  <a:lnTo>
                    <a:pt x="322" y="237"/>
                  </a:lnTo>
                  <a:lnTo>
                    <a:pt x="320" y="231"/>
                  </a:lnTo>
                  <a:lnTo>
                    <a:pt x="320" y="231"/>
                  </a:lnTo>
                  <a:lnTo>
                    <a:pt x="322" y="220"/>
                  </a:lnTo>
                  <a:lnTo>
                    <a:pt x="325" y="211"/>
                  </a:lnTo>
                  <a:lnTo>
                    <a:pt x="325" y="211"/>
                  </a:lnTo>
                  <a:lnTo>
                    <a:pt x="332" y="202"/>
                  </a:lnTo>
                  <a:lnTo>
                    <a:pt x="332" y="202"/>
                  </a:lnTo>
                  <a:lnTo>
                    <a:pt x="328" y="202"/>
                  </a:lnTo>
                  <a:lnTo>
                    <a:pt x="326" y="201"/>
                  </a:lnTo>
                  <a:lnTo>
                    <a:pt x="326" y="201"/>
                  </a:lnTo>
                  <a:lnTo>
                    <a:pt x="325" y="195"/>
                  </a:lnTo>
                  <a:lnTo>
                    <a:pt x="325" y="188"/>
                  </a:lnTo>
                  <a:lnTo>
                    <a:pt x="323" y="179"/>
                  </a:lnTo>
                  <a:lnTo>
                    <a:pt x="322" y="173"/>
                  </a:lnTo>
                  <a:lnTo>
                    <a:pt x="322" y="173"/>
                  </a:lnTo>
                  <a:lnTo>
                    <a:pt x="316" y="168"/>
                  </a:lnTo>
                  <a:lnTo>
                    <a:pt x="314" y="165"/>
                  </a:lnTo>
                  <a:lnTo>
                    <a:pt x="311" y="158"/>
                  </a:lnTo>
                  <a:lnTo>
                    <a:pt x="311" y="158"/>
                  </a:lnTo>
                  <a:lnTo>
                    <a:pt x="311" y="151"/>
                  </a:lnTo>
                  <a:lnTo>
                    <a:pt x="311" y="142"/>
                  </a:lnTo>
                  <a:lnTo>
                    <a:pt x="314" y="130"/>
                  </a:lnTo>
                  <a:lnTo>
                    <a:pt x="314" y="130"/>
                  </a:lnTo>
                  <a:lnTo>
                    <a:pt x="313" y="127"/>
                  </a:lnTo>
                  <a:lnTo>
                    <a:pt x="310" y="125"/>
                  </a:lnTo>
                  <a:lnTo>
                    <a:pt x="306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0" y="117"/>
                  </a:lnTo>
                  <a:lnTo>
                    <a:pt x="297" y="111"/>
                  </a:lnTo>
                  <a:lnTo>
                    <a:pt x="294" y="103"/>
                  </a:lnTo>
                  <a:lnTo>
                    <a:pt x="291" y="100"/>
                  </a:lnTo>
                  <a:lnTo>
                    <a:pt x="289" y="97"/>
                  </a:lnTo>
                  <a:lnTo>
                    <a:pt x="289" y="97"/>
                  </a:lnTo>
                  <a:lnTo>
                    <a:pt x="286" y="97"/>
                  </a:lnTo>
                  <a:lnTo>
                    <a:pt x="282" y="97"/>
                  </a:lnTo>
                  <a:lnTo>
                    <a:pt x="274" y="99"/>
                  </a:lnTo>
                  <a:lnTo>
                    <a:pt x="266" y="100"/>
                  </a:lnTo>
                  <a:lnTo>
                    <a:pt x="263" y="99"/>
                  </a:lnTo>
                  <a:lnTo>
                    <a:pt x="258" y="97"/>
                  </a:lnTo>
                  <a:lnTo>
                    <a:pt x="258" y="97"/>
                  </a:lnTo>
                  <a:lnTo>
                    <a:pt x="255" y="96"/>
                  </a:lnTo>
                  <a:lnTo>
                    <a:pt x="255" y="93"/>
                  </a:lnTo>
                  <a:lnTo>
                    <a:pt x="257" y="88"/>
                  </a:lnTo>
                  <a:lnTo>
                    <a:pt x="258" y="84"/>
                  </a:lnTo>
                  <a:lnTo>
                    <a:pt x="264" y="75"/>
                  </a:lnTo>
                  <a:lnTo>
                    <a:pt x="268" y="66"/>
                  </a:lnTo>
                  <a:lnTo>
                    <a:pt x="268" y="66"/>
                  </a:lnTo>
                  <a:lnTo>
                    <a:pt x="268" y="59"/>
                  </a:lnTo>
                  <a:lnTo>
                    <a:pt x="267" y="53"/>
                  </a:lnTo>
                  <a:lnTo>
                    <a:pt x="264" y="48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0" y="41"/>
                  </a:lnTo>
                  <a:lnTo>
                    <a:pt x="258" y="38"/>
                  </a:lnTo>
                  <a:lnTo>
                    <a:pt x="258" y="34"/>
                  </a:lnTo>
                  <a:lnTo>
                    <a:pt x="257" y="28"/>
                  </a:lnTo>
                  <a:lnTo>
                    <a:pt x="257" y="28"/>
                  </a:lnTo>
                  <a:lnTo>
                    <a:pt x="254" y="25"/>
                  </a:lnTo>
                  <a:lnTo>
                    <a:pt x="251" y="25"/>
                  </a:lnTo>
                  <a:lnTo>
                    <a:pt x="242" y="29"/>
                  </a:lnTo>
                  <a:lnTo>
                    <a:pt x="231" y="35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17" y="40"/>
                  </a:lnTo>
                  <a:lnTo>
                    <a:pt x="211" y="38"/>
                  </a:lnTo>
                  <a:lnTo>
                    <a:pt x="206" y="35"/>
                  </a:lnTo>
                  <a:lnTo>
                    <a:pt x="205" y="32"/>
                  </a:lnTo>
                  <a:lnTo>
                    <a:pt x="205" y="32"/>
                  </a:lnTo>
                  <a:lnTo>
                    <a:pt x="202" y="29"/>
                  </a:lnTo>
                  <a:lnTo>
                    <a:pt x="199" y="28"/>
                  </a:lnTo>
                  <a:lnTo>
                    <a:pt x="187" y="28"/>
                  </a:lnTo>
                  <a:lnTo>
                    <a:pt x="187" y="28"/>
                  </a:lnTo>
                  <a:lnTo>
                    <a:pt x="180" y="26"/>
                  </a:lnTo>
                  <a:lnTo>
                    <a:pt x="172" y="23"/>
                  </a:lnTo>
                  <a:lnTo>
                    <a:pt x="163" y="19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3" y="4"/>
                  </a:lnTo>
                  <a:lnTo>
                    <a:pt x="149" y="1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7" y="0"/>
                  </a:lnTo>
                  <a:lnTo>
                    <a:pt x="134" y="1"/>
                  </a:lnTo>
                  <a:lnTo>
                    <a:pt x="126" y="5"/>
                  </a:lnTo>
                  <a:lnTo>
                    <a:pt x="120" y="10"/>
                  </a:lnTo>
                  <a:lnTo>
                    <a:pt x="117" y="11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06" y="16"/>
                  </a:lnTo>
                  <a:lnTo>
                    <a:pt x="100" y="17"/>
                  </a:lnTo>
                  <a:lnTo>
                    <a:pt x="97" y="17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88" y="5"/>
                  </a:lnTo>
                  <a:lnTo>
                    <a:pt x="85" y="3"/>
                  </a:lnTo>
                  <a:lnTo>
                    <a:pt x="82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72" y="4"/>
                  </a:lnTo>
                  <a:lnTo>
                    <a:pt x="69" y="7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6"/>
                  </a:lnTo>
                  <a:lnTo>
                    <a:pt x="69" y="20"/>
                  </a:lnTo>
                  <a:lnTo>
                    <a:pt x="69" y="26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3" y="51"/>
                  </a:lnTo>
                  <a:lnTo>
                    <a:pt x="73" y="60"/>
                  </a:lnTo>
                  <a:lnTo>
                    <a:pt x="73" y="65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58" y="77"/>
                  </a:lnTo>
                  <a:lnTo>
                    <a:pt x="51" y="81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36" y="87"/>
                  </a:lnTo>
                  <a:lnTo>
                    <a:pt x="30" y="91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2" y="106"/>
                  </a:lnTo>
                  <a:lnTo>
                    <a:pt x="5" y="115"/>
                  </a:lnTo>
                  <a:lnTo>
                    <a:pt x="0" y="122"/>
                  </a:lnTo>
                  <a:lnTo>
                    <a:pt x="0" y="12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3" y="136"/>
                  </a:lnTo>
                  <a:lnTo>
                    <a:pt x="5" y="140"/>
                  </a:lnTo>
                  <a:lnTo>
                    <a:pt x="6" y="152"/>
                  </a:lnTo>
                  <a:lnTo>
                    <a:pt x="6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0" name="Freeform 59">
              <a:extLst>
                <a:ext uri="{FF2B5EF4-FFF2-40B4-BE49-F238E27FC236}">
                  <a16:creationId xmlns:a16="http://schemas.microsoft.com/office/drawing/2014/main" id="{053866B0-9254-DF4A-9AE3-D0A1D2C08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4879975"/>
              <a:ext cx="762000" cy="500062"/>
            </a:xfrm>
            <a:custGeom>
              <a:avLst/>
              <a:gdLst>
                <a:gd name="T0" fmla="*/ 261 w 480"/>
                <a:gd name="T1" fmla="*/ 218 h 315"/>
                <a:gd name="T2" fmla="*/ 276 w 480"/>
                <a:gd name="T3" fmla="*/ 207 h 315"/>
                <a:gd name="T4" fmla="*/ 268 w 480"/>
                <a:gd name="T5" fmla="*/ 190 h 315"/>
                <a:gd name="T6" fmla="*/ 282 w 480"/>
                <a:gd name="T7" fmla="*/ 178 h 315"/>
                <a:gd name="T8" fmla="*/ 298 w 480"/>
                <a:gd name="T9" fmla="*/ 184 h 315"/>
                <a:gd name="T10" fmla="*/ 323 w 480"/>
                <a:gd name="T11" fmla="*/ 176 h 315"/>
                <a:gd name="T12" fmla="*/ 350 w 480"/>
                <a:gd name="T13" fmla="*/ 194 h 315"/>
                <a:gd name="T14" fmla="*/ 367 w 480"/>
                <a:gd name="T15" fmla="*/ 193 h 315"/>
                <a:gd name="T16" fmla="*/ 381 w 480"/>
                <a:gd name="T17" fmla="*/ 178 h 315"/>
                <a:gd name="T18" fmla="*/ 402 w 480"/>
                <a:gd name="T19" fmla="*/ 158 h 315"/>
                <a:gd name="T20" fmla="*/ 409 w 480"/>
                <a:gd name="T21" fmla="*/ 170 h 315"/>
                <a:gd name="T22" fmla="*/ 430 w 480"/>
                <a:gd name="T23" fmla="*/ 179 h 315"/>
                <a:gd name="T24" fmla="*/ 447 w 480"/>
                <a:gd name="T25" fmla="*/ 185 h 315"/>
                <a:gd name="T26" fmla="*/ 476 w 480"/>
                <a:gd name="T27" fmla="*/ 173 h 315"/>
                <a:gd name="T28" fmla="*/ 471 w 480"/>
                <a:gd name="T29" fmla="*/ 151 h 315"/>
                <a:gd name="T30" fmla="*/ 440 w 480"/>
                <a:gd name="T31" fmla="*/ 110 h 315"/>
                <a:gd name="T32" fmla="*/ 427 w 480"/>
                <a:gd name="T33" fmla="*/ 92 h 315"/>
                <a:gd name="T34" fmla="*/ 405 w 480"/>
                <a:gd name="T35" fmla="*/ 80 h 315"/>
                <a:gd name="T36" fmla="*/ 393 w 480"/>
                <a:gd name="T37" fmla="*/ 67 h 315"/>
                <a:gd name="T38" fmla="*/ 381 w 480"/>
                <a:gd name="T39" fmla="*/ 46 h 315"/>
                <a:gd name="T40" fmla="*/ 357 w 480"/>
                <a:gd name="T41" fmla="*/ 44 h 315"/>
                <a:gd name="T42" fmla="*/ 330 w 480"/>
                <a:gd name="T43" fmla="*/ 47 h 315"/>
                <a:gd name="T44" fmla="*/ 298 w 480"/>
                <a:gd name="T45" fmla="*/ 43 h 315"/>
                <a:gd name="T46" fmla="*/ 282 w 480"/>
                <a:gd name="T47" fmla="*/ 31 h 315"/>
                <a:gd name="T48" fmla="*/ 286 w 480"/>
                <a:gd name="T49" fmla="*/ 13 h 315"/>
                <a:gd name="T50" fmla="*/ 261 w 480"/>
                <a:gd name="T51" fmla="*/ 0 h 315"/>
                <a:gd name="T52" fmla="*/ 243 w 480"/>
                <a:gd name="T53" fmla="*/ 13 h 315"/>
                <a:gd name="T54" fmla="*/ 224 w 480"/>
                <a:gd name="T55" fmla="*/ 28 h 315"/>
                <a:gd name="T56" fmla="*/ 209 w 480"/>
                <a:gd name="T57" fmla="*/ 43 h 315"/>
                <a:gd name="T58" fmla="*/ 191 w 480"/>
                <a:gd name="T59" fmla="*/ 44 h 315"/>
                <a:gd name="T60" fmla="*/ 166 w 480"/>
                <a:gd name="T61" fmla="*/ 59 h 315"/>
                <a:gd name="T62" fmla="*/ 142 w 480"/>
                <a:gd name="T63" fmla="*/ 80 h 315"/>
                <a:gd name="T64" fmla="*/ 122 w 480"/>
                <a:gd name="T65" fmla="*/ 77 h 315"/>
                <a:gd name="T66" fmla="*/ 102 w 480"/>
                <a:gd name="T67" fmla="*/ 89 h 315"/>
                <a:gd name="T68" fmla="*/ 73 w 480"/>
                <a:gd name="T69" fmla="*/ 86 h 315"/>
                <a:gd name="T70" fmla="*/ 52 w 480"/>
                <a:gd name="T71" fmla="*/ 96 h 315"/>
                <a:gd name="T72" fmla="*/ 17 w 480"/>
                <a:gd name="T73" fmla="*/ 101 h 315"/>
                <a:gd name="T74" fmla="*/ 3 w 480"/>
                <a:gd name="T75" fmla="*/ 126 h 315"/>
                <a:gd name="T76" fmla="*/ 8 w 480"/>
                <a:gd name="T77" fmla="*/ 157 h 315"/>
                <a:gd name="T78" fmla="*/ 11 w 480"/>
                <a:gd name="T79" fmla="*/ 169 h 315"/>
                <a:gd name="T80" fmla="*/ 30 w 480"/>
                <a:gd name="T81" fmla="*/ 191 h 315"/>
                <a:gd name="T82" fmla="*/ 49 w 480"/>
                <a:gd name="T83" fmla="*/ 209 h 315"/>
                <a:gd name="T84" fmla="*/ 58 w 480"/>
                <a:gd name="T85" fmla="*/ 250 h 315"/>
                <a:gd name="T86" fmla="*/ 67 w 480"/>
                <a:gd name="T87" fmla="*/ 280 h 315"/>
                <a:gd name="T88" fmla="*/ 67 w 480"/>
                <a:gd name="T89" fmla="*/ 292 h 315"/>
                <a:gd name="T90" fmla="*/ 82 w 480"/>
                <a:gd name="T91" fmla="*/ 307 h 315"/>
                <a:gd name="T92" fmla="*/ 99 w 480"/>
                <a:gd name="T93" fmla="*/ 311 h 315"/>
                <a:gd name="T94" fmla="*/ 119 w 480"/>
                <a:gd name="T95" fmla="*/ 299 h 315"/>
                <a:gd name="T96" fmla="*/ 144 w 480"/>
                <a:gd name="T97" fmla="*/ 289 h 315"/>
                <a:gd name="T98" fmla="*/ 165 w 480"/>
                <a:gd name="T99" fmla="*/ 287 h 315"/>
                <a:gd name="T100" fmla="*/ 148 w 480"/>
                <a:gd name="T101" fmla="*/ 299 h 315"/>
                <a:gd name="T102" fmla="*/ 160 w 480"/>
                <a:gd name="T103" fmla="*/ 314 h 315"/>
                <a:gd name="T104" fmla="*/ 185 w 480"/>
                <a:gd name="T105" fmla="*/ 310 h 315"/>
                <a:gd name="T106" fmla="*/ 216 w 480"/>
                <a:gd name="T107" fmla="*/ 304 h 315"/>
                <a:gd name="T108" fmla="*/ 218 w 480"/>
                <a:gd name="T109" fmla="*/ 286 h 315"/>
                <a:gd name="T110" fmla="*/ 222 w 480"/>
                <a:gd name="T111" fmla="*/ 259 h 315"/>
                <a:gd name="T112" fmla="*/ 240 w 480"/>
                <a:gd name="T113" fmla="*/ 256 h 315"/>
                <a:gd name="T114" fmla="*/ 255 w 480"/>
                <a:gd name="T115" fmla="*/ 24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315">
                  <a:moveTo>
                    <a:pt x="265" y="247"/>
                  </a:moveTo>
                  <a:lnTo>
                    <a:pt x="265" y="247"/>
                  </a:lnTo>
                  <a:lnTo>
                    <a:pt x="261" y="233"/>
                  </a:lnTo>
                  <a:lnTo>
                    <a:pt x="259" y="222"/>
                  </a:lnTo>
                  <a:lnTo>
                    <a:pt x="261" y="218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73" y="212"/>
                  </a:lnTo>
                  <a:lnTo>
                    <a:pt x="276" y="210"/>
                  </a:lnTo>
                  <a:lnTo>
                    <a:pt x="276" y="207"/>
                  </a:lnTo>
                  <a:lnTo>
                    <a:pt x="276" y="207"/>
                  </a:lnTo>
                  <a:lnTo>
                    <a:pt x="274" y="203"/>
                  </a:lnTo>
                  <a:lnTo>
                    <a:pt x="271" y="198"/>
                  </a:lnTo>
                  <a:lnTo>
                    <a:pt x="268" y="194"/>
                  </a:lnTo>
                  <a:lnTo>
                    <a:pt x="268" y="190"/>
                  </a:lnTo>
                  <a:lnTo>
                    <a:pt x="268" y="190"/>
                  </a:lnTo>
                  <a:lnTo>
                    <a:pt x="271" y="185"/>
                  </a:lnTo>
                  <a:lnTo>
                    <a:pt x="274" y="181"/>
                  </a:lnTo>
                  <a:lnTo>
                    <a:pt x="279" y="178"/>
                  </a:lnTo>
                  <a:lnTo>
                    <a:pt x="282" y="178"/>
                  </a:lnTo>
                  <a:lnTo>
                    <a:pt x="283" y="178"/>
                  </a:lnTo>
                  <a:lnTo>
                    <a:pt x="283" y="178"/>
                  </a:lnTo>
                  <a:lnTo>
                    <a:pt x="290" y="184"/>
                  </a:lnTo>
                  <a:lnTo>
                    <a:pt x="293" y="185"/>
                  </a:lnTo>
                  <a:lnTo>
                    <a:pt x="298" y="184"/>
                  </a:lnTo>
                  <a:lnTo>
                    <a:pt x="298" y="184"/>
                  </a:lnTo>
                  <a:lnTo>
                    <a:pt x="304" y="179"/>
                  </a:lnTo>
                  <a:lnTo>
                    <a:pt x="310" y="176"/>
                  </a:lnTo>
                  <a:lnTo>
                    <a:pt x="316" y="175"/>
                  </a:lnTo>
                  <a:lnTo>
                    <a:pt x="323" y="176"/>
                  </a:lnTo>
                  <a:lnTo>
                    <a:pt x="323" y="176"/>
                  </a:lnTo>
                  <a:lnTo>
                    <a:pt x="336" y="184"/>
                  </a:lnTo>
                  <a:lnTo>
                    <a:pt x="347" y="193"/>
                  </a:lnTo>
                  <a:lnTo>
                    <a:pt x="347" y="193"/>
                  </a:lnTo>
                  <a:lnTo>
                    <a:pt x="350" y="194"/>
                  </a:lnTo>
                  <a:lnTo>
                    <a:pt x="353" y="194"/>
                  </a:lnTo>
                  <a:lnTo>
                    <a:pt x="360" y="194"/>
                  </a:lnTo>
                  <a:lnTo>
                    <a:pt x="360" y="194"/>
                  </a:lnTo>
                  <a:lnTo>
                    <a:pt x="367" y="193"/>
                  </a:lnTo>
                  <a:lnTo>
                    <a:pt x="367" y="193"/>
                  </a:lnTo>
                  <a:lnTo>
                    <a:pt x="370" y="191"/>
                  </a:lnTo>
                  <a:lnTo>
                    <a:pt x="373" y="190"/>
                  </a:lnTo>
                  <a:lnTo>
                    <a:pt x="376" y="184"/>
                  </a:lnTo>
                  <a:lnTo>
                    <a:pt x="376" y="184"/>
                  </a:lnTo>
                  <a:lnTo>
                    <a:pt x="381" y="178"/>
                  </a:lnTo>
                  <a:lnTo>
                    <a:pt x="388" y="170"/>
                  </a:lnTo>
                  <a:lnTo>
                    <a:pt x="388" y="170"/>
                  </a:lnTo>
                  <a:lnTo>
                    <a:pt x="394" y="163"/>
                  </a:lnTo>
                  <a:lnTo>
                    <a:pt x="397" y="160"/>
                  </a:lnTo>
                  <a:lnTo>
                    <a:pt x="402" y="158"/>
                  </a:lnTo>
                  <a:lnTo>
                    <a:pt x="402" y="158"/>
                  </a:lnTo>
                  <a:lnTo>
                    <a:pt x="405" y="160"/>
                  </a:lnTo>
                  <a:lnTo>
                    <a:pt x="405" y="163"/>
                  </a:lnTo>
                  <a:lnTo>
                    <a:pt x="405" y="167"/>
                  </a:lnTo>
                  <a:lnTo>
                    <a:pt x="409" y="170"/>
                  </a:lnTo>
                  <a:lnTo>
                    <a:pt x="409" y="170"/>
                  </a:lnTo>
                  <a:lnTo>
                    <a:pt x="415" y="173"/>
                  </a:lnTo>
                  <a:lnTo>
                    <a:pt x="421" y="175"/>
                  </a:lnTo>
                  <a:lnTo>
                    <a:pt x="425" y="176"/>
                  </a:lnTo>
                  <a:lnTo>
                    <a:pt x="430" y="179"/>
                  </a:lnTo>
                  <a:lnTo>
                    <a:pt x="430" y="179"/>
                  </a:lnTo>
                  <a:lnTo>
                    <a:pt x="434" y="184"/>
                  </a:lnTo>
                  <a:lnTo>
                    <a:pt x="437" y="187"/>
                  </a:lnTo>
                  <a:lnTo>
                    <a:pt x="442" y="187"/>
                  </a:lnTo>
                  <a:lnTo>
                    <a:pt x="447" y="185"/>
                  </a:lnTo>
                  <a:lnTo>
                    <a:pt x="447" y="185"/>
                  </a:lnTo>
                  <a:lnTo>
                    <a:pt x="461" y="178"/>
                  </a:lnTo>
                  <a:lnTo>
                    <a:pt x="473" y="176"/>
                  </a:lnTo>
                  <a:lnTo>
                    <a:pt x="473" y="176"/>
                  </a:lnTo>
                  <a:lnTo>
                    <a:pt x="476" y="173"/>
                  </a:lnTo>
                  <a:lnTo>
                    <a:pt x="479" y="170"/>
                  </a:lnTo>
                  <a:lnTo>
                    <a:pt x="480" y="166"/>
                  </a:lnTo>
                  <a:lnTo>
                    <a:pt x="477" y="160"/>
                  </a:lnTo>
                  <a:lnTo>
                    <a:pt x="477" y="160"/>
                  </a:lnTo>
                  <a:lnTo>
                    <a:pt x="471" y="151"/>
                  </a:lnTo>
                  <a:lnTo>
                    <a:pt x="462" y="14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2" y="116"/>
                  </a:lnTo>
                  <a:lnTo>
                    <a:pt x="440" y="110"/>
                  </a:lnTo>
                  <a:lnTo>
                    <a:pt x="437" y="101"/>
                  </a:lnTo>
                  <a:lnTo>
                    <a:pt x="437" y="101"/>
                  </a:lnTo>
                  <a:lnTo>
                    <a:pt x="436" y="101"/>
                  </a:lnTo>
                  <a:lnTo>
                    <a:pt x="436" y="101"/>
                  </a:lnTo>
                  <a:lnTo>
                    <a:pt x="427" y="92"/>
                  </a:lnTo>
                  <a:lnTo>
                    <a:pt x="422" y="87"/>
                  </a:lnTo>
                  <a:lnTo>
                    <a:pt x="416" y="83"/>
                  </a:lnTo>
                  <a:lnTo>
                    <a:pt x="416" y="83"/>
                  </a:lnTo>
                  <a:lnTo>
                    <a:pt x="410" y="81"/>
                  </a:lnTo>
                  <a:lnTo>
                    <a:pt x="405" y="80"/>
                  </a:lnTo>
                  <a:lnTo>
                    <a:pt x="399" y="79"/>
                  </a:lnTo>
                  <a:lnTo>
                    <a:pt x="394" y="76"/>
                  </a:lnTo>
                  <a:lnTo>
                    <a:pt x="394" y="76"/>
                  </a:lnTo>
                  <a:lnTo>
                    <a:pt x="393" y="71"/>
                  </a:lnTo>
                  <a:lnTo>
                    <a:pt x="393" y="67"/>
                  </a:lnTo>
                  <a:lnTo>
                    <a:pt x="394" y="62"/>
                  </a:lnTo>
                  <a:lnTo>
                    <a:pt x="394" y="56"/>
                  </a:lnTo>
                  <a:lnTo>
                    <a:pt x="394" y="56"/>
                  </a:lnTo>
                  <a:lnTo>
                    <a:pt x="388" y="50"/>
                  </a:lnTo>
                  <a:lnTo>
                    <a:pt x="381" y="46"/>
                  </a:lnTo>
                  <a:lnTo>
                    <a:pt x="372" y="41"/>
                  </a:lnTo>
                  <a:lnTo>
                    <a:pt x="367" y="41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57" y="44"/>
                  </a:lnTo>
                  <a:lnTo>
                    <a:pt x="351" y="47"/>
                  </a:lnTo>
                  <a:lnTo>
                    <a:pt x="345" y="49"/>
                  </a:lnTo>
                  <a:lnTo>
                    <a:pt x="338" y="49"/>
                  </a:lnTo>
                  <a:lnTo>
                    <a:pt x="338" y="49"/>
                  </a:lnTo>
                  <a:lnTo>
                    <a:pt x="330" y="47"/>
                  </a:lnTo>
                  <a:lnTo>
                    <a:pt x="323" y="47"/>
                  </a:lnTo>
                  <a:lnTo>
                    <a:pt x="316" y="49"/>
                  </a:lnTo>
                  <a:lnTo>
                    <a:pt x="308" y="47"/>
                  </a:lnTo>
                  <a:lnTo>
                    <a:pt x="308" y="47"/>
                  </a:lnTo>
                  <a:lnTo>
                    <a:pt x="298" y="43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5" y="37"/>
                  </a:lnTo>
                  <a:lnTo>
                    <a:pt x="283" y="36"/>
                  </a:lnTo>
                  <a:lnTo>
                    <a:pt x="282" y="31"/>
                  </a:lnTo>
                  <a:lnTo>
                    <a:pt x="283" y="28"/>
                  </a:lnTo>
                  <a:lnTo>
                    <a:pt x="286" y="21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6" y="13"/>
                  </a:lnTo>
                  <a:lnTo>
                    <a:pt x="283" y="12"/>
                  </a:lnTo>
                  <a:lnTo>
                    <a:pt x="273" y="10"/>
                  </a:lnTo>
                  <a:lnTo>
                    <a:pt x="273" y="10"/>
                  </a:lnTo>
                  <a:lnTo>
                    <a:pt x="268" y="6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5" y="3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3" y="13"/>
                  </a:lnTo>
                  <a:lnTo>
                    <a:pt x="239" y="16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1" y="21"/>
                  </a:lnTo>
                  <a:lnTo>
                    <a:pt x="224" y="28"/>
                  </a:lnTo>
                  <a:lnTo>
                    <a:pt x="213" y="44"/>
                  </a:lnTo>
                  <a:lnTo>
                    <a:pt x="213" y="44"/>
                  </a:lnTo>
                  <a:lnTo>
                    <a:pt x="212" y="47"/>
                  </a:lnTo>
                  <a:lnTo>
                    <a:pt x="211" y="46"/>
                  </a:lnTo>
                  <a:lnTo>
                    <a:pt x="209" y="43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2" y="40"/>
                  </a:lnTo>
                  <a:lnTo>
                    <a:pt x="199" y="40"/>
                  </a:lnTo>
                  <a:lnTo>
                    <a:pt x="191" y="44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176" y="59"/>
                  </a:lnTo>
                  <a:lnTo>
                    <a:pt x="172" y="61"/>
                  </a:lnTo>
                  <a:lnTo>
                    <a:pt x="166" y="59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6" y="55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36" y="77"/>
                  </a:lnTo>
                  <a:lnTo>
                    <a:pt x="131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2" y="77"/>
                  </a:lnTo>
                  <a:lnTo>
                    <a:pt x="119" y="80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08" y="89"/>
                  </a:lnTo>
                  <a:lnTo>
                    <a:pt x="102" y="89"/>
                  </a:lnTo>
                  <a:lnTo>
                    <a:pt x="97" y="89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2" y="86"/>
                  </a:lnTo>
                  <a:lnTo>
                    <a:pt x="73" y="86"/>
                  </a:lnTo>
                  <a:lnTo>
                    <a:pt x="65" y="87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7" y="93"/>
                  </a:lnTo>
                  <a:lnTo>
                    <a:pt x="52" y="96"/>
                  </a:lnTo>
                  <a:lnTo>
                    <a:pt x="46" y="98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22" y="101"/>
                  </a:lnTo>
                  <a:lnTo>
                    <a:pt x="17" y="101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9" y="110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35"/>
                  </a:lnTo>
                  <a:lnTo>
                    <a:pt x="0" y="144"/>
                  </a:lnTo>
                  <a:lnTo>
                    <a:pt x="3" y="153"/>
                  </a:lnTo>
                  <a:lnTo>
                    <a:pt x="5" y="156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9" y="160"/>
                  </a:lnTo>
                  <a:lnTo>
                    <a:pt x="11" y="161"/>
                  </a:lnTo>
                  <a:lnTo>
                    <a:pt x="11" y="164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21" y="185"/>
                  </a:lnTo>
                  <a:lnTo>
                    <a:pt x="30" y="191"/>
                  </a:lnTo>
                  <a:lnTo>
                    <a:pt x="36" y="196"/>
                  </a:lnTo>
                  <a:lnTo>
                    <a:pt x="40" y="197"/>
                  </a:lnTo>
                  <a:lnTo>
                    <a:pt x="40" y="197"/>
                  </a:lnTo>
                  <a:lnTo>
                    <a:pt x="45" y="201"/>
                  </a:lnTo>
                  <a:lnTo>
                    <a:pt x="49" y="209"/>
                  </a:lnTo>
                  <a:lnTo>
                    <a:pt x="52" y="21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8" y="237"/>
                  </a:lnTo>
                  <a:lnTo>
                    <a:pt x="58" y="250"/>
                  </a:lnTo>
                  <a:lnTo>
                    <a:pt x="58" y="250"/>
                  </a:lnTo>
                  <a:lnTo>
                    <a:pt x="59" y="261"/>
                  </a:lnTo>
                  <a:lnTo>
                    <a:pt x="61" y="270"/>
                  </a:lnTo>
                  <a:lnTo>
                    <a:pt x="64" y="275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70" y="283"/>
                  </a:lnTo>
                  <a:lnTo>
                    <a:pt x="70" y="286"/>
                  </a:lnTo>
                  <a:lnTo>
                    <a:pt x="68" y="289"/>
                  </a:lnTo>
                  <a:lnTo>
                    <a:pt x="67" y="292"/>
                  </a:lnTo>
                  <a:lnTo>
                    <a:pt x="67" y="292"/>
                  </a:lnTo>
                  <a:lnTo>
                    <a:pt x="67" y="292"/>
                  </a:lnTo>
                  <a:lnTo>
                    <a:pt x="67" y="295"/>
                  </a:lnTo>
                  <a:lnTo>
                    <a:pt x="71" y="298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88" y="311"/>
                  </a:lnTo>
                  <a:lnTo>
                    <a:pt x="92" y="314"/>
                  </a:lnTo>
                  <a:lnTo>
                    <a:pt x="97" y="314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104" y="307"/>
                  </a:lnTo>
                  <a:lnTo>
                    <a:pt x="108" y="304"/>
                  </a:lnTo>
                  <a:lnTo>
                    <a:pt x="113" y="301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26" y="299"/>
                  </a:lnTo>
                  <a:lnTo>
                    <a:pt x="134" y="296"/>
                  </a:lnTo>
                  <a:lnTo>
                    <a:pt x="139" y="292"/>
                  </a:lnTo>
                  <a:lnTo>
                    <a:pt x="144" y="289"/>
                  </a:lnTo>
                  <a:lnTo>
                    <a:pt x="144" y="289"/>
                  </a:lnTo>
                  <a:lnTo>
                    <a:pt x="147" y="287"/>
                  </a:lnTo>
                  <a:lnTo>
                    <a:pt x="154" y="287"/>
                  </a:lnTo>
                  <a:lnTo>
                    <a:pt x="165" y="287"/>
                  </a:lnTo>
                  <a:lnTo>
                    <a:pt x="165" y="287"/>
                  </a:lnTo>
                  <a:lnTo>
                    <a:pt x="157" y="290"/>
                  </a:lnTo>
                  <a:lnTo>
                    <a:pt x="151" y="295"/>
                  </a:lnTo>
                  <a:lnTo>
                    <a:pt x="150" y="296"/>
                  </a:lnTo>
                  <a:lnTo>
                    <a:pt x="148" y="299"/>
                  </a:lnTo>
                  <a:lnTo>
                    <a:pt x="148" y="299"/>
                  </a:lnTo>
                  <a:lnTo>
                    <a:pt x="148" y="304"/>
                  </a:lnTo>
                  <a:lnTo>
                    <a:pt x="151" y="308"/>
                  </a:lnTo>
                  <a:lnTo>
                    <a:pt x="156" y="313"/>
                  </a:lnTo>
                  <a:lnTo>
                    <a:pt x="160" y="314"/>
                  </a:lnTo>
                  <a:lnTo>
                    <a:pt x="160" y="314"/>
                  </a:lnTo>
                  <a:lnTo>
                    <a:pt x="163" y="315"/>
                  </a:lnTo>
                  <a:lnTo>
                    <a:pt x="168" y="315"/>
                  </a:lnTo>
                  <a:lnTo>
                    <a:pt x="175" y="314"/>
                  </a:lnTo>
                  <a:lnTo>
                    <a:pt x="175" y="314"/>
                  </a:lnTo>
                  <a:lnTo>
                    <a:pt x="185" y="310"/>
                  </a:lnTo>
                  <a:lnTo>
                    <a:pt x="185" y="310"/>
                  </a:lnTo>
                  <a:lnTo>
                    <a:pt x="194" y="308"/>
                  </a:lnTo>
                  <a:lnTo>
                    <a:pt x="205" y="307"/>
                  </a:lnTo>
                  <a:lnTo>
                    <a:pt x="213" y="305"/>
                  </a:lnTo>
                  <a:lnTo>
                    <a:pt x="216" y="304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29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6" y="278"/>
                  </a:lnTo>
                  <a:lnTo>
                    <a:pt x="216" y="271"/>
                  </a:lnTo>
                  <a:lnTo>
                    <a:pt x="218" y="264"/>
                  </a:lnTo>
                  <a:lnTo>
                    <a:pt x="221" y="261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8" y="258"/>
                  </a:lnTo>
                  <a:lnTo>
                    <a:pt x="231" y="258"/>
                  </a:lnTo>
                  <a:lnTo>
                    <a:pt x="236" y="258"/>
                  </a:lnTo>
                  <a:lnTo>
                    <a:pt x="240" y="256"/>
                  </a:lnTo>
                  <a:lnTo>
                    <a:pt x="240" y="256"/>
                  </a:lnTo>
                  <a:lnTo>
                    <a:pt x="246" y="255"/>
                  </a:lnTo>
                  <a:lnTo>
                    <a:pt x="251" y="252"/>
                  </a:lnTo>
                  <a:lnTo>
                    <a:pt x="255" y="247"/>
                  </a:lnTo>
                  <a:lnTo>
                    <a:pt x="255" y="247"/>
                  </a:lnTo>
                  <a:lnTo>
                    <a:pt x="261" y="246"/>
                  </a:lnTo>
                  <a:lnTo>
                    <a:pt x="265" y="247"/>
                  </a:lnTo>
                  <a:lnTo>
                    <a:pt x="265" y="2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1" name="Freeform 60">
              <a:extLst>
                <a:ext uri="{FF2B5EF4-FFF2-40B4-BE49-F238E27FC236}">
                  <a16:creationId xmlns:a16="http://schemas.microsoft.com/office/drawing/2014/main" id="{A5264BFF-7C85-DE42-8D45-91B6ED077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838" y="2816225"/>
              <a:ext cx="641350" cy="895350"/>
            </a:xfrm>
            <a:custGeom>
              <a:avLst/>
              <a:gdLst>
                <a:gd name="T0" fmla="*/ 40 w 404"/>
                <a:gd name="T1" fmla="*/ 262 h 564"/>
                <a:gd name="T2" fmla="*/ 72 w 404"/>
                <a:gd name="T3" fmla="*/ 284 h 564"/>
                <a:gd name="T4" fmla="*/ 86 w 404"/>
                <a:gd name="T5" fmla="*/ 290 h 564"/>
                <a:gd name="T6" fmla="*/ 114 w 404"/>
                <a:gd name="T7" fmla="*/ 254 h 564"/>
                <a:gd name="T8" fmla="*/ 124 w 404"/>
                <a:gd name="T9" fmla="*/ 257 h 564"/>
                <a:gd name="T10" fmla="*/ 117 w 404"/>
                <a:gd name="T11" fmla="*/ 296 h 564"/>
                <a:gd name="T12" fmla="*/ 127 w 404"/>
                <a:gd name="T13" fmla="*/ 306 h 564"/>
                <a:gd name="T14" fmla="*/ 121 w 404"/>
                <a:gd name="T15" fmla="*/ 340 h 564"/>
                <a:gd name="T16" fmla="*/ 136 w 404"/>
                <a:gd name="T17" fmla="*/ 379 h 564"/>
                <a:gd name="T18" fmla="*/ 131 w 404"/>
                <a:gd name="T19" fmla="*/ 395 h 564"/>
                <a:gd name="T20" fmla="*/ 151 w 404"/>
                <a:gd name="T21" fmla="*/ 444 h 564"/>
                <a:gd name="T22" fmla="*/ 161 w 404"/>
                <a:gd name="T23" fmla="*/ 483 h 564"/>
                <a:gd name="T24" fmla="*/ 204 w 404"/>
                <a:gd name="T25" fmla="*/ 537 h 564"/>
                <a:gd name="T26" fmla="*/ 247 w 404"/>
                <a:gd name="T27" fmla="*/ 558 h 564"/>
                <a:gd name="T28" fmla="*/ 300 w 404"/>
                <a:gd name="T29" fmla="*/ 564 h 564"/>
                <a:gd name="T30" fmla="*/ 330 w 404"/>
                <a:gd name="T31" fmla="*/ 558 h 564"/>
                <a:gd name="T32" fmla="*/ 354 w 404"/>
                <a:gd name="T33" fmla="*/ 539 h 564"/>
                <a:gd name="T34" fmla="*/ 359 w 404"/>
                <a:gd name="T35" fmla="*/ 528 h 564"/>
                <a:gd name="T36" fmla="*/ 380 w 404"/>
                <a:gd name="T37" fmla="*/ 512 h 564"/>
                <a:gd name="T38" fmla="*/ 383 w 404"/>
                <a:gd name="T39" fmla="*/ 499 h 564"/>
                <a:gd name="T40" fmla="*/ 386 w 404"/>
                <a:gd name="T41" fmla="*/ 483 h 564"/>
                <a:gd name="T42" fmla="*/ 392 w 404"/>
                <a:gd name="T43" fmla="*/ 460 h 564"/>
                <a:gd name="T44" fmla="*/ 399 w 404"/>
                <a:gd name="T45" fmla="*/ 438 h 564"/>
                <a:gd name="T46" fmla="*/ 395 w 404"/>
                <a:gd name="T47" fmla="*/ 423 h 564"/>
                <a:gd name="T48" fmla="*/ 389 w 404"/>
                <a:gd name="T49" fmla="*/ 380 h 564"/>
                <a:gd name="T50" fmla="*/ 401 w 404"/>
                <a:gd name="T51" fmla="*/ 306 h 564"/>
                <a:gd name="T52" fmla="*/ 401 w 404"/>
                <a:gd name="T53" fmla="*/ 223 h 564"/>
                <a:gd name="T54" fmla="*/ 388 w 404"/>
                <a:gd name="T55" fmla="*/ 197 h 564"/>
                <a:gd name="T56" fmla="*/ 376 w 404"/>
                <a:gd name="T57" fmla="*/ 174 h 564"/>
                <a:gd name="T58" fmla="*/ 357 w 404"/>
                <a:gd name="T59" fmla="*/ 166 h 564"/>
                <a:gd name="T60" fmla="*/ 346 w 404"/>
                <a:gd name="T61" fmla="*/ 161 h 564"/>
                <a:gd name="T62" fmla="*/ 351 w 404"/>
                <a:gd name="T63" fmla="*/ 157 h 564"/>
                <a:gd name="T64" fmla="*/ 365 w 404"/>
                <a:gd name="T65" fmla="*/ 117 h 564"/>
                <a:gd name="T66" fmla="*/ 370 w 404"/>
                <a:gd name="T67" fmla="*/ 92 h 564"/>
                <a:gd name="T68" fmla="*/ 379 w 404"/>
                <a:gd name="T69" fmla="*/ 100 h 564"/>
                <a:gd name="T70" fmla="*/ 382 w 404"/>
                <a:gd name="T71" fmla="*/ 121 h 564"/>
                <a:gd name="T72" fmla="*/ 394 w 404"/>
                <a:gd name="T73" fmla="*/ 120 h 564"/>
                <a:gd name="T74" fmla="*/ 401 w 404"/>
                <a:gd name="T75" fmla="*/ 102 h 564"/>
                <a:gd name="T76" fmla="*/ 389 w 404"/>
                <a:gd name="T77" fmla="*/ 74 h 564"/>
                <a:gd name="T78" fmla="*/ 367 w 404"/>
                <a:gd name="T79" fmla="*/ 71 h 564"/>
                <a:gd name="T80" fmla="*/ 362 w 404"/>
                <a:gd name="T81" fmla="*/ 56 h 564"/>
                <a:gd name="T82" fmla="*/ 361 w 404"/>
                <a:gd name="T83" fmla="*/ 32 h 564"/>
                <a:gd name="T84" fmla="*/ 330 w 404"/>
                <a:gd name="T85" fmla="*/ 17 h 564"/>
                <a:gd name="T86" fmla="*/ 257 w 404"/>
                <a:gd name="T87" fmla="*/ 1 h 564"/>
                <a:gd name="T88" fmla="*/ 185 w 404"/>
                <a:gd name="T89" fmla="*/ 3 h 564"/>
                <a:gd name="T90" fmla="*/ 145 w 404"/>
                <a:gd name="T91" fmla="*/ 35 h 564"/>
                <a:gd name="T92" fmla="*/ 146 w 404"/>
                <a:gd name="T93" fmla="*/ 74 h 564"/>
                <a:gd name="T94" fmla="*/ 127 w 404"/>
                <a:gd name="T95" fmla="*/ 103 h 564"/>
                <a:gd name="T96" fmla="*/ 44 w 404"/>
                <a:gd name="T97" fmla="*/ 102 h 564"/>
                <a:gd name="T98" fmla="*/ 0 w 404"/>
                <a:gd name="T99" fmla="*/ 139 h 564"/>
                <a:gd name="T100" fmla="*/ 23 w 404"/>
                <a:gd name="T101" fmla="*/ 183 h 564"/>
                <a:gd name="T102" fmla="*/ 38 w 404"/>
                <a:gd name="T103" fmla="*/ 217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564">
                  <a:moveTo>
                    <a:pt x="35" y="238"/>
                  </a:moveTo>
                  <a:lnTo>
                    <a:pt x="35" y="238"/>
                  </a:lnTo>
                  <a:lnTo>
                    <a:pt x="35" y="247"/>
                  </a:lnTo>
                  <a:lnTo>
                    <a:pt x="37" y="254"/>
                  </a:lnTo>
                  <a:lnTo>
                    <a:pt x="40" y="262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62" y="277"/>
                  </a:lnTo>
                  <a:lnTo>
                    <a:pt x="68" y="281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4" y="286"/>
                  </a:lnTo>
                  <a:lnTo>
                    <a:pt x="77" y="287"/>
                  </a:lnTo>
                  <a:lnTo>
                    <a:pt x="86" y="290"/>
                  </a:lnTo>
                  <a:lnTo>
                    <a:pt x="86" y="290"/>
                  </a:lnTo>
                  <a:lnTo>
                    <a:pt x="89" y="284"/>
                  </a:lnTo>
                  <a:lnTo>
                    <a:pt x="91" y="278"/>
                  </a:lnTo>
                  <a:lnTo>
                    <a:pt x="97" y="271"/>
                  </a:lnTo>
                  <a:lnTo>
                    <a:pt x="97" y="271"/>
                  </a:lnTo>
                  <a:lnTo>
                    <a:pt x="114" y="254"/>
                  </a:lnTo>
                  <a:lnTo>
                    <a:pt x="130" y="241"/>
                  </a:lnTo>
                  <a:lnTo>
                    <a:pt x="130" y="241"/>
                  </a:lnTo>
                  <a:lnTo>
                    <a:pt x="128" y="251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0" y="277"/>
                  </a:lnTo>
                  <a:lnTo>
                    <a:pt x="120" y="277"/>
                  </a:lnTo>
                  <a:lnTo>
                    <a:pt x="117" y="287"/>
                  </a:lnTo>
                  <a:lnTo>
                    <a:pt x="117" y="291"/>
                  </a:lnTo>
                  <a:lnTo>
                    <a:pt x="117" y="296"/>
                  </a:lnTo>
                  <a:lnTo>
                    <a:pt x="117" y="296"/>
                  </a:lnTo>
                  <a:lnTo>
                    <a:pt x="121" y="300"/>
                  </a:lnTo>
                  <a:lnTo>
                    <a:pt x="126" y="305"/>
                  </a:lnTo>
                  <a:lnTo>
                    <a:pt x="126" y="305"/>
                  </a:lnTo>
                  <a:lnTo>
                    <a:pt x="127" y="306"/>
                  </a:lnTo>
                  <a:lnTo>
                    <a:pt x="128" y="309"/>
                  </a:lnTo>
                  <a:lnTo>
                    <a:pt x="127" y="321"/>
                  </a:lnTo>
                  <a:lnTo>
                    <a:pt x="127" y="321"/>
                  </a:lnTo>
                  <a:lnTo>
                    <a:pt x="126" y="330"/>
                  </a:lnTo>
                  <a:lnTo>
                    <a:pt x="121" y="340"/>
                  </a:lnTo>
                  <a:lnTo>
                    <a:pt x="131" y="358"/>
                  </a:lnTo>
                  <a:lnTo>
                    <a:pt x="131" y="358"/>
                  </a:lnTo>
                  <a:lnTo>
                    <a:pt x="134" y="365"/>
                  </a:lnTo>
                  <a:lnTo>
                    <a:pt x="134" y="371"/>
                  </a:lnTo>
                  <a:lnTo>
                    <a:pt x="136" y="379"/>
                  </a:lnTo>
                  <a:lnTo>
                    <a:pt x="136" y="379"/>
                  </a:lnTo>
                  <a:lnTo>
                    <a:pt x="137" y="382"/>
                  </a:lnTo>
                  <a:lnTo>
                    <a:pt x="139" y="385"/>
                  </a:lnTo>
                  <a:lnTo>
                    <a:pt x="136" y="389"/>
                  </a:lnTo>
                  <a:lnTo>
                    <a:pt x="131" y="395"/>
                  </a:lnTo>
                  <a:lnTo>
                    <a:pt x="131" y="395"/>
                  </a:lnTo>
                  <a:lnTo>
                    <a:pt x="142" y="416"/>
                  </a:lnTo>
                  <a:lnTo>
                    <a:pt x="148" y="432"/>
                  </a:lnTo>
                  <a:lnTo>
                    <a:pt x="151" y="444"/>
                  </a:lnTo>
                  <a:lnTo>
                    <a:pt x="151" y="444"/>
                  </a:lnTo>
                  <a:lnTo>
                    <a:pt x="152" y="451"/>
                  </a:lnTo>
                  <a:lnTo>
                    <a:pt x="155" y="460"/>
                  </a:lnTo>
                  <a:lnTo>
                    <a:pt x="158" y="472"/>
                  </a:lnTo>
                  <a:lnTo>
                    <a:pt x="161" y="483"/>
                  </a:lnTo>
                  <a:lnTo>
                    <a:pt x="161" y="483"/>
                  </a:lnTo>
                  <a:lnTo>
                    <a:pt x="161" y="487"/>
                  </a:lnTo>
                  <a:lnTo>
                    <a:pt x="164" y="493"/>
                  </a:lnTo>
                  <a:lnTo>
                    <a:pt x="173" y="508"/>
                  </a:lnTo>
                  <a:lnTo>
                    <a:pt x="186" y="522"/>
                  </a:lnTo>
                  <a:lnTo>
                    <a:pt x="204" y="537"/>
                  </a:lnTo>
                  <a:lnTo>
                    <a:pt x="204" y="537"/>
                  </a:lnTo>
                  <a:lnTo>
                    <a:pt x="214" y="545"/>
                  </a:lnTo>
                  <a:lnTo>
                    <a:pt x="226" y="551"/>
                  </a:lnTo>
                  <a:lnTo>
                    <a:pt x="237" y="555"/>
                  </a:lnTo>
                  <a:lnTo>
                    <a:pt x="247" y="558"/>
                  </a:lnTo>
                  <a:lnTo>
                    <a:pt x="262" y="561"/>
                  </a:lnTo>
                  <a:lnTo>
                    <a:pt x="268" y="561"/>
                  </a:lnTo>
                  <a:lnTo>
                    <a:pt x="268" y="561"/>
                  </a:lnTo>
                  <a:lnTo>
                    <a:pt x="277" y="562"/>
                  </a:lnTo>
                  <a:lnTo>
                    <a:pt x="300" y="564"/>
                  </a:lnTo>
                  <a:lnTo>
                    <a:pt x="300" y="564"/>
                  </a:lnTo>
                  <a:lnTo>
                    <a:pt x="312" y="562"/>
                  </a:lnTo>
                  <a:lnTo>
                    <a:pt x="320" y="562"/>
                  </a:lnTo>
                  <a:lnTo>
                    <a:pt x="324" y="561"/>
                  </a:lnTo>
                  <a:lnTo>
                    <a:pt x="330" y="558"/>
                  </a:lnTo>
                  <a:lnTo>
                    <a:pt x="330" y="558"/>
                  </a:lnTo>
                  <a:lnTo>
                    <a:pt x="337" y="554"/>
                  </a:lnTo>
                  <a:lnTo>
                    <a:pt x="345" y="548"/>
                  </a:lnTo>
                  <a:lnTo>
                    <a:pt x="351" y="542"/>
                  </a:lnTo>
                  <a:lnTo>
                    <a:pt x="354" y="539"/>
                  </a:lnTo>
                  <a:lnTo>
                    <a:pt x="354" y="536"/>
                  </a:lnTo>
                  <a:lnTo>
                    <a:pt x="354" y="536"/>
                  </a:lnTo>
                  <a:lnTo>
                    <a:pt x="357" y="533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62" y="525"/>
                  </a:lnTo>
                  <a:lnTo>
                    <a:pt x="367" y="522"/>
                  </a:lnTo>
                  <a:lnTo>
                    <a:pt x="367" y="522"/>
                  </a:lnTo>
                  <a:lnTo>
                    <a:pt x="373" y="518"/>
                  </a:lnTo>
                  <a:lnTo>
                    <a:pt x="380" y="512"/>
                  </a:lnTo>
                  <a:lnTo>
                    <a:pt x="380" y="512"/>
                  </a:lnTo>
                  <a:lnTo>
                    <a:pt x="383" y="508"/>
                  </a:lnTo>
                  <a:lnTo>
                    <a:pt x="385" y="503"/>
                  </a:lnTo>
                  <a:lnTo>
                    <a:pt x="383" y="499"/>
                  </a:lnTo>
                  <a:lnTo>
                    <a:pt x="383" y="499"/>
                  </a:lnTo>
                  <a:lnTo>
                    <a:pt x="385" y="497"/>
                  </a:lnTo>
                  <a:lnTo>
                    <a:pt x="386" y="494"/>
                  </a:lnTo>
                  <a:lnTo>
                    <a:pt x="386" y="490"/>
                  </a:lnTo>
                  <a:lnTo>
                    <a:pt x="386" y="490"/>
                  </a:lnTo>
                  <a:lnTo>
                    <a:pt x="386" y="483"/>
                  </a:lnTo>
                  <a:lnTo>
                    <a:pt x="388" y="475"/>
                  </a:lnTo>
                  <a:lnTo>
                    <a:pt x="388" y="475"/>
                  </a:lnTo>
                  <a:lnTo>
                    <a:pt x="389" y="469"/>
                  </a:lnTo>
                  <a:lnTo>
                    <a:pt x="389" y="465"/>
                  </a:lnTo>
                  <a:lnTo>
                    <a:pt x="392" y="460"/>
                  </a:lnTo>
                  <a:lnTo>
                    <a:pt x="392" y="460"/>
                  </a:lnTo>
                  <a:lnTo>
                    <a:pt x="398" y="450"/>
                  </a:lnTo>
                  <a:lnTo>
                    <a:pt x="399" y="444"/>
                  </a:lnTo>
                  <a:lnTo>
                    <a:pt x="399" y="441"/>
                  </a:lnTo>
                  <a:lnTo>
                    <a:pt x="399" y="438"/>
                  </a:lnTo>
                  <a:lnTo>
                    <a:pt x="399" y="438"/>
                  </a:lnTo>
                  <a:lnTo>
                    <a:pt x="398" y="434"/>
                  </a:lnTo>
                  <a:lnTo>
                    <a:pt x="398" y="431"/>
                  </a:lnTo>
                  <a:lnTo>
                    <a:pt x="398" y="428"/>
                  </a:lnTo>
                  <a:lnTo>
                    <a:pt x="395" y="423"/>
                  </a:lnTo>
                  <a:lnTo>
                    <a:pt x="395" y="423"/>
                  </a:lnTo>
                  <a:lnTo>
                    <a:pt x="391" y="417"/>
                  </a:lnTo>
                  <a:lnTo>
                    <a:pt x="389" y="410"/>
                  </a:lnTo>
                  <a:lnTo>
                    <a:pt x="388" y="398"/>
                  </a:lnTo>
                  <a:lnTo>
                    <a:pt x="389" y="380"/>
                  </a:lnTo>
                  <a:lnTo>
                    <a:pt x="389" y="380"/>
                  </a:lnTo>
                  <a:lnTo>
                    <a:pt x="395" y="348"/>
                  </a:lnTo>
                  <a:lnTo>
                    <a:pt x="398" y="331"/>
                  </a:lnTo>
                  <a:lnTo>
                    <a:pt x="401" y="306"/>
                  </a:lnTo>
                  <a:lnTo>
                    <a:pt x="401" y="306"/>
                  </a:lnTo>
                  <a:lnTo>
                    <a:pt x="404" y="277"/>
                  </a:lnTo>
                  <a:lnTo>
                    <a:pt x="402" y="260"/>
                  </a:lnTo>
                  <a:lnTo>
                    <a:pt x="402" y="260"/>
                  </a:lnTo>
                  <a:lnTo>
                    <a:pt x="402" y="243"/>
                  </a:lnTo>
                  <a:lnTo>
                    <a:pt x="401" y="223"/>
                  </a:lnTo>
                  <a:lnTo>
                    <a:pt x="398" y="209"/>
                  </a:lnTo>
                  <a:lnTo>
                    <a:pt x="397" y="203"/>
                  </a:lnTo>
                  <a:lnTo>
                    <a:pt x="394" y="201"/>
                  </a:lnTo>
                  <a:lnTo>
                    <a:pt x="394" y="201"/>
                  </a:lnTo>
                  <a:lnTo>
                    <a:pt x="388" y="197"/>
                  </a:lnTo>
                  <a:lnTo>
                    <a:pt x="379" y="189"/>
                  </a:lnTo>
                  <a:lnTo>
                    <a:pt x="379" y="189"/>
                  </a:lnTo>
                  <a:lnTo>
                    <a:pt x="376" y="185"/>
                  </a:lnTo>
                  <a:lnTo>
                    <a:pt x="374" y="182"/>
                  </a:lnTo>
                  <a:lnTo>
                    <a:pt x="376" y="174"/>
                  </a:lnTo>
                  <a:lnTo>
                    <a:pt x="376" y="174"/>
                  </a:lnTo>
                  <a:lnTo>
                    <a:pt x="374" y="170"/>
                  </a:lnTo>
                  <a:lnTo>
                    <a:pt x="371" y="167"/>
                  </a:lnTo>
                  <a:lnTo>
                    <a:pt x="365" y="167"/>
                  </a:lnTo>
                  <a:lnTo>
                    <a:pt x="357" y="166"/>
                  </a:lnTo>
                  <a:lnTo>
                    <a:pt x="357" y="166"/>
                  </a:lnTo>
                  <a:lnTo>
                    <a:pt x="348" y="166"/>
                  </a:lnTo>
                  <a:lnTo>
                    <a:pt x="345" y="164"/>
                  </a:lnTo>
                  <a:lnTo>
                    <a:pt x="345" y="163"/>
                  </a:lnTo>
                  <a:lnTo>
                    <a:pt x="346" y="161"/>
                  </a:lnTo>
                  <a:lnTo>
                    <a:pt x="348" y="160"/>
                  </a:lnTo>
                  <a:lnTo>
                    <a:pt x="348" y="160"/>
                  </a:lnTo>
                  <a:lnTo>
                    <a:pt x="349" y="158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64" y="126"/>
                  </a:lnTo>
                  <a:lnTo>
                    <a:pt x="365" y="117"/>
                  </a:lnTo>
                  <a:lnTo>
                    <a:pt x="365" y="117"/>
                  </a:lnTo>
                  <a:lnTo>
                    <a:pt x="367" y="106"/>
                  </a:lnTo>
                  <a:lnTo>
                    <a:pt x="368" y="97"/>
                  </a:lnTo>
                  <a:lnTo>
                    <a:pt x="368" y="97"/>
                  </a:lnTo>
                  <a:lnTo>
                    <a:pt x="368" y="93"/>
                  </a:lnTo>
                  <a:lnTo>
                    <a:pt x="370" y="92"/>
                  </a:lnTo>
                  <a:lnTo>
                    <a:pt x="373" y="92"/>
                  </a:lnTo>
                  <a:lnTo>
                    <a:pt x="373" y="92"/>
                  </a:lnTo>
                  <a:lnTo>
                    <a:pt x="374" y="93"/>
                  </a:lnTo>
                  <a:lnTo>
                    <a:pt x="376" y="96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114"/>
                  </a:lnTo>
                  <a:lnTo>
                    <a:pt x="379" y="114"/>
                  </a:lnTo>
                  <a:lnTo>
                    <a:pt x="380" y="118"/>
                  </a:lnTo>
                  <a:lnTo>
                    <a:pt x="382" y="121"/>
                  </a:lnTo>
                  <a:lnTo>
                    <a:pt x="386" y="124"/>
                  </a:lnTo>
                  <a:lnTo>
                    <a:pt x="386" y="124"/>
                  </a:lnTo>
                  <a:lnTo>
                    <a:pt x="389" y="124"/>
                  </a:lnTo>
                  <a:lnTo>
                    <a:pt x="392" y="123"/>
                  </a:lnTo>
                  <a:lnTo>
                    <a:pt x="394" y="120"/>
                  </a:lnTo>
                  <a:lnTo>
                    <a:pt x="395" y="117"/>
                  </a:lnTo>
                  <a:lnTo>
                    <a:pt x="395" y="117"/>
                  </a:lnTo>
                  <a:lnTo>
                    <a:pt x="398" y="108"/>
                  </a:lnTo>
                  <a:lnTo>
                    <a:pt x="401" y="102"/>
                  </a:lnTo>
                  <a:lnTo>
                    <a:pt x="401" y="102"/>
                  </a:lnTo>
                  <a:lnTo>
                    <a:pt x="401" y="96"/>
                  </a:lnTo>
                  <a:lnTo>
                    <a:pt x="401" y="89"/>
                  </a:lnTo>
                  <a:lnTo>
                    <a:pt x="397" y="81"/>
                  </a:lnTo>
                  <a:lnTo>
                    <a:pt x="394" y="77"/>
                  </a:lnTo>
                  <a:lnTo>
                    <a:pt x="389" y="74"/>
                  </a:lnTo>
                  <a:lnTo>
                    <a:pt x="389" y="74"/>
                  </a:lnTo>
                  <a:lnTo>
                    <a:pt x="382" y="71"/>
                  </a:lnTo>
                  <a:lnTo>
                    <a:pt x="376" y="69"/>
                  </a:lnTo>
                  <a:lnTo>
                    <a:pt x="370" y="71"/>
                  </a:lnTo>
                  <a:lnTo>
                    <a:pt x="367" y="71"/>
                  </a:lnTo>
                  <a:lnTo>
                    <a:pt x="367" y="71"/>
                  </a:lnTo>
                  <a:lnTo>
                    <a:pt x="364" y="69"/>
                  </a:lnTo>
                  <a:lnTo>
                    <a:pt x="364" y="66"/>
                  </a:lnTo>
                  <a:lnTo>
                    <a:pt x="364" y="62"/>
                  </a:lnTo>
                  <a:lnTo>
                    <a:pt x="362" y="56"/>
                  </a:lnTo>
                  <a:lnTo>
                    <a:pt x="362" y="56"/>
                  </a:lnTo>
                  <a:lnTo>
                    <a:pt x="361" y="50"/>
                  </a:lnTo>
                  <a:lnTo>
                    <a:pt x="361" y="44"/>
                  </a:lnTo>
                  <a:lnTo>
                    <a:pt x="361" y="32"/>
                  </a:lnTo>
                  <a:lnTo>
                    <a:pt x="361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48" y="25"/>
                  </a:lnTo>
                  <a:lnTo>
                    <a:pt x="330" y="17"/>
                  </a:lnTo>
                  <a:lnTo>
                    <a:pt x="330" y="17"/>
                  </a:lnTo>
                  <a:lnTo>
                    <a:pt x="306" y="10"/>
                  </a:lnTo>
                  <a:lnTo>
                    <a:pt x="290" y="6"/>
                  </a:lnTo>
                  <a:lnTo>
                    <a:pt x="277" y="4"/>
                  </a:lnTo>
                  <a:lnTo>
                    <a:pt x="277" y="4"/>
                  </a:lnTo>
                  <a:lnTo>
                    <a:pt x="257" y="1"/>
                  </a:lnTo>
                  <a:lnTo>
                    <a:pt x="231" y="0"/>
                  </a:lnTo>
                  <a:lnTo>
                    <a:pt x="204" y="0"/>
                  </a:lnTo>
                  <a:lnTo>
                    <a:pt x="194" y="0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79" y="6"/>
                  </a:lnTo>
                  <a:lnTo>
                    <a:pt x="171" y="9"/>
                  </a:lnTo>
                  <a:lnTo>
                    <a:pt x="160" y="19"/>
                  </a:lnTo>
                  <a:lnTo>
                    <a:pt x="149" y="28"/>
                  </a:lnTo>
                  <a:lnTo>
                    <a:pt x="145" y="35"/>
                  </a:lnTo>
                  <a:lnTo>
                    <a:pt x="145" y="35"/>
                  </a:lnTo>
                  <a:lnTo>
                    <a:pt x="145" y="41"/>
                  </a:lnTo>
                  <a:lnTo>
                    <a:pt x="145" y="52"/>
                  </a:lnTo>
                  <a:lnTo>
                    <a:pt x="146" y="63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2" y="84"/>
                  </a:lnTo>
                  <a:lnTo>
                    <a:pt x="136" y="94"/>
                  </a:lnTo>
                  <a:lnTo>
                    <a:pt x="133" y="99"/>
                  </a:lnTo>
                  <a:lnTo>
                    <a:pt x="127" y="103"/>
                  </a:lnTo>
                  <a:lnTo>
                    <a:pt x="123" y="105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69" y="103"/>
                  </a:lnTo>
                  <a:lnTo>
                    <a:pt x="44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5" y="106"/>
                  </a:lnTo>
                  <a:lnTo>
                    <a:pt x="17" y="11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10" y="161"/>
                  </a:lnTo>
                  <a:lnTo>
                    <a:pt x="17" y="174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9" y="191"/>
                  </a:lnTo>
                  <a:lnTo>
                    <a:pt x="34" y="200"/>
                  </a:lnTo>
                  <a:lnTo>
                    <a:pt x="37" y="209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8" y="226"/>
                  </a:lnTo>
                  <a:lnTo>
                    <a:pt x="35" y="238"/>
                  </a:lnTo>
                  <a:lnTo>
                    <a:pt x="35" y="2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2" name="Freeform 61">
              <a:extLst>
                <a:ext uri="{FF2B5EF4-FFF2-40B4-BE49-F238E27FC236}">
                  <a16:creationId xmlns:a16="http://schemas.microsoft.com/office/drawing/2014/main" id="{A9C5629C-9EAE-BD42-989B-6D87241AA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5" y="4406900"/>
              <a:ext cx="387350" cy="479425"/>
            </a:xfrm>
            <a:custGeom>
              <a:avLst/>
              <a:gdLst>
                <a:gd name="T0" fmla="*/ 3 w 244"/>
                <a:gd name="T1" fmla="*/ 63 h 302"/>
                <a:gd name="T2" fmla="*/ 13 w 244"/>
                <a:gd name="T3" fmla="*/ 58 h 302"/>
                <a:gd name="T4" fmla="*/ 37 w 244"/>
                <a:gd name="T5" fmla="*/ 46 h 302"/>
                <a:gd name="T6" fmla="*/ 48 w 244"/>
                <a:gd name="T7" fmla="*/ 30 h 302"/>
                <a:gd name="T8" fmla="*/ 62 w 244"/>
                <a:gd name="T9" fmla="*/ 15 h 302"/>
                <a:gd name="T10" fmla="*/ 90 w 244"/>
                <a:gd name="T11" fmla="*/ 12 h 302"/>
                <a:gd name="T12" fmla="*/ 119 w 244"/>
                <a:gd name="T13" fmla="*/ 0 h 302"/>
                <a:gd name="T14" fmla="*/ 117 w 244"/>
                <a:gd name="T15" fmla="*/ 6 h 302"/>
                <a:gd name="T16" fmla="*/ 113 w 244"/>
                <a:gd name="T17" fmla="*/ 17 h 302"/>
                <a:gd name="T18" fmla="*/ 145 w 244"/>
                <a:gd name="T19" fmla="*/ 43 h 302"/>
                <a:gd name="T20" fmla="*/ 165 w 244"/>
                <a:gd name="T21" fmla="*/ 55 h 302"/>
                <a:gd name="T22" fmla="*/ 172 w 244"/>
                <a:gd name="T23" fmla="*/ 73 h 302"/>
                <a:gd name="T24" fmla="*/ 185 w 244"/>
                <a:gd name="T25" fmla="*/ 71 h 302"/>
                <a:gd name="T26" fmla="*/ 202 w 244"/>
                <a:gd name="T27" fmla="*/ 67 h 302"/>
                <a:gd name="T28" fmla="*/ 213 w 244"/>
                <a:gd name="T29" fmla="*/ 77 h 302"/>
                <a:gd name="T30" fmla="*/ 225 w 244"/>
                <a:gd name="T31" fmla="*/ 74 h 302"/>
                <a:gd name="T32" fmla="*/ 237 w 244"/>
                <a:gd name="T33" fmla="*/ 74 h 302"/>
                <a:gd name="T34" fmla="*/ 240 w 244"/>
                <a:gd name="T35" fmla="*/ 92 h 302"/>
                <a:gd name="T36" fmla="*/ 234 w 244"/>
                <a:gd name="T37" fmla="*/ 103 h 302"/>
                <a:gd name="T38" fmla="*/ 243 w 244"/>
                <a:gd name="T39" fmla="*/ 116 h 302"/>
                <a:gd name="T40" fmla="*/ 242 w 244"/>
                <a:gd name="T41" fmla="*/ 123 h 302"/>
                <a:gd name="T42" fmla="*/ 219 w 244"/>
                <a:gd name="T43" fmla="*/ 129 h 302"/>
                <a:gd name="T44" fmla="*/ 216 w 244"/>
                <a:gd name="T45" fmla="*/ 138 h 302"/>
                <a:gd name="T46" fmla="*/ 204 w 244"/>
                <a:gd name="T47" fmla="*/ 151 h 302"/>
                <a:gd name="T48" fmla="*/ 196 w 244"/>
                <a:gd name="T49" fmla="*/ 160 h 302"/>
                <a:gd name="T50" fmla="*/ 190 w 244"/>
                <a:gd name="T51" fmla="*/ 178 h 302"/>
                <a:gd name="T52" fmla="*/ 182 w 244"/>
                <a:gd name="T53" fmla="*/ 188 h 302"/>
                <a:gd name="T54" fmla="*/ 194 w 244"/>
                <a:gd name="T55" fmla="*/ 197 h 302"/>
                <a:gd name="T56" fmla="*/ 196 w 244"/>
                <a:gd name="T57" fmla="*/ 209 h 302"/>
                <a:gd name="T58" fmla="*/ 185 w 244"/>
                <a:gd name="T59" fmla="*/ 220 h 302"/>
                <a:gd name="T60" fmla="*/ 188 w 244"/>
                <a:gd name="T61" fmla="*/ 227 h 302"/>
                <a:gd name="T62" fmla="*/ 200 w 244"/>
                <a:gd name="T63" fmla="*/ 245 h 302"/>
                <a:gd name="T64" fmla="*/ 216 w 244"/>
                <a:gd name="T65" fmla="*/ 251 h 302"/>
                <a:gd name="T66" fmla="*/ 212 w 244"/>
                <a:gd name="T67" fmla="*/ 268 h 302"/>
                <a:gd name="T68" fmla="*/ 200 w 244"/>
                <a:gd name="T69" fmla="*/ 295 h 302"/>
                <a:gd name="T70" fmla="*/ 191 w 244"/>
                <a:gd name="T71" fmla="*/ 298 h 302"/>
                <a:gd name="T72" fmla="*/ 169 w 244"/>
                <a:gd name="T73" fmla="*/ 300 h 302"/>
                <a:gd name="T74" fmla="*/ 147 w 244"/>
                <a:gd name="T75" fmla="*/ 301 h 302"/>
                <a:gd name="T76" fmla="*/ 114 w 244"/>
                <a:gd name="T77" fmla="*/ 300 h 302"/>
                <a:gd name="T78" fmla="*/ 88 w 244"/>
                <a:gd name="T79" fmla="*/ 302 h 302"/>
                <a:gd name="T80" fmla="*/ 62 w 244"/>
                <a:gd name="T81" fmla="*/ 289 h 302"/>
                <a:gd name="T82" fmla="*/ 53 w 244"/>
                <a:gd name="T83" fmla="*/ 300 h 302"/>
                <a:gd name="T84" fmla="*/ 45 w 244"/>
                <a:gd name="T85" fmla="*/ 302 h 302"/>
                <a:gd name="T86" fmla="*/ 34 w 244"/>
                <a:gd name="T87" fmla="*/ 294 h 302"/>
                <a:gd name="T88" fmla="*/ 36 w 244"/>
                <a:gd name="T89" fmla="*/ 271 h 302"/>
                <a:gd name="T90" fmla="*/ 48 w 244"/>
                <a:gd name="T91" fmla="*/ 255 h 302"/>
                <a:gd name="T92" fmla="*/ 48 w 244"/>
                <a:gd name="T93" fmla="*/ 231 h 302"/>
                <a:gd name="T94" fmla="*/ 34 w 244"/>
                <a:gd name="T95" fmla="*/ 212 h 302"/>
                <a:gd name="T96" fmla="*/ 34 w 244"/>
                <a:gd name="T97" fmla="*/ 197 h 302"/>
                <a:gd name="T98" fmla="*/ 48 w 244"/>
                <a:gd name="T99" fmla="*/ 165 h 302"/>
                <a:gd name="T100" fmla="*/ 49 w 244"/>
                <a:gd name="T101" fmla="*/ 138 h 302"/>
                <a:gd name="T102" fmla="*/ 39 w 244"/>
                <a:gd name="T103" fmla="*/ 123 h 302"/>
                <a:gd name="T104" fmla="*/ 25 w 244"/>
                <a:gd name="T105" fmla="*/ 113 h 302"/>
                <a:gd name="T106" fmla="*/ 12 w 244"/>
                <a:gd name="T107" fmla="*/ 108 h 302"/>
                <a:gd name="T108" fmla="*/ 13 w 244"/>
                <a:gd name="T109" fmla="*/ 91 h 302"/>
                <a:gd name="T110" fmla="*/ 6 w 244"/>
                <a:gd name="T111" fmla="*/ 77 h 302"/>
                <a:gd name="T112" fmla="*/ 2 w 244"/>
                <a:gd name="T113" fmla="*/ 6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02">
                  <a:moveTo>
                    <a:pt x="2" y="68"/>
                  </a:moveTo>
                  <a:lnTo>
                    <a:pt x="2" y="68"/>
                  </a:lnTo>
                  <a:lnTo>
                    <a:pt x="2" y="67"/>
                  </a:lnTo>
                  <a:lnTo>
                    <a:pt x="3" y="63"/>
                  </a:lnTo>
                  <a:lnTo>
                    <a:pt x="6" y="60"/>
                  </a:lnTo>
                  <a:lnTo>
                    <a:pt x="9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22" y="57"/>
                  </a:lnTo>
                  <a:lnTo>
                    <a:pt x="28" y="54"/>
                  </a:lnTo>
                  <a:lnTo>
                    <a:pt x="33" y="51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3" y="37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8" y="15"/>
                  </a:lnTo>
                  <a:lnTo>
                    <a:pt x="62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85" y="14"/>
                  </a:lnTo>
                  <a:lnTo>
                    <a:pt x="90" y="12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14" y="2"/>
                  </a:lnTo>
                  <a:lnTo>
                    <a:pt x="119" y="0"/>
                  </a:lnTo>
                  <a:lnTo>
                    <a:pt x="120" y="2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7" y="6"/>
                  </a:lnTo>
                  <a:lnTo>
                    <a:pt x="114" y="11"/>
                  </a:lnTo>
                  <a:lnTo>
                    <a:pt x="113" y="12"/>
                  </a:lnTo>
                  <a:lnTo>
                    <a:pt x="111" y="14"/>
                  </a:lnTo>
                  <a:lnTo>
                    <a:pt x="113" y="17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29" y="31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51" y="48"/>
                  </a:lnTo>
                  <a:lnTo>
                    <a:pt x="159" y="51"/>
                  </a:lnTo>
                  <a:lnTo>
                    <a:pt x="165" y="55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70" y="70"/>
                  </a:lnTo>
                  <a:lnTo>
                    <a:pt x="172" y="73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82" y="73"/>
                  </a:lnTo>
                  <a:lnTo>
                    <a:pt x="185" y="71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9" y="66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10" y="76"/>
                  </a:lnTo>
                  <a:lnTo>
                    <a:pt x="213" y="77"/>
                  </a:lnTo>
                  <a:lnTo>
                    <a:pt x="216" y="79"/>
                  </a:lnTo>
                  <a:lnTo>
                    <a:pt x="216" y="79"/>
                  </a:lnTo>
                  <a:lnTo>
                    <a:pt x="219" y="77"/>
                  </a:lnTo>
                  <a:lnTo>
                    <a:pt x="225" y="74"/>
                  </a:lnTo>
                  <a:lnTo>
                    <a:pt x="230" y="73"/>
                  </a:lnTo>
                  <a:lnTo>
                    <a:pt x="234" y="73"/>
                  </a:lnTo>
                  <a:lnTo>
                    <a:pt x="234" y="73"/>
                  </a:lnTo>
                  <a:lnTo>
                    <a:pt x="237" y="74"/>
                  </a:lnTo>
                  <a:lnTo>
                    <a:pt x="240" y="80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37" y="97"/>
                  </a:lnTo>
                  <a:lnTo>
                    <a:pt x="234" y="100"/>
                  </a:lnTo>
                  <a:lnTo>
                    <a:pt x="234" y="103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40" y="110"/>
                  </a:lnTo>
                  <a:lnTo>
                    <a:pt x="243" y="116"/>
                  </a:lnTo>
                  <a:lnTo>
                    <a:pt x="244" y="119"/>
                  </a:lnTo>
                  <a:lnTo>
                    <a:pt x="243" y="122"/>
                  </a:lnTo>
                  <a:lnTo>
                    <a:pt x="242" y="123"/>
                  </a:lnTo>
                  <a:lnTo>
                    <a:pt x="242" y="123"/>
                  </a:lnTo>
                  <a:lnTo>
                    <a:pt x="236" y="125"/>
                  </a:lnTo>
                  <a:lnTo>
                    <a:pt x="228" y="126"/>
                  </a:lnTo>
                  <a:lnTo>
                    <a:pt x="222" y="128"/>
                  </a:lnTo>
                  <a:lnTo>
                    <a:pt x="219" y="129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6" y="134"/>
                  </a:lnTo>
                  <a:lnTo>
                    <a:pt x="216" y="138"/>
                  </a:lnTo>
                  <a:lnTo>
                    <a:pt x="215" y="144"/>
                  </a:lnTo>
                  <a:lnTo>
                    <a:pt x="210" y="148"/>
                  </a:lnTo>
                  <a:lnTo>
                    <a:pt x="210" y="148"/>
                  </a:lnTo>
                  <a:lnTo>
                    <a:pt x="204" y="151"/>
                  </a:lnTo>
                  <a:lnTo>
                    <a:pt x="200" y="153"/>
                  </a:lnTo>
                  <a:lnTo>
                    <a:pt x="197" y="15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4" y="172"/>
                  </a:lnTo>
                  <a:lnTo>
                    <a:pt x="193" y="175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85" y="181"/>
                  </a:lnTo>
                  <a:lnTo>
                    <a:pt x="182" y="184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4" y="190"/>
                  </a:lnTo>
                  <a:lnTo>
                    <a:pt x="184" y="190"/>
                  </a:lnTo>
                  <a:lnTo>
                    <a:pt x="188" y="193"/>
                  </a:lnTo>
                  <a:lnTo>
                    <a:pt x="194" y="197"/>
                  </a:lnTo>
                  <a:lnTo>
                    <a:pt x="197" y="199"/>
                  </a:lnTo>
                  <a:lnTo>
                    <a:pt x="197" y="202"/>
                  </a:lnTo>
                  <a:lnTo>
                    <a:pt x="197" y="205"/>
                  </a:lnTo>
                  <a:lnTo>
                    <a:pt x="196" y="209"/>
                  </a:lnTo>
                  <a:lnTo>
                    <a:pt x="196" y="209"/>
                  </a:lnTo>
                  <a:lnTo>
                    <a:pt x="191" y="214"/>
                  </a:lnTo>
                  <a:lnTo>
                    <a:pt x="187" y="218"/>
                  </a:lnTo>
                  <a:lnTo>
                    <a:pt x="185" y="220"/>
                  </a:lnTo>
                  <a:lnTo>
                    <a:pt x="184" y="221"/>
                  </a:lnTo>
                  <a:lnTo>
                    <a:pt x="185" y="224"/>
                  </a:lnTo>
                  <a:lnTo>
                    <a:pt x="188" y="227"/>
                  </a:lnTo>
                  <a:lnTo>
                    <a:pt x="188" y="227"/>
                  </a:lnTo>
                  <a:lnTo>
                    <a:pt x="194" y="233"/>
                  </a:lnTo>
                  <a:lnTo>
                    <a:pt x="197" y="237"/>
                  </a:lnTo>
                  <a:lnTo>
                    <a:pt x="200" y="245"/>
                  </a:lnTo>
                  <a:lnTo>
                    <a:pt x="200" y="245"/>
                  </a:lnTo>
                  <a:lnTo>
                    <a:pt x="203" y="246"/>
                  </a:lnTo>
                  <a:lnTo>
                    <a:pt x="209" y="249"/>
                  </a:lnTo>
                  <a:lnTo>
                    <a:pt x="216" y="251"/>
                  </a:lnTo>
                  <a:lnTo>
                    <a:pt x="216" y="251"/>
                  </a:lnTo>
                  <a:lnTo>
                    <a:pt x="218" y="254"/>
                  </a:lnTo>
                  <a:lnTo>
                    <a:pt x="218" y="257"/>
                  </a:lnTo>
                  <a:lnTo>
                    <a:pt x="216" y="262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07" y="276"/>
                  </a:lnTo>
                  <a:lnTo>
                    <a:pt x="204" y="286"/>
                  </a:lnTo>
                  <a:lnTo>
                    <a:pt x="200" y="295"/>
                  </a:lnTo>
                  <a:lnTo>
                    <a:pt x="197" y="297"/>
                  </a:lnTo>
                  <a:lnTo>
                    <a:pt x="194" y="298"/>
                  </a:lnTo>
                  <a:lnTo>
                    <a:pt x="194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81" y="301"/>
                  </a:lnTo>
                  <a:lnTo>
                    <a:pt x="175" y="301"/>
                  </a:lnTo>
                  <a:lnTo>
                    <a:pt x="169" y="300"/>
                  </a:lnTo>
                  <a:lnTo>
                    <a:pt x="169" y="300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7" y="301"/>
                  </a:lnTo>
                  <a:lnTo>
                    <a:pt x="147" y="301"/>
                  </a:lnTo>
                  <a:lnTo>
                    <a:pt x="132" y="301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02" y="301"/>
                  </a:lnTo>
                  <a:lnTo>
                    <a:pt x="95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0" y="300"/>
                  </a:lnTo>
                  <a:lnTo>
                    <a:pt x="73" y="294"/>
                  </a:lnTo>
                  <a:lnTo>
                    <a:pt x="65" y="291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9" y="289"/>
                  </a:lnTo>
                  <a:lnTo>
                    <a:pt x="56" y="294"/>
                  </a:lnTo>
                  <a:lnTo>
                    <a:pt x="53" y="300"/>
                  </a:lnTo>
                  <a:lnTo>
                    <a:pt x="49" y="302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0" y="301"/>
                  </a:lnTo>
                  <a:lnTo>
                    <a:pt x="37" y="301"/>
                  </a:lnTo>
                  <a:lnTo>
                    <a:pt x="34" y="300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33" y="280"/>
                  </a:lnTo>
                  <a:lnTo>
                    <a:pt x="33" y="276"/>
                  </a:lnTo>
                  <a:lnTo>
                    <a:pt x="36" y="271"/>
                  </a:lnTo>
                  <a:lnTo>
                    <a:pt x="36" y="271"/>
                  </a:lnTo>
                  <a:lnTo>
                    <a:pt x="45" y="267"/>
                  </a:lnTo>
                  <a:lnTo>
                    <a:pt x="48" y="264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9" y="240"/>
                  </a:lnTo>
                  <a:lnTo>
                    <a:pt x="49" y="237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43" y="225"/>
                  </a:lnTo>
                  <a:lnTo>
                    <a:pt x="37" y="217"/>
                  </a:lnTo>
                  <a:lnTo>
                    <a:pt x="34" y="212"/>
                  </a:lnTo>
                  <a:lnTo>
                    <a:pt x="33" y="208"/>
                  </a:lnTo>
                  <a:lnTo>
                    <a:pt x="33" y="203"/>
                  </a:lnTo>
                  <a:lnTo>
                    <a:pt x="34" y="197"/>
                  </a:lnTo>
                  <a:lnTo>
                    <a:pt x="34" y="197"/>
                  </a:lnTo>
                  <a:lnTo>
                    <a:pt x="39" y="188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8" y="165"/>
                  </a:lnTo>
                  <a:lnTo>
                    <a:pt x="49" y="154"/>
                  </a:lnTo>
                  <a:lnTo>
                    <a:pt x="50" y="145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2"/>
                  </a:lnTo>
                  <a:lnTo>
                    <a:pt x="48" y="129"/>
                  </a:lnTo>
                  <a:lnTo>
                    <a:pt x="45" y="126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0" y="117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1" y="111"/>
                  </a:lnTo>
                  <a:lnTo>
                    <a:pt x="16" y="111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3" y="98"/>
                  </a:lnTo>
                  <a:lnTo>
                    <a:pt x="13" y="91"/>
                  </a:lnTo>
                  <a:lnTo>
                    <a:pt x="13" y="85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6" y="77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3" name="Freeform 62">
              <a:extLst>
                <a:ext uri="{FF2B5EF4-FFF2-40B4-BE49-F238E27FC236}">
                  <a16:creationId xmlns:a16="http://schemas.microsoft.com/office/drawing/2014/main" id="{2FD5B9A1-0ED7-3D46-9A49-A48B65720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4013" y="3678238"/>
              <a:ext cx="1241425" cy="1635125"/>
            </a:xfrm>
            <a:custGeom>
              <a:avLst/>
              <a:gdLst>
                <a:gd name="T0" fmla="*/ 543 w 782"/>
                <a:gd name="T1" fmla="*/ 45 h 1030"/>
                <a:gd name="T2" fmla="*/ 536 w 782"/>
                <a:gd name="T3" fmla="*/ 3 h 1030"/>
                <a:gd name="T4" fmla="*/ 493 w 782"/>
                <a:gd name="T5" fmla="*/ 0 h 1030"/>
                <a:gd name="T6" fmla="*/ 446 w 782"/>
                <a:gd name="T7" fmla="*/ 42 h 1030"/>
                <a:gd name="T8" fmla="*/ 380 w 782"/>
                <a:gd name="T9" fmla="*/ 71 h 1030"/>
                <a:gd name="T10" fmla="*/ 290 w 782"/>
                <a:gd name="T11" fmla="*/ 86 h 1030"/>
                <a:gd name="T12" fmla="*/ 232 w 782"/>
                <a:gd name="T13" fmla="*/ 52 h 1030"/>
                <a:gd name="T14" fmla="*/ 231 w 782"/>
                <a:gd name="T15" fmla="*/ 83 h 1030"/>
                <a:gd name="T16" fmla="*/ 212 w 782"/>
                <a:gd name="T17" fmla="*/ 136 h 1030"/>
                <a:gd name="T18" fmla="*/ 178 w 782"/>
                <a:gd name="T19" fmla="*/ 157 h 1030"/>
                <a:gd name="T20" fmla="*/ 111 w 782"/>
                <a:gd name="T21" fmla="*/ 208 h 1030"/>
                <a:gd name="T22" fmla="*/ 130 w 782"/>
                <a:gd name="T23" fmla="*/ 249 h 1030"/>
                <a:gd name="T24" fmla="*/ 132 w 782"/>
                <a:gd name="T25" fmla="*/ 292 h 1030"/>
                <a:gd name="T26" fmla="*/ 138 w 782"/>
                <a:gd name="T27" fmla="*/ 348 h 1030"/>
                <a:gd name="T28" fmla="*/ 185 w 782"/>
                <a:gd name="T29" fmla="*/ 382 h 1030"/>
                <a:gd name="T30" fmla="*/ 188 w 782"/>
                <a:gd name="T31" fmla="*/ 425 h 1030"/>
                <a:gd name="T32" fmla="*/ 160 w 782"/>
                <a:gd name="T33" fmla="*/ 462 h 1030"/>
                <a:gd name="T34" fmla="*/ 148 w 782"/>
                <a:gd name="T35" fmla="*/ 492 h 1030"/>
                <a:gd name="T36" fmla="*/ 96 w 782"/>
                <a:gd name="T37" fmla="*/ 489 h 1030"/>
                <a:gd name="T38" fmla="*/ 69 w 782"/>
                <a:gd name="T39" fmla="*/ 538 h 1030"/>
                <a:gd name="T40" fmla="*/ 56 w 782"/>
                <a:gd name="T41" fmla="*/ 572 h 1030"/>
                <a:gd name="T42" fmla="*/ 58 w 782"/>
                <a:gd name="T43" fmla="*/ 603 h 1030"/>
                <a:gd name="T44" fmla="*/ 21 w 782"/>
                <a:gd name="T45" fmla="*/ 633 h 1030"/>
                <a:gd name="T46" fmla="*/ 7 w 782"/>
                <a:gd name="T47" fmla="*/ 684 h 1030"/>
                <a:gd name="T48" fmla="*/ 49 w 782"/>
                <a:gd name="T49" fmla="*/ 776 h 1030"/>
                <a:gd name="T50" fmla="*/ 86 w 782"/>
                <a:gd name="T51" fmla="*/ 825 h 1030"/>
                <a:gd name="T52" fmla="*/ 130 w 782"/>
                <a:gd name="T53" fmla="*/ 855 h 1030"/>
                <a:gd name="T54" fmla="*/ 219 w 782"/>
                <a:gd name="T55" fmla="*/ 862 h 1030"/>
                <a:gd name="T56" fmla="*/ 255 w 782"/>
                <a:gd name="T57" fmla="*/ 920 h 1030"/>
                <a:gd name="T58" fmla="*/ 237 w 782"/>
                <a:gd name="T59" fmla="*/ 979 h 1030"/>
                <a:gd name="T60" fmla="*/ 298 w 782"/>
                <a:gd name="T61" fmla="*/ 972 h 1030"/>
                <a:gd name="T62" fmla="*/ 352 w 782"/>
                <a:gd name="T63" fmla="*/ 979 h 1030"/>
                <a:gd name="T64" fmla="*/ 391 w 782"/>
                <a:gd name="T65" fmla="*/ 1030 h 1030"/>
                <a:gd name="T66" fmla="*/ 429 w 782"/>
                <a:gd name="T67" fmla="*/ 987 h 1030"/>
                <a:gd name="T68" fmla="*/ 456 w 782"/>
                <a:gd name="T69" fmla="*/ 960 h 1030"/>
                <a:gd name="T70" fmla="*/ 449 w 782"/>
                <a:gd name="T71" fmla="*/ 921 h 1030"/>
                <a:gd name="T72" fmla="*/ 526 w 782"/>
                <a:gd name="T73" fmla="*/ 881 h 1030"/>
                <a:gd name="T74" fmla="*/ 566 w 782"/>
                <a:gd name="T75" fmla="*/ 844 h 1030"/>
                <a:gd name="T76" fmla="*/ 592 w 782"/>
                <a:gd name="T77" fmla="*/ 852 h 1030"/>
                <a:gd name="T78" fmla="*/ 598 w 782"/>
                <a:gd name="T79" fmla="*/ 898 h 1030"/>
                <a:gd name="T80" fmla="*/ 645 w 782"/>
                <a:gd name="T81" fmla="*/ 834 h 1030"/>
                <a:gd name="T82" fmla="*/ 671 w 782"/>
                <a:gd name="T83" fmla="*/ 781 h 1030"/>
                <a:gd name="T84" fmla="*/ 714 w 782"/>
                <a:gd name="T85" fmla="*/ 720 h 1030"/>
                <a:gd name="T86" fmla="*/ 669 w 782"/>
                <a:gd name="T87" fmla="*/ 729 h 1030"/>
                <a:gd name="T88" fmla="*/ 622 w 782"/>
                <a:gd name="T89" fmla="*/ 673 h 1030"/>
                <a:gd name="T90" fmla="*/ 606 w 782"/>
                <a:gd name="T91" fmla="*/ 560 h 1030"/>
                <a:gd name="T92" fmla="*/ 582 w 782"/>
                <a:gd name="T93" fmla="*/ 462 h 1030"/>
                <a:gd name="T94" fmla="*/ 617 w 782"/>
                <a:gd name="T95" fmla="*/ 376 h 1030"/>
                <a:gd name="T96" fmla="*/ 657 w 782"/>
                <a:gd name="T97" fmla="*/ 351 h 1030"/>
                <a:gd name="T98" fmla="*/ 674 w 782"/>
                <a:gd name="T99" fmla="*/ 310 h 1030"/>
                <a:gd name="T100" fmla="*/ 715 w 782"/>
                <a:gd name="T101" fmla="*/ 369 h 1030"/>
                <a:gd name="T102" fmla="*/ 739 w 782"/>
                <a:gd name="T103" fmla="*/ 359 h 1030"/>
                <a:gd name="T104" fmla="*/ 776 w 782"/>
                <a:gd name="T105" fmla="*/ 390 h 1030"/>
                <a:gd name="T106" fmla="*/ 764 w 782"/>
                <a:gd name="T107" fmla="*/ 259 h 1030"/>
                <a:gd name="T108" fmla="*/ 730 w 782"/>
                <a:gd name="T109" fmla="*/ 211 h 1030"/>
                <a:gd name="T110" fmla="*/ 709 w 782"/>
                <a:gd name="T111" fmla="*/ 208 h 1030"/>
                <a:gd name="T112" fmla="*/ 674 w 782"/>
                <a:gd name="T113" fmla="*/ 142 h 1030"/>
                <a:gd name="T114" fmla="*/ 628 w 782"/>
                <a:gd name="T115" fmla="*/ 116 h 1030"/>
                <a:gd name="T116" fmla="*/ 588 w 782"/>
                <a:gd name="T117" fmla="*/ 74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2" h="1030">
                  <a:moveTo>
                    <a:pt x="588" y="74"/>
                  </a:moveTo>
                  <a:lnTo>
                    <a:pt x="588" y="74"/>
                  </a:lnTo>
                  <a:lnTo>
                    <a:pt x="583" y="73"/>
                  </a:lnTo>
                  <a:lnTo>
                    <a:pt x="580" y="71"/>
                  </a:lnTo>
                  <a:lnTo>
                    <a:pt x="573" y="67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58" y="52"/>
                  </a:lnTo>
                  <a:lnTo>
                    <a:pt x="554" y="51"/>
                  </a:lnTo>
                  <a:lnTo>
                    <a:pt x="548" y="49"/>
                  </a:lnTo>
                  <a:lnTo>
                    <a:pt x="545" y="46"/>
                  </a:lnTo>
                  <a:lnTo>
                    <a:pt x="545" y="46"/>
                  </a:lnTo>
                  <a:lnTo>
                    <a:pt x="543" y="45"/>
                  </a:lnTo>
                  <a:lnTo>
                    <a:pt x="545" y="43"/>
                  </a:lnTo>
                  <a:lnTo>
                    <a:pt x="546" y="40"/>
                  </a:lnTo>
                  <a:lnTo>
                    <a:pt x="551" y="37"/>
                  </a:lnTo>
                  <a:lnTo>
                    <a:pt x="552" y="33"/>
                  </a:lnTo>
                  <a:lnTo>
                    <a:pt x="552" y="33"/>
                  </a:lnTo>
                  <a:lnTo>
                    <a:pt x="552" y="30"/>
                  </a:lnTo>
                  <a:lnTo>
                    <a:pt x="552" y="28"/>
                  </a:lnTo>
                  <a:lnTo>
                    <a:pt x="548" y="22"/>
                  </a:lnTo>
                  <a:lnTo>
                    <a:pt x="542" y="17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37" y="6"/>
                  </a:lnTo>
                  <a:lnTo>
                    <a:pt x="536" y="3"/>
                  </a:lnTo>
                  <a:lnTo>
                    <a:pt x="531" y="2"/>
                  </a:lnTo>
                  <a:lnTo>
                    <a:pt x="527" y="3"/>
                  </a:lnTo>
                  <a:lnTo>
                    <a:pt x="524" y="6"/>
                  </a:lnTo>
                  <a:lnTo>
                    <a:pt x="524" y="6"/>
                  </a:lnTo>
                  <a:lnTo>
                    <a:pt x="521" y="8"/>
                  </a:lnTo>
                  <a:lnTo>
                    <a:pt x="517" y="9"/>
                  </a:lnTo>
                  <a:lnTo>
                    <a:pt x="505" y="6"/>
                  </a:lnTo>
                  <a:lnTo>
                    <a:pt x="505" y="6"/>
                  </a:lnTo>
                  <a:lnTo>
                    <a:pt x="500" y="5"/>
                  </a:lnTo>
                  <a:lnTo>
                    <a:pt x="497" y="2"/>
                  </a:lnTo>
                  <a:lnTo>
                    <a:pt x="494" y="0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1" y="2"/>
                  </a:lnTo>
                  <a:lnTo>
                    <a:pt x="491" y="2"/>
                  </a:lnTo>
                  <a:lnTo>
                    <a:pt x="489" y="12"/>
                  </a:lnTo>
                  <a:lnTo>
                    <a:pt x="486" y="18"/>
                  </a:lnTo>
                  <a:lnTo>
                    <a:pt x="481" y="24"/>
                  </a:lnTo>
                  <a:lnTo>
                    <a:pt x="481" y="24"/>
                  </a:lnTo>
                  <a:lnTo>
                    <a:pt x="478" y="27"/>
                  </a:lnTo>
                  <a:lnTo>
                    <a:pt x="474" y="27"/>
                  </a:lnTo>
                  <a:lnTo>
                    <a:pt x="471" y="28"/>
                  </a:lnTo>
                  <a:lnTo>
                    <a:pt x="466" y="30"/>
                  </a:lnTo>
                  <a:lnTo>
                    <a:pt x="466" y="30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41" y="42"/>
                  </a:lnTo>
                  <a:lnTo>
                    <a:pt x="434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17" y="42"/>
                  </a:lnTo>
                  <a:lnTo>
                    <a:pt x="414" y="45"/>
                  </a:lnTo>
                  <a:lnTo>
                    <a:pt x="406" y="52"/>
                  </a:lnTo>
                  <a:lnTo>
                    <a:pt x="398" y="61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2" y="68"/>
                  </a:lnTo>
                  <a:lnTo>
                    <a:pt x="389" y="70"/>
                  </a:lnTo>
                  <a:lnTo>
                    <a:pt x="380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45" y="70"/>
                  </a:lnTo>
                  <a:lnTo>
                    <a:pt x="340" y="71"/>
                  </a:lnTo>
                  <a:lnTo>
                    <a:pt x="337" y="73"/>
                  </a:lnTo>
                  <a:lnTo>
                    <a:pt x="335" y="74"/>
                  </a:lnTo>
                  <a:lnTo>
                    <a:pt x="335" y="74"/>
                  </a:lnTo>
                  <a:lnTo>
                    <a:pt x="323" y="74"/>
                  </a:lnTo>
                  <a:lnTo>
                    <a:pt x="315" y="77"/>
                  </a:lnTo>
                  <a:lnTo>
                    <a:pt x="309" y="80"/>
                  </a:lnTo>
                  <a:lnTo>
                    <a:pt x="309" y="80"/>
                  </a:lnTo>
                  <a:lnTo>
                    <a:pt x="302" y="83"/>
                  </a:lnTo>
                  <a:lnTo>
                    <a:pt x="290" y="86"/>
                  </a:lnTo>
                  <a:lnTo>
                    <a:pt x="280" y="88"/>
                  </a:lnTo>
                  <a:lnTo>
                    <a:pt x="272" y="88"/>
                  </a:lnTo>
                  <a:lnTo>
                    <a:pt x="272" y="88"/>
                  </a:lnTo>
                  <a:lnTo>
                    <a:pt x="269" y="86"/>
                  </a:lnTo>
                  <a:lnTo>
                    <a:pt x="268" y="85"/>
                  </a:lnTo>
                  <a:lnTo>
                    <a:pt x="265" y="77"/>
                  </a:lnTo>
                  <a:lnTo>
                    <a:pt x="258" y="61"/>
                  </a:lnTo>
                  <a:lnTo>
                    <a:pt x="258" y="61"/>
                  </a:lnTo>
                  <a:lnTo>
                    <a:pt x="253" y="55"/>
                  </a:lnTo>
                  <a:lnTo>
                    <a:pt x="249" y="49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32" y="52"/>
                  </a:lnTo>
                  <a:lnTo>
                    <a:pt x="225" y="59"/>
                  </a:lnTo>
                  <a:lnTo>
                    <a:pt x="221" y="65"/>
                  </a:lnTo>
                  <a:lnTo>
                    <a:pt x="221" y="65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71"/>
                  </a:lnTo>
                  <a:lnTo>
                    <a:pt x="222" y="73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31" y="80"/>
                  </a:lnTo>
                  <a:lnTo>
                    <a:pt x="231" y="83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19" y="98"/>
                  </a:lnTo>
                  <a:lnTo>
                    <a:pt x="218" y="104"/>
                  </a:lnTo>
                  <a:lnTo>
                    <a:pt x="218" y="110"/>
                  </a:lnTo>
                  <a:lnTo>
                    <a:pt x="221" y="117"/>
                  </a:lnTo>
                  <a:lnTo>
                    <a:pt x="221" y="117"/>
                  </a:lnTo>
                  <a:lnTo>
                    <a:pt x="222" y="122"/>
                  </a:lnTo>
                  <a:lnTo>
                    <a:pt x="222" y="125"/>
                  </a:lnTo>
                  <a:lnTo>
                    <a:pt x="219" y="131"/>
                  </a:lnTo>
                  <a:lnTo>
                    <a:pt x="215" y="134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07" y="136"/>
                  </a:lnTo>
                  <a:lnTo>
                    <a:pt x="201" y="134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89" y="128"/>
                  </a:lnTo>
                  <a:lnTo>
                    <a:pt x="186" y="129"/>
                  </a:lnTo>
                  <a:lnTo>
                    <a:pt x="186" y="134"/>
                  </a:lnTo>
                  <a:lnTo>
                    <a:pt x="188" y="139"/>
                  </a:lnTo>
                  <a:lnTo>
                    <a:pt x="188" y="139"/>
                  </a:lnTo>
                  <a:lnTo>
                    <a:pt x="188" y="145"/>
                  </a:lnTo>
                  <a:lnTo>
                    <a:pt x="186" y="150"/>
                  </a:lnTo>
                  <a:lnTo>
                    <a:pt x="183" y="154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64" y="166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45" y="182"/>
                  </a:lnTo>
                  <a:lnTo>
                    <a:pt x="142" y="187"/>
                  </a:lnTo>
                  <a:lnTo>
                    <a:pt x="136" y="191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0" y="197"/>
                  </a:lnTo>
                  <a:lnTo>
                    <a:pt x="115" y="200"/>
                  </a:lnTo>
                  <a:lnTo>
                    <a:pt x="112" y="205"/>
                  </a:lnTo>
                  <a:lnTo>
                    <a:pt x="111" y="208"/>
                  </a:lnTo>
                  <a:lnTo>
                    <a:pt x="109" y="215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11" y="221"/>
                  </a:lnTo>
                  <a:lnTo>
                    <a:pt x="112" y="224"/>
                  </a:lnTo>
                  <a:lnTo>
                    <a:pt x="120" y="228"/>
                  </a:lnTo>
                  <a:lnTo>
                    <a:pt x="129" y="234"/>
                  </a:lnTo>
                  <a:lnTo>
                    <a:pt x="135" y="240"/>
                  </a:lnTo>
                  <a:lnTo>
                    <a:pt x="135" y="240"/>
                  </a:lnTo>
                  <a:lnTo>
                    <a:pt x="136" y="243"/>
                  </a:lnTo>
                  <a:lnTo>
                    <a:pt x="136" y="246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27" y="251"/>
                  </a:lnTo>
                  <a:lnTo>
                    <a:pt x="124" y="251"/>
                  </a:lnTo>
                  <a:lnTo>
                    <a:pt x="123" y="249"/>
                  </a:lnTo>
                  <a:lnTo>
                    <a:pt x="118" y="251"/>
                  </a:lnTo>
                  <a:lnTo>
                    <a:pt x="118" y="251"/>
                  </a:lnTo>
                  <a:lnTo>
                    <a:pt x="115" y="252"/>
                  </a:lnTo>
                  <a:lnTo>
                    <a:pt x="114" y="255"/>
                  </a:lnTo>
                  <a:lnTo>
                    <a:pt x="114" y="262"/>
                  </a:lnTo>
                  <a:lnTo>
                    <a:pt x="115" y="271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23" y="286"/>
                  </a:lnTo>
                  <a:lnTo>
                    <a:pt x="132" y="292"/>
                  </a:lnTo>
                  <a:lnTo>
                    <a:pt x="141" y="298"/>
                  </a:lnTo>
                  <a:lnTo>
                    <a:pt x="149" y="301"/>
                  </a:lnTo>
                  <a:lnTo>
                    <a:pt x="149" y="301"/>
                  </a:lnTo>
                  <a:lnTo>
                    <a:pt x="152" y="301"/>
                  </a:lnTo>
                  <a:lnTo>
                    <a:pt x="154" y="305"/>
                  </a:lnTo>
                  <a:lnTo>
                    <a:pt x="152" y="308"/>
                  </a:lnTo>
                  <a:lnTo>
                    <a:pt x="151" y="314"/>
                  </a:lnTo>
                  <a:lnTo>
                    <a:pt x="145" y="325"/>
                  </a:lnTo>
                  <a:lnTo>
                    <a:pt x="139" y="336"/>
                  </a:lnTo>
                  <a:lnTo>
                    <a:pt x="139" y="336"/>
                  </a:lnTo>
                  <a:lnTo>
                    <a:pt x="138" y="339"/>
                  </a:lnTo>
                  <a:lnTo>
                    <a:pt x="138" y="344"/>
                  </a:lnTo>
                  <a:lnTo>
                    <a:pt x="138" y="348"/>
                  </a:lnTo>
                  <a:lnTo>
                    <a:pt x="139" y="351"/>
                  </a:lnTo>
                  <a:lnTo>
                    <a:pt x="144" y="357"/>
                  </a:lnTo>
                  <a:lnTo>
                    <a:pt x="148" y="362"/>
                  </a:lnTo>
                  <a:lnTo>
                    <a:pt x="148" y="362"/>
                  </a:lnTo>
                  <a:lnTo>
                    <a:pt x="154" y="368"/>
                  </a:lnTo>
                  <a:lnTo>
                    <a:pt x="163" y="373"/>
                  </a:lnTo>
                  <a:lnTo>
                    <a:pt x="172" y="378"/>
                  </a:lnTo>
                  <a:lnTo>
                    <a:pt x="176" y="379"/>
                  </a:lnTo>
                  <a:lnTo>
                    <a:pt x="181" y="379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5" y="381"/>
                  </a:lnTo>
                  <a:lnTo>
                    <a:pt x="185" y="382"/>
                  </a:lnTo>
                  <a:lnTo>
                    <a:pt x="185" y="387"/>
                  </a:lnTo>
                  <a:lnTo>
                    <a:pt x="182" y="405"/>
                  </a:lnTo>
                  <a:lnTo>
                    <a:pt x="182" y="405"/>
                  </a:lnTo>
                  <a:lnTo>
                    <a:pt x="182" y="412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8" y="413"/>
                  </a:lnTo>
                  <a:lnTo>
                    <a:pt x="192" y="415"/>
                  </a:lnTo>
                  <a:lnTo>
                    <a:pt x="192" y="415"/>
                  </a:lnTo>
                  <a:lnTo>
                    <a:pt x="197" y="418"/>
                  </a:lnTo>
                  <a:lnTo>
                    <a:pt x="197" y="421"/>
                  </a:lnTo>
                  <a:lnTo>
                    <a:pt x="194" y="424"/>
                  </a:lnTo>
                  <a:lnTo>
                    <a:pt x="188" y="425"/>
                  </a:lnTo>
                  <a:lnTo>
                    <a:pt x="188" y="425"/>
                  </a:lnTo>
                  <a:lnTo>
                    <a:pt x="181" y="427"/>
                  </a:lnTo>
                  <a:lnTo>
                    <a:pt x="176" y="428"/>
                  </a:lnTo>
                  <a:lnTo>
                    <a:pt x="172" y="428"/>
                  </a:lnTo>
                  <a:lnTo>
                    <a:pt x="169" y="430"/>
                  </a:lnTo>
                  <a:lnTo>
                    <a:pt x="169" y="430"/>
                  </a:lnTo>
                  <a:lnTo>
                    <a:pt x="167" y="436"/>
                  </a:lnTo>
                  <a:lnTo>
                    <a:pt x="164" y="445"/>
                  </a:lnTo>
                  <a:lnTo>
                    <a:pt x="163" y="453"/>
                  </a:lnTo>
                  <a:lnTo>
                    <a:pt x="163" y="461"/>
                  </a:lnTo>
                  <a:lnTo>
                    <a:pt x="163" y="461"/>
                  </a:lnTo>
                  <a:lnTo>
                    <a:pt x="161" y="464"/>
                  </a:lnTo>
                  <a:lnTo>
                    <a:pt x="160" y="462"/>
                  </a:lnTo>
                  <a:lnTo>
                    <a:pt x="155" y="462"/>
                  </a:lnTo>
                  <a:lnTo>
                    <a:pt x="152" y="462"/>
                  </a:lnTo>
                  <a:lnTo>
                    <a:pt x="152" y="462"/>
                  </a:lnTo>
                  <a:lnTo>
                    <a:pt x="149" y="464"/>
                  </a:lnTo>
                  <a:lnTo>
                    <a:pt x="148" y="470"/>
                  </a:lnTo>
                  <a:lnTo>
                    <a:pt x="145" y="476"/>
                  </a:lnTo>
                  <a:lnTo>
                    <a:pt x="142" y="482"/>
                  </a:lnTo>
                  <a:lnTo>
                    <a:pt x="142" y="482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1" y="489"/>
                  </a:lnTo>
                  <a:lnTo>
                    <a:pt x="145" y="490"/>
                  </a:lnTo>
                  <a:lnTo>
                    <a:pt x="148" y="492"/>
                  </a:lnTo>
                  <a:lnTo>
                    <a:pt x="148" y="492"/>
                  </a:lnTo>
                  <a:lnTo>
                    <a:pt x="149" y="496"/>
                  </a:lnTo>
                  <a:lnTo>
                    <a:pt x="148" y="499"/>
                  </a:lnTo>
                  <a:lnTo>
                    <a:pt x="144" y="501"/>
                  </a:lnTo>
                  <a:lnTo>
                    <a:pt x="138" y="502"/>
                  </a:lnTo>
                  <a:lnTo>
                    <a:pt x="138" y="502"/>
                  </a:lnTo>
                  <a:lnTo>
                    <a:pt x="135" y="502"/>
                  </a:lnTo>
                  <a:lnTo>
                    <a:pt x="130" y="502"/>
                  </a:lnTo>
                  <a:lnTo>
                    <a:pt x="123" y="499"/>
                  </a:lnTo>
                  <a:lnTo>
                    <a:pt x="108" y="489"/>
                  </a:lnTo>
                  <a:lnTo>
                    <a:pt x="108" y="489"/>
                  </a:lnTo>
                  <a:lnTo>
                    <a:pt x="102" y="487"/>
                  </a:lnTo>
                  <a:lnTo>
                    <a:pt x="96" y="489"/>
                  </a:lnTo>
                  <a:lnTo>
                    <a:pt x="92" y="493"/>
                  </a:lnTo>
                  <a:lnTo>
                    <a:pt x="89" y="498"/>
                  </a:lnTo>
                  <a:lnTo>
                    <a:pt x="89" y="498"/>
                  </a:lnTo>
                  <a:lnTo>
                    <a:pt x="87" y="511"/>
                  </a:lnTo>
                  <a:lnTo>
                    <a:pt x="87" y="519"/>
                  </a:lnTo>
                  <a:lnTo>
                    <a:pt x="86" y="525"/>
                  </a:lnTo>
                  <a:lnTo>
                    <a:pt x="86" y="525"/>
                  </a:lnTo>
                  <a:lnTo>
                    <a:pt x="83" y="527"/>
                  </a:lnTo>
                  <a:lnTo>
                    <a:pt x="80" y="529"/>
                  </a:lnTo>
                  <a:lnTo>
                    <a:pt x="77" y="530"/>
                  </a:lnTo>
                  <a:lnTo>
                    <a:pt x="74" y="533"/>
                  </a:lnTo>
                  <a:lnTo>
                    <a:pt x="74" y="533"/>
                  </a:lnTo>
                  <a:lnTo>
                    <a:pt x="69" y="538"/>
                  </a:lnTo>
                  <a:lnTo>
                    <a:pt x="65" y="542"/>
                  </a:lnTo>
                  <a:lnTo>
                    <a:pt x="61" y="547"/>
                  </a:lnTo>
                  <a:lnTo>
                    <a:pt x="56" y="547"/>
                  </a:lnTo>
                  <a:lnTo>
                    <a:pt x="56" y="547"/>
                  </a:lnTo>
                  <a:lnTo>
                    <a:pt x="52" y="548"/>
                  </a:lnTo>
                  <a:lnTo>
                    <a:pt x="47" y="551"/>
                  </a:lnTo>
                  <a:lnTo>
                    <a:pt x="43" y="556"/>
                  </a:lnTo>
                  <a:lnTo>
                    <a:pt x="41" y="560"/>
                  </a:lnTo>
                  <a:lnTo>
                    <a:pt x="41" y="560"/>
                  </a:lnTo>
                  <a:lnTo>
                    <a:pt x="41" y="563"/>
                  </a:lnTo>
                  <a:lnTo>
                    <a:pt x="41" y="564"/>
                  </a:lnTo>
                  <a:lnTo>
                    <a:pt x="44" y="567"/>
                  </a:lnTo>
                  <a:lnTo>
                    <a:pt x="56" y="572"/>
                  </a:lnTo>
                  <a:lnTo>
                    <a:pt x="56" y="572"/>
                  </a:lnTo>
                  <a:lnTo>
                    <a:pt x="59" y="575"/>
                  </a:lnTo>
                  <a:lnTo>
                    <a:pt x="62" y="578"/>
                  </a:lnTo>
                  <a:lnTo>
                    <a:pt x="68" y="588"/>
                  </a:lnTo>
                  <a:lnTo>
                    <a:pt x="72" y="599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2" y="606"/>
                  </a:lnTo>
                  <a:lnTo>
                    <a:pt x="69" y="606"/>
                  </a:lnTo>
                  <a:lnTo>
                    <a:pt x="65" y="606"/>
                  </a:lnTo>
                  <a:lnTo>
                    <a:pt x="61" y="604"/>
                  </a:lnTo>
                  <a:lnTo>
                    <a:pt x="61" y="604"/>
                  </a:lnTo>
                  <a:lnTo>
                    <a:pt x="58" y="603"/>
                  </a:lnTo>
                  <a:lnTo>
                    <a:pt x="53" y="603"/>
                  </a:lnTo>
                  <a:lnTo>
                    <a:pt x="49" y="604"/>
                  </a:lnTo>
                  <a:lnTo>
                    <a:pt x="46" y="609"/>
                  </a:lnTo>
                  <a:lnTo>
                    <a:pt x="46" y="609"/>
                  </a:lnTo>
                  <a:lnTo>
                    <a:pt x="43" y="613"/>
                  </a:lnTo>
                  <a:lnTo>
                    <a:pt x="41" y="618"/>
                  </a:lnTo>
                  <a:lnTo>
                    <a:pt x="41" y="621"/>
                  </a:lnTo>
                  <a:lnTo>
                    <a:pt x="40" y="622"/>
                  </a:lnTo>
                  <a:lnTo>
                    <a:pt x="40" y="622"/>
                  </a:lnTo>
                  <a:lnTo>
                    <a:pt x="32" y="627"/>
                  </a:lnTo>
                  <a:lnTo>
                    <a:pt x="27" y="628"/>
                  </a:lnTo>
                  <a:lnTo>
                    <a:pt x="21" y="633"/>
                  </a:lnTo>
                  <a:lnTo>
                    <a:pt x="21" y="633"/>
                  </a:lnTo>
                  <a:lnTo>
                    <a:pt x="16" y="634"/>
                  </a:lnTo>
                  <a:lnTo>
                    <a:pt x="10" y="636"/>
                  </a:lnTo>
                  <a:lnTo>
                    <a:pt x="1" y="636"/>
                  </a:lnTo>
                  <a:lnTo>
                    <a:pt x="1" y="636"/>
                  </a:lnTo>
                  <a:lnTo>
                    <a:pt x="0" y="636"/>
                  </a:lnTo>
                  <a:lnTo>
                    <a:pt x="0" y="639"/>
                  </a:lnTo>
                  <a:lnTo>
                    <a:pt x="1" y="644"/>
                  </a:lnTo>
                  <a:lnTo>
                    <a:pt x="10" y="661"/>
                  </a:lnTo>
                  <a:lnTo>
                    <a:pt x="10" y="661"/>
                  </a:lnTo>
                  <a:lnTo>
                    <a:pt x="12" y="667"/>
                  </a:lnTo>
                  <a:lnTo>
                    <a:pt x="12" y="673"/>
                  </a:lnTo>
                  <a:lnTo>
                    <a:pt x="7" y="684"/>
                  </a:lnTo>
                  <a:lnTo>
                    <a:pt x="7" y="684"/>
                  </a:lnTo>
                  <a:lnTo>
                    <a:pt x="1" y="693"/>
                  </a:lnTo>
                  <a:lnTo>
                    <a:pt x="0" y="696"/>
                  </a:lnTo>
                  <a:lnTo>
                    <a:pt x="0" y="698"/>
                  </a:lnTo>
                  <a:lnTo>
                    <a:pt x="0" y="698"/>
                  </a:lnTo>
                  <a:lnTo>
                    <a:pt x="12" y="711"/>
                  </a:lnTo>
                  <a:lnTo>
                    <a:pt x="19" y="720"/>
                  </a:lnTo>
                  <a:lnTo>
                    <a:pt x="25" y="729"/>
                  </a:lnTo>
                  <a:lnTo>
                    <a:pt x="25" y="729"/>
                  </a:lnTo>
                  <a:lnTo>
                    <a:pt x="31" y="741"/>
                  </a:lnTo>
                  <a:lnTo>
                    <a:pt x="34" y="754"/>
                  </a:lnTo>
                  <a:lnTo>
                    <a:pt x="34" y="754"/>
                  </a:lnTo>
                  <a:lnTo>
                    <a:pt x="40" y="763"/>
                  </a:lnTo>
                  <a:lnTo>
                    <a:pt x="49" y="776"/>
                  </a:lnTo>
                  <a:lnTo>
                    <a:pt x="62" y="790"/>
                  </a:lnTo>
                  <a:lnTo>
                    <a:pt x="68" y="794"/>
                  </a:lnTo>
                  <a:lnTo>
                    <a:pt x="74" y="798"/>
                  </a:lnTo>
                  <a:lnTo>
                    <a:pt x="74" y="798"/>
                  </a:lnTo>
                  <a:lnTo>
                    <a:pt x="80" y="803"/>
                  </a:lnTo>
                  <a:lnTo>
                    <a:pt x="83" y="806"/>
                  </a:lnTo>
                  <a:lnTo>
                    <a:pt x="83" y="807"/>
                  </a:lnTo>
                  <a:lnTo>
                    <a:pt x="83" y="812"/>
                  </a:lnTo>
                  <a:lnTo>
                    <a:pt x="81" y="816"/>
                  </a:lnTo>
                  <a:lnTo>
                    <a:pt x="81" y="816"/>
                  </a:lnTo>
                  <a:lnTo>
                    <a:pt x="81" y="819"/>
                  </a:lnTo>
                  <a:lnTo>
                    <a:pt x="81" y="822"/>
                  </a:lnTo>
                  <a:lnTo>
                    <a:pt x="86" y="825"/>
                  </a:lnTo>
                  <a:lnTo>
                    <a:pt x="86" y="825"/>
                  </a:lnTo>
                  <a:lnTo>
                    <a:pt x="89" y="830"/>
                  </a:lnTo>
                  <a:lnTo>
                    <a:pt x="92" y="841"/>
                  </a:lnTo>
                  <a:lnTo>
                    <a:pt x="95" y="853"/>
                  </a:lnTo>
                  <a:lnTo>
                    <a:pt x="96" y="864"/>
                  </a:lnTo>
                  <a:lnTo>
                    <a:pt x="96" y="864"/>
                  </a:lnTo>
                  <a:lnTo>
                    <a:pt x="106" y="864"/>
                  </a:lnTo>
                  <a:lnTo>
                    <a:pt x="118" y="861"/>
                  </a:lnTo>
                  <a:lnTo>
                    <a:pt x="118" y="861"/>
                  </a:lnTo>
                  <a:lnTo>
                    <a:pt x="124" y="859"/>
                  </a:lnTo>
                  <a:lnTo>
                    <a:pt x="127" y="858"/>
                  </a:lnTo>
                  <a:lnTo>
                    <a:pt x="130" y="855"/>
                  </a:lnTo>
                  <a:lnTo>
                    <a:pt x="130" y="855"/>
                  </a:lnTo>
                  <a:lnTo>
                    <a:pt x="138" y="844"/>
                  </a:lnTo>
                  <a:lnTo>
                    <a:pt x="142" y="840"/>
                  </a:lnTo>
                  <a:lnTo>
                    <a:pt x="146" y="837"/>
                  </a:lnTo>
                  <a:lnTo>
                    <a:pt x="146" y="837"/>
                  </a:lnTo>
                  <a:lnTo>
                    <a:pt x="152" y="837"/>
                  </a:lnTo>
                  <a:lnTo>
                    <a:pt x="161" y="837"/>
                  </a:lnTo>
                  <a:lnTo>
                    <a:pt x="185" y="841"/>
                  </a:lnTo>
                  <a:lnTo>
                    <a:pt x="185" y="841"/>
                  </a:lnTo>
                  <a:lnTo>
                    <a:pt x="191" y="843"/>
                  </a:lnTo>
                  <a:lnTo>
                    <a:pt x="197" y="844"/>
                  </a:lnTo>
                  <a:lnTo>
                    <a:pt x="204" y="850"/>
                  </a:lnTo>
                  <a:lnTo>
                    <a:pt x="212" y="856"/>
                  </a:lnTo>
                  <a:lnTo>
                    <a:pt x="219" y="862"/>
                  </a:lnTo>
                  <a:lnTo>
                    <a:pt x="219" y="862"/>
                  </a:lnTo>
                  <a:lnTo>
                    <a:pt x="229" y="868"/>
                  </a:lnTo>
                  <a:lnTo>
                    <a:pt x="238" y="874"/>
                  </a:lnTo>
                  <a:lnTo>
                    <a:pt x="244" y="881"/>
                  </a:lnTo>
                  <a:lnTo>
                    <a:pt x="247" y="884"/>
                  </a:lnTo>
                  <a:lnTo>
                    <a:pt x="247" y="886"/>
                  </a:lnTo>
                  <a:lnTo>
                    <a:pt x="247" y="886"/>
                  </a:lnTo>
                  <a:lnTo>
                    <a:pt x="247" y="892"/>
                  </a:lnTo>
                  <a:lnTo>
                    <a:pt x="246" y="898"/>
                  </a:lnTo>
                  <a:lnTo>
                    <a:pt x="246" y="904"/>
                  </a:lnTo>
                  <a:lnTo>
                    <a:pt x="247" y="908"/>
                  </a:lnTo>
                  <a:lnTo>
                    <a:pt x="247" y="908"/>
                  </a:lnTo>
                  <a:lnTo>
                    <a:pt x="255" y="920"/>
                  </a:lnTo>
                  <a:lnTo>
                    <a:pt x="259" y="927"/>
                  </a:lnTo>
                  <a:lnTo>
                    <a:pt x="259" y="929"/>
                  </a:lnTo>
                  <a:lnTo>
                    <a:pt x="258" y="930"/>
                  </a:lnTo>
                  <a:lnTo>
                    <a:pt x="258" y="930"/>
                  </a:lnTo>
                  <a:lnTo>
                    <a:pt x="247" y="936"/>
                  </a:lnTo>
                  <a:lnTo>
                    <a:pt x="241" y="942"/>
                  </a:lnTo>
                  <a:lnTo>
                    <a:pt x="237" y="947"/>
                  </a:lnTo>
                  <a:lnTo>
                    <a:pt x="237" y="947"/>
                  </a:lnTo>
                  <a:lnTo>
                    <a:pt x="235" y="954"/>
                  </a:lnTo>
                  <a:lnTo>
                    <a:pt x="235" y="963"/>
                  </a:lnTo>
                  <a:lnTo>
                    <a:pt x="235" y="978"/>
                  </a:lnTo>
                  <a:lnTo>
                    <a:pt x="235" y="978"/>
                  </a:lnTo>
                  <a:lnTo>
                    <a:pt x="237" y="979"/>
                  </a:lnTo>
                  <a:lnTo>
                    <a:pt x="238" y="982"/>
                  </a:lnTo>
                  <a:lnTo>
                    <a:pt x="249" y="988"/>
                  </a:lnTo>
                  <a:lnTo>
                    <a:pt x="249" y="988"/>
                  </a:lnTo>
                  <a:lnTo>
                    <a:pt x="255" y="991"/>
                  </a:lnTo>
                  <a:lnTo>
                    <a:pt x="262" y="993"/>
                  </a:lnTo>
                  <a:lnTo>
                    <a:pt x="269" y="993"/>
                  </a:lnTo>
                  <a:lnTo>
                    <a:pt x="275" y="991"/>
                  </a:lnTo>
                  <a:lnTo>
                    <a:pt x="275" y="991"/>
                  </a:lnTo>
                  <a:lnTo>
                    <a:pt x="283" y="982"/>
                  </a:lnTo>
                  <a:lnTo>
                    <a:pt x="287" y="978"/>
                  </a:lnTo>
                  <a:lnTo>
                    <a:pt x="293" y="975"/>
                  </a:lnTo>
                  <a:lnTo>
                    <a:pt x="293" y="975"/>
                  </a:lnTo>
                  <a:lnTo>
                    <a:pt x="298" y="972"/>
                  </a:lnTo>
                  <a:lnTo>
                    <a:pt x="305" y="970"/>
                  </a:lnTo>
                  <a:lnTo>
                    <a:pt x="311" y="969"/>
                  </a:lnTo>
                  <a:lnTo>
                    <a:pt x="318" y="972"/>
                  </a:lnTo>
                  <a:lnTo>
                    <a:pt x="318" y="972"/>
                  </a:lnTo>
                  <a:lnTo>
                    <a:pt x="330" y="979"/>
                  </a:lnTo>
                  <a:lnTo>
                    <a:pt x="336" y="982"/>
                  </a:lnTo>
                  <a:lnTo>
                    <a:pt x="342" y="982"/>
                  </a:lnTo>
                  <a:lnTo>
                    <a:pt x="342" y="982"/>
                  </a:lnTo>
                  <a:lnTo>
                    <a:pt x="346" y="982"/>
                  </a:lnTo>
                  <a:lnTo>
                    <a:pt x="348" y="981"/>
                  </a:lnTo>
                  <a:lnTo>
                    <a:pt x="349" y="979"/>
                  </a:lnTo>
                  <a:lnTo>
                    <a:pt x="352" y="979"/>
                  </a:lnTo>
                  <a:lnTo>
                    <a:pt x="352" y="979"/>
                  </a:lnTo>
                  <a:lnTo>
                    <a:pt x="357" y="981"/>
                  </a:lnTo>
                  <a:lnTo>
                    <a:pt x="360" y="984"/>
                  </a:lnTo>
                  <a:lnTo>
                    <a:pt x="364" y="988"/>
                  </a:lnTo>
                  <a:lnTo>
                    <a:pt x="367" y="994"/>
                  </a:lnTo>
                  <a:lnTo>
                    <a:pt x="367" y="994"/>
                  </a:lnTo>
                  <a:lnTo>
                    <a:pt x="372" y="1003"/>
                  </a:lnTo>
                  <a:lnTo>
                    <a:pt x="375" y="1007"/>
                  </a:lnTo>
                  <a:lnTo>
                    <a:pt x="379" y="1010"/>
                  </a:lnTo>
                  <a:lnTo>
                    <a:pt x="379" y="1010"/>
                  </a:lnTo>
                  <a:lnTo>
                    <a:pt x="383" y="1015"/>
                  </a:lnTo>
                  <a:lnTo>
                    <a:pt x="386" y="1021"/>
                  </a:lnTo>
                  <a:lnTo>
                    <a:pt x="391" y="1030"/>
                  </a:lnTo>
                  <a:lnTo>
                    <a:pt x="391" y="1030"/>
                  </a:lnTo>
                  <a:lnTo>
                    <a:pt x="400" y="1028"/>
                  </a:lnTo>
                  <a:lnTo>
                    <a:pt x="406" y="1027"/>
                  </a:lnTo>
                  <a:lnTo>
                    <a:pt x="406" y="1027"/>
                  </a:lnTo>
                  <a:lnTo>
                    <a:pt x="409" y="1025"/>
                  </a:lnTo>
                  <a:lnTo>
                    <a:pt x="412" y="1022"/>
                  </a:lnTo>
                  <a:lnTo>
                    <a:pt x="413" y="1018"/>
                  </a:lnTo>
                  <a:lnTo>
                    <a:pt x="414" y="1013"/>
                  </a:lnTo>
                  <a:lnTo>
                    <a:pt x="414" y="1013"/>
                  </a:lnTo>
                  <a:lnTo>
                    <a:pt x="416" y="1009"/>
                  </a:lnTo>
                  <a:lnTo>
                    <a:pt x="417" y="1003"/>
                  </a:lnTo>
                  <a:lnTo>
                    <a:pt x="425" y="991"/>
                  </a:lnTo>
                  <a:lnTo>
                    <a:pt x="425" y="991"/>
                  </a:lnTo>
                  <a:lnTo>
                    <a:pt x="429" y="987"/>
                  </a:lnTo>
                  <a:lnTo>
                    <a:pt x="437" y="984"/>
                  </a:lnTo>
                  <a:lnTo>
                    <a:pt x="452" y="979"/>
                  </a:lnTo>
                  <a:lnTo>
                    <a:pt x="452" y="979"/>
                  </a:lnTo>
                  <a:lnTo>
                    <a:pt x="456" y="978"/>
                  </a:lnTo>
                  <a:lnTo>
                    <a:pt x="459" y="975"/>
                  </a:lnTo>
                  <a:lnTo>
                    <a:pt x="463" y="972"/>
                  </a:lnTo>
                  <a:lnTo>
                    <a:pt x="465" y="967"/>
                  </a:lnTo>
                  <a:lnTo>
                    <a:pt x="465" y="967"/>
                  </a:lnTo>
                  <a:lnTo>
                    <a:pt x="466" y="963"/>
                  </a:lnTo>
                  <a:lnTo>
                    <a:pt x="466" y="961"/>
                  </a:lnTo>
                  <a:lnTo>
                    <a:pt x="463" y="960"/>
                  </a:lnTo>
                  <a:lnTo>
                    <a:pt x="456" y="960"/>
                  </a:lnTo>
                  <a:lnTo>
                    <a:pt x="456" y="960"/>
                  </a:lnTo>
                  <a:lnTo>
                    <a:pt x="449" y="958"/>
                  </a:lnTo>
                  <a:lnTo>
                    <a:pt x="446" y="958"/>
                  </a:lnTo>
                  <a:lnTo>
                    <a:pt x="446" y="957"/>
                  </a:lnTo>
                  <a:lnTo>
                    <a:pt x="446" y="954"/>
                  </a:lnTo>
                  <a:lnTo>
                    <a:pt x="446" y="954"/>
                  </a:lnTo>
                  <a:lnTo>
                    <a:pt x="446" y="951"/>
                  </a:lnTo>
                  <a:lnTo>
                    <a:pt x="449" y="947"/>
                  </a:lnTo>
                  <a:lnTo>
                    <a:pt x="456" y="938"/>
                  </a:lnTo>
                  <a:lnTo>
                    <a:pt x="456" y="938"/>
                  </a:lnTo>
                  <a:lnTo>
                    <a:pt x="457" y="933"/>
                  </a:lnTo>
                  <a:lnTo>
                    <a:pt x="456" y="930"/>
                  </a:lnTo>
                  <a:lnTo>
                    <a:pt x="449" y="921"/>
                  </a:lnTo>
                  <a:lnTo>
                    <a:pt x="449" y="921"/>
                  </a:lnTo>
                  <a:lnTo>
                    <a:pt x="447" y="917"/>
                  </a:lnTo>
                  <a:lnTo>
                    <a:pt x="449" y="911"/>
                  </a:lnTo>
                  <a:lnTo>
                    <a:pt x="452" y="905"/>
                  </a:lnTo>
                  <a:lnTo>
                    <a:pt x="456" y="899"/>
                  </a:lnTo>
                  <a:lnTo>
                    <a:pt x="456" y="899"/>
                  </a:lnTo>
                  <a:lnTo>
                    <a:pt x="469" y="886"/>
                  </a:lnTo>
                  <a:lnTo>
                    <a:pt x="477" y="881"/>
                  </a:lnTo>
                  <a:lnTo>
                    <a:pt x="483" y="880"/>
                  </a:lnTo>
                  <a:lnTo>
                    <a:pt x="483" y="880"/>
                  </a:lnTo>
                  <a:lnTo>
                    <a:pt x="491" y="880"/>
                  </a:lnTo>
                  <a:lnTo>
                    <a:pt x="505" y="880"/>
                  </a:lnTo>
                  <a:lnTo>
                    <a:pt x="526" y="881"/>
                  </a:lnTo>
                  <a:lnTo>
                    <a:pt x="526" y="881"/>
                  </a:lnTo>
                  <a:lnTo>
                    <a:pt x="527" y="880"/>
                  </a:lnTo>
                  <a:lnTo>
                    <a:pt x="529" y="878"/>
                  </a:lnTo>
                  <a:lnTo>
                    <a:pt x="529" y="873"/>
                  </a:lnTo>
                  <a:lnTo>
                    <a:pt x="529" y="859"/>
                  </a:lnTo>
                  <a:lnTo>
                    <a:pt x="529" y="859"/>
                  </a:lnTo>
                  <a:lnTo>
                    <a:pt x="530" y="850"/>
                  </a:lnTo>
                  <a:lnTo>
                    <a:pt x="530" y="846"/>
                  </a:lnTo>
                  <a:lnTo>
                    <a:pt x="531" y="843"/>
                  </a:lnTo>
                  <a:lnTo>
                    <a:pt x="531" y="843"/>
                  </a:lnTo>
                  <a:lnTo>
                    <a:pt x="537" y="843"/>
                  </a:lnTo>
                  <a:lnTo>
                    <a:pt x="546" y="843"/>
                  </a:lnTo>
                  <a:lnTo>
                    <a:pt x="566" y="844"/>
                  </a:lnTo>
                  <a:lnTo>
                    <a:pt x="566" y="844"/>
                  </a:lnTo>
                  <a:lnTo>
                    <a:pt x="570" y="844"/>
                  </a:lnTo>
                  <a:lnTo>
                    <a:pt x="576" y="843"/>
                  </a:lnTo>
                  <a:lnTo>
                    <a:pt x="582" y="838"/>
                  </a:lnTo>
                  <a:lnTo>
                    <a:pt x="582" y="838"/>
                  </a:lnTo>
                  <a:lnTo>
                    <a:pt x="585" y="837"/>
                  </a:lnTo>
                  <a:lnTo>
                    <a:pt x="588" y="836"/>
                  </a:lnTo>
                  <a:lnTo>
                    <a:pt x="591" y="836"/>
                  </a:lnTo>
                  <a:lnTo>
                    <a:pt x="595" y="837"/>
                  </a:lnTo>
                  <a:lnTo>
                    <a:pt x="595" y="837"/>
                  </a:lnTo>
                  <a:lnTo>
                    <a:pt x="597" y="838"/>
                  </a:lnTo>
                  <a:lnTo>
                    <a:pt x="597" y="841"/>
                  </a:lnTo>
                  <a:lnTo>
                    <a:pt x="597" y="846"/>
                  </a:lnTo>
                  <a:lnTo>
                    <a:pt x="592" y="852"/>
                  </a:lnTo>
                  <a:lnTo>
                    <a:pt x="589" y="856"/>
                  </a:lnTo>
                  <a:lnTo>
                    <a:pt x="589" y="856"/>
                  </a:lnTo>
                  <a:lnTo>
                    <a:pt x="579" y="868"/>
                  </a:lnTo>
                  <a:lnTo>
                    <a:pt x="570" y="878"/>
                  </a:lnTo>
                  <a:lnTo>
                    <a:pt x="570" y="878"/>
                  </a:lnTo>
                  <a:lnTo>
                    <a:pt x="568" y="883"/>
                  </a:lnTo>
                  <a:lnTo>
                    <a:pt x="568" y="887"/>
                  </a:lnTo>
                  <a:lnTo>
                    <a:pt x="570" y="893"/>
                  </a:lnTo>
                  <a:lnTo>
                    <a:pt x="573" y="898"/>
                  </a:lnTo>
                  <a:lnTo>
                    <a:pt x="573" y="898"/>
                  </a:lnTo>
                  <a:lnTo>
                    <a:pt x="577" y="899"/>
                  </a:lnTo>
                  <a:lnTo>
                    <a:pt x="583" y="899"/>
                  </a:lnTo>
                  <a:lnTo>
                    <a:pt x="598" y="898"/>
                  </a:lnTo>
                  <a:lnTo>
                    <a:pt x="598" y="898"/>
                  </a:lnTo>
                  <a:lnTo>
                    <a:pt x="600" y="896"/>
                  </a:lnTo>
                  <a:lnTo>
                    <a:pt x="603" y="893"/>
                  </a:lnTo>
                  <a:lnTo>
                    <a:pt x="607" y="887"/>
                  </a:lnTo>
                  <a:lnTo>
                    <a:pt x="616" y="868"/>
                  </a:lnTo>
                  <a:lnTo>
                    <a:pt x="616" y="868"/>
                  </a:lnTo>
                  <a:lnTo>
                    <a:pt x="620" y="859"/>
                  </a:lnTo>
                  <a:lnTo>
                    <a:pt x="628" y="852"/>
                  </a:lnTo>
                  <a:lnTo>
                    <a:pt x="634" y="846"/>
                  </a:lnTo>
                  <a:lnTo>
                    <a:pt x="638" y="843"/>
                  </a:lnTo>
                  <a:lnTo>
                    <a:pt x="638" y="843"/>
                  </a:lnTo>
                  <a:lnTo>
                    <a:pt x="643" y="838"/>
                  </a:lnTo>
                  <a:lnTo>
                    <a:pt x="645" y="834"/>
                  </a:lnTo>
                  <a:lnTo>
                    <a:pt x="650" y="824"/>
                  </a:lnTo>
                  <a:lnTo>
                    <a:pt x="650" y="824"/>
                  </a:lnTo>
                  <a:lnTo>
                    <a:pt x="650" y="819"/>
                  </a:lnTo>
                  <a:lnTo>
                    <a:pt x="648" y="813"/>
                  </a:lnTo>
                  <a:lnTo>
                    <a:pt x="643" y="801"/>
                  </a:lnTo>
                  <a:lnTo>
                    <a:pt x="643" y="801"/>
                  </a:lnTo>
                  <a:lnTo>
                    <a:pt x="643" y="798"/>
                  </a:lnTo>
                  <a:lnTo>
                    <a:pt x="643" y="796"/>
                  </a:lnTo>
                  <a:lnTo>
                    <a:pt x="645" y="791"/>
                  </a:lnTo>
                  <a:lnTo>
                    <a:pt x="650" y="787"/>
                  </a:lnTo>
                  <a:lnTo>
                    <a:pt x="654" y="785"/>
                  </a:lnTo>
                  <a:lnTo>
                    <a:pt x="654" y="785"/>
                  </a:lnTo>
                  <a:lnTo>
                    <a:pt x="671" y="781"/>
                  </a:lnTo>
                  <a:lnTo>
                    <a:pt x="685" y="775"/>
                  </a:lnTo>
                  <a:lnTo>
                    <a:pt x="685" y="775"/>
                  </a:lnTo>
                  <a:lnTo>
                    <a:pt x="688" y="772"/>
                  </a:lnTo>
                  <a:lnTo>
                    <a:pt x="691" y="766"/>
                  </a:lnTo>
                  <a:lnTo>
                    <a:pt x="696" y="753"/>
                  </a:lnTo>
                  <a:lnTo>
                    <a:pt x="696" y="753"/>
                  </a:lnTo>
                  <a:lnTo>
                    <a:pt x="697" y="748"/>
                  </a:lnTo>
                  <a:lnTo>
                    <a:pt x="699" y="745"/>
                  </a:lnTo>
                  <a:lnTo>
                    <a:pt x="705" y="739"/>
                  </a:lnTo>
                  <a:lnTo>
                    <a:pt x="705" y="739"/>
                  </a:lnTo>
                  <a:lnTo>
                    <a:pt x="709" y="733"/>
                  </a:lnTo>
                  <a:lnTo>
                    <a:pt x="712" y="726"/>
                  </a:lnTo>
                  <a:lnTo>
                    <a:pt x="714" y="720"/>
                  </a:lnTo>
                  <a:lnTo>
                    <a:pt x="714" y="714"/>
                  </a:lnTo>
                  <a:lnTo>
                    <a:pt x="714" y="714"/>
                  </a:lnTo>
                  <a:lnTo>
                    <a:pt x="711" y="711"/>
                  </a:lnTo>
                  <a:lnTo>
                    <a:pt x="706" y="708"/>
                  </a:lnTo>
                  <a:lnTo>
                    <a:pt x="699" y="707"/>
                  </a:lnTo>
                  <a:lnTo>
                    <a:pt x="691" y="707"/>
                  </a:lnTo>
                  <a:lnTo>
                    <a:pt x="691" y="707"/>
                  </a:lnTo>
                  <a:lnTo>
                    <a:pt x="687" y="708"/>
                  </a:lnTo>
                  <a:lnTo>
                    <a:pt x="684" y="711"/>
                  </a:lnTo>
                  <a:lnTo>
                    <a:pt x="678" y="717"/>
                  </a:lnTo>
                  <a:lnTo>
                    <a:pt x="674" y="723"/>
                  </a:lnTo>
                  <a:lnTo>
                    <a:pt x="669" y="729"/>
                  </a:lnTo>
                  <a:lnTo>
                    <a:pt x="669" y="729"/>
                  </a:lnTo>
                  <a:lnTo>
                    <a:pt x="666" y="733"/>
                  </a:lnTo>
                  <a:lnTo>
                    <a:pt x="662" y="735"/>
                  </a:lnTo>
                  <a:lnTo>
                    <a:pt x="656" y="735"/>
                  </a:lnTo>
                  <a:lnTo>
                    <a:pt x="653" y="733"/>
                  </a:lnTo>
                  <a:lnTo>
                    <a:pt x="653" y="733"/>
                  </a:lnTo>
                  <a:lnTo>
                    <a:pt x="650" y="727"/>
                  </a:lnTo>
                  <a:lnTo>
                    <a:pt x="647" y="719"/>
                  </a:lnTo>
                  <a:lnTo>
                    <a:pt x="643" y="710"/>
                  </a:lnTo>
                  <a:lnTo>
                    <a:pt x="640" y="702"/>
                  </a:lnTo>
                  <a:lnTo>
                    <a:pt x="640" y="702"/>
                  </a:lnTo>
                  <a:lnTo>
                    <a:pt x="631" y="689"/>
                  </a:lnTo>
                  <a:lnTo>
                    <a:pt x="622" y="673"/>
                  </a:lnTo>
                  <a:lnTo>
                    <a:pt x="622" y="673"/>
                  </a:lnTo>
                  <a:lnTo>
                    <a:pt x="619" y="664"/>
                  </a:lnTo>
                  <a:lnTo>
                    <a:pt x="617" y="652"/>
                  </a:lnTo>
                  <a:lnTo>
                    <a:pt x="617" y="630"/>
                  </a:lnTo>
                  <a:lnTo>
                    <a:pt x="617" y="630"/>
                  </a:lnTo>
                  <a:lnTo>
                    <a:pt x="619" y="606"/>
                  </a:lnTo>
                  <a:lnTo>
                    <a:pt x="620" y="582"/>
                  </a:lnTo>
                  <a:lnTo>
                    <a:pt x="620" y="582"/>
                  </a:lnTo>
                  <a:lnTo>
                    <a:pt x="620" y="579"/>
                  </a:lnTo>
                  <a:lnTo>
                    <a:pt x="619" y="576"/>
                  </a:lnTo>
                  <a:lnTo>
                    <a:pt x="614" y="570"/>
                  </a:lnTo>
                  <a:lnTo>
                    <a:pt x="610" y="566"/>
                  </a:lnTo>
                  <a:lnTo>
                    <a:pt x="606" y="560"/>
                  </a:lnTo>
                  <a:lnTo>
                    <a:pt x="606" y="560"/>
                  </a:lnTo>
                  <a:lnTo>
                    <a:pt x="604" y="557"/>
                  </a:lnTo>
                  <a:lnTo>
                    <a:pt x="604" y="553"/>
                  </a:lnTo>
                  <a:lnTo>
                    <a:pt x="604" y="541"/>
                  </a:lnTo>
                  <a:lnTo>
                    <a:pt x="606" y="527"/>
                  </a:lnTo>
                  <a:lnTo>
                    <a:pt x="607" y="514"/>
                  </a:lnTo>
                  <a:lnTo>
                    <a:pt x="607" y="514"/>
                  </a:lnTo>
                  <a:lnTo>
                    <a:pt x="606" y="505"/>
                  </a:lnTo>
                  <a:lnTo>
                    <a:pt x="603" y="499"/>
                  </a:lnTo>
                  <a:lnTo>
                    <a:pt x="597" y="490"/>
                  </a:lnTo>
                  <a:lnTo>
                    <a:pt x="597" y="490"/>
                  </a:lnTo>
                  <a:lnTo>
                    <a:pt x="589" y="479"/>
                  </a:lnTo>
                  <a:lnTo>
                    <a:pt x="585" y="470"/>
                  </a:lnTo>
                  <a:lnTo>
                    <a:pt x="582" y="462"/>
                  </a:lnTo>
                  <a:lnTo>
                    <a:pt x="582" y="462"/>
                  </a:lnTo>
                  <a:lnTo>
                    <a:pt x="582" y="453"/>
                  </a:lnTo>
                  <a:lnTo>
                    <a:pt x="583" y="442"/>
                  </a:lnTo>
                  <a:lnTo>
                    <a:pt x="585" y="430"/>
                  </a:lnTo>
                  <a:lnTo>
                    <a:pt x="588" y="421"/>
                  </a:lnTo>
                  <a:lnTo>
                    <a:pt x="588" y="421"/>
                  </a:lnTo>
                  <a:lnTo>
                    <a:pt x="591" y="416"/>
                  </a:lnTo>
                  <a:lnTo>
                    <a:pt x="597" y="410"/>
                  </a:lnTo>
                  <a:lnTo>
                    <a:pt x="608" y="400"/>
                  </a:lnTo>
                  <a:lnTo>
                    <a:pt x="608" y="400"/>
                  </a:lnTo>
                  <a:lnTo>
                    <a:pt x="613" y="396"/>
                  </a:lnTo>
                  <a:lnTo>
                    <a:pt x="614" y="390"/>
                  </a:lnTo>
                  <a:lnTo>
                    <a:pt x="617" y="376"/>
                  </a:lnTo>
                  <a:lnTo>
                    <a:pt x="617" y="376"/>
                  </a:lnTo>
                  <a:lnTo>
                    <a:pt x="620" y="363"/>
                  </a:lnTo>
                  <a:lnTo>
                    <a:pt x="625" y="351"/>
                  </a:lnTo>
                  <a:lnTo>
                    <a:pt x="625" y="351"/>
                  </a:lnTo>
                  <a:lnTo>
                    <a:pt x="628" y="347"/>
                  </a:lnTo>
                  <a:lnTo>
                    <a:pt x="631" y="344"/>
                  </a:lnTo>
                  <a:lnTo>
                    <a:pt x="638" y="339"/>
                  </a:lnTo>
                  <a:lnTo>
                    <a:pt x="638" y="339"/>
                  </a:lnTo>
                  <a:lnTo>
                    <a:pt x="641" y="341"/>
                  </a:lnTo>
                  <a:lnTo>
                    <a:pt x="647" y="344"/>
                  </a:lnTo>
                  <a:lnTo>
                    <a:pt x="651" y="348"/>
                  </a:lnTo>
                  <a:lnTo>
                    <a:pt x="657" y="351"/>
                  </a:lnTo>
                  <a:lnTo>
                    <a:pt x="657" y="351"/>
                  </a:lnTo>
                  <a:lnTo>
                    <a:pt x="660" y="351"/>
                  </a:lnTo>
                  <a:lnTo>
                    <a:pt x="662" y="348"/>
                  </a:lnTo>
                  <a:lnTo>
                    <a:pt x="663" y="345"/>
                  </a:lnTo>
                  <a:lnTo>
                    <a:pt x="663" y="342"/>
                  </a:lnTo>
                  <a:lnTo>
                    <a:pt x="663" y="342"/>
                  </a:lnTo>
                  <a:lnTo>
                    <a:pt x="662" y="330"/>
                  </a:lnTo>
                  <a:lnTo>
                    <a:pt x="659" y="319"/>
                  </a:lnTo>
                  <a:lnTo>
                    <a:pt x="659" y="319"/>
                  </a:lnTo>
                  <a:lnTo>
                    <a:pt x="659" y="316"/>
                  </a:lnTo>
                  <a:lnTo>
                    <a:pt x="659" y="314"/>
                  </a:lnTo>
                  <a:lnTo>
                    <a:pt x="663" y="313"/>
                  </a:lnTo>
                  <a:lnTo>
                    <a:pt x="668" y="310"/>
                  </a:lnTo>
                  <a:lnTo>
                    <a:pt x="674" y="310"/>
                  </a:lnTo>
                  <a:lnTo>
                    <a:pt x="674" y="310"/>
                  </a:lnTo>
                  <a:lnTo>
                    <a:pt x="678" y="311"/>
                  </a:lnTo>
                  <a:lnTo>
                    <a:pt x="683" y="314"/>
                  </a:lnTo>
                  <a:lnTo>
                    <a:pt x="688" y="325"/>
                  </a:lnTo>
                  <a:lnTo>
                    <a:pt x="688" y="325"/>
                  </a:lnTo>
                  <a:lnTo>
                    <a:pt x="693" y="332"/>
                  </a:lnTo>
                  <a:lnTo>
                    <a:pt x="696" y="344"/>
                  </a:lnTo>
                  <a:lnTo>
                    <a:pt x="699" y="363"/>
                  </a:lnTo>
                  <a:lnTo>
                    <a:pt x="699" y="363"/>
                  </a:lnTo>
                  <a:lnTo>
                    <a:pt x="702" y="366"/>
                  </a:lnTo>
                  <a:lnTo>
                    <a:pt x="705" y="368"/>
                  </a:lnTo>
                  <a:lnTo>
                    <a:pt x="715" y="369"/>
                  </a:lnTo>
                  <a:lnTo>
                    <a:pt x="715" y="369"/>
                  </a:lnTo>
                  <a:lnTo>
                    <a:pt x="718" y="370"/>
                  </a:lnTo>
                  <a:lnTo>
                    <a:pt x="721" y="372"/>
                  </a:lnTo>
                  <a:lnTo>
                    <a:pt x="725" y="376"/>
                  </a:lnTo>
                  <a:lnTo>
                    <a:pt x="728" y="382"/>
                  </a:lnTo>
                  <a:lnTo>
                    <a:pt x="731" y="387"/>
                  </a:lnTo>
                  <a:lnTo>
                    <a:pt x="731" y="387"/>
                  </a:lnTo>
                  <a:lnTo>
                    <a:pt x="734" y="387"/>
                  </a:lnTo>
                  <a:lnTo>
                    <a:pt x="736" y="387"/>
                  </a:lnTo>
                  <a:lnTo>
                    <a:pt x="736" y="381"/>
                  </a:lnTo>
                  <a:lnTo>
                    <a:pt x="737" y="368"/>
                  </a:lnTo>
                  <a:lnTo>
                    <a:pt x="737" y="368"/>
                  </a:lnTo>
                  <a:lnTo>
                    <a:pt x="737" y="363"/>
                  </a:lnTo>
                  <a:lnTo>
                    <a:pt x="739" y="359"/>
                  </a:lnTo>
                  <a:lnTo>
                    <a:pt x="742" y="356"/>
                  </a:lnTo>
                  <a:lnTo>
                    <a:pt x="746" y="353"/>
                  </a:lnTo>
                  <a:lnTo>
                    <a:pt x="746" y="353"/>
                  </a:lnTo>
                  <a:lnTo>
                    <a:pt x="749" y="353"/>
                  </a:lnTo>
                  <a:lnTo>
                    <a:pt x="751" y="354"/>
                  </a:lnTo>
                  <a:lnTo>
                    <a:pt x="752" y="357"/>
                  </a:lnTo>
                  <a:lnTo>
                    <a:pt x="754" y="363"/>
                  </a:lnTo>
                  <a:lnTo>
                    <a:pt x="755" y="369"/>
                  </a:lnTo>
                  <a:lnTo>
                    <a:pt x="755" y="369"/>
                  </a:lnTo>
                  <a:lnTo>
                    <a:pt x="760" y="376"/>
                  </a:lnTo>
                  <a:lnTo>
                    <a:pt x="765" y="382"/>
                  </a:lnTo>
                  <a:lnTo>
                    <a:pt x="771" y="388"/>
                  </a:lnTo>
                  <a:lnTo>
                    <a:pt x="776" y="390"/>
                  </a:lnTo>
                  <a:lnTo>
                    <a:pt x="776" y="390"/>
                  </a:lnTo>
                  <a:lnTo>
                    <a:pt x="779" y="390"/>
                  </a:lnTo>
                  <a:lnTo>
                    <a:pt x="780" y="387"/>
                  </a:lnTo>
                  <a:lnTo>
                    <a:pt x="782" y="376"/>
                  </a:lnTo>
                  <a:lnTo>
                    <a:pt x="782" y="376"/>
                  </a:lnTo>
                  <a:lnTo>
                    <a:pt x="782" y="354"/>
                  </a:lnTo>
                  <a:lnTo>
                    <a:pt x="780" y="333"/>
                  </a:lnTo>
                  <a:lnTo>
                    <a:pt x="780" y="333"/>
                  </a:lnTo>
                  <a:lnTo>
                    <a:pt x="776" y="313"/>
                  </a:lnTo>
                  <a:lnTo>
                    <a:pt x="768" y="289"/>
                  </a:lnTo>
                  <a:lnTo>
                    <a:pt x="768" y="289"/>
                  </a:lnTo>
                  <a:lnTo>
                    <a:pt x="765" y="277"/>
                  </a:lnTo>
                  <a:lnTo>
                    <a:pt x="764" y="259"/>
                  </a:lnTo>
                  <a:lnTo>
                    <a:pt x="761" y="230"/>
                  </a:lnTo>
                  <a:lnTo>
                    <a:pt x="761" y="230"/>
                  </a:lnTo>
                  <a:lnTo>
                    <a:pt x="761" y="228"/>
                  </a:lnTo>
                  <a:lnTo>
                    <a:pt x="761" y="228"/>
                  </a:lnTo>
                  <a:lnTo>
                    <a:pt x="757" y="227"/>
                  </a:lnTo>
                  <a:lnTo>
                    <a:pt x="755" y="225"/>
                  </a:lnTo>
                  <a:lnTo>
                    <a:pt x="749" y="216"/>
                  </a:lnTo>
                  <a:lnTo>
                    <a:pt x="749" y="216"/>
                  </a:lnTo>
                  <a:lnTo>
                    <a:pt x="745" y="213"/>
                  </a:lnTo>
                  <a:lnTo>
                    <a:pt x="739" y="212"/>
                  </a:lnTo>
                  <a:lnTo>
                    <a:pt x="734" y="212"/>
                  </a:lnTo>
                  <a:lnTo>
                    <a:pt x="730" y="211"/>
                  </a:lnTo>
                  <a:lnTo>
                    <a:pt x="730" y="211"/>
                  </a:lnTo>
                  <a:lnTo>
                    <a:pt x="728" y="211"/>
                  </a:lnTo>
                  <a:lnTo>
                    <a:pt x="727" y="209"/>
                  </a:lnTo>
                  <a:lnTo>
                    <a:pt x="728" y="206"/>
                  </a:lnTo>
                  <a:lnTo>
                    <a:pt x="730" y="202"/>
                  </a:lnTo>
                  <a:lnTo>
                    <a:pt x="730" y="197"/>
                  </a:lnTo>
                  <a:lnTo>
                    <a:pt x="730" y="197"/>
                  </a:lnTo>
                  <a:lnTo>
                    <a:pt x="728" y="196"/>
                  </a:lnTo>
                  <a:lnTo>
                    <a:pt x="727" y="196"/>
                  </a:lnTo>
                  <a:lnTo>
                    <a:pt x="722" y="197"/>
                  </a:lnTo>
                  <a:lnTo>
                    <a:pt x="717" y="202"/>
                  </a:lnTo>
                  <a:lnTo>
                    <a:pt x="712" y="206"/>
                  </a:lnTo>
                  <a:lnTo>
                    <a:pt x="712" y="206"/>
                  </a:lnTo>
                  <a:lnTo>
                    <a:pt x="709" y="208"/>
                  </a:lnTo>
                  <a:lnTo>
                    <a:pt x="708" y="206"/>
                  </a:lnTo>
                  <a:lnTo>
                    <a:pt x="708" y="200"/>
                  </a:lnTo>
                  <a:lnTo>
                    <a:pt x="708" y="193"/>
                  </a:lnTo>
                  <a:lnTo>
                    <a:pt x="708" y="193"/>
                  </a:lnTo>
                  <a:lnTo>
                    <a:pt x="709" y="185"/>
                  </a:lnTo>
                  <a:lnTo>
                    <a:pt x="711" y="181"/>
                  </a:lnTo>
                  <a:lnTo>
                    <a:pt x="715" y="176"/>
                  </a:lnTo>
                  <a:lnTo>
                    <a:pt x="715" y="176"/>
                  </a:lnTo>
                  <a:lnTo>
                    <a:pt x="696" y="159"/>
                  </a:lnTo>
                  <a:lnTo>
                    <a:pt x="683" y="147"/>
                  </a:lnTo>
                  <a:lnTo>
                    <a:pt x="677" y="144"/>
                  </a:lnTo>
                  <a:lnTo>
                    <a:pt x="674" y="142"/>
                  </a:lnTo>
                  <a:lnTo>
                    <a:pt x="674" y="142"/>
                  </a:lnTo>
                  <a:lnTo>
                    <a:pt x="671" y="144"/>
                  </a:lnTo>
                  <a:lnTo>
                    <a:pt x="665" y="145"/>
                  </a:lnTo>
                  <a:lnTo>
                    <a:pt x="651" y="147"/>
                  </a:lnTo>
                  <a:lnTo>
                    <a:pt x="651" y="147"/>
                  </a:lnTo>
                  <a:lnTo>
                    <a:pt x="645" y="147"/>
                  </a:lnTo>
                  <a:lnTo>
                    <a:pt x="638" y="145"/>
                  </a:lnTo>
                  <a:lnTo>
                    <a:pt x="632" y="142"/>
                  </a:lnTo>
                  <a:lnTo>
                    <a:pt x="628" y="138"/>
                  </a:lnTo>
                  <a:lnTo>
                    <a:pt x="628" y="138"/>
                  </a:lnTo>
                  <a:lnTo>
                    <a:pt x="626" y="135"/>
                  </a:lnTo>
                  <a:lnTo>
                    <a:pt x="625" y="131"/>
                  </a:lnTo>
                  <a:lnTo>
                    <a:pt x="626" y="123"/>
                  </a:lnTo>
                  <a:lnTo>
                    <a:pt x="628" y="116"/>
                  </a:lnTo>
                  <a:lnTo>
                    <a:pt x="626" y="110"/>
                  </a:lnTo>
                  <a:lnTo>
                    <a:pt x="626" y="110"/>
                  </a:lnTo>
                  <a:lnTo>
                    <a:pt x="625" y="105"/>
                  </a:lnTo>
                  <a:lnTo>
                    <a:pt x="620" y="101"/>
                  </a:lnTo>
                  <a:lnTo>
                    <a:pt x="611" y="92"/>
                  </a:lnTo>
                  <a:lnTo>
                    <a:pt x="611" y="92"/>
                  </a:lnTo>
                  <a:lnTo>
                    <a:pt x="608" y="89"/>
                  </a:lnTo>
                  <a:lnTo>
                    <a:pt x="608" y="85"/>
                  </a:lnTo>
                  <a:lnTo>
                    <a:pt x="608" y="77"/>
                  </a:lnTo>
                  <a:lnTo>
                    <a:pt x="608" y="77"/>
                  </a:lnTo>
                  <a:lnTo>
                    <a:pt x="606" y="76"/>
                  </a:lnTo>
                  <a:lnTo>
                    <a:pt x="603" y="76"/>
                  </a:lnTo>
                  <a:lnTo>
                    <a:pt x="588" y="74"/>
                  </a:lnTo>
                  <a:lnTo>
                    <a:pt x="58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4" name="Freeform 63">
              <a:extLst>
                <a:ext uri="{FF2B5EF4-FFF2-40B4-BE49-F238E27FC236}">
                  <a16:creationId xmlns:a16="http://schemas.microsoft.com/office/drawing/2014/main" id="{3B87E2F2-6281-A743-B2FD-BE829CA9D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9550" y="4953000"/>
              <a:ext cx="360363" cy="346075"/>
            </a:xfrm>
            <a:custGeom>
              <a:avLst/>
              <a:gdLst>
                <a:gd name="T0" fmla="*/ 150 w 227"/>
                <a:gd name="T1" fmla="*/ 148 h 218"/>
                <a:gd name="T2" fmla="*/ 174 w 227"/>
                <a:gd name="T3" fmla="*/ 135 h 218"/>
                <a:gd name="T4" fmla="*/ 197 w 227"/>
                <a:gd name="T5" fmla="*/ 114 h 218"/>
                <a:gd name="T6" fmla="*/ 209 w 227"/>
                <a:gd name="T7" fmla="*/ 105 h 218"/>
                <a:gd name="T8" fmla="*/ 217 w 227"/>
                <a:gd name="T9" fmla="*/ 98 h 218"/>
                <a:gd name="T10" fmla="*/ 227 w 227"/>
                <a:gd name="T11" fmla="*/ 71 h 218"/>
                <a:gd name="T12" fmla="*/ 224 w 227"/>
                <a:gd name="T13" fmla="*/ 61 h 218"/>
                <a:gd name="T14" fmla="*/ 218 w 227"/>
                <a:gd name="T15" fmla="*/ 53 h 218"/>
                <a:gd name="T16" fmla="*/ 202 w 227"/>
                <a:gd name="T17" fmla="*/ 55 h 218"/>
                <a:gd name="T18" fmla="*/ 188 w 227"/>
                <a:gd name="T19" fmla="*/ 50 h 218"/>
                <a:gd name="T20" fmla="*/ 185 w 227"/>
                <a:gd name="T21" fmla="*/ 44 h 218"/>
                <a:gd name="T22" fmla="*/ 188 w 227"/>
                <a:gd name="T23" fmla="*/ 38 h 218"/>
                <a:gd name="T24" fmla="*/ 194 w 227"/>
                <a:gd name="T25" fmla="*/ 28 h 218"/>
                <a:gd name="T26" fmla="*/ 188 w 227"/>
                <a:gd name="T27" fmla="*/ 16 h 218"/>
                <a:gd name="T28" fmla="*/ 182 w 227"/>
                <a:gd name="T29" fmla="*/ 13 h 218"/>
                <a:gd name="T30" fmla="*/ 163 w 227"/>
                <a:gd name="T31" fmla="*/ 10 h 218"/>
                <a:gd name="T32" fmla="*/ 156 w 227"/>
                <a:gd name="T33" fmla="*/ 13 h 218"/>
                <a:gd name="T34" fmla="*/ 142 w 227"/>
                <a:gd name="T35" fmla="*/ 28 h 218"/>
                <a:gd name="T36" fmla="*/ 131 w 227"/>
                <a:gd name="T37" fmla="*/ 37 h 218"/>
                <a:gd name="T38" fmla="*/ 123 w 227"/>
                <a:gd name="T39" fmla="*/ 35 h 218"/>
                <a:gd name="T40" fmla="*/ 117 w 227"/>
                <a:gd name="T41" fmla="*/ 28 h 218"/>
                <a:gd name="T42" fmla="*/ 108 w 227"/>
                <a:gd name="T43" fmla="*/ 9 h 218"/>
                <a:gd name="T44" fmla="*/ 101 w 227"/>
                <a:gd name="T45" fmla="*/ 1 h 218"/>
                <a:gd name="T46" fmla="*/ 80 w 227"/>
                <a:gd name="T47" fmla="*/ 10 h 218"/>
                <a:gd name="T48" fmla="*/ 58 w 227"/>
                <a:gd name="T49" fmla="*/ 25 h 218"/>
                <a:gd name="T50" fmla="*/ 52 w 227"/>
                <a:gd name="T51" fmla="*/ 24 h 218"/>
                <a:gd name="T52" fmla="*/ 49 w 227"/>
                <a:gd name="T53" fmla="*/ 33 h 218"/>
                <a:gd name="T54" fmla="*/ 46 w 227"/>
                <a:gd name="T55" fmla="*/ 41 h 218"/>
                <a:gd name="T56" fmla="*/ 36 w 227"/>
                <a:gd name="T57" fmla="*/ 59 h 218"/>
                <a:gd name="T58" fmla="*/ 31 w 227"/>
                <a:gd name="T59" fmla="*/ 56 h 218"/>
                <a:gd name="T60" fmla="*/ 25 w 227"/>
                <a:gd name="T61" fmla="*/ 53 h 218"/>
                <a:gd name="T62" fmla="*/ 2 w 227"/>
                <a:gd name="T63" fmla="*/ 64 h 218"/>
                <a:gd name="T64" fmla="*/ 0 w 227"/>
                <a:gd name="T65" fmla="*/ 77 h 218"/>
                <a:gd name="T66" fmla="*/ 3 w 227"/>
                <a:gd name="T67" fmla="*/ 83 h 218"/>
                <a:gd name="T68" fmla="*/ 14 w 227"/>
                <a:gd name="T69" fmla="*/ 101 h 218"/>
                <a:gd name="T70" fmla="*/ 24 w 227"/>
                <a:gd name="T71" fmla="*/ 98 h 218"/>
                <a:gd name="T72" fmla="*/ 37 w 227"/>
                <a:gd name="T73" fmla="*/ 93 h 218"/>
                <a:gd name="T74" fmla="*/ 48 w 227"/>
                <a:gd name="T75" fmla="*/ 102 h 218"/>
                <a:gd name="T76" fmla="*/ 48 w 227"/>
                <a:gd name="T77" fmla="*/ 126 h 218"/>
                <a:gd name="T78" fmla="*/ 52 w 227"/>
                <a:gd name="T79" fmla="*/ 136 h 218"/>
                <a:gd name="T80" fmla="*/ 63 w 227"/>
                <a:gd name="T81" fmla="*/ 136 h 218"/>
                <a:gd name="T82" fmla="*/ 68 w 227"/>
                <a:gd name="T83" fmla="*/ 133 h 218"/>
                <a:gd name="T84" fmla="*/ 77 w 227"/>
                <a:gd name="T85" fmla="*/ 145 h 218"/>
                <a:gd name="T86" fmla="*/ 77 w 227"/>
                <a:gd name="T87" fmla="*/ 150 h 218"/>
                <a:gd name="T88" fmla="*/ 73 w 227"/>
                <a:gd name="T89" fmla="*/ 166 h 218"/>
                <a:gd name="T90" fmla="*/ 82 w 227"/>
                <a:gd name="T91" fmla="*/ 176 h 218"/>
                <a:gd name="T92" fmla="*/ 89 w 227"/>
                <a:gd name="T93" fmla="*/ 182 h 218"/>
                <a:gd name="T94" fmla="*/ 98 w 227"/>
                <a:gd name="T95" fmla="*/ 200 h 218"/>
                <a:gd name="T96" fmla="*/ 104 w 227"/>
                <a:gd name="T97" fmla="*/ 210 h 218"/>
                <a:gd name="T98" fmla="*/ 113 w 227"/>
                <a:gd name="T99" fmla="*/ 216 h 218"/>
                <a:gd name="T100" fmla="*/ 131 w 227"/>
                <a:gd name="T101" fmla="*/ 218 h 218"/>
                <a:gd name="T102" fmla="*/ 137 w 227"/>
                <a:gd name="T103" fmla="*/ 215 h 218"/>
                <a:gd name="T104" fmla="*/ 150 w 227"/>
                <a:gd name="T105" fmla="*/ 207 h 218"/>
                <a:gd name="T106" fmla="*/ 157 w 227"/>
                <a:gd name="T107" fmla="*/ 201 h 218"/>
                <a:gd name="T108" fmla="*/ 154 w 227"/>
                <a:gd name="T109" fmla="*/ 200 h 218"/>
                <a:gd name="T110" fmla="*/ 145 w 227"/>
                <a:gd name="T111" fmla="*/ 190 h 218"/>
                <a:gd name="T112" fmla="*/ 142 w 227"/>
                <a:gd name="T113" fmla="*/ 166 h 218"/>
                <a:gd name="T114" fmla="*/ 141 w 227"/>
                <a:gd name="T115" fmla="*/ 15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7" h="218">
                  <a:moveTo>
                    <a:pt x="141" y="152"/>
                  </a:moveTo>
                  <a:lnTo>
                    <a:pt x="141" y="152"/>
                  </a:lnTo>
                  <a:lnTo>
                    <a:pt x="150" y="148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74" y="135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97" y="114"/>
                  </a:lnTo>
                  <a:lnTo>
                    <a:pt x="205" y="110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7" y="98"/>
                  </a:lnTo>
                  <a:lnTo>
                    <a:pt x="221" y="89"/>
                  </a:lnTo>
                  <a:lnTo>
                    <a:pt x="225" y="78"/>
                  </a:lnTo>
                  <a:lnTo>
                    <a:pt x="227" y="71"/>
                  </a:lnTo>
                  <a:lnTo>
                    <a:pt x="227" y="71"/>
                  </a:lnTo>
                  <a:lnTo>
                    <a:pt x="225" y="65"/>
                  </a:lnTo>
                  <a:lnTo>
                    <a:pt x="224" y="61"/>
                  </a:lnTo>
                  <a:lnTo>
                    <a:pt x="221" y="55"/>
                  </a:lnTo>
                  <a:lnTo>
                    <a:pt x="218" y="53"/>
                  </a:lnTo>
                  <a:lnTo>
                    <a:pt x="218" y="53"/>
                  </a:lnTo>
                  <a:lnTo>
                    <a:pt x="209" y="53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197" y="55"/>
                  </a:lnTo>
                  <a:lnTo>
                    <a:pt x="193" y="53"/>
                  </a:lnTo>
                  <a:lnTo>
                    <a:pt x="188" y="50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5" y="44"/>
                  </a:lnTo>
                  <a:lnTo>
                    <a:pt x="185" y="43"/>
                  </a:lnTo>
                  <a:lnTo>
                    <a:pt x="188" y="38"/>
                  </a:lnTo>
                  <a:lnTo>
                    <a:pt x="188" y="38"/>
                  </a:lnTo>
                  <a:lnTo>
                    <a:pt x="193" y="34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1" y="22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5" y="15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78" y="10"/>
                  </a:lnTo>
                  <a:lnTo>
                    <a:pt x="174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59" y="12"/>
                  </a:lnTo>
                  <a:lnTo>
                    <a:pt x="156" y="13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28"/>
                  </a:lnTo>
                  <a:lnTo>
                    <a:pt x="137" y="34"/>
                  </a:lnTo>
                  <a:lnTo>
                    <a:pt x="134" y="37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26" y="37"/>
                  </a:lnTo>
                  <a:lnTo>
                    <a:pt x="123" y="35"/>
                  </a:lnTo>
                  <a:lnTo>
                    <a:pt x="122" y="33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5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80" y="10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58" y="25"/>
                  </a:lnTo>
                  <a:lnTo>
                    <a:pt x="55" y="25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1" y="27"/>
                  </a:lnTo>
                  <a:lnTo>
                    <a:pt x="49" y="33"/>
                  </a:lnTo>
                  <a:lnTo>
                    <a:pt x="49" y="37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2" y="52"/>
                  </a:lnTo>
                  <a:lnTo>
                    <a:pt x="39" y="56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3" y="59"/>
                  </a:lnTo>
                  <a:lnTo>
                    <a:pt x="31" y="56"/>
                  </a:lnTo>
                  <a:lnTo>
                    <a:pt x="28" y="55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18" y="55"/>
                  </a:lnTo>
                  <a:lnTo>
                    <a:pt x="11" y="59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71"/>
                  </a:lnTo>
                  <a:lnTo>
                    <a:pt x="0" y="77"/>
                  </a:lnTo>
                  <a:lnTo>
                    <a:pt x="2" y="80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8" y="87"/>
                  </a:lnTo>
                  <a:lnTo>
                    <a:pt x="11" y="95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24" y="98"/>
                  </a:lnTo>
                  <a:lnTo>
                    <a:pt x="31" y="95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42" y="95"/>
                  </a:lnTo>
                  <a:lnTo>
                    <a:pt x="46" y="98"/>
                  </a:lnTo>
                  <a:lnTo>
                    <a:pt x="48" y="102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8" y="126"/>
                  </a:lnTo>
                  <a:lnTo>
                    <a:pt x="48" y="132"/>
                  </a:lnTo>
                  <a:lnTo>
                    <a:pt x="49" y="135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7" y="138"/>
                  </a:lnTo>
                  <a:lnTo>
                    <a:pt x="63" y="136"/>
                  </a:lnTo>
                  <a:lnTo>
                    <a:pt x="65" y="135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73" y="136"/>
                  </a:lnTo>
                  <a:lnTo>
                    <a:pt x="76" y="139"/>
                  </a:lnTo>
                  <a:lnTo>
                    <a:pt x="77" y="145"/>
                  </a:lnTo>
                  <a:lnTo>
                    <a:pt x="77" y="147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1" y="157"/>
                  </a:lnTo>
                  <a:lnTo>
                    <a:pt x="71" y="161"/>
                  </a:lnTo>
                  <a:lnTo>
                    <a:pt x="73" y="166"/>
                  </a:lnTo>
                  <a:lnTo>
                    <a:pt x="73" y="166"/>
                  </a:lnTo>
                  <a:lnTo>
                    <a:pt x="76" y="172"/>
                  </a:lnTo>
                  <a:lnTo>
                    <a:pt x="82" y="176"/>
                  </a:lnTo>
                  <a:lnTo>
                    <a:pt x="86" y="179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94" y="190"/>
                  </a:lnTo>
                  <a:lnTo>
                    <a:pt x="97" y="194"/>
                  </a:lnTo>
                  <a:lnTo>
                    <a:pt x="98" y="200"/>
                  </a:lnTo>
                  <a:lnTo>
                    <a:pt x="98" y="200"/>
                  </a:lnTo>
                  <a:lnTo>
                    <a:pt x="100" y="204"/>
                  </a:lnTo>
                  <a:lnTo>
                    <a:pt x="104" y="210"/>
                  </a:lnTo>
                  <a:lnTo>
                    <a:pt x="108" y="213"/>
                  </a:lnTo>
                  <a:lnTo>
                    <a:pt x="113" y="216"/>
                  </a:lnTo>
                  <a:lnTo>
                    <a:pt x="113" y="216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31" y="218"/>
                  </a:lnTo>
                  <a:lnTo>
                    <a:pt x="134" y="216"/>
                  </a:lnTo>
                  <a:lnTo>
                    <a:pt x="137" y="215"/>
                  </a:lnTo>
                  <a:lnTo>
                    <a:pt x="137" y="215"/>
                  </a:lnTo>
                  <a:lnTo>
                    <a:pt x="140" y="212"/>
                  </a:lnTo>
                  <a:lnTo>
                    <a:pt x="144" y="210"/>
                  </a:lnTo>
                  <a:lnTo>
                    <a:pt x="150" y="207"/>
                  </a:lnTo>
                  <a:lnTo>
                    <a:pt x="150" y="207"/>
                  </a:lnTo>
                  <a:lnTo>
                    <a:pt x="156" y="204"/>
                  </a:lnTo>
                  <a:lnTo>
                    <a:pt x="157" y="201"/>
                  </a:lnTo>
                  <a:lnTo>
                    <a:pt x="156" y="201"/>
                  </a:lnTo>
                  <a:lnTo>
                    <a:pt x="154" y="200"/>
                  </a:lnTo>
                  <a:lnTo>
                    <a:pt x="154" y="200"/>
                  </a:lnTo>
                  <a:lnTo>
                    <a:pt x="150" y="197"/>
                  </a:lnTo>
                  <a:lnTo>
                    <a:pt x="148" y="194"/>
                  </a:lnTo>
                  <a:lnTo>
                    <a:pt x="145" y="190"/>
                  </a:lnTo>
                  <a:lnTo>
                    <a:pt x="145" y="184"/>
                  </a:lnTo>
                  <a:lnTo>
                    <a:pt x="145" y="184"/>
                  </a:lnTo>
                  <a:lnTo>
                    <a:pt x="142" y="166"/>
                  </a:lnTo>
                  <a:lnTo>
                    <a:pt x="141" y="157"/>
                  </a:lnTo>
                  <a:lnTo>
                    <a:pt x="141" y="154"/>
                  </a:lnTo>
                  <a:lnTo>
                    <a:pt x="141" y="152"/>
                  </a:lnTo>
                  <a:lnTo>
                    <a:pt x="141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5" name="Freeform 64">
              <a:extLst>
                <a:ext uri="{FF2B5EF4-FFF2-40B4-BE49-F238E27FC236}">
                  <a16:creationId xmlns:a16="http://schemas.microsoft.com/office/drawing/2014/main" id="{57F83825-D9DA-3148-BFCD-AB0AC488C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3413125"/>
              <a:ext cx="706438" cy="693737"/>
            </a:xfrm>
            <a:custGeom>
              <a:avLst/>
              <a:gdLst>
                <a:gd name="T0" fmla="*/ 432 w 445"/>
                <a:gd name="T1" fmla="*/ 303 h 437"/>
                <a:gd name="T2" fmla="*/ 426 w 445"/>
                <a:gd name="T3" fmla="*/ 286 h 437"/>
                <a:gd name="T4" fmla="*/ 404 w 445"/>
                <a:gd name="T5" fmla="*/ 289 h 437"/>
                <a:gd name="T6" fmla="*/ 395 w 445"/>
                <a:gd name="T7" fmla="*/ 271 h 437"/>
                <a:gd name="T8" fmla="*/ 377 w 445"/>
                <a:gd name="T9" fmla="*/ 250 h 437"/>
                <a:gd name="T10" fmla="*/ 365 w 445"/>
                <a:gd name="T11" fmla="*/ 259 h 437"/>
                <a:gd name="T12" fmla="*/ 352 w 445"/>
                <a:gd name="T13" fmla="*/ 252 h 437"/>
                <a:gd name="T14" fmla="*/ 339 w 445"/>
                <a:gd name="T15" fmla="*/ 252 h 437"/>
                <a:gd name="T16" fmla="*/ 284 w 445"/>
                <a:gd name="T17" fmla="*/ 112 h 437"/>
                <a:gd name="T18" fmla="*/ 274 w 445"/>
                <a:gd name="T19" fmla="*/ 75 h 437"/>
                <a:gd name="T20" fmla="*/ 268 w 445"/>
                <a:gd name="T21" fmla="*/ 62 h 437"/>
                <a:gd name="T22" fmla="*/ 277 w 445"/>
                <a:gd name="T23" fmla="*/ 29 h 437"/>
                <a:gd name="T24" fmla="*/ 253 w 445"/>
                <a:gd name="T25" fmla="*/ 25 h 437"/>
                <a:gd name="T26" fmla="*/ 157 w 445"/>
                <a:gd name="T27" fmla="*/ 4 h 437"/>
                <a:gd name="T28" fmla="*/ 204 w 445"/>
                <a:gd name="T29" fmla="*/ 46 h 437"/>
                <a:gd name="T30" fmla="*/ 200 w 445"/>
                <a:gd name="T31" fmla="*/ 55 h 437"/>
                <a:gd name="T32" fmla="*/ 168 w 445"/>
                <a:gd name="T33" fmla="*/ 105 h 437"/>
                <a:gd name="T34" fmla="*/ 145 w 445"/>
                <a:gd name="T35" fmla="*/ 114 h 437"/>
                <a:gd name="T36" fmla="*/ 109 w 445"/>
                <a:gd name="T37" fmla="*/ 102 h 437"/>
                <a:gd name="T38" fmla="*/ 80 w 445"/>
                <a:gd name="T39" fmla="*/ 80 h 437"/>
                <a:gd name="T40" fmla="*/ 62 w 445"/>
                <a:gd name="T41" fmla="*/ 77 h 437"/>
                <a:gd name="T42" fmla="*/ 3 w 445"/>
                <a:gd name="T43" fmla="*/ 81 h 437"/>
                <a:gd name="T44" fmla="*/ 7 w 445"/>
                <a:gd name="T45" fmla="*/ 124 h 437"/>
                <a:gd name="T46" fmla="*/ 14 w 445"/>
                <a:gd name="T47" fmla="*/ 141 h 437"/>
                <a:gd name="T48" fmla="*/ 14 w 445"/>
                <a:gd name="T49" fmla="*/ 175 h 437"/>
                <a:gd name="T50" fmla="*/ 1 w 445"/>
                <a:gd name="T51" fmla="*/ 185 h 437"/>
                <a:gd name="T52" fmla="*/ 7 w 445"/>
                <a:gd name="T53" fmla="*/ 195 h 437"/>
                <a:gd name="T54" fmla="*/ 0 w 445"/>
                <a:gd name="T55" fmla="*/ 216 h 437"/>
                <a:gd name="T56" fmla="*/ 8 w 445"/>
                <a:gd name="T57" fmla="*/ 234 h 437"/>
                <a:gd name="T58" fmla="*/ 31 w 445"/>
                <a:gd name="T59" fmla="*/ 221 h 437"/>
                <a:gd name="T60" fmla="*/ 51 w 445"/>
                <a:gd name="T61" fmla="*/ 232 h 437"/>
                <a:gd name="T62" fmla="*/ 81 w 445"/>
                <a:gd name="T63" fmla="*/ 249 h 437"/>
                <a:gd name="T64" fmla="*/ 99 w 445"/>
                <a:gd name="T65" fmla="*/ 253 h 437"/>
                <a:gd name="T66" fmla="*/ 117 w 445"/>
                <a:gd name="T67" fmla="*/ 259 h 437"/>
                <a:gd name="T68" fmla="*/ 151 w 445"/>
                <a:gd name="T69" fmla="*/ 249 h 437"/>
                <a:gd name="T70" fmla="*/ 155 w 445"/>
                <a:gd name="T71" fmla="*/ 265 h 437"/>
                <a:gd name="T72" fmla="*/ 162 w 445"/>
                <a:gd name="T73" fmla="*/ 287 h 437"/>
                <a:gd name="T74" fmla="*/ 149 w 445"/>
                <a:gd name="T75" fmla="*/ 314 h 437"/>
                <a:gd name="T76" fmla="*/ 160 w 445"/>
                <a:gd name="T77" fmla="*/ 321 h 437"/>
                <a:gd name="T78" fmla="*/ 183 w 445"/>
                <a:gd name="T79" fmla="*/ 318 h 437"/>
                <a:gd name="T80" fmla="*/ 197 w 445"/>
                <a:gd name="T81" fmla="*/ 343 h 437"/>
                <a:gd name="T82" fmla="*/ 208 w 445"/>
                <a:gd name="T83" fmla="*/ 351 h 437"/>
                <a:gd name="T84" fmla="*/ 205 w 445"/>
                <a:gd name="T85" fmla="*/ 379 h 437"/>
                <a:gd name="T86" fmla="*/ 217 w 445"/>
                <a:gd name="T87" fmla="*/ 400 h 437"/>
                <a:gd name="T88" fmla="*/ 222 w 445"/>
                <a:gd name="T89" fmla="*/ 423 h 437"/>
                <a:gd name="T90" fmla="*/ 239 w 445"/>
                <a:gd name="T91" fmla="*/ 425 h 437"/>
                <a:gd name="T92" fmla="*/ 266 w 445"/>
                <a:gd name="T93" fmla="*/ 437 h 437"/>
                <a:gd name="T94" fmla="*/ 282 w 445"/>
                <a:gd name="T95" fmla="*/ 425 h 437"/>
                <a:gd name="T96" fmla="*/ 302 w 445"/>
                <a:gd name="T97" fmla="*/ 415 h 437"/>
                <a:gd name="T98" fmla="*/ 316 w 445"/>
                <a:gd name="T99" fmla="*/ 391 h 437"/>
                <a:gd name="T100" fmla="*/ 339 w 445"/>
                <a:gd name="T101" fmla="*/ 375 h 437"/>
                <a:gd name="T102" fmla="*/ 373 w 445"/>
                <a:gd name="T103" fmla="*/ 349 h 437"/>
                <a:gd name="T104" fmla="*/ 391 w 445"/>
                <a:gd name="T105" fmla="*/ 345 h 437"/>
                <a:gd name="T106" fmla="*/ 407 w 445"/>
                <a:gd name="T107" fmla="*/ 346 h 437"/>
                <a:gd name="T108" fmla="*/ 419 w 445"/>
                <a:gd name="T109" fmla="*/ 342 h 437"/>
                <a:gd name="T110" fmla="*/ 431 w 445"/>
                <a:gd name="T111" fmla="*/ 346 h 437"/>
                <a:gd name="T112" fmla="*/ 435 w 445"/>
                <a:gd name="T113" fmla="*/ 33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5" h="437">
                  <a:moveTo>
                    <a:pt x="432" y="324"/>
                  </a:moveTo>
                  <a:lnTo>
                    <a:pt x="432" y="324"/>
                  </a:lnTo>
                  <a:lnTo>
                    <a:pt x="431" y="318"/>
                  </a:lnTo>
                  <a:lnTo>
                    <a:pt x="431" y="314"/>
                  </a:lnTo>
                  <a:lnTo>
                    <a:pt x="432" y="303"/>
                  </a:lnTo>
                  <a:lnTo>
                    <a:pt x="432" y="303"/>
                  </a:lnTo>
                  <a:lnTo>
                    <a:pt x="432" y="298"/>
                  </a:lnTo>
                  <a:lnTo>
                    <a:pt x="432" y="293"/>
                  </a:lnTo>
                  <a:lnTo>
                    <a:pt x="431" y="289"/>
                  </a:lnTo>
                  <a:lnTo>
                    <a:pt x="426" y="286"/>
                  </a:lnTo>
                  <a:lnTo>
                    <a:pt x="426" y="286"/>
                  </a:lnTo>
                  <a:lnTo>
                    <a:pt x="420" y="284"/>
                  </a:lnTo>
                  <a:lnTo>
                    <a:pt x="416" y="284"/>
                  </a:lnTo>
                  <a:lnTo>
                    <a:pt x="404" y="289"/>
                  </a:lnTo>
                  <a:lnTo>
                    <a:pt x="404" y="289"/>
                  </a:lnTo>
                  <a:lnTo>
                    <a:pt x="402" y="289"/>
                  </a:lnTo>
                  <a:lnTo>
                    <a:pt x="399" y="289"/>
                  </a:lnTo>
                  <a:lnTo>
                    <a:pt x="398" y="284"/>
                  </a:lnTo>
                  <a:lnTo>
                    <a:pt x="396" y="278"/>
                  </a:lnTo>
                  <a:lnTo>
                    <a:pt x="395" y="271"/>
                  </a:lnTo>
                  <a:lnTo>
                    <a:pt x="395" y="271"/>
                  </a:lnTo>
                  <a:lnTo>
                    <a:pt x="393" y="262"/>
                  </a:lnTo>
                  <a:lnTo>
                    <a:pt x="389" y="258"/>
                  </a:lnTo>
                  <a:lnTo>
                    <a:pt x="385" y="253"/>
                  </a:lnTo>
                  <a:lnTo>
                    <a:pt x="377" y="250"/>
                  </a:lnTo>
                  <a:lnTo>
                    <a:pt x="377" y="250"/>
                  </a:lnTo>
                  <a:lnTo>
                    <a:pt x="371" y="250"/>
                  </a:lnTo>
                  <a:lnTo>
                    <a:pt x="368" y="252"/>
                  </a:lnTo>
                  <a:lnTo>
                    <a:pt x="367" y="255"/>
                  </a:lnTo>
                  <a:lnTo>
                    <a:pt x="365" y="259"/>
                  </a:lnTo>
                  <a:lnTo>
                    <a:pt x="365" y="259"/>
                  </a:lnTo>
                  <a:lnTo>
                    <a:pt x="365" y="261"/>
                  </a:lnTo>
                  <a:lnTo>
                    <a:pt x="364" y="261"/>
                  </a:lnTo>
                  <a:lnTo>
                    <a:pt x="361" y="259"/>
                  </a:lnTo>
                  <a:lnTo>
                    <a:pt x="352" y="252"/>
                  </a:lnTo>
                  <a:lnTo>
                    <a:pt x="352" y="252"/>
                  </a:lnTo>
                  <a:lnTo>
                    <a:pt x="349" y="250"/>
                  </a:lnTo>
                  <a:lnTo>
                    <a:pt x="346" y="250"/>
                  </a:lnTo>
                  <a:lnTo>
                    <a:pt x="343" y="252"/>
                  </a:lnTo>
                  <a:lnTo>
                    <a:pt x="339" y="252"/>
                  </a:lnTo>
                  <a:lnTo>
                    <a:pt x="339" y="252"/>
                  </a:lnTo>
                  <a:lnTo>
                    <a:pt x="331" y="250"/>
                  </a:lnTo>
                  <a:lnTo>
                    <a:pt x="324" y="247"/>
                  </a:lnTo>
                  <a:lnTo>
                    <a:pt x="314" y="244"/>
                  </a:lnTo>
                  <a:lnTo>
                    <a:pt x="284" y="112"/>
                  </a:lnTo>
                  <a:lnTo>
                    <a:pt x="284" y="112"/>
                  </a:lnTo>
                  <a:lnTo>
                    <a:pt x="277" y="77"/>
                  </a:lnTo>
                  <a:lnTo>
                    <a:pt x="277" y="77"/>
                  </a:lnTo>
                  <a:lnTo>
                    <a:pt x="275" y="77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8" y="69"/>
                  </a:lnTo>
                  <a:lnTo>
                    <a:pt x="268" y="69"/>
                  </a:lnTo>
                  <a:lnTo>
                    <a:pt x="266" y="65"/>
                  </a:lnTo>
                  <a:lnTo>
                    <a:pt x="268" y="6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7" y="46"/>
                  </a:lnTo>
                  <a:lnTo>
                    <a:pt x="277" y="40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66" y="28"/>
                  </a:lnTo>
                  <a:lnTo>
                    <a:pt x="253" y="25"/>
                  </a:lnTo>
                  <a:lnTo>
                    <a:pt x="222" y="16"/>
                  </a:lnTo>
                  <a:lnTo>
                    <a:pt x="177" y="1"/>
                  </a:lnTo>
                  <a:lnTo>
                    <a:pt x="165" y="0"/>
                  </a:lnTo>
                  <a:lnTo>
                    <a:pt x="154" y="1"/>
                  </a:lnTo>
                  <a:lnTo>
                    <a:pt x="157" y="4"/>
                  </a:lnTo>
                  <a:lnTo>
                    <a:pt x="162" y="16"/>
                  </a:lnTo>
                  <a:lnTo>
                    <a:pt x="170" y="27"/>
                  </a:lnTo>
                  <a:lnTo>
                    <a:pt x="186" y="37"/>
                  </a:lnTo>
                  <a:lnTo>
                    <a:pt x="204" y="46"/>
                  </a:lnTo>
                  <a:lnTo>
                    <a:pt x="204" y="46"/>
                  </a:lnTo>
                  <a:lnTo>
                    <a:pt x="202" y="49"/>
                  </a:lnTo>
                  <a:lnTo>
                    <a:pt x="202" y="53"/>
                  </a:lnTo>
                  <a:lnTo>
                    <a:pt x="202" y="53"/>
                  </a:lnTo>
                  <a:lnTo>
                    <a:pt x="201" y="55"/>
                  </a:lnTo>
                  <a:lnTo>
                    <a:pt x="200" y="55"/>
                  </a:lnTo>
                  <a:lnTo>
                    <a:pt x="195" y="56"/>
                  </a:lnTo>
                  <a:lnTo>
                    <a:pt x="183" y="62"/>
                  </a:lnTo>
                  <a:lnTo>
                    <a:pt x="171" y="72"/>
                  </a:lnTo>
                  <a:lnTo>
                    <a:pt x="165" y="93"/>
                  </a:lnTo>
                  <a:lnTo>
                    <a:pt x="168" y="105"/>
                  </a:lnTo>
                  <a:lnTo>
                    <a:pt x="173" y="120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2" y="123"/>
                  </a:lnTo>
                  <a:lnTo>
                    <a:pt x="145" y="114"/>
                  </a:lnTo>
                  <a:lnTo>
                    <a:pt x="139" y="112"/>
                  </a:lnTo>
                  <a:lnTo>
                    <a:pt x="130" y="114"/>
                  </a:lnTo>
                  <a:lnTo>
                    <a:pt x="117" y="115"/>
                  </a:lnTo>
                  <a:lnTo>
                    <a:pt x="112" y="114"/>
                  </a:lnTo>
                  <a:lnTo>
                    <a:pt x="109" y="102"/>
                  </a:lnTo>
                  <a:lnTo>
                    <a:pt x="100" y="80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8" y="80"/>
                  </a:lnTo>
                  <a:lnTo>
                    <a:pt x="74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2" y="77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44" y="75"/>
                  </a:lnTo>
                  <a:lnTo>
                    <a:pt x="29" y="75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95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7" y="124"/>
                  </a:lnTo>
                  <a:lnTo>
                    <a:pt x="8" y="132"/>
                  </a:lnTo>
                  <a:lnTo>
                    <a:pt x="10" y="135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4" y="141"/>
                  </a:lnTo>
                  <a:lnTo>
                    <a:pt x="16" y="145"/>
                  </a:lnTo>
                  <a:lnTo>
                    <a:pt x="17" y="157"/>
                  </a:lnTo>
                  <a:lnTo>
                    <a:pt x="17" y="169"/>
                  </a:lnTo>
                  <a:lnTo>
                    <a:pt x="16" y="172"/>
                  </a:lnTo>
                  <a:lnTo>
                    <a:pt x="14" y="175"/>
                  </a:lnTo>
                  <a:lnTo>
                    <a:pt x="14" y="175"/>
                  </a:lnTo>
                  <a:lnTo>
                    <a:pt x="7" y="181"/>
                  </a:lnTo>
                  <a:lnTo>
                    <a:pt x="3" y="182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3" y="186"/>
                  </a:lnTo>
                  <a:lnTo>
                    <a:pt x="4" y="189"/>
                  </a:lnTo>
                  <a:lnTo>
                    <a:pt x="7" y="192"/>
                  </a:lnTo>
                  <a:lnTo>
                    <a:pt x="7" y="192"/>
                  </a:lnTo>
                  <a:lnTo>
                    <a:pt x="7" y="195"/>
                  </a:lnTo>
                  <a:lnTo>
                    <a:pt x="6" y="198"/>
                  </a:lnTo>
                  <a:lnTo>
                    <a:pt x="3" y="204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16"/>
                  </a:lnTo>
                  <a:lnTo>
                    <a:pt x="1" y="224"/>
                  </a:lnTo>
                  <a:lnTo>
                    <a:pt x="4" y="231"/>
                  </a:lnTo>
                  <a:lnTo>
                    <a:pt x="7" y="232"/>
                  </a:lnTo>
                  <a:lnTo>
                    <a:pt x="8" y="234"/>
                  </a:lnTo>
                  <a:lnTo>
                    <a:pt x="8" y="234"/>
                  </a:lnTo>
                  <a:lnTo>
                    <a:pt x="11" y="232"/>
                  </a:lnTo>
                  <a:lnTo>
                    <a:pt x="14" y="231"/>
                  </a:lnTo>
                  <a:lnTo>
                    <a:pt x="20" y="226"/>
                  </a:lnTo>
                  <a:lnTo>
                    <a:pt x="28" y="222"/>
                  </a:lnTo>
                  <a:lnTo>
                    <a:pt x="31" y="221"/>
                  </a:lnTo>
                  <a:lnTo>
                    <a:pt x="34" y="221"/>
                  </a:lnTo>
                  <a:lnTo>
                    <a:pt x="34" y="221"/>
                  </a:lnTo>
                  <a:lnTo>
                    <a:pt x="43" y="222"/>
                  </a:lnTo>
                  <a:lnTo>
                    <a:pt x="47" y="225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7" y="240"/>
                  </a:lnTo>
                  <a:lnTo>
                    <a:pt x="66" y="244"/>
                  </a:lnTo>
                  <a:lnTo>
                    <a:pt x="74" y="247"/>
                  </a:lnTo>
                  <a:lnTo>
                    <a:pt x="81" y="249"/>
                  </a:lnTo>
                  <a:lnTo>
                    <a:pt x="81" y="249"/>
                  </a:lnTo>
                  <a:lnTo>
                    <a:pt x="93" y="249"/>
                  </a:lnTo>
                  <a:lnTo>
                    <a:pt x="96" y="250"/>
                  </a:lnTo>
                  <a:lnTo>
                    <a:pt x="99" y="253"/>
                  </a:lnTo>
                  <a:lnTo>
                    <a:pt x="99" y="253"/>
                  </a:lnTo>
                  <a:lnTo>
                    <a:pt x="100" y="256"/>
                  </a:lnTo>
                  <a:lnTo>
                    <a:pt x="105" y="259"/>
                  </a:lnTo>
                  <a:lnTo>
                    <a:pt x="111" y="261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25" y="256"/>
                  </a:lnTo>
                  <a:lnTo>
                    <a:pt x="136" y="250"/>
                  </a:lnTo>
                  <a:lnTo>
                    <a:pt x="145" y="246"/>
                  </a:lnTo>
                  <a:lnTo>
                    <a:pt x="148" y="246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52" y="255"/>
                  </a:lnTo>
                  <a:lnTo>
                    <a:pt x="152" y="259"/>
                  </a:lnTo>
                  <a:lnTo>
                    <a:pt x="154" y="262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8" y="269"/>
                  </a:lnTo>
                  <a:lnTo>
                    <a:pt x="161" y="274"/>
                  </a:lnTo>
                  <a:lnTo>
                    <a:pt x="162" y="280"/>
                  </a:lnTo>
                  <a:lnTo>
                    <a:pt x="162" y="287"/>
                  </a:lnTo>
                  <a:lnTo>
                    <a:pt x="162" y="287"/>
                  </a:lnTo>
                  <a:lnTo>
                    <a:pt x="158" y="296"/>
                  </a:lnTo>
                  <a:lnTo>
                    <a:pt x="152" y="305"/>
                  </a:lnTo>
                  <a:lnTo>
                    <a:pt x="151" y="309"/>
                  </a:lnTo>
                  <a:lnTo>
                    <a:pt x="149" y="314"/>
                  </a:lnTo>
                  <a:lnTo>
                    <a:pt x="149" y="317"/>
                  </a:lnTo>
                  <a:lnTo>
                    <a:pt x="152" y="318"/>
                  </a:lnTo>
                  <a:lnTo>
                    <a:pt x="152" y="318"/>
                  </a:lnTo>
                  <a:lnTo>
                    <a:pt x="155" y="320"/>
                  </a:lnTo>
                  <a:lnTo>
                    <a:pt x="160" y="321"/>
                  </a:lnTo>
                  <a:lnTo>
                    <a:pt x="168" y="320"/>
                  </a:lnTo>
                  <a:lnTo>
                    <a:pt x="176" y="318"/>
                  </a:lnTo>
                  <a:lnTo>
                    <a:pt x="180" y="318"/>
                  </a:lnTo>
                  <a:lnTo>
                    <a:pt x="183" y="318"/>
                  </a:lnTo>
                  <a:lnTo>
                    <a:pt x="183" y="318"/>
                  </a:lnTo>
                  <a:lnTo>
                    <a:pt x="185" y="321"/>
                  </a:lnTo>
                  <a:lnTo>
                    <a:pt x="188" y="324"/>
                  </a:lnTo>
                  <a:lnTo>
                    <a:pt x="191" y="332"/>
                  </a:lnTo>
                  <a:lnTo>
                    <a:pt x="194" y="338"/>
                  </a:lnTo>
                  <a:lnTo>
                    <a:pt x="197" y="343"/>
                  </a:lnTo>
                  <a:lnTo>
                    <a:pt x="197" y="343"/>
                  </a:lnTo>
                  <a:lnTo>
                    <a:pt x="200" y="345"/>
                  </a:lnTo>
                  <a:lnTo>
                    <a:pt x="204" y="346"/>
                  </a:lnTo>
                  <a:lnTo>
                    <a:pt x="207" y="348"/>
                  </a:lnTo>
                  <a:lnTo>
                    <a:pt x="208" y="351"/>
                  </a:lnTo>
                  <a:lnTo>
                    <a:pt x="208" y="351"/>
                  </a:lnTo>
                  <a:lnTo>
                    <a:pt x="205" y="363"/>
                  </a:lnTo>
                  <a:lnTo>
                    <a:pt x="205" y="372"/>
                  </a:lnTo>
                  <a:lnTo>
                    <a:pt x="205" y="379"/>
                  </a:lnTo>
                  <a:lnTo>
                    <a:pt x="205" y="379"/>
                  </a:lnTo>
                  <a:lnTo>
                    <a:pt x="208" y="386"/>
                  </a:lnTo>
                  <a:lnTo>
                    <a:pt x="210" y="389"/>
                  </a:lnTo>
                  <a:lnTo>
                    <a:pt x="216" y="394"/>
                  </a:lnTo>
                  <a:lnTo>
                    <a:pt x="216" y="394"/>
                  </a:lnTo>
                  <a:lnTo>
                    <a:pt x="217" y="400"/>
                  </a:lnTo>
                  <a:lnTo>
                    <a:pt x="219" y="409"/>
                  </a:lnTo>
                  <a:lnTo>
                    <a:pt x="219" y="416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2" y="423"/>
                  </a:lnTo>
                  <a:lnTo>
                    <a:pt x="226" y="423"/>
                  </a:lnTo>
                  <a:lnTo>
                    <a:pt x="226" y="423"/>
                  </a:lnTo>
                  <a:lnTo>
                    <a:pt x="232" y="422"/>
                  </a:lnTo>
                  <a:lnTo>
                    <a:pt x="235" y="422"/>
                  </a:lnTo>
                  <a:lnTo>
                    <a:pt x="239" y="425"/>
                  </a:lnTo>
                  <a:lnTo>
                    <a:pt x="239" y="425"/>
                  </a:lnTo>
                  <a:lnTo>
                    <a:pt x="247" y="429"/>
                  </a:lnTo>
                  <a:lnTo>
                    <a:pt x="253" y="432"/>
                  </a:lnTo>
                  <a:lnTo>
                    <a:pt x="257" y="435"/>
                  </a:lnTo>
                  <a:lnTo>
                    <a:pt x="266" y="437"/>
                  </a:lnTo>
                  <a:lnTo>
                    <a:pt x="266" y="437"/>
                  </a:lnTo>
                  <a:lnTo>
                    <a:pt x="271" y="437"/>
                  </a:lnTo>
                  <a:lnTo>
                    <a:pt x="274" y="435"/>
                  </a:lnTo>
                  <a:lnTo>
                    <a:pt x="278" y="431"/>
                  </a:lnTo>
                  <a:lnTo>
                    <a:pt x="282" y="425"/>
                  </a:lnTo>
                  <a:lnTo>
                    <a:pt x="284" y="423"/>
                  </a:lnTo>
                  <a:lnTo>
                    <a:pt x="287" y="422"/>
                  </a:lnTo>
                  <a:lnTo>
                    <a:pt x="287" y="422"/>
                  </a:lnTo>
                  <a:lnTo>
                    <a:pt x="294" y="419"/>
                  </a:lnTo>
                  <a:lnTo>
                    <a:pt x="302" y="415"/>
                  </a:lnTo>
                  <a:lnTo>
                    <a:pt x="309" y="410"/>
                  </a:lnTo>
                  <a:lnTo>
                    <a:pt x="314" y="403"/>
                  </a:lnTo>
                  <a:lnTo>
                    <a:pt x="314" y="403"/>
                  </a:lnTo>
                  <a:lnTo>
                    <a:pt x="315" y="397"/>
                  </a:lnTo>
                  <a:lnTo>
                    <a:pt x="316" y="391"/>
                  </a:lnTo>
                  <a:lnTo>
                    <a:pt x="319" y="386"/>
                  </a:lnTo>
                  <a:lnTo>
                    <a:pt x="322" y="382"/>
                  </a:lnTo>
                  <a:lnTo>
                    <a:pt x="322" y="382"/>
                  </a:lnTo>
                  <a:lnTo>
                    <a:pt x="328" y="379"/>
                  </a:lnTo>
                  <a:lnTo>
                    <a:pt x="339" y="375"/>
                  </a:lnTo>
                  <a:lnTo>
                    <a:pt x="351" y="370"/>
                  </a:lnTo>
                  <a:lnTo>
                    <a:pt x="359" y="363"/>
                  </a:lnTo>
                  <a:lnTo>
                    <a:pt x="359" y="363"/>
                  </a:lnTo>
                  <a:lnTo>
                    <a:pt x="367" y="355"/>
                  </a:lnTo>
                  <a:lnTo>
                    <a:pt x="373" y="349"/>
                  </a:lnTo>
                  <a:lnTo>
                    <a:pt x="377" y="345"/>
                  </a:lnTo>
                  <a:lnTo>
                    <a:pt x="380" y="343"/>
                  </a:lnTo>
                  <a:lnTo>
                    <a:pt x="383" y="343"/>
                  </a:lnTo>
                  <a:lnTo>
                    <a:pt x="383" y="343"/>
                  </a:lnTo>
                  <a:lnTo>
                    <a:pt x="391" y="345"/>
                  </a:lnTo>
                  <a:lnTo>
                    <a:pt x="395" y="346"/>
                  </a:lnTo>
                  <a:lnTo>
                    <a:pt x="399" y="348"/>
                  </a:lnTo>
                  <a:lnTo>
                    <a:pt x="402" y="348"/>
                  </a:lnTo>
                  <a:lnTo>
                    <a:pt x="402" y="348"/>
                  </a:lnTo>
                  <a:lnTo>
                    <a:pt x="407" y="346"/>
                  </a:lnTo>
                  <a:lnTo>
                    <a:pt x="410" y="343"/>
                  </a:lnTo>
                  <a:lnTo>
                    <a:pt x="411" y="342"/>
                  </a:lnTo>
                  <a:lnTo>
                    <a:pt x="414" y="341"/>
                  </a:lnTo>
                  <a:lnTo>
                    <a:pt x="414" y="341"/>
                  </a:lnTo>
                  <a:lnTo>
                    <a:pt x="419" y="342"/>
                  </a:lnTo>
                  <a:lnTo>
                    <a:pt x="422" y="342"/>
                  </a:lnTo>
                  <a:lnTo>
                    <a:pt x="426" y="346"/>
                  </a:lnTo>
                  <a:lnTo>
                    <a:pt x="426" y="346"/>
                  </a:lnTo>
                  <a:lnTo>
                    <a:pt x="429" y="346"/>
                  </a:lnTo>
                  <a:lnTo>
                    <a:pt x="431" y="346"/>
                  </a:lnTo>
                  <a:lnTo>
                    <a:pt x="436" y="343"/>
                  </a:lnTo>
                  <a:lnTo>
                    <a:pt x="445" y="339"/>
                  </a:lnTo>
                  <a:lnTo>
                    <a:pt x="445" y="339"/>
                  </a:lnTo>
                  <a:lnTo>
                    <a:pt x="439" y="336"/>
                  </a:lnTo>
                  <a:lnTo>
                    <a:pt x="435" y="330"/>
                  </a:lnTo>
                  <a:lnTo>
                    <a:pt x="432" y="324"/>
                  </a:lnTo>
                  <a:lnTo>
                    <a:pt x="432" y="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6" name="Freeform 65">
              <a:extLst>
                <a:ext uri="{FF2B5EF4-FFF2-40B4-BE49-F238E27FC236}">
                  <a16:creationId xmlns:a16="http://schemas.microsoft.com/office/drawing/2014/main" id="{43F1A8EE-B5DC-9346-80E5-48977D0A1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525" y="4746625"/>
              <a:ext cx="349250" cy="388937"/>
            </a:xfrm>
            <a:custGeom>
              <a:avLst/>
              <a:gdLst>
                <a:gd name="T0" fmla="*/ 206 w 220"/>
                <a:gd name="T1" fmla="*/ 192 h 245"/>
                <a:gd name="T2" fmla="*/ 200 w 220"/>
                <a:gd name="T3" fmla="*/ 182 h 245"/>
                <a:gd name="T4" fmla="*/ 193 w 220"/>
                <a:gd name="T5" fmla="*/ 170 h 245"/>
                <a:gd name="T6" fmla="*/ 189 w 220"/>
                <a:gd name="T7" fmla="*/ 154 h 245"/>
                <a:gd name="T8" fmla="*/ 186 w 220"/>
                <a:gd name="T9" fmla="*/ 139 h 245"/>
                <a:gd name="T10" fmla="*/ 187 w 220"/>
                <a:gd name="T11" fmla="*/ 117 h 245"/>
                <a:gd name="T12" fmla="*/ 184 w 220"/>
                <a:gd name="T13" fmla="*/ 99 h 245"/>
                <a:gd name="T14" fmla="*/ 174 w 220"/>
                <a:gd name="T15" fmla="*/ 91 h 245"/>
                <a:gd name="T16" fmla="*/ 168 w 220"/>
                <a:gd name="T17" fmla="*/ 88 h 245"/>
                <a:gd name="T18" fmla="*/ 160 w 220"/>
                <a:gd name="T19" fmla="*/ 71 h 245"/>
                <a:gd name="T20" fmla="*/ 153 w 220"/>
                <a:gd name="T21" fmla="*/ 60 h 245"/>
                <a:gd name="T22" fmla="*/ 156 w 220"/>
                <a:gd name="T23" fmla="*/ 47 h 245"/>
                <a:gd name="T24" fmla="*/ 156 w 220"/>
                <a:gd name="T25" fmla="*/ 38 h 245"/>
                <a:gd name="T26" fmla="*/ 146 w 220"/>
                <a:gd name="T27" fmla="*/ 29 h 245"/>
                <a:gd name="T28" fmla="*/ 135 w 220"/>
                <a:gd name="T29" fmla="*/ 22 h 245"/>
                <a:gd name="T30" fmla="*/ 131 w 220"/>
                <a:gd name="T31" fmla="*/ 11 h 245"/>
                <a:gd name="T32" fmla="*/ 119 w 220"/>
                <a:gd name="T33" fmla="*/ 20 h 245"/>
                <a:gd name="T34" fmla="*/ 107 w 220"/>
                <a:gd name="T35" fmla="*/ 17 h 245"/>
                <a:gd name="T36" fmla="*/ 103 w 220"/>
                <a:gd name="T37" fmla="*/ 11 h 245"/>
                <a:gd name="T38" fmla="*/ 88 w 220"/>
                <a:gd name="T39" fmla="*/ 8 h 245"/>
                <a:gd name="T40" fmla="*/ 73 w 220"/>
                <a:gd name="T41" fmla="*/ 14 h 245"/>
                <a:gd name="T42" fmla="*/ 61 w 220"/>
                <a:gd name="T43" fmla="*/ 10 h 245"/>
                <a:gd name="T44" fmla="*/ 46 w 220"/>
                <a:gd name="T45" fmla="*/ 0 h 245"/>
                <a:gd name="T46" fmla="*/ 29 w 220"/>
                <a:gd name="T47" fmla="*/ 14 h 245"/>
                <a:gd name="T48" fmla="*/ 9 w 220"/>
                <a:gd name="T49" fmla="*/ 34 h 245"/>
                <a:gd name="T50" fmla="*/ 0 w 220"/>
                <a:gd name="T51" fmla="*/ 53 h 245"/>
                <a:gd name="T52" fmla="*/ 11 w 220"/>
                <a:gd name="T53" fmla="*/ 81 h 245"/>
                <a:gd name="T54" fmla="*/ 17 w 220"/>
                <a:gd name="T55" fmla="*/ 102 h 245"/>
                <a:gd name="T56" fmla="*/ 32 w 220"/>
                <a:gd name="T57" fmla="*/ 112 h 245"/>
                <a:gd name="T58" fmla="*/ 39 w 220"/>
                <a:gd name="T59" fmla="*/ 136 h 245"/>
                <a:gd name="T60" fmla="*/ 49 w 220"/>
                <a:gd name="T61" fmla="*/ 151 h 245"/>
                <a:gd name="T62" fmla="*/ 63 w 220"/>
                <a:gd name="T63" fmla="*/ 161 h 245"/>
                <a:gd name="T64" fmla="*/ 72 w 220"/>
                <a:gd name="T65" fmla="*/ 177 h 245"/>
                <a:gd name="T66" fmla="*/ 80 w 220"/>
                <a:gd name="T67" fmla="*/ 197 h 245"/>
                <a:gd name="T68" fmla="*/ 100 w 220"/>
                <a:gd name="T69" fmla="*/ 205 h 245"/>
                <a:gd name="T70" fmla="*/ 119 w 220"/>
                <a:gd name="T71" fmla="*/ 216 h 245"/>
                <a:gd name="T72" fmla="*/ 137 w 220"/>
                <a:gd name="T73" fmla="*/ 220 h 245"/>
                <a:gd name="T74" fmla="*/ 154 w 220"/>
                <a:gd name="T75" fmla="*/ 235 h 245"/>
                <a:gd name="T76" fmla="*/ 162 w 220"/>
                <a:gd name="T77" fmla="*/ 238 h 245"/>
                <a:gd name="T78" fmla="*/ 190 w 220"/>
                <a:gd name="T79" fmla="*/ 245 h 245"/>
                <a:gd name="T80" fmla="*/ 206 w 220"/>
                <a:gd name="T81" fmla="*/ 241 h 245"/>
                <a:gd name="T82" fmla="*/ 220 w 220"/>
                <a:gd name="T83" fmla="*/ 234 h 245"/>
                <a:gd name="T84" fmla="*/ 214 w 220"/>
                <a:gd name="T85" fmla="*/ 217 h 245"/>
                <a:gd name="T86" fmla="*/ 208 w 220"/>
                <a:gd name="T87" fmla="*/ 210 h 245"/>
                <a:gd name="T88" fmla="*/ 208 w 220"/>
                <a:gd name="T89" fmla="*/ 19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0" h="245">
                  <a:moveTo>
                    <a:pt x="208" y="194"/>
                  </a:moveTo>
                  <a:lnTo>
                    <a:pt x="208" y="194"/>
                  </a:lnTo>
                  <a:lnTo>
                    <a:pt x="206" y="192"/>
                  </a:lnTo>
                  <a:lnTo>
                    <a:pt x="203" y="189"/>
                  </a:lnTo>
                  <a:lnTo>
                    <a:pt x="203" y="189"/>
                  </a:lnTo>
                  <a:lnTo>
                    <a:pt x="200" y="182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3" y="170"/>
                  </a:lnTo>
                  <a:lnTo>
                    <a:pt x="190" y="165"/>
                  </a:lnTo>
                  <a:lnTo>
                    <a:pt x="190" y="160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43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7" y="125"/>
                  </a:lnTo>
                  <a:lnTo>
                    <a:pt x="187" y="117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4" y="99"/>
                  </a:lnTo>
                  <a:lnTo>
                    <a:pt x="181" y="94"/>
                  </a:lnTo>
                  <a:lnTo>
                    <a:pt x="178" y="93"/>
                  </a:lnTo>
                  <a:lnTo>
                    <a:pt x="174" y="91"/>
                  </a:lnTo>
                  <a:lnTo>
                    <a:pt x="174" y="91"/>
                  </a:lnTo>
                  <a:lnTo>
                    <a:pt x="169" y="91"/>
                  </a:lnTo>
                  <a:lnTo>
                    <a:pt x="168" y="88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0" y="71"/>
                  </a:lnTo>
                  <a:lnTo>
                    <a:pt x="156" y="66"/>
                  </a:lnTo>
                  <a:lnTo>
                    <a:pt x="153" y="63"/>
                  </a:lnTo>
                  <a:lnTo>
                    <a:pt x="153" y="60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6" y="47"/>
                  </a:lnTo>
                  <a:lnTo>
                    <a:pt x="157" y="43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4" y="34"/>
                  </a:lnTo>
                  <a:lnTo>
                    <a:pt x="150" y="31"/>
                  </a:lnTo>
                  <a:lnTo>
                    <a:pt x="146" y="29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35" y="22"/>
                  </a:lnTo>
                  <a:lnTo>
                    <a:pt x="132" y="17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3" y="19"/>
                  </a:lnTo>
                  <a:lnTo>
                    <a:pt x="120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2" y="19"/>
                  </a:lnTo>
                  <a:lnTo>
                    <a:pt x="107" y="17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3" y="11"/>
                  </a:lnTo>
                  <a:lnTo>
                    <a:pt x="9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3" y="10"/>
                  </a:lnTo>
                  <a:lnTo>
                    <a:pt x="77" y="13"/>
                  </a:lnTo>
                  <a:lnTo>
                    <a:pt x="73" y="14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1" y="10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8" y="7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0" y="22"/>
                  </a:lnTo>
                  <a:lnTo>
                    <a:pt x="9" y="34"/>
                  </a:lnTo>
                  <a:lnTo>
                    <a:pt x="5" y="40"/>
                  </a:lnTo>
                  <a:lnTo>
                    <a:pt x="2" y="46"/>
                  </a:lnTo>
                  <a:lnTo>
                    <a:pt x="0" y="53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11" y="81"/>
                  </a:lnTo>
                  <a:lnTo>
                    <a:pt x="15" y="91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21" y="103"/>
                  </a:lnTo>
                  <a:lnTo>
                    <a:pt x="27" y="106"/>
                  </a:lnTo>
                  <a:lnTo>
                    <a:pt x="32" y="112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9" y="136"/>
                  </a:lnTo>
                  <a:lnTo>
                    <a:pt x="43" y="143"/>
                  </a:lnTo>
                  <a:lnTo>
                    <a:pt x="46" y="148"/>
                  </a:lnTo>
                  <a:lnTo>
                    <a:pt x="49" y="151"/>
                  </a:lnTo>
                  <a:lnTo>
                    <a:pt x="49" y="151"/>
                  </a:lnTo>
                  <a:lnTo>
                    <a:pt x="57" y="155"/>
                  </a:lnTo>
                  <a:lnTo>
                    <a:pt x="63" y="161"/>
                  </a:lnTo>
                  <a:lnTo>
                    <a:pt x="69" y="168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5" y="186"/>
                  </a:lnTo>
                  <a:lnTo>
                    <a:pt x="77" y="192"/>
                  </a:lnTo>
                  <a:lnTo>
                    <a:pt x="80" y="197"/>
                  </a:lnTo>
                  <a:lnTo>
                    <a:pt x="86" y="200"/>
                  </a:lnTo>
                  <a:lnTo>
                    <a:pt x="86" y="200"/>
                  </a:lnTo>
                  <a:lnTo>
                    <a:pt x="100" y="205"/>
                  </a:lnTo>
                  <a:lnTo>
                    <a:pt x="113" y="213"/>
                  </a:lnTo>
                  <a:lnTo>
                    <a:pt x="113" y="213"/>
                  </a:lnTo>
                  <a:lnTo>
                    <a:pt x="119" y="216"/>
                  </a:lnTo>
                  <a:lnTo>
                    <a:pt x="126" y="217"/>
                  </a:lnTo>
                  <a:lnTo>
                    <a:pt x="132" y="219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46" y="226"/>
                  </a:lnTo>
                  <a:lnTo>
                    <a:pt x="154" y="235"/>
                  </a:lnTo>
                  <a:lnTo>
                    <a:pt x="154" y="235"/>
                  </a:lnTo>
                  <a:lnTo>
                    <a:pt x="157" y="237"/>
                  </a:lnTo>
                  <a:lnTo>
                    <a:pt x="162" y="238"/>
                  </a:lnTo>
                  <a:lnTo>
                    <a:pt x="174" y="241"/>
                  </a:lnTo>
                  <a:lnTo>
                    <a:pt x="174" y="241"/>
                  </a:lnTo>
                  <a:lnTo>
                    <a:pt x="190" y="245"/>
                  </a:lnTo>
                  <a:lnTo>
                    <a:pt x="190" y="245"/>
                  </a:lnTo>
                  <a:lnTo>
                    <a:pt x="197" y="244"/>
                  </a:lnTo>
                  <a:lnTo>
                    <a:pt x="206" y="241"/>
                  </a:lnTo>
                  <a:lnTo>
                    <a:pt x="215" y="237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1"/>
                  </a:lnTo>
                  <a:lnTo>
                    <a:pt x="217" y="225"/>
                  </a:lnTo>
                  <a:lnTo>
                    <a:pt x="214" y="217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8" y="210"/>
                  </a:lnTo>
                  <a:lnTo>
                    <a:pt x="206" y="207"/>
                  </a:lnTo>
                  <a:lnTo>
                    <a:pt x="206" y="201"/>
                  </a:lnTo>
                  <a:lnTo>
                    <a:pt x="208" y="194"/>
                  </a:lnTo>
                  <a:lnTo>
                    <a:pt x="20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7" name="Freeform 66">
              <a:extLst>
                <a:ext uri="{FF2B5EF4-FFF2-40B4-BE49-F238E27FC236}">
                  <a16:creationId xmlns:a16="http://schemas.microsoft.com/office/drawing/2014/main" id="{70344CBE-4461-7A42-AB28-CCD50D13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3313" y="6237288"/>
              <a:ext cx="622300" cy="544512"/>
            </a:xfrm>
            <a:custGeom>
              <a:avLst/>
              <a:gdLst>
                <a:gd name="T0" fmla="*/ 340 w 392"/>
                <a:gd name="T1" fmla="*/ 226 h 343"/>
                <a:gd name="T2" fmla="*/ 333 w 392"/>
                <a:gd name="T3" fmla="*/ 202 h 343"/>
                <a:gd name="T4" fmla="*/ 279 w 392"/>
                <a:gd name="T5" fmla="*/ 170 h 343"/>
                <a:gd name="T6" fmla="*/ 274 w 392"/>
                <a:gd name="T7" fmla="*/ 154 h 343"/>
                <a:gd name="T8" fmla="*/ 274 w 392"/>
                <a:gd name="T9" fmla="*/ 136 h 343"/>
                <a:gd name="T10" fmla="*/ 260 w 392"/>
                <a:gd name="T11" fmla="*/ 125 h 343"/>
                <a:gd name="T12" fmla="*/ 253 w 392"/>
                <a:gd name="T13" fmla="*/ 114 h 343"/>
                <a:gd name="T14" fmla="*/ 259 w 392"/>
                <a:gd name="T15" fmla="*/ 88 h 343"/>
                <a:gd name="T16" fmla="*/ 268 w 392"/>
                <a:gd name="T17" fmla="*/ 62 h 343"/>
                <a:gd name="T18" fmla="*/ 263 w 392"/>
                <a:gd name="T19" fmla="*/ 47 h 343"/>
                <a:gd name="T20" fmla="*/ 248 w 392"/>
                <a:gd name="T21" fmla="*/ 43 h 343"/>
                <a:gd name="T22" fmla="*/ 237 w 392"/>
                <a:gd name="T23" fmla="*/ 53 h 343"/>
                <a:gd name="T24" fmla="*/ 225 w 392"/>
                <a:gd name="T25" fmla="*/ 53 h 343"/>
                <a:gd name="T26" fmla="*/ 213 w 392"/>
                <a:gd name="T27" fmla="*/ 60 h 343"/>
                <a:gd name="T28" fmla="*/ 191 w 392"/>
                <a:gd name="T29" fmla="*/ 54 h 343"/>
                <a:gd name="T30" fmla="*/ 183 w 392"/>
                <a:gd name="T31" fmla="*/ 45 h 343"/>
                <a:gd name="T32" fmla="*/ 183 w 392"/>
                <a:gd name="T33" fmla="*/ 29 h 343"/>
                <a:gd name="T34" fmla="*/ 170 w 392"/>
                <a:gd name="T35" fmla="*/ 32 h 343"/>
                <a:gd name="T36" fmla="*/ 164 w 392"/>
                <a:gd name="T37" fmla="*/ 16 h 343"/>
                <a:gd name="T38" fmla="*/ 158 w 392"/>
                <a:gd name="T39" fmla="*/ 8 h 343"/>
                <a:gd name="T40" fmla="*/ 136 w 392"/>
                <a:gd name="T41" fmla="*/ 10 h 343"/>
                <a:gd name="T42" fmla="*/ 127 w 392"/>
                <a:gd name="T43" fmla="*/ 0 h 343"/>
                <a:gd name="T44" fmla="*/ 114 w 392"/>
                <a:gd name="T45" fmla="*/ 5 h 343"/>
                <a:gd name="T46" fmla="*/ 102 w 392"/>
                <a:gd name="T47" fmla="*/ 19 h 343"/>
                <a:gd name="T48" fmla="*/ 86 w 392"/>
                <a:gd name="T49" fmla="*/ 20 h 343"/>
                <a:gd name="T50" fmla="*/ 81 w 392"/>
                <a:gd name="T51" fmla="*/ 34 h 343"/>
                <a:gd name="T52" fmla="*/ 81 w 392"/>
                <a:gd name="T53" fmla="*/ 65 h 343"/>
                <a:gd name="T54" fmla="*/ 87 w 392"/>
                <a:gd name="T55" fmla="*/ 77 h 343"/>
                <a:gd name="T56" fmla="*/ 80 w 392"/>
                <a:gd name="T57" fmla="*/ 97 h 343"/>
                <a:gd name="T58" fmla="*/ 69 w 392"/>
                <a:gd name="T59" fmla="*/ 108 h 343"/>
                <a:gd name="T60" fmla="*/ 53 w 392"/>
                <a:gd name="T61" fmla="*/ 100 h 343"/>
                <a:gd name="T62" fmla="*/ 38 w 392"/>
                <a:gd name="T63" fmla="*/ 105 h 343"/>
                <a:gd name="T64" fmla="*/ 32 w 392"/>
                <a:gd name="T65" fmla="*/ 134 h 343"/>
                <a:gd name="T66" fmla="*/ 20 w 392"/>
                <a:gd name="T67" fmla="*/ 137 h 343"/>
                <a:gd name="T68" fmla="*/ 10 w 392"/>
                <a:gd name="T69" fmla="*/ 133 h 343"/>
                <a:gd name="T70" fmla="*/ 1 w 392"/>
                <a:gd name="T71" fmla="*/ 148 h 343"/>
                <a:gd name="T72" fmla="*/ 1 w 392"/>
                <a:gd name="T73" fmla="*/ 170 h 343"/>
                <a:gd name="T74" fmla="*/ 14 w 392"/>
                <a:gd name="T75" fmla="*/ 170 h 343"/>
                <a:gd name="T76" fmla="*/ 20 w 392"/>
                <a:gd name="T77" fmla="*/ 183 h 343"/>
                <a:gd name="T78" fmla="*/ 32 w 392"/>
                <a:gd name="T79" fmla="*/ 191 h 343"/>
                <a:gd name="T80" fmla="*/ 48 w 392"/>
                <a:gd name="T81" fmla="*/ 195 h 343"/>
                <a:gd name="T82" fmla="*/ 37 w 392"/>
                <a:gd name="T83" fmla="*/ 234 h 343"/>
                <a:gd name="T84" fmla="*/ 31 w 392"/>
                <a:gd name="T85" fmla="*/ 269 h 343"/>
                <a:gd name="T86" fmla="*/ 53 w 392"/>
                <a:gd name="T87" fmla="*/ 284 h 343"/>
                <a:gd name="T88" fmla="*/ 88 w 392"/>
                <a:gd name="T89" fmla="*/ 285 h 343"/>
                <a:gd name="T90" fmla="*/ 120 w 392"/>
                <a:gd name="T91" fmla="*/ 297 h 343"/>
                <a:gd name="T92" fmla="*/ 133 w 392"/>
                <a:gd name="T93" fmla="*/ 312 h 343"/>
                <a:gd name="T94" fmla="*/ 143 w 392"/>
                <a:gd name="T95" fmla="*/ 311 h 343"/>
                <a:gd name="T96" fmla="*/ 168 w 392"/>
                <a:gd name="T97" fmla="*/ 294 h 343"/>
                <a:gd name="T98" fmla="*/ 185 w 392"/>
                <a:gd name="T99" fmla="*/ 306 h 343"/>
                <a:gd name="T100" fmla="*/ 207 w 392"/>
                <a:gd name="T101" fmla="*/ 321 h 343"/>
                <a:gd name="T102" fmla="*/ 268 w 392"/>
                <a:gd name="T103" fmla="*/ 330 h 343"/>
                <a:gd name="T104" fmla="*/ 327 w 392"/>
                <a:gd name="T105" fmla="*/ 342 h 343"/>
                <a:gd name="T106" fmla="*/ 361 w 392"/>
                <a:gd name="T107" fmla="*/ 337 h 343"/>
                <a:gd name="T108" fmla="*/ 392 w 392"/>
                <a:gd name="T109" fmla="*/ 337 h 343"/>
                <a:gd name="T110" fmla="*/ 388 w 392"/>
                <a:gd name="T111" fmla="*/ 324 h 343"/>
                <a:gd name="T112" fmla="*/ 385 w 392"/>
                <a:gd name="T113" fmla="*/ 314 h 343"/>
                <a:gd name="T114" fmla="*/ 376 w 392"/>
                <a:gd name="T115" fmla="*/ 302 h 343"/>
                <a:gd name="T116" fmla="*/ 374 w 392"/>
                <a:gd name="T117" fmla="*/ 275 h 343"/>
                <a:gd name="T118" fmla="*/ 374 w 392"/>
                <a:gd name="T119" fmla="*/ 263 h 343"/>
                <a:gd name="T120" fmla="*/ 362 w 392"/>
                <a:gd name="T121" fmla="*/ 265 h 343"/>
                <a:gd name="T122" fmla="*/ 358 w 392"/>
                <a:gd name="T123" fmla="*/ 265 h 343"/>
                <a:gd name="T124" fmla="*/ 349 w 392"/>
                <a:gd name="T125" fmla="*/ 25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2" h="343">
                  <a:moveTo>
                    <a:pt x="342" y="234"/>
                  </a:moveTo>
                  <a:lnTo>
                    <a:pt x="342" y="234"/>
                  </a:lnTo>
                  <a:lnTo>
                    <a:pt x="340" y="226"/>
                  </a:lnTo>
                  <a:lnTo>
                    <a:pt x="340" y="226"/>
                  </a:lnTo>
                  <a:lnTo>
                    <a:pt x="337" y="211"/>
                  </a:lnTo>
                  <a:lnTo>
                    <a:pt x="336" y="205"/>
                  </a:lnTo>
                  <a:lnTo>
                    <a:pt x="333" y="202"/>
                  </a:lnTo>
                  <a:lnTo>
                    <a:pt x="333" y="202"/>
                  </a:lnTo>
                  <a:lnTo>
                    <a:pt x="311" y="189"/>
                  </a:lnTo>
                  <a:lnTo>
                    <a:pt x="293" y="17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4" y="162"/>
                  </a:lnTo>
                  <a:lnTo>
                    <a:pt x="272" y="160"/>
                  </a:lnTo>
                  <a:lnTo>
                    <a:pt x="272" y="158"/>
                  </a:lnTo>
                  <a:lnTo>
                    <a:pt x="274" y="154"/>
                  </a:lnTo>
                  <a:lnTo>
                    <a:pt x="275" y="148"/>
                  </a:lnTo>
                  <a:lnTo>
                    <a:pt x="275" y="148"/>
                  </a:lnTo>
                  <a:lnTo>
                    <a:pt x="275" y="140"/>
                  </a:lnTo>
                  <a:lnTo>
                    <a:pt x="274" y="136"/>
                  </a:lnTo>
                  <a:lnTo>
                    <a:pt x="272" y="131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0" y="125"/>
                  </a:lnTo>
                  <a:lnTo>
                    <a:pt x="256" y="122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3" y="114"/>
                  </a:lnTo>
                  <a:lnTo>
                    <a:pt x="253" y="106"/>
                  </a:lnTo>
                  <a:lnTo>
                    <a:pt x="254" y="97"/>
                  </a:lnTo>
                  <a:lnTo>
                    <a:pt x="259" y="88"/>
                  </a:lnTo>
                  <a:lnTo>
                    <a:pt x="259" y="88"/>
                  </a:lnTo>
                  <a:lnTo>
                    <a:pt x="265" y="75"/>
                  </a:lnTo>
                  <a:lnTo>
                    <a:pt x="266" y="69"/>
                  </a:lnTo>
                  <a:lnTo>
                    <a:pt x="268" y="62"/>
                  </a:lnTo>
                  <a:lnTo>
                    <a:pt x="268" y="62"/>
                  </a:lnTo>
                  <a:lnTo>
                    <a:pt x="268" y="57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3" y="47"/>
                  </a:lnTo>
                  <a:lnTo>
                    <a:pt x="259" y="44"/>
                  </a:lnTo>
                  <a:lnTo>
                    <a:pt x="253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4" y="44"/>
                  </a:lnTo>
                  <a:lnTo>
                    <a:pt x="241" y="47"/>
                  </a:lnTo>
                  <a:lnTo>
                    <a:pt x="240" y="50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4" y="54"/>
                  </a:lnTo>
                  <a:lnTo>
                    <a:pt x="229" y="53"/>
                  </a:lnTo>
                  <a:lnTo>
                    <a:pt x="225" y="53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16" y="59"/>
                  </a:lnTo>
                  <a:lnTo>
                    <a:pt x="213" y="60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197" y="56"/>
                  </a:lnTo>
                  <a:lnTo>
                    <a:pt x="191" y="54"/>
                  </a:lnTo>
                  <a:lnTo>
                    <a:pt x="186" y="51"/>
                  </a:lnTo>
                  <a:lnTo>
                    <a:pt x="186" y="51"/>
                  </a:lnTo>
                  <a:lnTo>
                    <a:pt x="183" y="48"/>
                  </a:lnTo>
                  <a:lnTo>
                    <a:pt x="183" y="45"/>
                  </a:lnTo>
                  <a:lnTo>
                    <a:pt x="183" y="41"/>
                  </a:lnTo>
                  <a:lnTo>
                    <a:pt x="183" y="35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2" y="26"/>
                  </a:lnTo>
                  <a:lnTo>
                    <a:pt x="179" y="28"/>
                  </a:lnTo>
                  <a:lnTo>
                    <a:pt x="170" y="32"/>
                  </a:lnTo>
                  <a:lnTo>
                    <a:pt x="170" y="32"/>
                  </a:lnTo>
                  <a:lnTo>
                    <a:pt x="168" y="32"/>
                  </a:lnTo>
                  <a:lnTo>
                    <a:pt x="167" y="32"/>
                  </a:lnTo>
                  <a:lnTo>
                    <a:pt x="165" y="28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3" y="11"/>
                  </a:lnTo>
                  <a:lnTo>
                    <a:pt x="161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45" y="8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1" y="4"/>
                  </a:lnTo>
                  <a:lnTo>
                    <a:pt x="128" y="1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0" y="1"/>
                  </a:lnTo>
                  <a:lnTo>
                    <a:pt x="114" y="5"/>
                  </a:lnTo>
                  <a:lnTo>
                    <a:pt x="108" y="11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9"/>
                  </a:lnTo>
                  <a:lnTo>
                    <a:pt x="100" y="20"/>
                  </a:lnTo>
                  <a:lnTo>
                    <a:pt x="94" y="20"/>
                  </a:lnTo>
                  <a:lnTo>
                    <a:pt x="90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4" y="23"/>
                  </a:lnTo>
                  <a:lnTo>
                    <a:pt x="83" y="28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65"/>
                  </a:lnTo>
                  <a:lnTo>
                    <a:pt x="83" y="69"/>
                  </a:lnTo>
                  <a:lnTo>
                    <a:pt x="86" y="74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81"/>
                  </a:lnTo>
                  <a:lnTo>
                    <a:pt x="87" y="87"/>
                  </a:lnTo>
                  <a:lnTo>
                    <a:pt x="84" y="93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5" y="102"/>
                  </a:lnTo>
                  <a:lnTo>
                    <a:pt x="71" y="106"/>
                  </a:lnTo>
                  <a:lnTo>
                    <a:pt x="69" y="108"/>
                  </a:lnTo>
                  <a:lnTo>
                    <a:pt x="68" y="108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3" y="100"/>
                  </a:lnTo>
                  <a:lnTo>
                    <a:pt x="46" y="99"/>
                  </a:lnTo>
                  <a:lnTo>
                    <a:pt x="41" y="100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14"/>
                  </a:lnTo>
                  <a:lnTo>
                    <a:pt x="37" y="124"/>
                  </a:lnTo>
                  <a:lnTo>
                    <a:pt x="32" y="134"/>
                  </a:lnTo>
                  <a:lnTo>
                    <a:pt x="29" y="137"/>
                  </a:lnTo>
                  <a:lnTo>
                    <a:pt x="26" y="139"/>
                  </a:lnTo>
                  <a:lnTo>
                    <a:pt x="26" y="139"/>
                  </a:lnTo>
                  <a:lnTo>
                    <a:pt x="20" y="137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1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7" y="136"/>
                  </a:lnTo>
                  <a:lnTo>
                    <a:pt x="3" y="140"/>
                  </a:lnTo>
                  <a:lnTo>
                    <a:pt x="1" y="148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67"/>
                  </a:lnTo>
                  <a:lnTo>
                    <a:pt x="1" y="170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13" y="170"/>
                  </a:lnTo>
                  <a:lnTo>
                    <a:pt x="14" y="170"/>
                  </a:lnTo>
                  <a:lnTo>
                    <a:pt x="16" y="171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20" y="183"/>
                  </a:lnTo>
                  <a:lnTo>
                    <a:pt x="22" y="188"/>
                  </a:lnTo>
                  <a:lnTo>
                    <a:pt x="26" y="189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43" y="191"/>
                  </a:lnTo>
                  <a:lnTo>
                    <a:pt x="46" y="192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44" y="213"/>
                  </a:lnTo>
                  <a:lnTo>
                    <a:pt x="37" y="234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31" y="269"/>
                  </a:lnTo>
                  <a:lnTo>
                    <a:pt x="31" y="269"/>
                  </a:lnTo>
                  <a:lnTo>
                    <a:pt x="38" y="277"/>
                  </a:lnTo>
                  <a:lnTo>
                    <a:pt x="44" y="279"/>
                  </a:lnTo>
                  <a:lnTo>
                    <a:pt x="53" y="284"/>
                  </a:lnTo>
                  <a:lnTo>
                    <a:pt x="53" y="284"/>
                  </a:lnTo>
                  <a:lnTo>
                    <a:pt x="63" y="287"/>
                  </a:lnTo>
                  <a:lnTo>
                    <a:pt x="72" y="287"/>
                  </a:lnTo>
                  <a:lnTo>
                    <a:pt x="88" y="285"/>
                  </a:lnTo>
                  <a:lnTo>
                    <a:pt x="88" y="285"/>
                  </a:lnTo>
                  <a:lnTo>
                    <a:pt x="96" y="285"/>
                  </a:lnTo>
                  <a:lnTo>
                    <a:pt x="105" y="288"/>
                  </a:lnTo>
                  <a:lnTo>
                    <a:pt x="114" y="291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4" y="303"/>
                  </a:lnTo>
                  <a:lnTo>
                    <a:pt x="130" y="311"/>
                  </a:lnTo>
                  <a:lnTo>
                    <a:pt x="133" y="312"/>
                  </a:lnTo>
                  <a:lnTo>
                    <a:pt x="137" y="314"/>
                  </a:lnTo>
                  <a:lnTo>
                    <a:pt x="140" y="314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51" y="305"/>
                  </a:lnTo>
                  <a:lnTo>
                    <a:pt x="160" y="297"/>
                  </a:lnTo>
                  <a:lnTo>
                    <a:pt x="164" y="296"/>
                  </a:lnTo>
                  <a:lnTo>
                    <a:pt x="168" y="294"/>
                  </a:lnTo>
                  <a:lnTo>
                    <a:pt x="173" y="296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85" y="306"/>
                  </a:lnTo>
                  <a:lnTo>
                    <a:pt x="191" y="314"/>
                  </a:lnTo>
                  <a:lnTo>
                    <a:pt x="195" y="317"/>
                  </a:lnTo>
                  <a:lnTo>
                    <a:pt x="200" y="318"/>
                  </a:lnTo>
                  <a:lnTo>
                    <a:pt x="207" y="321"/>
                  </a:lnTo>
                  <a:lnTo>
                    <a:pt x="216" y="321"/>
                  </a:lnTo>
                  <a:lnTo>
                    <a:pt x="216" y="321"/>
                  </a:lnTo>
                  <a:lnTo>
                    <a:pt x="245" y="325"/>
                  </a:lnTo>
                  <a:lnTo>
                    <a:pt x="268" y="330"/>
                  </a:lnTo>
                  <a:lnTo>
                    <a:pt x="268" y="330"/>
                  </a:lnTo>
                  <a:lnTo>
                    <a:pt x="296" y="336"/>
                  </a:lnTo>
                  <a:lnTo>
                    <a:pt x="327" y="342"/>
                  </a:lnTo>
                  <a:lnTo>
                    <a:pt x="327" y="342"/>
                  </a:lnTo>
                  <a:lnTo>
                    <a:pt x="336" y="343"/>
                  </a:lnTo>
                  <a:lnTo>
                    <a:pt x="343" y="342"/>
                  </a:lnTo>
                  <a:lnTo>
                    <a:pt x="349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80" y="337"/>
                  </a:lnTo>
                  <a:lnTo>
                    <a:pt x="386" y="336"/>
                  </a:lnTo>
                  <a:lnTo>
                    <a:pt x="392" y="337"/>
                  </a:lnTo>
                  <a:lnTo>
                    <a:pt x="392" y="337"/>
                  </a:lnTo>
                  <a:lnTo>
                    <a:pt x="391" y="333"/>
                  </a:lnTo>
                  <a:lnTo>
                    <a:pt x="389" y="328"/>
                  </a:lnTo>
                  <a:lnTo>
                    <a:pt x="388" y="324"/>
                  </a:lnTo>
                  <a:lnTo>
                    <a:pt x="388" y="324"/>
                  </a:lnTo>
                  <a:lnTo>
                    <a:pt x="388" y="319"/>
                  </a:lnTo>
                  <a:lnTo>
                    <a:pt x="386" y="317"/>
                  </a:lnTo>
                  <a:lnTo>
                    <a:pt x="385" y="314"/>
                  </a:lnTo>
                  <a:lnTo>
                    <a:pt x="380" y="311"/>
                  </a:lnTo>
                  <a:lnTo>
                    <a:pt x="380" y="311"/>
                  </a:lnTo>
                  <a:lnTo>
                    <a:pt x="377" y="308"/>
                  </a:lnTo>
                  <a:lnTo>
                    <a:pt x="376" y="302"/>
                  </a:lnTo>
                  <a:lnTo>
                    <a:pt x="373" y="287"/>
                  </a:lnTo>
                  <a:lnTo>
                    <a:pt x="373" y="287"/>
                  </a:lnTo>
                  <a:lnTo>
                    <a:pt x="373" y="281"/>
                  </a:lnTo>
                  <a:lnTo>
                    <a:pt x="374" y="275"/>
                  </a:lnTo>
                  <a:lnTo>
                    <a:pt x="376" y="271"/>
                  </a:lnTo>
                  <a:lnTo>
                    <a:pt x="376" y="266"/>
                  </a:lnTo>
                  <a:lnTo>
                    <a:pt x="376" y="266"/>
                  </a:lnTo>
                  <a:lnTo>
                    <a:pt x="374" y="263"/>
                  </a:lnTo>
                  <a:lnTo>
                    <a:pt x="373" y="263"/>
                  </a:lnTo>
                  <a:lnTo>
                    <a:pt x="367" y="265"/>
                  </a:lnTo>
                  <a:lnTo>
                    <a:pt x="367" y="265"/>
                  </a:lnTo>
                  <a:lnTo>
                    <a:pt x="362" y="265"/>
                  </a:lnTo>
                  <a:lnTo>
                    <a:pt x="361" y="266"/>
                  </a:lnTo>
                  <a:lnTo>
                    <a:pt x="359" y="266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0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2" y="2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8" name="Freeform 67">
              <a:extLst>
                <a:ext uri="{FF2B5EF4-FFF2-40B4-BE49-F238E27FC236}">
                  <a16:creationId xmlns:a16="http://schemas.microsoft.com/office/drawing/2014/main" id="{3FAB04D2-589D-CD4F-AB0F-D45A5F44F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3313" y="6237288"/>
              <a:ext cx="622300" cy="544512"/>
            </a:xfrm>
            <a:custGeom>
              <a:avLst/>
              <a:gdLst>
                <a:gd name="T0" fmla="*/ 340 w 392"/>
                <a:gd name="T1" fmla="*/ 226 h 343"/>
                <a:gd name="T2" fmla="*/ 333 w 392"/>
                <a:gd name="T3" fmla="*/ 202 h 343"/>
                <a:gd name="T4" fmla="*/ 279 w 392"/>
                <a:gd name="T5" fmla="*/ 170 h 343"/>
                <a:gd name="T6" fmla="*/ 274 w 392"/>
                <a:gd name="T7" fmla="*/ 154 h 343"/>
                <a:gd name="T8" fmla="*/ 274 w 392"/>
                <a:gd name="T9" fmla="*/ 136 h 343"/>
                <a:gd name="T10" fmla="*/ 260 w 392"/>
                <a:gd name="T11" fmla="*/ 125 h 343"/>
                <a:gd name="T12" fmla="*/ 253 w 392"/>
                <a:gd name="T13" fmla="*/ 114 h 343"/>
                <a:gd name="T14" fmla="*/ 259 w 392"/>
                <a:gd name="T15" fmla="*/ 88 h 343"/>
                <a:gd name="T16" fmla="*/ 268 w 392"/>
                <a:gd name="T17" fmla="*/ 62 h 343"/>
                <a:gd name="T18" fmla="*/ 263 w 392"/>
                <a:gd name="T19" fmla="*/ 47 h 343"/>
                <a:gd name="T20" fmla="*/ 248 w 392"/>
                <a:gd name="T21" fmla="*/ 43 h 343"/>
                <a:gd name="T22" fmla="*/ 237 w 392"/>
                <a:gd name="T23" fmla="*/ 53 h 343"/>
                <a:gd name="T24" fmla="*/ 225 w 392"/>
                <a:gd name="T25" fmla="*/ 53 h 343"/>
                <a:gd name="T26" fmla="*/ 213 w 392"/>
                <a:gd name="T27" fmla="*/ 60 h 343"/>
                <a:gd name="T28" fmla="*/ 191 w 392"/>
                <a:gd name="T29" fmla="*/ 54 h 343"/>
                <a:gd name="T30" fmla="*/ 183 w 392"/>
                <a:gd name="T31" fmla="*/ 45 h 343"/>
                <a:gd name="T32" fmla="*/ 183 w 392"/>
                <a:gd name="T33" fmla="*/ 29 h 343"/>
                <a:gd name="T34" fmla="*/ 170 w 392"/>
                <a:gd name="T35" fmla="*/ 32 h 343"/>
                <a:gd name="T36" fmla="*/ 164 w 392"/>
                <a:gd name="T37" fmla="*/ 16 h 343"/>
                <a:gd name="T38" fmla="*/ 158 w 392"/>
                <a:gd name="T39" fmla="*/ 8 h 343"/>
                <a:gd name="T40" fmla="*/ 136 w 392"/>
                <a:gd name="T41" fmla="*/ 10 h 343"/>
                <a:gd name="T42" fmla="*/ 127 w 392"/>
                <a:gd name="T43" fmla="*/ 0 h 343"/>
                <a:gd name="T44" fmla="*/ 114 w 392"/>
                <a:gd name="T45" fmla="*/ 5 h 343"/>
                <a:gd name="T46" fmla="*/ 102 w 392"/>
                <a:gd name="T47" fmla="*/ 19 h 343"/>
                <a:gd name="T48" fmla="*/ 86 w 392"/>
                <a:gd name="T49" fmla="*/ 20 h 343"/>
                <a:gd name="T50" fmla="*/ 81 w 392"/>
                <a:gd name="T51" fmla="*/ 34 h 343"/>
                <a:gd name="T52" fmla="*/ 81 w 392"/>
                <a:gd name="T53" fmla="*/ 65 h 343"/>
                <a:gd name="T54" fmla="*/ 87 w 392"/>
                <a:gd name="T55" fmla="*/ 77 h 343"/>
                <a:gd name="T56" fmla="*/ 80 w 392"/>
                <a:gd name="T57" fmla="*/ 97 h 343"/>
                <a:gd name="T58" fmla="*/ 69 w 392"/>
                <a:gd name="T59" fmla="*/ 108 h 343"/>
                <a:gd name="T60" fmla="*/ 53 w 392"/>
                <a:gd name="T61" fmla="*/ 100 h 343"/>
                <a:gd name="T62" fmla="*/ 38 w 392"/>
                <a:gd name="T63" fmla="*/ 105 h 343"/>
                <a:gd name="T64" fmla="*/ 32 w 392"/>
                <a:gd name="T65" fmla="*/ 134 h 343"/>
                <a:gd name="T66" fmla="*/ 20 w 392"/>
                <a:gd name="T67" fmla="*/ 137 h 343"/>
                <a:gd name="T68" fmla="*/ 10 w 392"/>
                <a:gd name="T69" fmla="*/ 133 h 343"/>
                <a:gd name="T70" fmla="*/ 1 w 392"/>
                <a:gd name="T71" fmla="*/ 148 h 343"/>
                <a:gd name="T72" fmla="*/ 1 w 392"/>
                <a:gd name="T73" fmla="*/ 170 h 343"/>
                <a:gd name="T74" fmla="*/ 14 w 392"/>
                <a:gd name="T75" fmla="*/ 170 h 343"/>
                <a:gd name="T76" fmla="*/ 20 w 392"/>
                <a:gd name="T77" fmla="*/ 183 h 343"/>
                <a:gd name="T78" fmla="*/ 32 w 392"/>
                <a:gd name="T79" fmla="*/ 191 h 343"/>
                <a:gd name="T80" fmla="*/ 48 w 392"/>
                <a:gd name="T81" fmla="*/ 195 h 343"/>
                <a:gd name="T82" fmla="*/ 37 w 392"/>
                <a:gd name="T83" fmla="*/ 234 h 343"/>
                <a:gd name="T84" fmla="*/ 31 w 392"/>
                <a:gd name="T85" fmla="*/ 269 h 343"/>
                <a:gd name="T86" fmla="*/ 53 w 392"/>
                <a:gd name="T87" fmla="*/ 284 h 343"/>
                <a:gd name="T88" fmla="*/ 88 w 392"/>
                <a:gd name="T89" fmla="*/ 285 h 343"/>
                <a:gd name="T90" fmla="*/ 120 w 392"/>
                <a:gd name="T91" fmla="*/ 297 h 343"/>
                <a:gd name="T92" fmla="*/ 133 w 392"/>
                <a:gd name="T93" fmla="*/ 312 h 343"/>
                <a:gd name="T94" fmla="*/ 143 w 392"/>
                <a:gd name="T95" fmla="*/ 311 h 343"/>
                <a:gd name="T96" fmla="*/ 168 w 392"/>
                <a:gd name="T97" fmla="*/ 294 h 343"/>
                <a:gd name="T98" fmla="*/ 185 w 392"/>
                <a:gd name="T99" fmla="*/ 306 h 343"/>
                <a:gd name="T100" fmla="*/ 207 w 392"/>
                <a:gd name="T101" fmla="*/ 321 h 343"/>
                <a:gd name="T102" fmla="*/ 268 w 392"/>
                <a:gd name="T103" fmla="*/ 330 h 343"/>
                <a:gd name="T104" fmla="*/ 327 w 392"/>
                <a:gd name="T105" fmla="*/ 342 h 343"/>
                <a:gd name="T106" fmla="*/ 361 w 392"/>
                <a:gd name="T107" fmla="*/ 337 h 343"/>
                <a:gd name="T108" fmla="*/ 392 w 392"/>
                <a:gd name="T109" fmla="*/ 337 h 343"/>
                <a:gd name="T110" fmla="*/ 388 w 392"/>
                <a:gd name="T111" fmla="*/ 324 h 343"/>
                <a:gd name="T112" fmla="*/ 385 w 392"/>
                <a:gd name="T113" fmla="*/ 314 h 343"/>
                <a:gd name="T114" fmla="*/ 376 w 392"/>
                <a:gd name="T115" fmla="*/ 302 h 343"/>
                <a:gd name="T116" fmla="*/ 374 w 392"/>
                <a:gd name="T117" fmla="*/ 275 h 343"/>
                <a:gd name="T118" fmla="*/ 374 w 392"/>
                <a:gd name="T119" fmla="*/ 263 h 343"/>
                <a:gd name="T120" fmla="*/ 362 w 392"/>
                <a:gd name="T121" fmla="*/ 265 h 343"/>
                <a:gd name="T122" fmla="*/ 358 w 392"/>
                <a:gd name="T123" fmla="*/ 265 h 343"/>
                <a:gd name="T124" fmla="*/ 349 w 392"/>
                <a:gd name="T125" fmla="*/ 25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2" h="343">
                  <a:moveTo>
                    <a:pt x="342" y="234"/>
                  </a:moveTo>
                  <a:lnTo>
                    <a:pt x="342" y="234"/>
                  </a:lnTo>
                  <a:lnTo>
                    <a:pt x="340" y="226"/>
                  </a:lnTo>
                  <a:lnTo>
                    <a:pt x="340" y="226"/>
                  </a:lnTo>
                  <a:lnTo>
                    <a:pt x="337" y="211"/>
                  </a:lnTo>
                  <a:lnTo>
                    <a:pt x="336" y="205"/>
                  </a:lnTo>
                  <a:lnTo>
                    <a:pt x="333" y="202"/>
                  </a:lnTo>
                  <a:lnTo>
                    <a:pt x="333" y="202"/>
                  </a:lnTo>
                  <a:lnTo>
                    <a:pt x="311" y="189"/>
                  </a:lnTo>
                  <a:lnTo>
                    <a:pt x="293" y="17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4" y="162"/>
                  </a:lnTo>
                  <a:lnTo>
                    <a:pt x="272" y="160"/>
                  </a:lnTo>
                  <a:lnTo>
                    <a:pt x="272" y="158"/>
                  </a:lnTo>
                  <a:lnTo>
                    <a:pt x="274" y="154"/>
                  </a:lnTo>
                  <a:lnTo>
                    <a:pt x="275" y="148"/>
                  </a:lnTo>
                  <a:lnTo>
                    <a:pt x="275" y="148"/>
                  </a:lnTo>
                  <a:lnTo>
                    <a:pt x="275" y="140"/>
                  </a:lnTo>
                  <a:lnTo>
                    <a:pt x="274" y="136"/>
                  </a:lnTo>
                  <a:lnTo>
                    <a:pt x="272" y="131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0" y="125"/>
                  </a:lnTo>
                  <a:lnTo>
                    <a:pt x="256" y="122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3" y="114"/>
                  </a:lnTo>
                  <a:lnTo>
                    <a:pt x="253" y="106"/>
                  </a:lnTo>
                  <a:lnTo>
                    <a:pt x="254" y="97"/>
                  </a:lnTo>
                  <a:lnTo>
                    <a:pt x="259" y="88"/>
                  </a:lnTo>
                  <a:lnTo>
                    <a:pt x="259" y="88"/>
                  </a:lnTo>
                  <a:lnTo>
                    <a:pt x="265" y="75"/>
                  </a:lnTo>
                  <a:lnTo>
                    <a:pt x="266" y="69"/>
                  </a:lnTo>
                  <a:lnTo>
                    <a:pt x="268" y="62"/>
                  </a:lnTo>
                  <a:lnTo>
                    <a:pt x="268" y="62"/>
                  </a:lnTo>
                  <a:lnTo>
                    <a:pt x="268" y="57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3" y="47"/>
                  </a:lnTo>
                  <a:lnTo>
                    <a:pt x="259" y="44"/>
                  </a:lnTo>
                  <a:lnTo>
                    <a:pt x="253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4" y="44"/>
                  </a:lnTo>
                  <a:lnTo>
                    <a:pt x="241" y="47"/>
                  </a:lnTo>
                  <a:lnTo>
                    <a:pt x="240" y="50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4" y="54"/>
                  </a:lnTo>
                  <a:lnTo>
                    <a:pt x="229" y="53"/>
                  </a:lnTo>
                  <a:lnTo>
                    <a:pt x="225" y="53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16" y="59"/>
                  </a:lnTo>
                  <a:lnTo>
                    <a:pt x="213" y="60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197" y="56"/>
                  </a:lnTo>
                  <a:lnTo>
                    <a:pt x="191" y="54"/>
                  </a:lnTo>
                  <a:lnTo>
                    <a:pt x="186" y="51"/>
                  </a:lnTo>
                  <a:lnTo>
                    <a:pt x="186" y="51"/>
                  </a:lnTo>
                  <a:lnTo>
                    <a:pt x="183" y="48"/>
                  </a:lnTo>
                  <a:lnTo>
                    <a:pt x="183" y="45"/>
                  </a:lnTo>
                  <a:lnTo>
                    <a:pt x="183" y="41"/>
                  </a:lnTo>
                  <a:lnTo>
                    <a:pt x="183" y="35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2" y="26"/>
                  </a:lnTo>
                  <a:lnTo>
                    <a:pt x="179" y="28"/>
                  </a:lnTo>
                  <a:lnTo>
                    <a:pt x="170" y="32"/>
                  </a:lnTo>
                  <a:lnTo>
                    <a:pt x="170" y="32"/>
                  </a:lnTo>
                  <a:lnTo>
                    <a:pt x="168" y="32"/>
                  </a:lnTo>
                  <a:lnTo>
                    <a:pt x="167" y="32"/>
                  </a:lnTo>
                  <a:lnTo>
                    <a:pt x="165" y="28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3" y="11"/>
                  </a:lnTo>
                  <a:lnTo>
                    <a:pt x="161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45" y="8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1" y="4"/>
                  </a:lnTo>
                  <a:lnTo>
                    <a:pt x="128" y="1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0" y="1"/>
                  </a:lnTo>
                  <a:lnTo>
                    <a:pt x="114" y="5"/>
                  </a:lnTo>
                  <a:lnTo>
                    <a:pt x="108" y="11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9"/>
                  </a:lnTo>
                  <a:lnTo>
                    <a:pt x="100" y="20"/>
                  </a:lnTo>
                  <a:lnTo>
                    <a:pt x="94" y="20"/>
                  </a:lnTo>
                  <a:lnTo>
                    <a:pt x="90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4" y="23"/>
                  </a:lnTo>
                  <a:lnTo>
                    <a:pt x="83" y="28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65"/>
                  </a:lnTo>
                  <a:lnTo>
                    <a:pt x="83" y="69"/>
                  </a:lnTo>
                  <a:lnTo>
                    <a:pt x="86" y="74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81"/>
                  </a:lnTo>
                  <a:lnTo>
                    <a:pt x="87" y="87"/>
                  </a:lnTo>
                  <a:lnTo>
                    <a:pt x="84" y="93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5" y="102"/>
                  </a:lnTo>
                  <a:lnTo>
                    <a:pt x="71" y="106"/>
                  </a:lnTo>
                  <a:lnTo>
                    <a:pt x="69" y="108"/>
                  </a:lnTo>
                  <a:lnTo>
                    <a:pt x="68" y="108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3" y="100"/>
                  </a:lnTo>
                  <a:lnTo>
                    <a:pt x="46" y="99"/>
                  </a:lnTo>
                  <a:lnTo>
                    <a:pt x="41" y="100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14"/>
                  </a:lnTo>
                  <a:lnTo>
                    <a:pt x="37" y="124"/>
                  </a:lnTo>
                  <a:lnTo>
                    <a:pt x="32" y="134"/>
                  </a:lnTo>
                  <a:lnTo>
                    <a:pt x="29" y="137"/>
                  </a:lnTo>
                  <a:lnTo>
                    <a:pt x="26" y="139"/>
                  </a:lnTo>
                  <a:lnTo>
                    <a:pt x="26" y="139"/>
                  </a:lnTo>
                  <a:lnTo>
                    <a:pt x="20" y="137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1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7" y="136"/>
                  </a:lnTo>
                  <a:lnTo>
                    <a:pt x="3" y="140"/>
                  </a:lnTo>
                  <a:lnTo>
                    <a:pt x="1" y="148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67"/>
                  </a:lnTo>
                  <a:lnTo>
                    <a:pt x="1" y="170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13" y="170"/>
                  </a:lnTo>
                  <a:lnTo>
                    <a:pt x="14" y="170"/>
                  </a:lnTo>
                  <a:lnTo>
                    <a:pt x="16" y="171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20" y="183"/>
                  </a:lnTo>
                  <a:lnTo>
                    <a:pt x="22" y="188"/>
                  </a:lnTo>
                  <a:lnTo>
                    <a:pt x="26" y="189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43" y="191"/>
                  </a:lnTo>
                  <a:lnTo>
                    <a:pt x="46" y="192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44" y="213"/>
                  </a:lnTo>
                  <a:lnTo>
                    <a:pt x="37" y="234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31" y="269"/>
                  </a:lnTo>
                  <a:lnTo>
                    <a:pt x="31" y="269"/>
                  </a:lnTo>
                  <a:lnTo>
                    <a:pt x="38" y="277"/>
                  </a:lnTo>
                  <a:lnTo>
                    <a:pt x="44" y="279"/>
                  </a:lnTo>
                  <a:lnTo>
                    <a:pt x="53" y="284"/>
                  </a:lnTo>
                  <a:lnTo>
                    <a:pt x="53" y="284"/>
                  </a:lnTo>
                  <a:lnTo>
                    <a:pt x="63" y="287"/>
                  </a:lnTo>
                  <a:lnTo>
                    <a:pt x="72" y="287"/>
                  </a:lnTo>
                  <a:lnTo>
                    <a:pt x="88" y="285"/>
                  </a:lnTo>
                  <a:lnTo>
                    <a:pt x="88" y="285"/>
                  </a:lnTo>
                  <a:lnTo>
                    <a:pt x="96" y="285"/>
                  </a:lnTo>
                  <a:lnTo>
                    <a:pt x="105" y="288"/>
                  </a:lnTo>
                  <a:lnTo>
                    <a:pt x="114" y="291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4" y="303"/>
                  </a:lnTo>
                  <a:lnTo>
                    <a:pt x="130" y="311"/>
                  </a:lnTo>
                  <a:lnTo>
                    <a:pt x="133" y="312"/>
                  </a:lnTo>
                  <a:lnTo>
                    <a:pt x="137" y="314"/>
                  </a:lnTo>
                  <a:lnTo>
                    <a:pt x="140" y="314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51" y="305"/>
                  </a:lnTo>
                  <a:lnTo>
                    <a:pt x="160" y="297"/>
                  </a:lnTo>
                  <a:lnTo>
                    <a:pt x="164" y="296"/>
                  </a:lnTo>
                  <a:lnTo>
                    <a:pt x="168" y="294"/>
                  </a:lnTo>
                  <a:lnTo>
                    <a:pt x="173" y="296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85" y="306"/>
                  </a:lnTo>
                  <a:lnTo>
                    <a:pt x="191" y="314"/>
                  </a:lnTo>
                  <a:lnTo>
                    <a:pt x="195" y="317"/>
                  </a:lnTo>
                  <a:lnTo>
                    <a:pt x="200" y="318"/>
                  </a:lnTo>
                  <a:lnTo>
                    <a:pt x="207" y="321"/>
                  </a:lnTo>
                  <a:lnTo>
                    <a:pt x="216" y="321"/>
                  </a:lnTo>
                  <a:lnTo>
                    <a:pt x="216" y="321"/>
                  </a:lnTo>
                  <a:lnTo>
                    <a:pt x="245" y="325"/>
                  </a:lnTo>
                  <a:lnTo>
                    <a:pt x="268" y="330"/>
                  </a:lnTo>
                  <a:lnTo>
                    <a:pt x="268" y="330"/>
                  </a:lnTo>
                  <a:lnTo>
                    <a:pt x="296" y="336"/>
                  </a:lnTo>
                  <a:lnTo>
                    <a:pt x="327" y="342"/>
                  </a:lnTo>
                  <a:lnTo>
                    <a:pt x="327" y="342"/>
                  </a:lnTo>
                  <a:lnTo>
                    <a:pt x="336" y="343"/>
                  </a:lnTo>
                  <a:lnTo>
                    <a:pt x="343" y="342"/>
                  </a:lnTo>
                  <a:lnTo>
                    <a:pt x="349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80" y="337"/>
                  </a:lnTo>
                  <a:lnTo>
                    <a:pt x="386" y="336"/>
                  </a:lnTo>
                  <a:lnTo>
                    <a:pt x="392" y="337"/>
                  </a:lnTo>
                  <a:lnTo>
                    <a:pt x="392" y="337"/>
                  </a:lnTo>
                  <a:lnTo>
                    <a:pt x="391" y="333"/>
                  </a:lnTo>
                  <a:lnTo>
                    <a:pt x="389" y="328"/>
                  </a:lnTo>
                  <a:lnTo>
                    <a:pt x="388" y="324"/>
                  </a:lnTo>
                  <a:lnTo>
                    <a:pt x="388" y="324"/>
                  </a:lnTo>
                  <a:lnTo>
                    <a:pt x="388" y="319"/>
                  </a:lnTo>
                  <a:lnTo>
                    <a:pt x="386" y="317"/>
                  </a:lnTo>
                  <a:lnTo>
                    <a:pt x="385" y="314"/>
                  </a:lnTo>
                  <a:lnTo>
                    <a:pt x="380" y="311"/>
                  </a:lnTo>
                  <a:lnTo>
                    <a:pt x="380" y="311"/>
                  </a:lnTo>
                  <a:lnTo>
                    <a:pt x="377" y="308"/>
                  </a:lnTo>
                  <a:lnTo>
                    <a:pt x="376" y="302"/>
                  </a:lnTo>
                  <a:lnTo>
                    <a:pt x="373" y="287"/>
                  </a:lnTo>
                  <a:lnTo>
                    <a:pt x="373" y="287"/>
                  </a:lnTo>
                  <a:lnTo>
                    <a:pt x="373" y="281"/>
                  </a:lnTo>
                  <a:lnTo>
                    <a:pt x="374" y="275"/>
                  </a:lnTo>
                  <a:lnTo>
                    <a:pt x="376" y="271"/>
                  </a:lnTo>
                  <a:lnTo>
                    <a:pt x="376" y="266"/>
                  </a:lnTo>
                  <a:lnTo>
                    <a:pt x="376" y="266"/>
                  </a:lnTo>
                  <a:lnTo>
                    <a:pt x="374" y="263"/>
                  </a:lnTo>
                  <a:lnTo>
                    <a:pt x="373" y="263"/>
                  </a:lnTo>
                  <a:lnTo>
                    <a:pt x="367" y="265"/>
                  </a:lnTo>
                  <a:lnTo>
                    <a:pt x="367" y="265"/>
                  </a:lnTo>
                  <a:lnTo>
                    <a:pt x="362" y="265"/>
                  </a:lnTo>
                  <a:lnTo>
                    <a:pt x="361" y="266"/>
                  </a:lnTo>
                  <a:lnTo>
                    <a:pt x="359" y="266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0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9" name="Freeform 68">
              <a:extLst>
                <a:ext uri="{FF2B5EF4-FFF2-40B4-BE49-F238E27FC236}">
                  <a16:creationId xmlns:a16="http://schemas.microsoft.com/office/drawing/2014/main" id="{A117C419-1608-7141-B2E0-21CFA575EE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48838" y="2925763"/>
              <a:ext cx="2057400" cy="5168900"/>
            </a:xfrm>
            <a:custGeom>
              <a:avLst/>
              <a:gdLst>
                <a:gd name="T0" fmla="*/ 868 w 1296"/>
                <a:gd name="T1" fmla="*/ 360 h 3256"/>
                <a:gd name="T2" fmla="*/ 907 w 1296"/>
                <a:gd name="T3" fmla="*/ 265 h 3256"/>
                <a:gd name="T4" fmla="*/ 710 w 1296"/>
                <a:gd name="T5" fmla="*/ 199 h 3256"/>
                <a:gd name="T6" fmla="*/ 843 w 1296"/>
                <a:gd name="T7" fmla="*/ 242 h 3256"/>
                <a:gd name="T8" fmla="*/ 794 w 1296"/>
                <a:gd name="T9" fmla="*/ 174 h 3256"/>
                <a:gd name="T10" fmla="*/ 676 w 1296"/>
                <a:gd name="T11" fmla="*/ 17 h 3256"/>
                <a:gd name="T12" fmla="*/ 717 w 1296"/>
                <a:gd name="T13" fmla="*/ 154 h 3256"/>
                <a:gd name="T14" fmla="*/ 791 w 1296"/>
                <a:gd name="T15" fmla="*/ 34 h 3256"/>
                <a:gd name="T16" fmla="*/ 696 w 1296"/>
                <a:gd name="T17" fmla="*/ 120 h 3256"/>
                <a:gd name="T18" fmla="*/ 276 w 1296"/>
                <a:gd name="T19" fmla="*/ 2959 h 3256"/>
                <a:gd name="T20" fmla="*/ 239 w 1296"/>
                <a:gd name="T21" fmla="*/ 3152 h 3256"/>
                <a:gd name="T22" fmla="*/ 342 w 1296"/>
                <a:gd name="T23" fmla="*/ 3256 h 3256"/>
                <a:gd name="T24" fmla="*/ 489 w 1296"/>
                <a:gd name="T25" fmla="*/ 3099 h 3256"/>
                <a:gd name="T26" fmla="*/ 628 w 1296"/>
                <a:gd name="T27" fmla="*/ 3069 h 3256"/>
                <a:gd name="T28" fmla="*/ 631 w 1296"/>
                <a:gd name="T29" fmla="*/ 2940 h 3256"/>
                <a:gd name="T30" fmla="*/ 695 w 1296"/>
                <a:gd name="T31" fmla="*/ 2796 h 3256"/>
                <a:gd name="T32" fmla="*/ 693 w 1296"/>
                <a:gd name="T33" fmla="*/ 2702 h 3256"/>
                <a:gd name="T34" fmla="*/ 858 w 1296"/>
                <a:gd name="T35" fmla="*/ 2598 h 3256"/>
                <a:gd name="T36" fmla="*/ 932 w 1296"/>
                <a:gd name="T37" fmla="*/ 2565 h 3256"/>
                <a:gd name="T38" fmla="*/ 1021 w 1296"/>
                <a:gd name="T39" fmla="*/ 2447 h 3256"/>
                <a:gd name="T40" fmla="*/ 1120 w 1296"/>
                <a:gd name="T41" fmla="*/ 2499 h 3256"/>
                <a:gd name="T42" fmla="*/ 1126 w 1296"/>
                <a:gd name="T43" fmla="*/ 2373 h 3256"/>
                <a:gd name="T44" fmla="*/ 1114 w 1296"/>
                <a:gd name="T45" fmla="*/ 2225 h 3256"/>
                <a:gd name="T46" fmla="*/ 1169 w 1296"/>
                <a:gd name="T47" fmla="*/ 2091 h 3256"/>
                <a:gd name="T48" fmla="*/ 1158 w 1296"/>
                <a:gd name="T49" fmla="*/ 1985 h 3256"/>
                <a:gd name="T50" fmla="*/ 1237 w 1296"/>
                <a:gd name="T51" fmla="*/ 1903 h 3256"/>
                <a:gd name="T52" fmla="*/ 1146 w 1296"/>
                <a:gd name="T53" fmla="*/ 1856 h 3256"/>
                <a:gd name="T54" fmla="*/ 1141 w 1296"/>
                <a:gd name="T55" fmla="*/ 1775 h 3256"/>
                <a:gd name="T56" fmla="*/ 1112 w 1296"/>
                <a:gd name="T57" fmla="*/ 1597 h 3256"/>
                <a:gd name="T58" fmla="*/ 1123 w 1296"/>
                <a:gd name="T59" fmla="*/ 1388 h 3256"/>
                <a:gd name="T60" fmla="*/ 1204 w 1296"/>
                <a:gd name="T61" fmla="*/ 1244 h 3256"/>
                <a:gd name="T62" fmla="*/ 1229 w 1296"/>
                <a:gd name="T63" fmla="*/ 1138 h 3256"/>
                <a:gd name="T64" fmla="*/ 1249 w 1296"/>
                <a:gd name="T65" fmla="*/ 964 h 3256"/>
                <a:gd name="T66" fmla="*/ 1186 w 1296"/>
                <a:gd name="T67" fmla="*/ 852 h 3256"/>
                <a:gd name="T68" fmla="*/ 1010 w 1296"/>
                <a:gd name="T69" fmla="*/ 948 h 3256"/>
                <a:gd name="T70" fmla="*/ 1186 w 1296"/>
                <a:gd name="T71" fmla="*/ 717 h 3256"/>
                <a:gd name="T72" fmla="*/ 1218 w 1296"/>
                <a:gd name="T73" fmla="*/ 550 h 3256"/>
                <a:gd name="T74" fmla="*/ 1064 w 1296"/>
                <a:gd name="T75" fmla="*/ 505 h 3256"/>
                <a:gd name="T76" fmla="*/ 969 w 1296"/>
                <a:gd name="T77" fmla="*/ 459 h 3256"/>
                <a:gd name="T78" fmla="*/ 887 w 1296"/>
                <a:gd name="T79" fmla="*/ 538 h 3256"/>
                <a:gd name="T80" fmla="*/ 838 w 1296"/>
                <a:gd name="T81" fmla="*/ 587 h 3256"/>
                <a:gd name="T82" fmla="*/ 662 w 1296"/>
                <a:gd name="T83" fmla="*/ 581 h 3256"/>
                <a:gd name="T84" fmla="*/ 449 w 1296"/>
                <a:gd name="T85" fmla="*/ 685 h 3256"/>
                <a:gd name="T86" fmla="*/ 453 w 1296"/>
                <a:gd name="T87" fmla="*/ 756 h 3256"/>
                <a:gd name="T88" fmla="*/ 233 w 1296"/>
                <a:gd name="T89" fmla="*/ 784 h 3256"/>
                <a:gd name="T90" fmla="*/ 276 w 1296"/>
                <a:gd name="T91" fmla="*/ 1010 h 3256"/>
                <a:gd name="T92" fmla="*/ 219 w 1296"/>
                <a:gd name="T93" fmla="*/ 1127 h 3256"/>
                <a:gd name="T94" fmla="*/ 268 w 1296"/>
                <a:gd name="T95" fmla="*/ 997 h 3256"/>
                <a:gd name="T96" fmla="*/ 162 w 1296"/>
                <a:gd name="T97" fmla="*/ 913 h 3256"/>
                <a:gd name="T98" fmla="*/ 128 w 1296"/>
                <a:gd name="T99" fmla="*/ 1093 h 3256"/>
                <a:gd name="T100" fmla="*/ 147 w 1296"/>
                <a:gd name="T101" fmla="*/ 1209 h 3256"/>
                <a:gd name="T102" fmla="*/ 132 w 1296"/>
                <a:gd name="T103" fmla="*/ 1363 h 3256"/>
                <a:gd name="T104" fmla="*/ 123 w 1296"/>
                <a:gd name="T105" fmla="*/ 1511 h 3256"/>
                <a:gd name="T106" fmla="*/ 135 w 1296"/>
                <a:gd name="T107" fmla="*/ 1644 h 3256"/>
                <a:gd name="T108" fmla="*/ 179 w 1296"/>
                <a:gd name="T109" fmla="*/ 1757 h 3256"/>
                <a:gd name="T110" fmla="*/ 114 w 1296"/>
                <a:gd name="T111" fmla="*/ 1958 h 3256"/>
                <a:gd name="T112" fmla="*/ 74 w 1296"/>
                <a:gd name="T113" fmla="*/ 2072 h 3256"/>
                <a:gd name="T114" fmla="*/ 23 w 1296"/>
                <a:gd name="T115" fmla="*/ 2201 h 3256"/>
                <a:gd name="T116" fmla="*/ 145 w 1296"/>
                <a:gd name="T117" fmla="*/ 2328 h 3256"/>
                <a:gd name="T118" fmla="*/ 166 w 1296"/>
                <a:gd name="T119" fmla="*/ 2445 h 3256"/>
                <a:gd name="T120" fmla="*/ 159 w 1296"/>
                <a:gd name="T121" fmla="*/ 2623 h 3256"/>
                <a:gd name="T122" fmla="*/ 117 w 1296"/>
                <a:gd name="T123" fmla="*/ 2820 h 3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96" h="3256">
                  <a:moveTo>
                    <a:pt x="883" y="219"/>
                  </a:moveTo>
                  <a:lnTo>
                    <a:pt x="883" y="219"/>
                  </a:lnTo>
                  <a:lnTo>
                    <a:pt x="878" y="227"/>
                  </a:lnTo>
                  <a:lnTo>
                    <a:pt x="875" y="239"/>
                  </a:lnTo>
                  <a:lnTo>
                    <a:pt x="872" y="249"/>
                  </a:lnTo>
                  <a:lnTo>
                    <a:pt x="870" y="257"/>
                  </a:lnTo>
                  <a:lnTo>
                    <a:pt x="870" y="257"/>
                  </a:lnTo>
                  <a:lnTo>
                    <a:pt x="868" y="261"/>
                  </a:lnTo>
                  <a:lnTo>
                    <a:pt x="867" y="268"/>
                  </a:lnTo>
                  <a:lnTo>
                    <a:pt x="867" y="279"/>
                  </a:lnTo>
                  <a:lnTo>
                    <a:pt x="867" y="279"/>
                  </a:lnTo>
                  <a:lnTo>
                    <a:pt x="867" y="282"/>
                  </a:lnTo>
                  <a:lnTo>
                    <a:pt x="864" y="285"/>
                  </a:lnTo>
                  <a:lnTo>
                    <a:pt x="858" y="292"/>
                  </a:lnTo>
                  <a:lnTo>
                    <a:pt x="858" y="292"/>
                  </a:lnTo>
                  <a:lnTo>
                    <a:pt x="856" y="296"/>
                  </a:lnTo>
                  <a:lnTo>
                    <a:pt x="856" y="304"/>
                  </a:lnTo>
                  <a:lnTo>
                    <a:pt x="856" y="310"/>
                  </a:lnTo>
                  <a:lnTo>
                    <a:pt x="858" y="317"/>
                  </a:lnTo>
                  <a:lnTo>
                    <a:pt x="858" y="317"/>
                  </a:lnTo>
                  <a:lnTo>
                    <a:pt x="859" y="322"/>
                  </a:lnTo>
                  <a:lnTo>
                    <a:pt x="858" y="325"/>
                  </a:lnTo>
                  <a:lnTo>
                    <a:pt x="856" y="326"/>
                  </a:lnTo>
                  <a:lnTo>
                    <a:pt x="852" y="329"/>
                  </a:lnTo>
                  <a:lnTo>
                    <a:pt x="852" y="329"/>
                  </a:lnTo>
                  <a:lnTo>
                    <a:pt x="840" y="342"/>
                  </a:lnTo>
                  <a:lnTo>
                    <a:pt x="840" y="342"/>
                  </a:lnTo>
                  <a:lnTo>
                    <a:pt x="838" y="347"/>
                  </a:lnTo>
                  <a:lnTo>
                    <a:pt x="837" y="354"/>
                  </a:lnTo>
                  <a:lnTo>
                    <a:pt x="835" y="366"/>
                  </a:lnTo>
                  <a:lnTo>
                    <a:pt x="835" y="366"/>
                  </a:lnTo>
                  <a:lnTo>
                    <a:pt x="837" y="369"/>
                  </a:lnTo>
                  <a:lnTo>
                    <a:pt x="838" y="371"/>
                  </a:lnTo>
                  <a:lnTo>
                    <a:pt x="846" y="374"/>
                  </a:lnTo>
                  <a:lnTo>
                    <a:pt x="846" y="374"/>
                  </a:lnTo>
                  <a:lnTo>
                    <a:pt x="850" y="372"/>
                  </a:lnTo>
                  <a:lnTo>
                    <a:pt x="856" y="369"/>
                  </a:lnTo>
                  <a:lnTo>
                    <a:pt x="868" y="360"/>
                  </a:lnTo>
                  <a:lnTo>
                    <a:pt x="868" y="360"/>
                  </a:lnTo>
                  <a:lnTo>
                    <a:pt x="874" y="356"/>
                  </a:lnTo>
                  <a:lnTo>
                    <a:pt x="881" y="350"/>
                  </a:lnTo>
                  <a:lnTo>
                    <a:pt x="889" y="345"/>
                  </a:lnTo>
                  <a:lnTo>
                    <a:pt x="895" y="342"/>
                  </a:lnTo>
                  <a:lnTo>
                    <a:pt x="895" y="342"/>
                  </a:lnTo>
                  <a:lnTo>
                    <a:pt x="904" y="341"/>
                  </a:lnTo>
                  <a:lnTo>
                    <a:pt x="914" y="341"/>
                  </a:lnTo>
                  <a:lnTo>
                    <a:pt x="933" y="341"/>
                  </a:lnTo>
                  <a:lnTo>
                    <a:pt x="933" y="341"/>
                  </a:lnTo>
                  <a:lnTo>
                    <a:pt x="939" y="339"/>
                  </a:lnTo>
                  <a:lnTo>
                    <a:pt x="947" y="335"/>
                  </a:lnTo>
                  <a:lnTo>
                    <a:pt x="961" y="325"/>
                  </a:lnTo>
                  <a:lnTo>
                    <a:pt x="961" y="325"/>
                  </a:lnTo>
                  <a:lnTo>
                    <a:pt x="966" y="319"/>
                  </a:lnTo>
                  <a:lnTo>
                    <a:pt x="970" y="311"/>
                  </a:lnTo>
                  <a:lnTo>
                    <a:pt x="972" y="302"/>
                  </a:lnTo>
                  <a:lnTo>
                    <a:pt x="972" y="292"/>
                  </a:lnTo>
                  <a:lnTo>
                    <a:pt x="972" y="292"/>
                  </a:lnTo>
                  <a:lnTo>
                    <a:pt x="970" y="285"/>
                  </a:lnTo>
                  <a:lnTo>
                    <a:pt x="966" y="280"/>
                  </a:lnTo>
                  <a:lnTo>
                    <a:pt x="955" y="271"/>
                  </a:lnTo>
                  <a:lnTo>
                    <a:pt x="955" y="271"/>
                  </a:lnTo>
                  <a:lnTo>
                    <a:pt x="949" y="267"/>
                  </a:lnTo>
                  <a:lnTo>
                    <a:pt x="945" y="261"/>
                  </a:lnTo>
                  <a:lnTo>
                    <a:pt x="936" y="248"/>
                  </a:lnTo>
                  <a:lnTo>
                    <a:pt x="936" y="248"/>
                  </a:lnTo>
                  <a:lnTo>
                    <a:pt x="933" y="242"/>
                  </a:lnTo>
                  <a:lnTo>
                    <a:pt x="930" y="239"/>
                  </a:lnTo>
                  <a:lnTo>
                    <a:pt x="927" y="237"/>
                  </a:lnTo>
                  <a:lnTo>
                    <a:pt x="923" y="239"/>
                  </a:lnTo>
                  <a:lnTo>
                    <a:pt x="923" y="239"/>
                  </a:lnTo>
                  <a:lnTo>
                    <a:pt x="918" y="243"/>
                  </a:lnTo>
                  <a:lnTo>
                    <a:pt x="915" y="249"/>
                  </a:lnTo>
                  <a:lnTo>
                    <a:pt x="914" y="259"/>
                  </a:lnTo>
                  <a:lnTo>
                    <a:pt x="914" y="259"/>
                  </a:lnTo>
                  <a:lnTo>
                    <a:pt x="914" y="262"/>
                  </a:lnTo>
                  <a:lnTo>
                    <a:pt x="912" y="265"/>
                  </a:lnTo>
                  <a:lnTo>
                    <a:pt x="910" y="267"/>
                  </a:lnTo>
                  <a:lnTo>
                    <a:pt x="907" y="265"/>
                  </a:lnTo>
                  <a:lnTo>
                    <a:pt x="907" y="265"/>
                  </a:lnTo>
                  <a:lnTo>
                    <a:pt x="905" y="264"/>
                  </a:lnTo>
                  <a:lnTo>
                    <a:pt x="905" y="261"/>
                  </a:lnTo>
                  <a:lnTo>
                    <a:pt x="905" y="254"/>
                  </a:lnTo>
                  <a:lnTo>
                    <a:pt x="907" y="245"/>
                  </a:lnTo>
                  <a:lnTo>
                    <a:pt x="908" y="237"/>
                  </a:lnTo>
                  <a:lnTo>
                    <a:pt x="908" y="237"/>
                  </a:lnTo>
                  <a:lnTo>
                    <a:pt x="910" y="231"/>
                  </a:lnTo>
                  <a:lnTo>
                    <a:pt x="910" y="224"/>
                  </a:lnTo>
                  <a:lnTo>
                    <a:pt x="907" y="217"/>
                  </a:lnTo>
                  <a:lnTo>
                    <a:pt x="904" y="212"/>
                  </a:lnTo>
                  <a:lnTo>
                    <a:pt x="904" y="212"/>
                  </a:lnTo>
                  <a:lnTo>
                    <a:pt x="899" y="211"/>
                  </a:lnTo>
                  <a:lnTo>
                    <a:pt x="893" y="212"/>
                  </a:lnTo>
                  <a:lnTo>
                    <a:pt x="887" y="215"/>
                  </a:lnTo>
                  <a:lnTo>
                    <a:pt x="883" y="219"/>
                  </a:lnTo>
                  <a:lnTo>
                    <a:pt x="883" y="219"/>
                  </a:lnTo>
                  <a:close/>
                  <a:moveTo>
                    <a:pt x="761" y="131"/>
                  </a:moveTo>
                  <a:lnTo>
                    <a:pt x="761" y="131"/>
                  </a:lnTo>
                  <a:lnTo>
                    <a:pt x="754" y="132"/>
                  </a:lnTo>
                  <a:lnTo>
                    <a:pt x="747" y="137"/>
                  </a:lnTo>
                  <a:lnTo>
                    <a:pt x="735" y="144"/>
                  </a:lnTo>
                  <a:lnTo>
                    <a:pt x="735" y="144"/>
                  </a:lnTo>
                  <a:lnTo>
                    <a:pt x="732" y="148"/>
                  </a:lnTo>
                  <a:lnTo>
                    <a:pt x="730" y="157"/>
                  </a:lnTo>
                  <a:lnTo>
                    <a:pt x="727" y="168"/>
                  </a:lnTo>
                  <a:lnTo>
                    <a:pt x="727" y="168"/>
                  </a:lnTo>
                  <a:lnTo>
                    <a:pt x="723" y="172"/>
                  </a:lnTo>
                  <a:lnTo>
                    <a:pt x="717" y="175"/>
                  </a:lnTo>
                  <a:lnTo>
                    <a:pt x="711" y="179"/>
                  </a:lnTo>
                  <a:lnTo>
                    <a:pt x="711" y="179"/>
                  </a:lnTo>
                  <a:lnTo>
                    <a:pt x="705" y="182"/>
                  </a:lnTo>
                  <a:lnTo>
                    <a:pt x="704" y="185"/>
                  </a:lnTo>
                  <a:lnTo>
                    <a:pt x="702" y="188"/>
                  </a:lnTo>
                  <a:lnTo>
                    <a:pt x="702" y="193"/>
                  </a:lnTo>
                  <a:lnTo>
                    <a:pt x="702" y="193"/>
                  </a:lnTo>
                  <a:lnTo>
                    <a:pt x="704" y="194"/>
                  </a:lnTo>
                  <a:lnTo>
                    <a:pt x="705" y="196"/>
                  </a:lnTo>
                  <a:lnTo>
                    <a:pt x="710" y="199"/>
                  </a:lnTo>
                  <a:lnTo>
                    <a:pt x="724" y="203"/>
                  </a:lnTo>
                  <a:lnTo>
                    <a:pt x="724" y="203"/>
                  </a:lnTo>
                  <a:lnTo>
                    <a:pt x="727" y="205"/>
                  </a:lnTo>
                  <a:lnTo>
                    <a:pt x="729" y="208"/>
                  </a:lnTo>
                  <a:lnTo>
                    <a:pt x="730" y="214"/>
                  </a:lnTo>
                  <a:lnTo>
                    <a:pt x="730" y="227"/>
                  </a:lnTo>
                  <a:lnTo>
                    <a:pt x="730" y="227"/>
                  </a:lnTo>
                  <a:lnTo>
                    <a:pt x="732" y="233"/>
                  </a:lnTo>
                  <a:lnTo>
                    <a:pt x="733" y="239"/>
                  </a:lnTo>
                  <a:lnTo>
                    <a:pt x="736" y="245"/>
                  </a:lnTo>
                  <a:lnTo>
                    <a:pt x="742" y="251"/>
                  </a:lnTo>
                  <a:lnTo>
                    <a:pt x="742" y="251"/>
                  </a:lnTo>
                  <a:lnTo>
                    <a:pt x="751" y="255"/>
                  </a:lnTo>
                  <a:lnTo>
                    <a:pt x="760" y="261"/>
                  </a:lnTo>
                  <a:lnTo>
                    <a:pt x="769" y="264"/>
                  </a:lnTo>
                  <a:lnTo>
                    <a:pt x="778" y="267"/>
                  </a:lnTo>
                  <a:lnTo>
                    <a:pt x="778" y="267"/>
                  </a:lnTo>
                  <a:lnTo>
                    <a:pt x="784" y="268"/>
                  </a:lnTo>
                  <a:lnTo>
                    <a:pt x="788" y="271"/>
                  </a:lnTo>
                  <a:lnTo>
                    <a:pt x="798" y="277"/>
                  </a:lnTo>
                  <a:lnTo>
                    <a:pt x="798" y="277"/>
                  </a:lnTo>
                  <a:lnTo>
                    <a:pt x="804" y="280"/>
                  </a:lnTo>
                  <a:lnTo>
                    <a:pt x="810" y="282"/>
                  </a:lnTo>
                  <a:lnTo>
                    <a:pt x="822" y="282"/>
                  </a:lnTo>
                  <a:lnTo>
                    <a:pt x="822" y="282"/>
                  </a:lnTo>
                  <a:lnTo>
                    <a:pt x="833" y="279"/>
                  </a:lnTo>
                  <a:lnTo>
                    <a:pt x="837" y="277"/>
                  </a:lnTo>
                  <a:lnTo>
                    <a:pt x="841" y="277"/>
                  </a:lnTo>
                  <a:lnTo>
                    <a:pt x="841" y="277"/>
                  </a:lnTo>
                  <a:lnTo>
                    <a:pt x="843" y="277"/>
                  </a:lnTo>
                  <a:lnTo>
                    <a:pt x="844" y="276"/>
                  </a:lnTo>
                  <a:lnTo>
                    <a:pt x="847" y="271"/>
                  </a:lnTo>
                  <a:lnTo>
                    <a:pt x="850" y="258"/>
                  </a:lnTo>
                  <a:lnTo>
                    <a:pt x="850" y="258"/>
                  </a:lnTo>
                  <a:lnTo>
                    <a:pt x="852" y="254"/>
                  </a:lnTo>
                  <a:lnTo>
                    <a:pt x="850" y="249"/>
                  </a:lnTo>
                  <a:lnTo>
                    <a:pt x="847" y="246"/>
                  </a:lnTo>
                  <a:lnTo>
                    <a:pt x="843" y="242"/>
                  </a:lnTo>
                  <a:lnTo>
                    <a:pt x="843" y="242"/>
                  </a:lnTo>
                  <a:lnTo>
                    <a:pt x="838" y="237"/>
                  </a:lnTo>
                  <a:lnTo>
                    <a:pt x="834" y="230"/>
                  </a:lnTo>
                  <a:lnTo>
                    <a:pt x="833" y="224"/>
                  </a:lnTo>
                  <a:lnTo>
                    <a:pt x="833" y="222"/>
                  </a:lnTo>
                  <a:lnTo>
                    <a:pt x="833" y="219"/>
                  </a:lnTo>
                  <a:lnTo>
                    <a:pt x="833" y="219"/>
                  </a:lnTo>
                  <a:lnTo>
                    <a:pt x="835" y="218"/>
                  </a:lnTo>
                  <a:lnTo>
                    <a:pt x="840" y="217"/>
                  </a:lnTo>
                  <a:lnTo>
                    <a:pt x="843" y="215"/>
                  </a:lnTo>
                  <a:lnTo>
                    <a:pt x="847" y="212"/>
                  </a:lnTo>
                  <a:lnTo>
                    <a:pt x="847" y="212"/>
                  </a:lnTo>
                  <a:lnTo>
                    <a:pt x="849" y="205"/>
                  </a:lnTo>
                  <a:lnTo>
                    <a:pt x="849" y="196"/>
                  </a:lnTo>
                  <a:lnTo>
                    <a:pt x="849" y="179"/>
                  </a:lnTo>
                  <a:lnTo>
                    <a:pt x="849" y="179"/>
                  </a:lnTo>
                  <a:lnTo>
                    <a:pt x="849" y="168"/>
                  </a:lnTo>
                  <a:lnTo>
                    <a:pt x="846" y="156"/>
                  </a:lnTo>
                  <a:lnTo>
                    <a:pt x="846" y="156"/>
                  </a:lnTo>
                  <a:lnTo>
                    <a:pt x="841" y="148"/>
                  </a:lnTo>
                  <a:lnTo>
                    <a:pt x="837" y="145"/>
                  </a:lnTo>
                  <a:lnTo>
                    <a:pt x="831" y="142"/>
                  </a:lnTo>
                  <a:lnTo>
                    <a:pt x="825" y="144"/>
                  </a:lnTo>
                  <a:lnTo>
                    <a:pt x="825" y="144"/>
                  </a:lnTo>
                  <a:lnTo>
                    <a:pt x="822" y="147"/>
                  </a:lnTo>
                  <a:lnTo>
                    <a:pt x="821" y="150"/>
                  </a:lnTo>
                  <a:lnTo>
                    <a:pt x="819" y="156"/>
                  </a:lnTo>
                  <a:lnTo>
                    <a:pt x="818" y="160"/>
                  </a:lnTo>
                  <a:lnTo>
                    <a:pt x="818" y="160"/>
                  </a:lnTo>
                  <a:lnTo>
                    <a:pt x="812" y="169"/>
                  </a:lnTo>
                  <a:lnTo>
                    <a:pt x="804" y="175"/>
                  </a:lnTo>
                  <a:lnTo>
                    <a:pt x="804" y="175"/>
                  </a:lnTo>
                  <a:lnTo>
                    <a:pt x="797" y="182"/>
                  </a:lnTo>
                  <a:lnTo>
                    <a:pt x="793" y="184"/>
                  </a:lnTo>
                  <a:lnTo>
                    <a:pt x="791" y="184"/>
                  </a:lnTo>
                  <a:lnTo>
                    <a:pt x="790" y="182"/>
                  </a:lnTo>
                  <a:lnTo>
                    <a:pt x="790" y="182"/>
                  </a:lnTo>
                  <a:lnTo>
                    <a:pt x="788" y="181"/>
                  </a:lnTo>
                  <a:lnTo>
                    <a:pt x="790" y="178"/>
                  </a:lnTo>
                  <a:lnTo>
                    <a:pt x="794" y="174"/>
                  </a:lnTo>
                  <a:lnTo>
                    <a:pt x="794" y="174"/>
                  </a:lnTo>
                  <a:lnTo>
                    <a:pt x="800" y="165"/>
                  </a:lnTo>
                  <a:lnTo>
                    <a:pt x="807" y="154"/>
                  </a:lnTo>
                  <a:lnTo>
                    <a:pt x="807" y="154"/>
                  </a:lnTo>
                  <a:lnTo>
                    <a:pt x="810" y="147"/>
                  </a:lnTo>
                  <a:lnTo>
                    <a:pt x="810" y="138"/>
                  </a:lnTo>
                  <a:lnTo>
                    <a:pt x="809" y="129"/>
                  </a:lnTo>
                  <a:lnTo>
                    <a:pt x="807" y="126"/>
                  </a:lnTo>
                  <a:lnTo>
                    <a:pt x="806" y="125"/>
                  </a:lnTo>
                  <a:lnTo>
                    <a:pt x="806" y="125"/>
                  </a:lnTo>
                  <a:lnTo>
                    <a:pt x="801" y="123"/>
                  </a:lnTo>
                  <a:lnTo>
                    <a:pt x="797" y="125"/>
                  </a:lnTo>
                  <a:lnTo>
                    <a:pt x="788" y="129"/>
                  </a:lnTo>
                  <a:lnTo>
                    <a:pt x="788" y="129"/>
                  </a:lnTo>
                  <a:lnTo>
                    <a:pt x="784" y="131"/>
                  </a:lnTo>
                  <a:lnTo>
                    <a:pt x="776" y="131"/>
                  </a:lnTo>
                  <a:lnTo>
                    <a:pt x="761" y="131"/>
                  </a:lnTo>
                  <a:lnTo>
                    <a:pt x="761" y="131"/>
                  </a:lnTo>
                  <a:close/>
                  <a:moveTo>
                    <a:pt x="679" y="18"/>
                  </a:moveTo>
                  <a:lnTo>
                    <a:pt x="679" y="18"/>
                  </a:lnTo>
                  <a:lnTo>
                    <a:pt x="681" y="20"/>
                  </a:lnTo>
                  <a:lnTo>
                    <a:pt x="684" y="20"/>
                  </a:lnTo>
                  <a:lnTo>
                    <a:pt x="693" y="17"/>
                  </a:lnTo>
                  <a:lnTo>
                    <a:pt x="693" y="17"/>
                  </a:lnTo>
                  <a:lnTo>
                    <a:pt x="696" y="15"/>
                  </a:lnTo>
                  <a:lnTo>
                    <a:pt x="698" y="14"/>
                  </a:lnTo>
                  <a:lnTo>
                    <a:pt x="696" y="9"/>
                  </a:lnTo>
                  <a:lnTo>
                    <a:pt x="696" y="9"/>
                  </a:lnTo>
                  <a:lnTo>
                    <a:pt x="695" y="8"/>
                  </a:lnTo>
                  <a:lnTo>
                    <a:pt x="690" y="6"/>
                  </a:lnTo>
                  <a:lnTo>
                    <a:pt x="686" y="6"/>
                  </a:lnTo>
                  <a:lnTo>
                    <a:pt x="686" y="6"/>
                  </a:lnTo>
                  <a:lnTo>
                    <a:pt x="681" y="6"/>
                  </a:lnTo>
                  <a:lnTo>
                    <a:pt x="679" y="8"/>
                  </a:lnTo>
                  <a:lnTo>
                    <a:pt x="677" y="11"/>
                  </a:lnTo>
                  <a:lnTo>
                    <a:pt x="677" y="11"/>
                  </a:lnTo>
                  <a:lnTo>
                    <a:pt x="676" y="12"/>
                  </a:lnTo>
                  <a:lnTo>
                    <a:pt x="676" y="14"/>
                  </a:lnTo>
                  <a:lnTo>
                    <a:pt x="676" y="17"/>
                  </a:lnTo>
                  <a:lnTo>
                    <a:pt x="679" y="18"/>
                  </a:lnTo>
                  <a:lnTo>
                    <a:pt x="679" y="18"/>
                  </a:lnTo>
                  <a:close/>
                  <a:moveTo>
                    <a:pt x="717" y="148"/>
                  </a:moveTo>
                  <a:lnTo>
                    <a:pt x="717" y="148"/>
                  </a:lnTo>
                  <a:lnTo>
                    <a:pt x="716" y="147"/>
                  </a:lnTo>
                  <a:lnTo>
                    <a:pt x="713" y="144"/>
                  </a:lnTo>
                  <a:lnTo>
                    <a:pt x="705" y="140"/>
                  </a:lnTo>
                  <a:lnTo>
                    <a:pt x="692" y="131"/>
                  </a:lnTo>
                  <a:lnTo>
                    <a:pt x="692" y="131"/>
                  </a:lnTo>
                  <a:lnTo>
                    <a:pt x="680" y="125"/>
                  </a:lnTo>
                  <a:lnTo>
                    <a:pt x="676" y="123"/>
                  </a:lnTo>
                  <a:lnTo>
                    <a:pt x="671" y="123"/>
                  </a:lnTo>
                  <a:lnTo>
                    <a:pt x="671" y="123"/>
                  </a:lnTo>
                  <a:lnTo>
                    <a:pt x="671" y="125"/>
                  </a:lnTo>
                  <a:lnTo>
                    <a:pt x="671" y="126"/>
                  </a:lnTo>
                  <a:lnTo>
                    <a:pt x="673" y="131"/>
                  </a:lnTo>
                  <a:lnTo>
                    <a:pt x="677" y="140"/>
                  </a:lnTo>
                  <a:lnTo>
                    <a:pt x="677" y="140"/>
                  </a:lnTo>
                  <a:lnTo>
                    <a:pt x="679" y="141"/>
                  </a:lnTo>
                  <a:lnTo>
                    <a:pt x="680" y="142"/>
                  </a:lnTo>
                  <a:lnTo>
                    <a:pt x="679" y="145"/>
                  </a:lnTo>
                  <a:lnTo>
                    <a:pt x="679" y="145"/>
                  </a:lnTo>
                  <a:lnTo>
                    <a:pt x="677" y="148"/>
                  </a:lnTo>
                  <a:lnTo>
                    <a:pt x="673" y="151"/>
                  </a:lnTo>
                  <a:lnTo>
                    <a:pt x="673" y="151"/>
                  </a:lnTo>
                  <a:lnTo>
                    <a:pt x="673" y="153"/>
                  </a:lnTo>
                  <a:lnTo>
                    <a:pt x="673" y="154"/>
                  </a:lnTo>
                  <a:lnTo>
                    <a:pt x="676" y="157"/>
                  </a:lnTo>
                  <a:lnTo>
                    <a:pt x="683" y="166"/>
                  </a:lnTo>
                  <a:lnTo>
                    <a:pt x="683" y="166"/>
                  </a:lnTo>
                  <a:lnTo>
                    <a:pt x="687" y="168"/>
                  </a:lnTo>
                  <a:lnTo>
                    <a:pt x="692" y="169"/>
                  </a:lnTo>
                  <a:lnTo>
                    <a:pt x="699" y="169"/>
                  </a:lnTo>
                  <a:lnTo>
                    <a:pt x="707" y="169"/>
                  </a:lnTo>
                  <a:lnTo>
                    <a:pt x="707" y="169"/>
                  </a:lnTo>
                  <a:lnTo>
                    <a:pt x="710" y="168"/>
                  </a:lnTo>
                  <a:lnTo>
                    <a:pt x="713" y="165"/>
                  </a:lnTo>
                  <a:lnTo>
                    <a:pt x="716" y="160"/>
                  </a:lnTo>
                  <a:lnTo>
                    <a:pt x="717" y="154"/>
                  </a:lnTo>
                  <a:lnTo>
                    <a:pt x="717" y="148"/>
                  </a:lnTo>
                  <a:lnTo>
                    <a:pt x="717" y="148"/>
                  </a:lnTo>
                  <a:close/>
                  <a:moveTo>
                    <a:pt x="723" y="138"/>
                  </a:moveTo>
                  <a:lnTo>
                    <a:pt x="723" y="138"/>
                  </a:lnTo>
                  <a:lnTo>
                    <a:pt x="729" y="137"/>
                  </a:lnTo>
                  <a:lnTo>
                    <a:pt x="735" y="135"/>
                  </a:lnTo>
                  <a:lnTo>
                    <a:pt x="745" y="129"/>
                  </a:lnTo>
                  <a:lnTo>
                    <a:pt x="745" y="129"/>
                  </a:lnTo>
                  <a:lnTo>
                    <a:pt x="764" y="114"/>
                  </a:lnTo>
                  <a:lnTo>
                    <a:pt x="764" y="114"/>
                  </a:lnTo>
                  <a:lnTo>
                    <a:pt x="767" y="113"/>
                  </a:lnTo>
                  <a:lnTo>
                    <a:pt x="770" y="113"/>
                  </a:lnTo>
                  <a:lnTo>
                    <a:pt x="779" y="113"/>
                  </a:lnTo>
                  <a:lnTo>
                    <a:pt x="788" y="113"/>
                  </a:lnTo>
                  <a:lnTo>
                    <a:pt x="795" y="111"/>
                  </a:lnTo>
                  <a:lnTo>
                    <a:pt x="795" y="111"/>
                  </a:lnTo>
                  <a:lnTo>
                    <a:pt x="798" y="110"/>
                  </a:lnTo>
                  <a:lnTo>
                    <a:pt x="800" y="105"/>
                  </a:lnTo>
                  <a:lnTo>
                    <a:pt x="801" y="101"/>
                  </a:lnTo>
                  <a:lnTo>
                    <a:pt x="801" y="98"/>
                  </a:lnTo>
                  <a:lnTo>
                    <a:pt x="801" y="98"/>
                  </a:lnTo>
                  <a:lnTo>
                    <a:pt x="800" y="88"/>
                  </a:lnTo>
                  <a:lnTo>
                    <a:pt x="798" y="76"/>
                  </a:lnTo>
                  <a:lnTo>
                    <a:pt x="798" y="76"/>
                  </a:lnTo>
                  <a:lnTo>
                    <a:pt x="800" y="74"/>
                  </a:lnTo>
                  <a:lnTo>
                    <a:pt x="801" y="73"/>
                  </a:lnTo>
                  <a:lnTo>
                    <a:pt x="806" y="70"/>
                  </a:lnTo>
                  <a:lnTo>
                    <a:pt x="809" y="68"/>
                  </a:lnTo>
                  <a:lnTo>
                    <a:pt x="809" y="68"/>
                  </a:lnTo>
                  <a:lnTo>
                    <a:pt x="810" y="65"/>
                  </a:lnTo>
                  <a:lnTo>
                    <a:pt x="810" y="64"/>
                  </a:lnTo>
                  <a:lnTo>
                    <a:pt x="807" y="60"/>
                  </a:lnTo>
                  <a:lnTo>
                    <a:pt x="804" y="54"/>
                  </a:lnTo>
                  <a:lnTo>
                    <a:pt x="800" y="51"/>
                  </a:lnTo>
                  <a:lnTo>
                    <a:pt x="800" y="51"/>
                  </a:lnTo>
                  <a:lnTo>
                    <a:pt x="797" y="48"/>
                  </a:lnTo>
                  <a:lnTo>
                    <a:pt x="794" y="45"/>
                  </a:lnTo>
                  <a:lnTo>
                    <a:pt x="793" y="40"/>
                  </a:lnTo>
                  <a:lnTo>
                    <a:pt x="791" y="34"/>
                  </a:lnTo>
                  <a:lnTo>
                    <a:pt x="791" y="34"/>
                  </a:lnTo>
                  <a:lnTo>
                    <a:pt x="790" y="27"/>
                  </a:lnTo>
                  <a:lnTo>
                    <a:pt x="784" y="17"/>
                  </a:lnTo>
                  <a:lnTo>
                    <a:pt x="773" y="2"/>
                  </a:lnTo>
                  <a:lnTo>
                    <a:pt x="773" y="2"/>
                  </a:lnTo>
                  <a:lnTo>
                    <a:pt x="770" y="0"/>
                  </a:lnTo>
                  <a:lnTo>
                    <a:pt x="769" y="0"/>
                  </a:lnTo>
                  <a:lnTo>
                    <a:pt x="763" y="5"/>
                  </a:lnTo>
                  <a:lnTo>
                    <a:pt x="754" y="18"/>
                  </a:lnTo>
                  <a:lnTo>
                    <a:pt x="754" y="18"/>
                  </a:lnTo>
                  <a:lnTo>
                    <a:pt x="750" y="23"/>
                  </a:lnTo>
                  <a:lnTo>
                    <a:pt x="744" y="27"/>
                  </a:lnTo>
                  <a:lnTo>
                    <a:pt x="727" y="3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4" y="54"/>
                  </a:lnTo>
                  <a:lnTo>
                    <a:pt x="707" y="57"/>
                  </a:lnTo>
                  <a:lnTo>
                    <a:pt x="707" y="57"/>
                  </a:lnTo>
                  <a:lnTo>
                    <a:pt x="714" y="61"/>
                  </a:lnTo>
                  <a:lnTo>
                    <a:pt x="716" y="62"/>
                  </a:lnTo>
                  <a:lnTo>
                    <a:pt x="717" y="67"/>
                  </a:lnTo>
                  <a:lnTo>
                    <a:pt x="717" y="67"/>
                  </a:lnTo>
                  <a:lnTo>
                    <a:pt x="716" y="71"/>
                  </a:lnTo>
                  <a:lnTo>
                    <a:pt x="711" y="76"/>
                  </a:lnTo>
                  <a:lnTo>
                    <a:pt x="705" y="80"/>
                  </a:lnTo>
                  <a:lnTo>
                    <a:pt x="698" y="83"/>
                  </a:lnTo>
                  <a:lnTo>
                    <a:pt x="698" y="83"/>
                  </a:lnTo>
                  <a:lnTo>
                    <a:pt x="690" y="88"/>
                  </a:lnTo>
                  <a:lnTo>
                    <a:pt x="683" y="95"/>
                  </a:lnTo>
                  <a:lnTo>
                    <a:pt x="679" y="101"/>
                  </a:lnTo>
                  <a:lnTo>
                    <a:pt x="676" y="105"/>
                  </a:lnTo>
                  <a:lnTo>
                    <a:pt x="676" y="105"/>
                  </a:lnTo>
                  <a:lnTo>
                    <a:pt x="677" y="107"/>
                  </a:lnTo>
                  <a:lnTo>
                    <a:pt x="677" y="108"/>
                  </a:lnTo>
                  <a:lnTo>
                    <a:pt x="681" y="110"/>
                  </a:lnTo>
                  <a:lnTo>
                    <a:pt x="692" y="113"/>
                  </a:lnTo>
                  <a:lnTo>
                    <a:pt x="692" y="113"/>
                  </a:lnTo>
                  <a:lnTo>
                    <a:pt x="693" y="116"/>
                  </a:lnTo>
                  <a:lnTo>
                    <a:pt x="696" y="120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702" y="131"/>
                  </a:lnTo>
                  <a:lnTo>
                    <a:pt x="708" y="134"/>
                  </a:lnTo>
                  <a:lnTo>
                    <a:pt x="717" y="137"/>
                  </a:lnTo>
                  <a:lnTo>
                    <a:pt x="723" y="138"/>
                  </a:lnTo>
                  <a:lnTo>
                    <a:pt x="723" y="138"/>
                  </a:lnTo>
                  <a:close/>
                  <a:moveTo>
                    <a:pt x="197" y="2868"/>
                  </a:moveTo>
                  <a:lnTo>
                    <a:pt x="197" y="2868"/>
                  </a:lnTo>
                  <a:lnTo>
                    <a:pt x="199" y="2866"/>
                  </a:lnTo>
                  <a:lnTo>
                    <a:pt x="200" y="2865"/>
                  </a:lnTo>
                  <a:lnTo>
                    <a:pt x="205" y="2859"/>
                  </a:lnTo>
                  <a:lnTo>
                    <a:pt x="206" y="2857"/>
                  </a:lnTo>
                  <a:lnTo>
                    <a:pt x="209" y="2856"/>
                  </a:lnTo>
                  <a:lnTo>
                    <a:pt x="212" y="2856"/>
                  </a:lnTo>
                  <a:lnTo>
                    <a:pt x="215" y="2857"/>
                  </a:lnTo>
                  <a:lnTo>
                    <a:pt x="215" y="2857"/>
                  </a:lnTo>
                  <a:lnTo>
                    <a:pt x="228" y="2872"/>
                  </a:lnTo>
                  <a:lnTo>
                    <a:pt x="234" y="2879"/>
                  </a:lnTo>
                  <a:lnTo>
                    <a:pt x="240" y="2884"/>
                  </a:lnTo>
                  <a:lnTo>
                    <a:pt x="240" y="2884"/>
                  </a:lnTo>
                  <a:lnTo>
                    <a:pt x="248" y="2890"/>
                  </a:lnTo>
                  <a:lnTo>
                    <a:pt x="252" y="2897"/>
                  </a:lnTo>
                  <a:lnTo>
                    <a:pt x="255" y="2906"/>
                  </a:lnTo>
                  <a:lnTo>
                    <a:pt x="256" y="2913"/>
                  </a:lnTo>
                  <a:lnTo>
                    <a:pt x="256" y="2913"/>
                  </a:lnTo>
                  <a:lnTo>
                    <a:pt x="256" y="2919"/>
                  </a:lnTo>
                  <a:lnTo>
                    <a:pt x="255" y="2924"/>
                  </a:lnTo>
                  <a:lnTo>
                    <a:pt x="256" y="2927"/>
                  </a:lnTo>
                  <a:lnTo>
                    <a:pt x="259" y="2930"/>
                  </a:lnTo>
                  <a:lnTo>
                    <a:pt x="259" y="2930"/>
                  </a:lnTo>
                  <a:lnTo>
                    <a:pt x="262" y="2934"/>
                  </a:lnTo>
                  <a:lnTo>
                    <a:pt x="265" y="2940"/>
                  </a:lnTo>
                  <a:lnTo>
                    <a:pt x="265" y="2948"/>
                  </a:lnTo>
                  <a:lnTo>
                    <a:pt x="265" y="2948"/>
                  </a:lnTo>
                  <a:lnTo>
                    <a:pt x="267" y="2950"/>
                  </a:lnTo>
                  <a:lnTo>
                    <a:pt x="271" y="2953"/>
                  </a:lnTo>
                  <a:lnTo>
                    <a:pt x="274" y="2955"/>
                  </a:lnTo>
                  <a:lnTo>
                    <a:pt x="276" y="2959"/>
                  </a:lnTo>
                  <a:lnTo>
                    <a:pt x="276" y="2959"/>
                  </a:lnTo>
                  <a:lnTo>
                    <a:pt x="277" y="2982"/>
                  </a:lnTo>
                  <a:lnTo>
                    <a:pt x="277" y="2996"/>
                  </a:lnTo>
                  <a:lnTo>
                    <a:pt x="276" y="3008"/>
                  </a:lnTo>
                  <a:lnTo>
                    <a:pt x="276" y="3008"/>
                  </a:lnTo>
                  <a:lnTo>
                    <a:pt x="273" y="3016"/>
                  </a:lnTo>
                  <a:lnTo>
                    <a:pt x="270" y="3022"/>
                  </a:lnTo>
                  <a:lnTo>
                    <a:pt x="268" y="3023"/>
                  </a:lnTo>
                  <a:lnTo>
                    <a:pt x="268" y="3025"/>
                  </a:lnTo>
                  <a:lnTo>
                    <a:pt x="270" y="3028"/>
                  </a:lnTo>
                  <a:lnTo>
                    <a:pt x="273" y="3030"/>
                  </a:lnTo>
                  <a:lnTo>
                    <a:pt x="273" y="3030"/>
                  </a:lnTo>
                  <a:lnTo>
                    <a:pt x="286" y="3041"/>
                  </a:lnTo>
                  <a:lnTo>
                    <a:pt x="292" y="3047"/>
                  </a:lnTo>
                  <a:lnTo>
                    <a:pt x="298" y="3056"/>
                  </a:lnTo>
                  <a:lnTo>
                    <a:pt x="298" y="3056"/>
                  </a:lnTo>
                  <a:lnTo>
                    <a:pt x="302" y="3065"/>
                  </a:lnTo>
                  <a:lnTo>
                    <a:pt x="302" y="3069"/>
                  </a:lnTo>
                  <a:lnTo>
                    <a:pt x="302" y="3073"/>
                  </a:lnTo>
                  <a:lnTo>
                    <a:pt x="301" y="3078"/>
                  </a:lnTo>
                  <a:lnTo>
                    <a:pt x="298" y="3082"/>
                  </a:lnTo>
                  <a:lnTo>
                    <a:pt x="289" y="3091"/>
                  </a:lnTo>
                  <a:lnTo>
                    <a:pt x="289" y="3091"/>
                  </a:lnTo>
                  <a:lnTo>
                    <a:pt x="277" y="3097"/>
                  </a:lnTo>
                  <a:lnTo>
                    <a:pt x="270" y="3100"/>
                  </a:lnTo>
                  <a:lnTo>
                    <a:pt x="265" y="3103"/>
                  </a:lnTo>
                  <a:lnTo>
                    <a:pt x="265" y="3105"/>
                  </a:lnTo>
                  <a:lnTo>
                    <a:pt x="265" y="3107"/>
                  </a:lnTo>
                  <a:lnTo>
                    <a:pt x="265" y="3107"/>
                  </a:lnTo>
                  <a:lnTo>
                    <a:pt x="265" y="3112"/>
                  </a:lnTo>
                  <a:lnTo>
                    <a:pt x="265" y="3115"/>
                  </a:lnTo>
                  <a:lnTo>
                    <a:pt x="261" y="3121"/>
                  </a:lnTo>
                  <a:lnTo>
                    <a:pt x="255" y="3127"/>
                  </a:lnTo>
                  <a:lnTo>
                    <a:pt x="249" y="3133"/>
                  </a:lnTo>
                  <a:lnTo>
                    <a:pt x="249" y="3133"/>
                  </a:lnTo>
                  <a:lnTo>
                    <a:pt x="246" y="3137"/>
                  </a:lnTo>
                  <a:lnTo>
                    <a:pt x="245" y="3142"/>
                  </a:lnTo>
                  <a:lnTo>
                    <a:pt x="245" y="3146"/>
                  </a:lnTo>
                  <a:lnTo>
                    <a:pt x="239" y="3152"/>
                  </a:lnTo>
                  <a:lnTo>
                    <a:pt x="239" y="3152"/>
                  </a:lnTo>
                  <a:lnTo>
                    <a:pt x="231" y="3156"/>
                  </a:lnTo>
                  <a:lnTo>
                    <a:pt x="222" y="3161"/>
                  </a:lnTo>
                  <a:lnTo>
                    <a:pt x="214" y="3164"/>
                  </a:lnTo>
                  <a:lnTo>
                    <a:pt x="205" y="3168"/>
                  </a:lnTo>
                  <a:lnTo>
                    <a:pt x="205" y="3168"/>
                  </a:lnTo>
                  <a:lnTo>
                    <a:pt x="202" y="3171"/>
                  </a:lnTo>
                  <a:lnTo>
                    <a:pt x="199" y="3174"/>
                  </a:lnTo>
                  <a:lnTo>
                    <a:pt x="196" y="3182"/>
                  </a:lnTo>
                  <a:lnTo>
                    <a:pt x="193" y="3192"/>
                  </a:lnTo>
                  <a:lnTo>
                    <a:pt x="193" y="3192"/>
                  </a:lnTo>
                  <a:lnTo>
                    <a:pt x="194" y="3192"/>
                  </a:lnTo>
                  <a:lnTo>
                    <a:pt x="197" y="3192"/>
                  </a:lnTo>
                  <a:lnTo>
                    <a:pt x="197" y="3192"/>
                  </a:lnTo>
                  <a:lnTo>
                    <a:pt x="202" y="3195"/>
                  </a:lnTo>
                  <a:lnTo>
                    <a:pt x="206" y="3199"/>
                  </a:lnTo>
                  <a:lnTo>
                    <a:pt x="211" y="3207"/>
                  </a:lnTo>
                  <a:lnTo>
                    <a:pt x="214" y="3216"/>
                  </a:lnTo>
                  <a:lnTo>
                    <a:pt x="214" y="3216"/>
                  </a:lnTo>
                  <a:lnTo>
                    <a:pt x="217" y="3220"/>
                  </a:lnTo>
                  <a:lnTo>
                    <a:pt x="222" y="3226"/>
                  </a:lnTo>
                  <a:lnTo>
                    <a:pt x="236" y="3236"/>
                  </a:lnTo>
                  <a:lnTo>
                    <a:pt x="249" y="3244"/>
                  </a:lnTo>
                  <a:lnTo>
                    <a:pt x="258" y="3248"/>
                  </a:lnTo>
                  <a:lnTo>
                    <a:pt x="258" y="3248"/>
                  </a:lnTo>
                  <a:lnTo>
                    <a:pt x="262" y="3248"/>
                  </a:lnTo>
                  <a:lnTo>
                    <a:pt x="265" y="3245"/>
                  </a:lnTo>
                  <a:lnTo>
                    <a:pt x="271" y="3244"/>
                  </a:lnTo>
                  <a:lnTo>
                    <a:pt x="279" y="3244"/>
                  </a:lnTo>
                  <a:lnTo>
                    <a:pt x="279" y="3244"/>
                  </a:lnTo>
                  <a:lnTo>
                    <a:pt x="292" y="3248"/>
                  </a:lnTo>
                  <a:lnTo>
                    <a:pt x="298" y="3251"/>
                  </a:lnTo>
                  <a:lnTo>
                    <a:pt x="305" y="3251"/>
                  </a:lnTo>
                  <a:lnTo>
                    <a:pt x="305" y="3251"/>
                  </a:lnTo>
                  <a:lnTo>
                    <a:pt x="313" y="3251"/>
                  </a:lnTo>
                  <a:lnTo>
                    <a:pt x="323" y="3253"/>
                  </a:lnTo>
                  <a:lnTo>
                    <a:pt x="333" y="3254"/>
                  </a:lnTo>
                  <a:lnTo>
                    <a:pt x="342" y="3256"/>
                  </a:lnTo>
                  <a:lnTo>
                    <a:pt x="342" y="3256"/>
                  </a:lnTo>
                  <a:lnTo>
                    <a:pt x="348" y="3253"/>
                  </a:lnTo>
                  <a:lnTo>
                    <a:pt x="351" y="3250"/>
                  </a:lnTo>
                  <a:lnTo>
                    <a:pt x="356" y="3247"/>
                  </a:lnTo>
                  <a:lnTo>
                    <a:pt x="363" y="3244"/>
                  </a:lnTo>
                  <a:lnTo>
                    <a:pt x="363" y="3244"/>
                  </a:lnTo>
                  <a:lnTo>
                    <a:pt x="366" y="3244"/>
                  </a:lnTo>
                  <a:lnTo>
                    <a:pt x="368" y="3244"/>
                  </a:lnTo>
                  <a:lnTo>
                    <a:pt x="371" y="3245"/>
                  </a:lnTo>
                  <a:lnTo>
                    <a:pt x="372" y="3247"/>
                  </a:lnTo>
                  <a:lnTo>
                    <a:pt x="373" y="3247"/>
                  </a:lnTo>
                  <a:lnTo>
                    <a:pt x="379" y="3241"/>
                  </a:lnTo>
                  <a:lnTo>
                    <a:pt x="379" y="3241"/>
                  </a:lnTo>
                  <a:lnTo>
                    <a:pt x="387" y="3233"/>
                  </a:lnTo>
                  <a:lnTo>
                    <a:pt x="390" y="3227"/>
                  </a:lnTo>
                  <a:lnTo>
                    <a:pt x="394" y="3223"/>
                  </a:lnTo>
                  <a:lnTo>
                    <a:pt x="402" y="3219"/>
                  </a:lnTo>
                  <a:lnTo>
                    <a:pt x="402" y="3219"/>
                  </a:lnTo>
                  <a:lnTo>
                    <a:pt x="418" y="3211"/>
                  </a:lnTo>
                  <a:lnTo>
                    <a:pt x="422" y="3208"/>
                  </a:lnTo>
                  <a:lnTo>
                    <a:pt x="422" y="3205"/>
                  </a:lnTo>
                  <a:lnTo>
                    <a:pt x="422" y="3202"/>
                  </a:lnTo>
                  <a:lnTo>
                    <a:pt x="422" y="3202"/>
                  </a:lnTo>
                  <a:lnTo>
                    <a:pt x="422" y="3199"/>
                  </a:lnTo>
                  <a:lnTo>
                    <a:pt x="424" y="3195"/>
                  </a:lnTo>
                  <a:lnTo>
                    <a:pt x="428" y="3187"/>
                  </a:lnTo>
                  <a:lnTo>
                    <a:pt x="436" y="3180"/>
                  </a:lnTo>
                  <a:lnTo>
                    <a:pt x="443" y="3173"/>
                  </a:lnTo>
                  <a:lnTo>
                    <a:pt x="443" y="3173"/>
                  </a:lnTo>
                  <a:lnTo>
                    <a:pt x="456" y="3161"/>
                  </a:lnTo>
                  <a:lnTo>
                    <a:pt x="464" y="3153"/>
                  </a:lnTo>
                  <a:lnTo>
                    <a:pt x="464" y="3153"/>
                  </a:lnTo>
                  <a:lnTo>
                    <a:pt x="468" y="3150"/>
                  </a:lnTo>
                  <a:lnTo>
                    <a:pt x="473" y="3149"/>
                  </a:lnTo>
                  <a:lnTo>
                    <a:pt x="480" y="3146"/>
                  </a:lnTo>
                  <a:lnTo>
                    <a:pt x="480" y="3146"/>
                  </a:lnTo>
                  <a:lnTo>
                    <a:pt x="483" y="3137"/>
                  </a:lnTo>
                  <a:lnTo>
                    <a:pt x="485" y="3122"/>
                  </a:lnTo>
                  <a:lnTo>
                    <a:pt x="487" y="3106"/>
                  </a:lnTo>
                  <a:lnTo>
                    <a:pt x="489" y="3099"/>
                  </a:lnTo>
                  <a:lnTo>
                    <a:pt x="489" y="3099"/>
                  </a:lnTo>
                  <a:lnTo>
                    <a:pt x="505" y="3096"/>
                  </a:lnTo>
                  <a:lnTo>
                    <a:pt x="517" y="3094"/>
                  </a:lnTo>
                  <a:lnTo>
                    <a:pt x="526" y="3094"/>
                  </a:lnTo>
                  <a:lnTo>
                    <a:pt x="526" y="3094"/>
                  </a:lnTo>
                  <a:lnTo>
                    <a:pt x="530" y="3096"/>
                  </a:lnTo>
                  <a:lnTo>
                    <a:pt x="532" y="3097"/>
                  </a:lnTo>
                  <a:lnTo>
                    <a:pt x="535" y="3099"/>
                  </a:lnTo>
                  <a:lnTo>
                    <a:pt x="541" y="3100"/>
                  </a:lnTo>
                  <a:lnTo>
                    <a:pt x="541" y="3100"/>
                  </a:lnTo>
                  <a:lnTo>
                    <a:pt x="550" y="3100"/>
                  </a:lnTo>
                  <a:lnTo>
                    <a:pt x="553" y="3099"/>
                  </a:lnTo>
                  <a:lnTo>
                    <a:pt x="554" y="3096"/>
                  </a:lnTo>
                  <a:lnTo>
                    <a:pt x="554" y="3096"/>
                  </a:lnTo>
                  <a:lnTo>
                    <a:pt x="557" y="3093"/>
                  </a:lnTo>
                  <a:lnTo>
                    <a:pt x="563" y="3091"/>
                  </a:lnTo>
                  <a:lnTo>
                    <a:pt x="578" y="3090"/>
                  </a:lnTo>
                  <a:lnTo>
                    <a:pt x="578" y="3090"/>
                  </a:lnTo>
                  <a:lnTo>
                    <a:pt x="594" y="3090"/>
                  </a:lnTo>
                  <a:lnTo>
                    <a:pt x="599" y="3088"/>
                  </a:lnTo>
                  <a:lnTo>
                    <a:pt x="602" y="3087"/>
                  </a:lnTo>
                  <a:lnTo>
                    <a:pt x="602" y="3087"/>
                  </a:lnTo>
                  <a:lnTo>
                    <a:pt x="602" y="3084"/>
                  </a:lnTo>
                  <a:lnTo>
                    <a:pt x="603" y="3081"/>
                  </a:lnTo>
                  <a:lnTo>
                    <a:pt x="606" y="3079"/>
                  </a:lnTo>
                  <a:lnTo>
                    <a:pt x="609" y="3079"/>
                  </a:lnTo>
                  <a:lnTo>
                    <a:pt x="609" y="3079"/>
                  </a:lnTo>
                  <a:lnTo>
                    <a:pt x="615" y="3082"/>
                  </a:lnTo>
                  <a:lnTo>
                    <a:pt x="618" y="3085"/>
                  </a:lnTo>
                  <a:lnTo>
                    <a:pt x="621" y="3087"/>
                  </a:lnTo>
                  <a:lnTo>
                    <a:pt x="622" y="3087"/>
                  </a:lnTo>
                  <a:lnTo>
                    <a:pt x="622" y="3087"/>
                  </a:lnTo>
                  <a:lnTo>
                    <a:pt x="627" y="3085"/>
                  </a:lnTo>
                  <a:lnTo>
                    <a:pt x="628" y="3085"/>
                  </a:lnTo>
                  <a:lnTo>
                    <a:pt x="628" y="3082"/>
                  </a:lnTo>
                  <a:lnTo>
                    <a:pt x="628" y="3082"/>
                  </a:lnTo>
                  <a:lnTo>
                    <a:pt x="627" y="3076"/>
                  </a:lnTo>
                  <a:lnTo>
                    <a:pt x="627" y="3072"/>
                  </a:lnTo>
                  <a:lnTo>
                    <a:pt x="628" y="3069"/>
                  </a:lnTo>
                  <a:lnTo>
                    <a:pt x="628" y="3069"/>
                  </a:lnTo>
                  <a:lnTo>
                    <a:pt x="625" y="3069"/>
                  </a:lnTo>
                  <a:lnTo>
                    <a:pt x="622" y="3067"/>
                  </a:lnTo>
                  <a:lnTo>
                    <a:pt x="619" y="3066"/>
                  </a:lnTo>
                  <a:lnTo>
                    <a:pt x="619" y="3066"/>
                  </a:lnTo>
                  <a:lnTo>
                    <a:pt x="615" y="3063"/>
                  </a:lnTo>
                  <a:lnTo>
                    <a:pt x="615" y="3063"/>
                  </a:lnTo>
                  <a:lnTo>
                    <a:pt x="610" y="3056"/>
                  </a:lnTo>
                  <a:lnTo>
                    <a:pt x="569" y="3007"/>
                  </a:lnTo>
                  <a:lnTo>
                    <a:pt x="569" y="3007"/>
                  </a:lnTo>
                  <a:lnTo>
                    <a:pt x="567" y="3002"/>
                  </a:lnTo>
                  <a:lnTo>
                    <a:pt x="567" y="2998"/>
                  </a:lnTo>
                  <a:lnTo>
                    <a:pt x="570" y="2995"/>
                  </a:lnTo>
                  <a:lnTo>
                    <a:pt x="570" y="2995"/>
                  </a:lnTo>
                  <a:lnTo>
                    <a:pt x="572" y="2990"/>
                  </a:lnTo>
                  <a:lnTo>
                    <a:pt x="575" y="2989"/>
                  </a:lnTo>
                  <a:lnTo>
                    <a:pt x="578" y="2988"/>
                  </a:lnTo>
                  <a:lnTo>
                    <a:pt x="579" y="2989"/>
                  </a:lnTo>
                  <a:lnTo>
                    <a:pt x="579" y="2989"/>
                  </a:lnTo>
                  <a:lnTo>
                    <a:pt x="582" y="2985"/>
                  </a:lnTo>
                  <a:lnTo>
                    <a:pt x="584" y="2977"/>
                  </a:lnTo>
                  <a:lnTo>
                    <a:pt x="584" y="2977"/>
                  </a:lnTo>
                  <a:lnTo>
                    <a:pt x="588" y="2961"/>
                  </a:lnTo>
                  <a:lnTo>
                    <a:pt x="591" y="2956"/>
                  </a:lnTo>
                  <a:lnTo>
                    <a:pt x="593" y="2955"/>
                  </a:lnTo>
                  <a:lnTo>
                    <a:pt x="596" y="2955"/>
                  </a:lnTo>
                  <a:lnTo>
                    <a:pt x="596" y="2955"/>
                  </a:lnTo>
                  <a:lnTo>
                    <a:pt x="600" y="2958"/>
                  </a:lnTo>
                  <a:lnTo>
                    <a:pt x="603" y="2962"/>
                  </a:lnTo>
                  <a:lnTo>
                    <a:pt x="606" y="2964"/>
                  </a:lnTo>
                  <a:lnTo>
                    <a:pt x="609" y="2965"/>
                  </a:lnTo>
                  <a:lnTo>
                    <a:pt x="610" y="2964"/>
                  </a:lnTo>
                  <a:lnTo>
                    <a:pt x="610" y="2964"/>
                  </a:lnTo>
                  <a:lnTo>
                    <a:pt x="621" y="2961"/>
                  </a:lnTo>
                  <a:lnTo>
                    <a:pt x="625" y="2956"/>
                  </a:lnTo>
                  <a:lnTo>
                    <a:pt x="630" y="2950"/>
                  </a:lnTo>
                  <a:lnTo>
                    <a:pt x="630" y="2950"/>
                  </a:lnTo>
                  <a:lnTo>
                    <a:pt x="631" y="2945"/>
                  </a:lnTo>
                  <a:lnTo>
                    <a:pt x="631" y="2940"/>
                  </a:lnTo>
                  <a:lnTo>
                    <a:pt x="631" y="2930"/>
                  </a:lnTo>
                  <a:lnTo>
                    <a:pt x="630" y="2909"/>
                  </a:lnTo>
                  <a:lnTo>
                    <a:pt x="630" y="2909"/>
                  </a:lnTo>
                  <a:lnTo>
                    <a:pt x="630" y="2902"/>
                  </a:lnTo>
                  <a:lnTo>
                    <a:pt x="631" y="2894"/>
                  </a:lnTo>
                  <a:lnTo>
                    <a:pt x="634" y="2890"/>
                  </a:lnTo>
                  <a:lnTo>
                    <a:pt x="636" y="2888"/>
                  </a:lnTo>
                  <a:lnTo>
                    <a:pt x="639" y="2887"/>
                  </a:lnTo>
                  <a:lnTo>
                    <a:pt x="639" y="2887"/>
                  </a:lnTo>
                  <a:lnTo>
                    <a:pt x="641" y="2888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6" y="2887"/>
                  </a:lnTo>
                  <a:lnTo>
                    <a:pt x="647" y="2882"/>
                  </a:lnTo>
                  <a:lnTo>
                    <a:pt x="647" y="2872"/>
                  </a:lnTo>
                  <a:lnTo>
                    <a:pt x="647" y="2863"/>
                  </a:lnTo>
                  <a:lnTo>
                    <a:pt x="647" y="2856"/>
                  </a:lnTo>
                  <a:lnTo>
                    <a:pt x="647" y="2856"/>
                  </a:lnTo>
                  <a:lnTo>
                    <a:pt x="650" y="2847"/>
                  </a:lnTo>
                  <a:lnTo>
                    <a:pt x="653" y="2838"/>
                  </a:lnTo>
                  <a:lnTo>
                    <a:pt x="653" y="2838"/>
                  </a:lnTo>
                  <a:lnTo>
                    <a:pt x="653" y="2822"/>
                  </a:lnTo>
                  <a:lnTo>
                    <a:pt x="653" y="2822"/>
                  </a:lnTo>
                  <a:lnTo>
                    <a:pt x="653" y="2817"/>
                  </a:lnTo>
                  <a:lnTo>
                    <a:pt x="655" y="2813"/>
                  </a:lnTo>
                  <a:lnTo>
                    <a:pt x="662" y="2804"/>
                  </a:lnTo>
                  <a:lnTo>
                    <a:pt x="670" y="2798"/>
                  </a:lnTo>
                  <a:lnTo>
                    <a:pt x="674" y="2796"/>
                  </a:lnTo>
                  <a:lnTo>
                    <a:pt x="676" y="2796"/>
                  </a:lnTo>
                  <a:lnTo>
                    <a:pt x="676" y="2796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93" y="2799"/>
                  </a:lnTo>
                  <a:lnTo>
                    <a:pt x="693" y="2799"/>
                  </a:lnTo>
                  <a:lnTo>
                    <a:pt x="695" y="2796"/>
                  </a:lnTo>
                  <a:lnTo>
                    <a:pt x="695" y="2791"/>
                  </a:lnTo>
                  <a:lnTo>
                    <a:pt x="696" y="2786"/>
                  </a:lnTo>
                  <a:lnTo>
                    <a:pt x="698" y="2782"/>
                  </a:lnTo>
                  <a:lnTo>
                    <a:pt x="698" y="2782"/>
                  </a:lnTo>
                  <a:lnTo>
                    <a:pt x="699" y="2780"/>
                  </a:lnTo>
                  <a:lnTo>
                    <a:pt x="699" y="2780"/>
                  </a:lnTo>
                  <a:lnTo>
                    <a:pt x="693" y="2773"/>
                  </a:lnTo>
                  <a:lnTo>
                    <a:pt x="693" y="2771"/>
                  </a:lnTo>
                  <a:lnTo>
                    <a:pt x="698" y="2768"/>
                  </a:lnTo>
                  <a:lnTo>
                    <a:pt x="698" y="2768"/>
                  </a:lnTo>
                  <a:lnTo>
                    <a:pt x="704" y="2767"/>
                  </a:lnTo>
                  <a:lnTo>
                    <a:pt x="708" y="2768"/>
                  </a:lnTo>
                  <a:lnTo>
                    <a:pt x="711" y="2768"/>
                  </a:lnTo>
                  <a:lnTo>
                    <a:pt x="714" y="2765"/>
                  </a:lnTo>
                  <a:lnTo>
                    <a:pt x="714" y="2765"/>
                  </a:lnTo>
                  <a:lnTo>
                    <a:pt x="716" y="2759"/>
                  </a:lnTo>
                  <a:lnTo>
                    <a:pt x="716" y="2755"/>
                  </a:lnTo>
                  <a:lnTo>
                    <a:pt x="713" y="2743"/>
                  </a:lnTo>
                  <a:lnTo>
                    <a:pt x="713" y="2743"/>
                  </a:lnTo>
                  <a:lnTo>
                    <a:pt x="711" y="2733"/>
                  </a:lnTo>
                  <a:lnTo>
                    <a:pt x="711" y="2733"/>
                  </a:lnTo>
                  <a:lnTo>
                    <a:pt x="710" y="2730"/>
                  </a:lnTo>
                  <a:lnTo>
                    <a:pt x="710" y="2730"/>
                  </a:lnTo>
                  <a:lnTo>
                    <a:pt x="710" y="2727"/>
                  </a:lnTo>
                  <a:lnTo>
                    <a:pt x="710" y="2727"/>
                  </a:lnTo>
                  <a:lnTo>
                    <a:pt x="708" y="2724"/>
                  </a:lnTo>
                  <a:lnTo>
                    <a:pt x="708" y="2724"/>
                  </a:lnTo>
                  <a:lnTo>
                    <a:pt x="704" y="2722"/>
                  </a:lnTo>
                  <a:lnTo>
                    <a:pt x="704" y="2722"/>
                  </a:lnTo>
                  <a:lnTo>
                    <a:pt x="702" y="2722"/>
                  </a:lnTo>
                  <a:lnTo>
                    <a:pt x="702" y="2722"/>
                  </a:lnTo>
                  <a:lnTo>
                    <a:pt x="695" y="2719"/>
                  </a:lnTo>
                  <a:lnTo>
                    <a:pt x="689" y="2718"/>
                  </a:lnTo>
                  <a:lnTo>
                    <a:pt x="687" y="2716"/>
                  </a:lnTo>
                  <a:lnTo>
                    <a:pt x="687" y="2714"/>
                  </a:lnTo>
                  <a:lnTo>
                    <a:pt x="687" y="2714"/>
                  </a:lnTo>
                  <a:lnTo>
                    <a:pt x="692" y="2708"/>
                  </a:lnTo>
                  <a:lnTo>
                    <a:pt x="693" y="2705"/>
                  </a:lnTo>
                  <a:lnTo>
                    <a:pt x="693" y="2702"/>
                  </a:lnTo>
                  <a:lnTo>
                    <a:pt x="693" y="2702"/>
                  </a:lnTo>
                  <a:lnTo>
                    <a:pt x="693" y="2697"/>
                  </a:lnTo>
                  <a:lnTo>
                    <a:pt x="690" y="2693"/>
                  </a:lnTo>
                  <a:lnTo>
                    <a:pt x="690" y="2693"/>
                  </a:lnTo>
                  <a:lnTo>
                    <a:pt x="690" y="2691"/>
                  </a:lnTo>
                  <a:lnTo>
                    <a:pt x="690" y="2691"/>
                  </a:lnTo>
                  <a:lnTo>
                    <a:pt x="686" y="2684"/>
                  </a:lnTo>
                  <a:lnTo>
                    <a:pt x="686" y="2684"/>
                  </a:lnTo>
                  <a:lnTo>
                    <a:pt x="686" y="2678"/>
                  </a:lnTo>
                  <a:lnTo>
                    <a:pt x="687" y="2669"/>
                  </a:lnTo>
                  <a:lnTo>
                    <a:pt x="696" y="2644"/>
                  </a:lnTo>
                  <a:lnTo>
                    <a:pt x="705" y="2619"/>
                  </a:lnTo>
                  <a:lnTo>
                    <a:pt x="708" y="2611"/>
                  </a:lnTo>
                  <a:lnTo>
                    <a:pt x="711" y="2608"/>
                  </a:lnTo>
                  <a:lnTo>
                    <a:pt x="711" y="2608"/>
                  </a:lnTo>
                  <a:lnTo>
                    <a:pt x="724" y="2605"/>
                  </a:lnTo>
                  <a:lnTo>
                    <a:pt x="735" y="2605"/>
                  </a:lnTo>
                  <a:lnTo>
                    <a:pt x="747" y="2607"/>
                  </a:lnTo>
                  <a:lnTo>
                    <a:pt x="747" y="2607"/>
                  </a:lnTo>
                  <a:lnTo>
                    <a:pt x="764" y="2613"/>
                  </a:lnTo>
                  <a:lnTo>
                    <a:pt x="778" y="2616"/>
                  </a:lnTo>
                  <a:lnTo>
                    <a:pt x="778" y="2616"/>
                  </a:lnTo>
                  <a:lnTo>
                    <a:pt x="788" y="2617"/>
                  </a:lnTo>
                  <a:lnTo>
                    <a:pt x="793" y="2617"/>
                  </a:lnTo>
                  <a:lnTo>
                    <a:pt x="798" y="2613"/>
                  </a:lnTo>
                  <a:lnTo>
                    <a:pt x="798" y="2613"/>
                  </a:lnTo>
                  <a:lnTo>
                    <a:pt x="807" y="2604"/>
                  </a:lnTo>
                  <a:lnTo>
                    <a:pt x="815" y="2595"/>
                  </a:lnTo>
                  <a:lnTo>
                    <a:pt x="815" y="2595"/>
                  </a:lnTo>
                  <a:lnTo>
                    <a:pt x="822" y="2588"/>
                  </a:lnTo>
                  <a:lnTo>
                    <a:pt x="831" y="2582"/>
                  </a:lnTo>
                  <a:lnTo>
                    <a:pt x="840" y="2579"/>
                  </a:lnTo>
                  <a:lnTo>
                    <a:pt x="843" y="2579"/>
                  </a:lnTo>
                  <a:lnTo>
                    <a:pt x="847" y="2580"/>
                  </a:lnTo>
                  <a:lnTo>
                    <a:pt x="847" y="2580"/>
                  </a:lnTo>
                  <a:lnTo>
                    <a:pt x="852" y="2583"/>
                  </a:lnTo>
                  <a:lnTo>
                    <a:pt x="855" y="2588"/>
                  </a:lnTo>
                  <a:lnTo>
                    <a:pt x="858" y="2598"/>
                  </a:lnTo>
                  <a:lnTo>
                    <a:pt x="858" y="2598"/>
                  </a:lnTo>
                  <a:lnTo>
                    <a:pt x="861" y="2602"/>
                  </a:lnTo>
                  <a:lnTo>
                    <a:pt x="864" y="2608"/>
                  </a:lnTo>
                  <a:lnTo>
                    <a:pt x="872" y="2619"/>
                  </a:lnTo>
                  <a:lnTo>
                    <a:pt x="872" y="2619"/>
                  </a:lnTo>
                  <a:lnTo>
                    <a:pt x="874" y="2622"/>
                  </a:lnTo>
                  <a:lnTo>
                    <a:pt x="874" y="2625"/>
                  </a:lnTo>
                  <a:lnTo>
                    <a:pt x="872" y="2631"/>
                  </a:lnTo>
                  <a:lnTo>
                    <a:pt x="872" y="2631"/>
                  </a:lnTo>
                  <a:lnTo>
                    <a:pt x="881" y="2645"/>
                  </a:lnTo>
                  <a:lnTo>
                    <a:pt x="889" y="2653"/>
                  </a:lnTo>
                  <a:lnTo>
                    <a:pt x="893" y="2657"/>
                  </a:lnTo>
                  <a:lnTo>
                    <a:pt x="893" y="2657"/>
                  </a:lnTo>
                  <a:lnTo>
                    <a:pt x="898" y="2657"/>
                  </a:lnTo>
                  <a:lnTo>
                    <a:pt x="898" y="2657"/>
                  </a:lnTo>
                  <a:lnTo>
                    <a:pt x="902" y="2653"/>
                  </a:lnTo>
                  <a:lnTo>
                    <a:pt x="905" y="2650"/>
                  </a:lnTo>
                  <a:lnTo>
                    <a:pt x="905" y="2650"/>
                  </a:lnTo>
                  <a:lnTo>
                    <a:pt x="905" y="2645"/>
                  </a:lnTo>
                  <a:lnTo>
                    <a:pt x="905" y="2645"/>
                  </a:lnTo>
                  <a:lnTo>
                    <a:pt x="902" y="2629"/>
                  </a:lnTo>
                  <a:lnTo>
                    <a:pt x="902" y="2623"/>
                  </a:lnTo>
                  <a:lnTo>
                    <a:pt x="902" y="2619"/>
                  </a:lnTo>
                  <a:lnTo>
                    <a:pt x="902" y="2619"/>
                  </a:lnTo>
                  <a:lnTo>
                    <a:pt x="902" y="2617"/>
                  </a:lnTo>
                  <a:lnTo>
                    <a:pt x="902" y="2617"/>
                  </a:lnTo>
                  <a:lnTo>
                    <a:pt x="896" y="2608"/>
                  </a:lnTo>
                  <a:lnTo>
                    <a:pt x="896" y="2608"/>
                  </a:lnTo>
                  <a:lnTo>
                    <a:pt x="905" y="2611"/>
                  </a:lnTo>
                  <a:lnTo>
                    <a:pt x="910" y="2610"/>
                  </a:lnTo>
                  <a:lnTo>
                    <a:pt x="911" y="2608"/>
                  </a:lnTo>
                  <a:lnTo>
                    <a:pt x="912" y="2605"/>
                  </a:lnTo>
                  <a:lnTo>
                    <a:pt x="912" y="2605"/>
                  </a:lnTo>
                  <a:lnTo>
                    <a:pt x="911" y="2592"/>
                  </a:lnTo>
                  <a:lnTo>
                    <a:pt x="911" y="2586"/>
                  </a:lnTo>
                  <a:lnTo>
                    <a:pt x="914" y="2580"/>
                  </a:lnTo>
                  <a:lnTo>
                    <a:pt x="914" y="2580"/>
                  </a:lnTo>
                  <a:lnTo>
                    <a:pt x="917" y="2573"/>
                  </a:lnTo>
                  <a:lnTo>
                    <a:pt x="924" y="2568"/>
                  </a:lnTo>
                  <a:lnTo>
                    <a:pt x="932" y="2565"/>
                  </a:lnTo>
                  <a:lnTo>
                    <a:pt x="939" y="2564"/>
                  </a:lnTo>
                  <a:lnTo>
                    <a:pt x="939" y="2564"/>
                  </a:lnTo>
                  <a:lnTo>
                    <a:pt x="944" y="2562"/>
                  </a:lnTo>
                  <a:lnTo>
                    <a:pt x="944" y="2562"/>
                  </a:lnTo>
                  <a:lnTo>
                    <a:pt x="945" y="2559"/>
                  </a:lnTo>
                  <a:lnTo>
                    <a:pt x="945" y="2555"/>
                  </a:lnTo>
                  <a:lnTo>
                    <a:pt x="945" y="2555"/>
                  </a:lnTo>
                  <a:lnTo>
                    <a:pt x="945" y="2551"/>
                  </a:lnTo>
                  <a:lnTo>
                    <a:pt x="945" y="2546"/>
                  </a:lnTo>
                  <a:lnTo>
                    <a:pt x="948" y="2545"/>
                  </a:lnTo>
                  <a:lnTo>
                    <a:pt x="952" y="2543"/>
                  </a:lnTo>
                  <a:lnTo>
                    <a:pt x="952" y="2543"/>
                  </a:lnTo>
                  <a:lnTo>
                    <a:pt x="958" y="2542"/>
                  </a:lnTo>
                  <a:lnTo>
                    <a:pt x="958" y="2542"/>
                  </a:lnTo>
                  <a:lnTo>
                    <a:pt x="961" y="2537"/>
                  </a:lnTo>
                  <a:lnTo>
                    <a:pt x="961" y="2537"/>
                  </a:lnTo>
                  <a:lnTo>
                    <a:pt x="969" y="2530"/>
                  </a:lnTo>
                  <a:lnTo>
                    <a:pt x="975" y="2524"/>
                  </a:lnTo>
                  <a:lnTo>
                    <a:pt x="981" y="2518"/>
                  </a:lnTo>
                  <a:lnTo>
                    <a:pt x="982" y="2514"/>
                  </a:lnTo>
                  <a:lnTo>
                    <a:pt x="984" y="2511"/>
                  </a:lnTo>
                  <a:lnTo>
                    <a:pt x="984" y="2511"/>
                  </a:lnTo>
                  <a:lnTo>
                    <a:pt x="984" y="2502"/>
                  </a:lnTo>
                  <a:lnTo>
                    <a:pt x="984" y="2491"/>
                  </a:lnTo>
                  <a:lnTo>
                    <a:pt x="982" y="2482"/>
                  </a:lnTo>
                  <a:lnTo>
                    <a:pt x="984" y="2474"/>
                  </a:lnTo>
                  <a:lnTo>
                    <a:pt x="984" y="2474"/>
                  </a:lnTo>
                  <a:lnTo>
                    <a:pt x="985" y="2466"/>
                  </a:lnTo>
                  <a:lnTo>
                    <a:pt x="988" y="2460"/>
                  </a:lnTo>
                  <a:lnTo>
                    <a:pt x="991" y="2456"/>
                  </a:lnTo>
                  <a:lnTo>
                    <a:pt x="995" y="2456"/>
                  </a:lnTo>
                  <a:lnTo>
                    <a:pt x="995" y="2456"/>
                  </a:lnTo>
                  <a:lnTo>
                    <a:pt x="1006" y="2454"/>
                  </a:lnTo>
                  <a:lnTo>
                    <a:pt x="1006" y="2454"/>
                  </a:lnTo>
                  <a:lnTo>
                    <a:pt x="1012" y="2454"/>
                  </a:lnTo>
                  <a:lnTo>
                    <a:pt x="1016" y="2453"/>
                  </a:lnTo>
                  <a:lnTo>
                    <a:pt x="1019" y="2450"/>
                  </a:lnTo>
                  <a:lnTo>
                    <a:pt x="1021" y="2447"/>
                  </a:lnTo>
                  <a:lnTo>
                    <a:pt x="1021" y="2447"/>
                  </a:lnTo>
                  <a:lnTo>
                    <a:pt x="1022" y="2444"/>
                  </a:lnTo>
                  <a:lnTo>
                    <a:pt x="1024" y="2444"/>
                  </a:lnTo>
                  <a:lnTo>
                    <a:pt x="1031" y="2450"/>
                  </a:lnTo>
                  <a:lnTo>
                    <a:pt x="1031" y="2450"/>
                  </a:lnTo>
                  <a:lnTo>
                    <a:pt x="1035" y="2454"/>
                  </a:lnTo>
                  <a:lnTo>
                    <a:pt x="1037" y="2462"/>
                  </a:lnTo>
                  <a:lnTo>
                    <a:pt x="1041" y="2474"/>
                  </a:lnTo>
                  <a:lnTo>
                    <a:pt x="1041" y="2474"/>
                  </a:lnTo>
                  <a:lnTo>
                    <a:pt x="1043" y="2477"/>
                  </a:lnTo>
                  <a:lnTo>
                    <a:pt x="1047" y="2478"/>
                  </a:lnTo>
                  <a:lnTo>
                    <a:pt x="1056" y="2481"/>
                  </a:lnTo>
                  <a:lnTo>
                    <a:pt x="1064" y="2482"/>
                  </a:lnTo>
                  <a:lnTo>
                    <a:pt x="1068" y="2484"/>
                  </a:lnTo>
                  <a:lnTo>
                    <a:pt x="1068" y="2484"/>
                  </a:lnTo>
                  <a:lnTo>
                    <a:pt x="1068" y="2491"/>
                  </a:lnTo>
                  <a:lnTo>
                    <a:pt x="1068" y="2497"/>
                  </a:lnTo>
                  <a:lnTo>
                    <a:pt x="1069" y="2503"/>
                  </a:lnTo>
                  <a:lnTo>
                    <a:pt x="1069" y="2503"/>
                  </a:lnTo>
                  <a:lnTo>
                    <a:pt x="1069" y="2505"/>
                  </a:lnTo>
                  <a:lnTo>
                    <a:pt x="1071" y="2506"/>
                  </a:lnTo>
                  <a:lnTo>
                    <a:pt x="1074" y="2505"/>
                  </a:lnTo>
                  <a:lnTo>
                    <a:pt x="1078" y="2500"/>
                  </a:lnTo>
                  <a:lnTo>
                    <a:pt x="1086" y="2499"/>
                  </a:lnTo>
                  <a:lnTo>
                    <a:pt x="1086" y="2499"/>
                  </a:lnTo>
                  <a:lnTo>
                    <a:pt x="1089" y="2499"/>
                  </a:lnTo>
                  <a:lnTo>
                    <a:pt x="1092" y="2499"/>
                  </a:lnTo>
                  <a:lnTo>
                    <a:pt x="1095" y="2500"/>
                  </a:lnTo>
                  <a:lnTo>
                    <a:pt x="1096" y="2503"/>
                  </a:lnTo>
                  <a:lnTo>
                    <a:pt x="1098" y="2509"/>
                  </a:lnTo>
                  <a:lnTo>
                    <a:pt x="1098" y="2514"/>
                  </a:lnTo>
                  <a:lnTo>
                    <a:pt x="1098" y="2514"/>
                  </a:lnTo>
                  <a:lnTo>
                    <a:pt x="1099" y="2515"/>
                  </a:lnTo>
                  <a:lnTo>
                    <a:pt x="1101" y="2515"/>
                  </a:lnTo>
                  <a:lnTo>
                    <a:pt x="1103" y="2515"/>
                  </a:lnTo>
                  <a:lnTo>
                    <a:pt x="1108" y="2512"/>
                  </a:lnTo>
                  <a:lnTo>
                    <a:pt x="1112" y="2508"/>
                  </a:lnTo>
                  <a:lnTo>
                    <a:pt x="1112" y="2508"/>
                  </a:lnTo>
                  <a:lnTo>
                    <a:pt x="1118" y="2502"/>
                  </a:lnTo>
                  <a:lnTo>
                    <a:pt x="1120" y="2499"/>
                  </a:lnTo>
                  <a:lnTo>
                    <a:pt x="1120" y="2494"/>
                  </a:lnTo>
                  <a:lnTo>
                    <a:pt x="1120" y="2494"/>
                  </a:lnTo>
                  <a:lnTo>
                    <a:pt x="1118" y="2490"/>
                  </a:lnTo>
                  <a:lnTo>
                    <a:pt x="1117" y="2487"/>
                  </a:lnTo>
                  <a:lnTo>
                    <a:pt x="1118" y="2481"/>
                  </a:lnTo>
                  <a:lnTo>
                    <a:pt x="1121" y="2475"/>
                  </a:lnTo>
                  <a:lnTo>
                    <a:pt x="1121" y="2475"/>
                  </a:lnTo>
                  <a:lnTo>
                    <a:pt x="1123" y="2472"/>
                  </a:lnTo>
                  <a:lnTo>
                    <a:pt x="1126" y="2469"/>
                  </a:lnTo>
                  <a:lnTo>
                    <a:pt x="1133" y="2466"/>
                  </a:lnTo>
                  <a:lnTo>
                    <a:pt x="1141" y="2462"/>
                  </a:lnTo>
                  <a:lnTo>
                    <a:pt x="1148" y="2459"/>
                  </a:lnTo>
                  <a:lnTo>
                    <a:pt x="1148" y="2459"/>
                  </a:lnTo>
                  <a:lnTo>
                    <a:pt x="1149" y="2457"/>
                  </a:lnTo>
                  <a:lnTo>
                    <a:pt x="1149" y="2456"/>
                  </a:lnTo>
                  <a:lnTo>
                    <a:pt x="1148" y="2451"/>
                  </a:lnTo>
                  <a:lnTo>
                    <a:pt x="1145" y="2447"/>
                  </a:lnTo>
                  <a:lnTo>
                    <a:pt x="1141" y="2444"/>
                  </a:lnTo>
                  <a:lnTo>
                    <a:pt x="1141" y="2444"/>
                  </a:lnTo>
                  <a:lnTo>
                    <a:pt x="1139" y="2440"/>
                  </a:lnTo>
                  <a:lnTo>
                    <a:pt x="1139" y="2435"/>
                  </a:lnTo>
                  <a:lnTo>
                    <a:pt x="1141" y="2426"/>
                  </a:lnTo>
                  <a:lnTo>
                    <a:pt x="1141" y="2426"/>
                  </a:lnTo>
                  <a:lnTo>
                    <a:pt x="1141" y="2422"/>
                  </a:lnTo>
                  <a:lnTo>
                    <a:pt x="1138" y="2420"/>
                  </a:lnTo>
                  <a:lnTo>
                    <a:pt x="1130" y="2419"/>
                  </a:lnTo>
                  <a:lnTo>
                    <a:pt x="1130" y="2419"/>
                  </a:lnTo>
                  <a:lnTo>
                    <a:pt x="1126" y="2417"/>
                  </a:lnTo>
                  <a:lnTo>
                    <a:pt x="1121" y="2413"/>
                  </a:lnTo>
                  <a:lnTo>
                    <a:pt x="1115" y="2408"/>
                  </a:lnTo>
                  <a:lnTo>
                    <a:pt x="1112" y="2404"/>
                  </a:lnTo>
                  <a:lnTo>
                    <a:pt x="1112" y="2404"/>
                  </a:lnTo>
                  <a:lnTo>
                    <a:pt x="1111" y="2398"/>
                  </a:lnTo>
                  <a:lnTo>
                    <a:pt x="1112" y="2394"/>
                  </a:lnTo>
                  <a:lnTo>
                    <a:pt x="1117" y="2386"/>
                  </a:lnTo>
                  <a:lnTo>
                    <a:pt x="1117" y="2386"/>
                  </a:lnTo>
                  <a:lnTo>
                    <a:pt x="1120" y="2379"/>
                  </a:lnTo>
                  <a:lnTo>
                    <a:pt x="1123" y="2376"/>
                  </a:lnTo>
                  <a:lnTo>
                    <a:pt x="1126" y="2373"/>
                  </a:lnTo>
                  <a:lnTo>
                    <a:pt x="1126" y="2373"/>
                  </a:lnTo>
                  <a:lnTo>
                    <a:pt x="1130" y="2371"/>
                  </a:lnTo>
                  <a:lnTo>
                    <a:pt x="1135" y="2373"/>
                  </a:lnTo>
                  <a:lnTo>
                    <a:pt x="1141" y="2377"/>
                  </a:lnTo>
                  <a:lnTo>
                    <a:pt x="1141" y="2377"/>
                  </a:lnTo>
                  <a:lnTo>
                    <a:pt x="1142" y="2376"/>
                  </a:lnTo>
                  <a:lnTo>
                    <a:pt x="1143" y="2374"/>
                  </a:lnTo>
                  <a:lnTo>
                    <a:pt x="1146" y="2364"/>
                  </a:lnTo>
                  <a:lnTo>
                    <a:pt x="1146" y="2364"/>
                  </a:lnTo>
                  <a:lnTo>
                    <a:pt x="1146" y="2360"/>
                  </a:lnTo>
                  <a:lnTo>
                    <a:pt x="1145" y="2355"/>
                  </a:lnTo>
                  <a:lnTo>
                    <a:pt x="1142" y="2349"/>
                  </a:lnTo>
                  <a:lnTo>
                    <a:pt x="1141" y="2343"/>
                  </a:lnTo>
                  <a:lnTo>
                    <a:pt x="1141" y="2343"/>
                  </a:lnTo>
                  <a:lnTo>
                    <a:pt x="1139" y="2337"/>
                  </a:lnTo>
                  <a:lnTo>
                    <a:pt x="1138" y="2331"/>
                  </a:lnTo>
                  <a:lnTo>
                    <a:pt x="1133" y="2325"/>
                  </a:lnTo>
                  <a:lnTo>
                    <a:pt x="1129" y="2324"/>
                  </a:lnTo>
                  <a:lnTo>
                    <a:pt x="1129" y="2324"/>
                  </a:lnTo>
                  <a:lnTo>
                    <a:pt x="1121" y="2321"/>
                  </a:lnTo>
                  <a:lnTo>
                    <a:pt x="1112" y="2318"/>
                  </a:lnTo>
                  <a:lnTo>
                    <a:pt x="1103" y="2314"/>
                  </a:lnTo>
                  <a:lnTo>
                    <a:pt x="1096" y="2306"/>
                  </a:lnTo>
                  <a:lnTo>
                    <a:pt x="1096" y="2306"/>
                  </a:lnTo>
                  <a:lnTo>
                    <a:pt x="1095" y="2302"/>
                  </a:lnTo>
                  <a:lnTo>
                    <a:pt x="1092" y="2296"/>
                  </a:lnTo>
                  <a:lnTo>
                    <a:pt x="1090" y="2284"/>
                  </a:lnTo>
                  <a:lnTo>
                    <a:pt x="1090" y="2262"/>
                  </a:lnTo>
                  <a:lnTo>
                    <a:pt x="1090" y="2262"/>
                  </a:lnTo>
                  <a:lnTo>
                    <a:pt x="1092" y="2253"/>
                  </a:lnTo>
                  <a:lnTo>
                    <a:pt x="1093" y="2246"/>
                  </a:lnTo>
                  <a:lnTo>
                    <a:pt x="1096" y="2235"/>
                  </a:lnTo>
                  <a:lnTo>
                    <a:pt x="1096" y="2235"/>
                  </a:lnTo>
                  <a:lnTo>
                    <a:pt x="1099" y="2232"/>
                  </a:lnTo>
                  <a:lnTo>
                    <a:pt x="1103" y="2231"/>
                  </a:lnTo>
                  <a:lnTo>
                    <a:pt x="1108" y="2228"/>
                  </a:lnTo>
                  <a:lnTo>
                    <a:pt x="1112" y="2226"/>
                  </a:lnTo>
                  <a:lnTo>
                    <a:pt x="1112" y="2226"/>
                  </a:lnTo>
                  <a:lnTo>
                    <a:pt x="1114" y="2225"/>
                  </a:lnTo>
                  <a:lnTo>
                    <a:pt x="1114" y="2223"/>
                  </a:lnTo>
                  <a:lnTo>
                    <a:pt x="1111" y="2219"/>
                  </a:lnTo>
                  <a:lnTo>
                    <a:pt x="1102" y="2213"/>
                  </a:lnTo>
                  <a:lnTo>
                    <a:pt x="1102" y="2213"/>
                  </a:lnTo>
                  <a:lnTo>
                    <a:pt x="1099" y="2210"/>
                  </a:lnTo>
                  <a:lnTo>
                    <a:pt x="1102" y="2207"/>
                  </a:lnTo>
                  <a:lnTo>
                    <a:pt x="1111" y="2204"/>
                  </a:lnTo>
                  <a:lnTo>
                    <a:pt x="1111" y="2204"/>
                  </a:lnTo>
                  <a:lnTo>
                    <a:pt x="1115" y="2203"/>
                  </a:lnTo>
                  <a:lnTo>
                    <a:pt x="1118" y="2200"/>
                  </a:lnTo>
                  <a:lnTo>
                    <a:pt x="1121" y="2197"/>
                  </a:lnTo>
                  <a:lnTo>
                    <a:pt x="1121" y="2192"/>
                  </a:lnTo>
                  <a:lnTo>
                    <a:pt x="1121" y="2192"/>
                  </a:lnTo>
                  <a:lnTo>
                    <a:pt x="1123" y="2189"/>
                  </a:lnTo>
                  <a:lnTo>
                    <a:pt x="1126" y="2185"/>
                  </a:lnTo>
                  <a:lnTo>
                    <a:pt x="1136" y="2180"/>
                  </a:lnTo>
                  <a:lnTo>
                    <a:pt x="1136" y="2180"/>
                  </a:lnTo>
                  <a:lnTo>
                    <a:pt x="1142" y="2177"/>
                  </a:lnTo>
                  <a:lnTo>
                    <a:pt x="1148" y="2173"/>
                  </a:lnTo>
                  <a:lnTo>
                    <a:pt x="1152" y="2169"/>
                  </a:lnTo>
                  <a:lnTo>
                    <a:pt x="1157" y="2163"/>
                  </a:lnTo>
                  <a:lnTo>
                    <a:pt x="1157" y="2163"/>
                  </a:lnTo>
                  <a:lnTo>
                    <a:pt x="1157" y="2160"/>
                  </a:lnTo>
                  <a:lnTo>
                    <a:pt x="1155" y="2155"/>
                  </a:lnTo>
                  <a:lnTo>
                    <a:pt x="1152" y="2151"/>
                  </a:lnTo>
                  <a:lnTo>
                    <a:pt x="1151" y="2145"/>
                  </a:lnTo>
                  <a:lnTo>
                    <a:pt x="1151" y="2145"/>
                  </a:lnTo>
                  <a:lnTo>
                    <a:pt x="1152" y="2142"/>
                  </a:lnTo>
                  <a:lnTo>
                    <a:pt x="1154" y="2140"/>
                  </a:lnTo>
                  <a:lnTo>
                    <a:pt x="1160" y="2134"/>
                  </a:lnTo>
                  <a:lnTo>
                    <a:pt x="1167" y="2131"/>
                  </a:lnTo>
                  <a:lnTo>
                    <a:pt x="1169" y="2129"/>
                  </a:lnTo>
                  <a:lnTo>
                    <a:pt x="1170" y="2127"/>
                  </a:lnTo>
                  <a:lnTo>
                    <a:pt x="1170" y="2127"/>
                  </a:lnTo>
                  <a:lnTo>
                    <a:pt x="1170" y="2111"/>
                  </a:lnTo>
                  <a:lnTo>
                    <a:pt x="1170" y="2102"/>
                  </a:lnTo>
                  <a:lnTo>
                    <a:pt x="1169" y="2096"/>
                  </a:lnTo>
                  <a:lnTo>
                    <a:pt x="1169" y="2096"/>
                  </a:lnTo>
                  <a:lnTo>
                    <a:pt x="1169" y="2091"/>
                  </a:lnTo>
                  <a:lnTo>
                    <a:pt x="1170" y="2087"/>
                  </a:lnTo>
                  <a:lnTo>
                    <a:pt x="1173" y="2083"/>
                  </a:lnTo>
                  <a:lnTo>
                    <a:pt x="1178" y="2081"/>
                  </a:lnTo>
                  <a:lnTo>
                    <a:pt x="1178" y="2081"/>
                  </a:lnTo>
                  <a:lnTo>
                    <a:pt x="1180" y="2080"/>
                  </a:lnTo>
                  <a:lnTo>
                    <a:pt x="1180" y="2078"/>
                  </a:lnTo>
                  <a:lnTo>
                    <a:pt x="1182" y="2075"/>
                  </a:lnTo>
                  <a:lnTo>
                    <a:pt x="1180" y="2068"/>
                  </a:lnTo>
                  <a:lnTo>
                    <a:pt x="1180" y="2068"/>
                  </a:lnTo>
                  <a:lnTo>
                    <a:pt x="1182" y="2065"/>
                  </a:lnTo>
                  <a:lnTo>
                    <a:pt x="1183" y="2060"/>
                  </a:lnTo>
                  <a:lnTo>
                    <a:pt x="1186" y="2057"/>
                  </a:lnTo>
                  <a:lnTo>
                    <a:pt x="1188" y="2054"/>
                  </a:lnTo>
                  <a:lnTo>
                    <a:pt x="1188" y="2054"/>
                  </a:lnTo>
                  <a:lnTo>
                    <a:pt x="1186" y="2053"/>
                  </a:lnTo>
                  <a:lnTo>
                    <a:pt x="1185" y="2053"/>
                  </a:lnTo>
                  <a:lnTo>
                    <a:pt x="1180" y="2052"/>
                  </a:lnTo>
                  <a:lnTo>
                    <a:pt x="1170" y="2049"/>
                  </a:lnTo>
                  <a:lnTo>
                    <a:pt x="1170" y="2049"/>
                  </a:lnTo>
                  <a:lnTo>
                    <a:pt x="1167" y="2047"/>
                  </a:lnTo>
                  <a:lnTo>
                    <a:pt x="1164" y="2044"/>
                  </a:lnTo>
                  <a:lnTo>
                    <a:pt x="1164" y="2037"/>
                  </a:lnTo>
                  <a:lnTo>
                    <a:pt x="1164" y="2037"/>
                  </a:lnTo>
                  <a:lnTo>
                    <a:pt x="1163" y="2035"/>
                  </a:lnTo>
                  <a:lnTo>
                    <a:pt x="1160" y="2031"/>
                  </a:lnTo>
                  <a:lnTo>
                    <a:pt x="1157" y="2026"/>
                  </a:lnTo>
                  <a:lnTo>
                    <a:pt x="1154" y="2020"/>
                  </a:lnTo>
                  <a:lnTo>
                    <a:pt x="1154" y="2020"/>
                  </a:lnTo>
                  <a:lnTo>
                    <a:pt x="1152" y="2014"/>
                  </a:lnTo>
                  <a:lnTo>
                    <a:pt x="1151" y="2010"/>
                  </a:lnTo>
                  <a:lnTo>
                    <a:pt x="1154" y="2001"/>
                  </a:lnTo>
                  <a:lnTo>
                    <a:pt x="1154" y="2001"/>
                  </a:lnTo>
                  <a:lnTo>
                    <a:pt x="1155" y="1998"/>
                  </a:lnTo>
                  <a:lnTo>
                    <a:pt x="1160" y="1995"/>
                  </a:lnTo>
                  <a:lnTo>
                    <a:pt x="1163" y="1994"/>
                  </a:lnTo>
                  <a:lnTo>
                    <a:pt x="1163" y="1992"/>
                  </a:lnTo>
                  <a:lnTo>
                    <a:pt x="1163" y="1992"/>
                  </a:lnTo>
                  <a:lnTo>
                    <a:pt x="1160" y="1988"/>
                  </a:lnTo>
                  <a:lnTo>
                    <a:pt x="1158" y="1985"/>
                  </a:lnTo>
                  <a:lnTo>
                    <a:pt x="1158" y="1980"/>
                  </a:lnTo>
                  <a:lnTo>
                    <a:pt x="1158" y="1980"/>
                  </a:lnTo>
                  <a:lnTo>
                    <a:pt x="1158" y="1979"/>
                  </a:lnTo>
                  <a:lnTo>
                    <a:pt x="1160" y="1977"/>
                  </a:lnTo>
                  <a:lnTo>
                    <a:pt x="1164" y="1976"/>
                  </a:lnTo>
                  <a:lnTo>
                    <a:pt x="1169" y="1974"/>
                  </a:lnTo>
                  <a:lnTo>
                    <a:pt x="1172" y="1970"/>
                  </a:lnTo>
                  <a:lnTo>
                    <a:pt x="1172" y="1970"/>
                  </a:lnTo>
                  <a:lnTo>
                    <a:pt x="1173" y="1969"/>
                  </a:lnTo>
                  <a:lnTo>
                    <a:pt x="1173" y="1967"/>
                  </a:lnTo>
                  <a:lnTo>
                    <a:pt x="1170" y="1964"/>
                  </a:lnTo>
                  <a:lnTo>
                    <a:pt x="1166" y="1964"/>
                  </a:lnTo>
                  <a:lnTo>
                    <a:pt x="1161" y="1961"/>
                  </a:lnTo>
                  <a:lnTo>
                    <a:pt x="1161" y="1961"/>
                  </a:lnTo>
                  <a:lnTo>
                    <a:pt x="1160" y="1960"/>
                  </a:lnTo>
                  <a:lnTo>
                    <a:pt x="1158" y="1958"/>
                  </a:lnTo>
                  <a:lnTo>
                    <a:pt x="1160" y="1954"/>
                  </a:lnTo>
                  <a:lnTo>
                    <a:pt x="1163" y="1948"/>
                  </a:lnTo>
                  <a:lnTo>
                    <a:pt x="1164" y="1940"/>
                  </a:lnTo>
                  <a:lnTo>
                    <a:pt x="1164" y="1940"/>
                  </a:lnTo>
                  <a:lnTo>
                    <a:pt x="1166" y="1926"/>
                  </a:lnTo>
                  <a:lnTo>
                    <a:pt x="1167" y="1920"/>
                  </a:lnTo>
                  <a:lnTo>
                    <a:pt x="1172" y="1912"/>
                  </a:lnTo>
                  <a:lnTo>
                    <a:pt x="1172" y="1912"/>
                  </a:lnTo>
                  <a:lnTo>
                    <a:pt x="1175" y="1911"/>
                  </a:lnTo>
                  <a:lnTo>
                    <a:pt x="1178" y="1909"/>
                  </a:lnTo>
                  <a:lnTo>
                    <a:pt x="1180" y="1909"/>
                  </a:lnTo>
                  <a:lnTo>
                    <a:pt x="1185" y="1911"/>
                  </a:lnTo>
                  <a:lnTo>
                    <a:pt x="1198" y="1920"/>
                  </a:lnTo>
                  <a:lnTo>
                    <a:pt x="1198" y="1920"/>
                  </a:lnTo>
                  <a:lnTo>
                    <a:pt x="1204" y="1921"/>
                  </a:lnTo>
                  <a:lnTo>
                    <a:pt x="1209" y="1920"/>
                  </a:lnTo>
                  <a:lnTo>
                    <a:pt x="1213" y="1917"/>
                  </a:lnTo>
                  <a:lnTo>
                    <a:pt x="1218" y="1912"/>
                  </a:lnTo>
                  <a:lnTo>
                    <a:pt x="1218" y="1912"/>
                  </a:lnTo>
                  <a:lnTo>
                    <a:pt x="1220" y="1908"/>
                  </a:lnTo>
                  <a:lnTo>
                    <a:pt x="1223" y="1906"/>
                  </a:lnTo>
                  <a:lnTo>
                    <a:pt x="1229" y="1905"/>
                  </a:lnTo>
                  <a:lnTo>
                    <a:pt x="1237" y="1903"/>
                  </a:lnTo>
                  <a:lnTo>
                    <a:pt x="1237" y="1903"/>
                  </a:lnTo>
                  <a:lnTo>
                    <a:pt x="1241" y="1903"/>
                  </a:lnTo>
                  <a:lnTo>
                    <a:pt x="1244" y="1902"/>
                  </a:lnTo>
                  <a:lnTo>
                    <a:pt x="1246" y="1900"/>
                  </a:lnTo>
                  <a:lnTo>
                    <a:pt x="1247" y="1897"/>
                  </a:lnTo>
                  <a:lnTo>
                    <a:pt x="1247" y="1893"/>
                  </a:lnTo>
                  <a:lnTo>
                    <a:pt x="1247" y="1887"/>
                  </a:lnTo>
                  <a:lnTo>
                    <a:pt x="1247" y="1887"/>
                  </a:lnTo>
                  <a:lnTo>
                    <a:pt x="1247" y="1884"/>
                  </a:lnTo>
                  <a:lnTo>
                    <a:pt x="1246" y="1881"/>
                  </a:lnTo>
                  <a:lnTo>
                    <a:pt x="1241" y="1877"/>
                  </a:lnTo>
                  <a:lnTo>
                    <a:pt x="1237" y="1874"/>
                  </a:lnTo>
                  <a:lnTo>
                    <a:pt x="1234" y="1874"/>
                  </a:lnTo>
                  <a:lnTo>
                    <a:pt x="1234" y="1874"/>
                  </a:lnTo>
                  <a:lnTo>
                    <a:pt x="1231" y="1875"/>
                  </a:lnTo>
                  <a:lnTo>
                    <a:pt x="1226" y="1875"/>
                  </a:lnTo>
                  <a:lnTo>
                    <a:pt x="1220" y="1875"/>
                  </a:lnTo>
                  <a:lnTo>
                    <a:pt x="1213" y="1872"/>
                  </a:lnTo>
                  <a:lnTo>
                    <a:pt x="1213" y="1872"/>
                  </a:lnTo>
                  <a:lnTo>
                    <a:pt x="1209" y="1871"/>
                  </a:lnTo>
                  <a:lnTo>
                    <a:pt x="1206" y="1869"/>
                  </a:lnTo>
                  <a:lnTo>
                    <a:pt x="1204" y="1868"/>
                  </a:lnTo>
                  <a:lnTo>
                    <a:pt x="1203" y="1866"/>
                  </a:lnTo>
                  <a:lnTo>
                    <a:pt x="1203" y="1866"/>
                  </a:lnTo>
                  <a:lnTo>
                    <a:pt x="1195" y="1866"/>
                  </a:lnTo>
                  <a:lnTo>
                    <a:pt x="1191" y="1866"/>
                  </a:lnTo>
                  <a:lnTo>
                    <a:pt x="1186" y="1863"/>
                  </a:lnTo>
                  <a:lnTo>
                    <a:pt x="1186" y="1863"/>
                  </a:lnTo>
                  <a:lnTo>
                    <a:pt x="1182" y="1860"/>
                  </a:lnTo>
                  <a:lnTo>
                    <a:pt x="1178" y="1859"/>
                  </a:lnTo>
                  <a:lnTo>
                    <a:pt x="1170" y="1857"/>
                  </a:lnTo>
                  <a:lnTo>
                    <a:pt x="1170" y="1857"/>
                  </a:lnTo>
                  <a:lnTo>
                    <a:pt x="1166" y="1857"/>
                  </a:lnTo>
                  <a:lnTo>
                    <a:pt x="1164" y="1855"/>
                  </a:lnTo>
                  <a:lnTo>
                    <a:pt x="1161" y="1847"/>
                  </a:lnTo>
                  <a:lnTo>
                    <a:pt x="1161" y="1847"/>
                  </a:lnTo>
                  <a:lnTo>
                    <a:pt x="1158" y="1846"/>
                  </a:lnTo>
                  <a:lnTo>
                    <a:pt x="1155" y="1847"/>
                  </a:lnTo>
                  <a:lnTo>
                    <a:pt x="1146" y="1856"/>
                  </a:lnTo>
                  <a:lnTo>
                    <a:pt x="1146" y="1856"/>
                  </a:lnTo>
                  <a:lnTo>
                    <a:pt x="1145" y="1857"/>
                  </a:lnTo>
                  <a:lnTo>
                    <a:pt x="1142" y="1859"/>
                  </a:lnTo>
                  <a:lnTo>
                    <a:pt x="1141" y="1857"/>
                  </a:lnTo>
                  <a:lnTo>
                    <a:pt x="1139" y="1856"/>
                  </a:lnTo>
                  <a:lnTo>
                    <a:pt x="1136" y="1852"/>
                  </a:lnTo>
                  <a:lnTo>
                    <a:pt x="1135" y="1847"/>
                  </a:lnTo>
                  <a:lnTo>
                    <a:pt x="1135" y="1847"/>
                  </a:lnTo>
                  <a:lnTo>
                    <a:pt x="1132" y="1846"/>
                  </a:lnTo>
                  <a:lnTo>
                    <a:pt x="1130" y="1847"/>
                  </a:lnTo>
                  <a:lnTo>
                    <a:pt x="1123" y="1852"/>
                  </a:lnTo>
                  <a:lnTo>
                    <a:pt x="1123" y="1852"/>
                  </a:lnTo>
                  <a:lnTo>
                    <a:pt x="1118" y="1853"/>
                  </a:lnTo>
                  <a:lnTo>
                    <a:pt x="1115" y="1853"/>
                  </a:lnTo>
                  <a:lnTo>
                    <a:pt x="1112" y="1850"/>
                  </a:lnTo>
                  <a:lnTo>
                    <a:pt x="1112" y="1847"/>
                  </a:lnTo>
                  <a:lnTo>
                    <a:pt x="1112" y="1847"/>
                  </a:lnTo>
                  <a:lnTo>
                    <a:pt x="1112" y="1840"/>
                  </a:lnTo>
                  <a:lnTo>
                    <a:pt x="1117" y="1829"/>
                  </a:lnTo>
                  <a:lnTo>
                    <a:pt x="1121" y="1816"/>
                  </a:lnTo>
                  <a:lnTo>
                    <a:pt x="1121" y="1816"/>
                  </a:lnTo>
                  <a:lnTo>
                    <a:pt x="1123" y="1816"/>
                  </a:lnTo>
                  <a:lnTo>
                    <a:pt x="1126" y="1816"/>
                  </a:lnTo>
                  <a:lnTo>
                    <a:pt x="1129" y="1818"/>
                  </a:lnTo>
                  <a:lnTo>
                    <a:pt x="1132" y="1818"/>
                  </a:lnTo>
                  <a:lnTo>
                    <a:pt x="1132" y="1818"/>
                  </a:lnTo>
                  <a:lnTo>
                    <a:pt x="1133" y="1816"/>
                  </a:lnTo>
                  <a:lnTo>
                    <a:pt x="1133" y="1816"/>
                  </a:lnTo>
                  <a:lnTo>
                    <a:pt x="1130" y="1812"/>
                  </a:lnTo>
                  <a:lnTo>
                    <a:pt x="1123" y="1803"/>
                  </a:lnTo>
                  <a:lnTo>
                    <a:pt x="1123" y="1803"/>
                  </a:lnTo>
                  <a:lnTo>
                    <a:pt x="1120" y="1798"/>
                  </a:lnTo>
                  <a:lnTo>
                    <a:pt x="1120" y="1797"/>
                  </a:lnTo>
                  <a:lnTo>
                    <a:pt x="1121" y="1795"/>
                  </a:lnTo>
                  <a:lnTo>
                    <a:pt x="1124" y="1794"/>
                  </a:lnTo>
                  <a:lnTo>
                    <a:pt x="1127" y="1791"/>
                  </a:lnTo>
                  <a:lnTo>
                    <a:pt x="1127" y="1791"/>
                  </a:lnTo>
                  <a:lnTo>
                    <a:pt x="1136" y="1780"/>
                  </a:lnTo>
                  <a:lnTo>
                    <a:pt x="1141" y="1775"/>
                  </a:lnTo>
                  <a:lnTo>
                    <a:pt x="1142" y="1769"/>
                  </a:lnTo>
                  <a:lnTo>
                    <a:pt x="1142" y="1769"/>
                  </a:lnTo>
                  <a:lnTo>
                    <a:pt x="1142" y="1760"/>
                  </a:lnTo>
                  <a:lnTo>
                    <a:pt x="1143" y="1755"/>
                  </a:lnTo>
                  <a:lnTo>
                    <a:pt x="1148" y="1752"/>
                  </a:lnTo>
                  <a:lnTo>
                    <a:pt x="1148" y="1752"/>
                  </a:lnTo>
                  <a:lnTo>
                    <a:pt x="1158" y="1745"/>
                  </a:lnTo>
                  <a:lnTo>
                    <a:pt x="1163" y="1740"/>
                  </a:lnTo>
                  <a:lnTo>
                    <a:pt x="1164" y="1738"/>
                  </a:lnTo>
                  <a:lnTo>
                    <a:pt x="1164" y="1738"/>
                  </a:lnTo>
                  <a:lnTo>
                    <a:pt x="1160" y="1733"/>
                  </a:lnTo>
                  <a:lnTo>
                    <a:pt x="1149" y="1729"/>
                  </a:lnTo>
                  <a:lnTo>
                    <a:pt x="1139" y="1724"/>
                  </a:lnTo>
                  <a:lnTo>
                    <a:pt x="1132" y="1720"/>
                  </a:lnTo>
                  <a:lnTo>
                    <a:pt x="1132" y="1720"/>
                  </a:lnTo>
                  <a:lnTo>
                    <a:pt x="1130" y="1717"/>
                  </a:lnTo>
                  <a:lnTo>
                    <a:pt x="1129" y="1712"/>
                  </a:lnTo>
                  <a:lnTo>
                    <a:pt x="1129" y="1701"/>
                  </a:lnTo>
                  <a:lnTo>
                    <a:pt x="1130" y="1689"/>
                  </a:lnTo>
                  <a:lnTo>
                    <a:pt x="1130" y="1677"/>
                  </a:lnTo>
                  <a:lnTo>
                    <a:pt x="1130" y="1677"/>
                  </a:lnTo>
                  <a:lnTo>
                    <a:pt x="1127" y="1671"/>
                  </a:lnTo>
                  <a:lnTo>
                    <a:pt x="1124" y="1666"/>
                  </a:lnTo>
                  <a:lnTo>
                    <a:pt x="1120" y="1663"/>
                  </a:lnTo>
                  <a:lnTo>
                    <a:pt x="1117" y="1658"/>
                  </a:lnTo>
                  <a:lnTo>
                    <a:pt x="1117" y="1658"/>
                  </a:lnTo>
                  <a:lnTo>
                    <a:pt x="1115" y="1653"/>
                  </a:lnTo>
                  <a:lnTo>
                    <a:pt x="1114" y="1650"/>
                  </a:lnTo>
                  <a:lnTo>
                    <a:pt x="1115" y="1641"/>
                  </a:lnTo>
                  <a:lnTo>
                    <a:pt x="1118" y="1634"/>
                  </a:lnTo>
                  <a:lnTo>
                    <a:pt x="1120" y="1628"/>
                  </a:lnTo>
                  <a:lnTo>
                    <a:pt x="1120" y="1628"/>
                  </a:lnTo>
                  <a:lnTo>
                    <a:pt x="1121" y="1613"/>
                  </a:lnTo>
                  <a:lnTo>
                    <a:pt x="1121" y="1606"/>
                  </a:lnTo>
                  <a:lnTo>
                    <a:pt x="1121" y="1601"/>
                  </a:lnTo>
                  <a:lnTo>
                    <a:pt x="1121" y="1601"/>
                  </a:lnTo>
                  <a:lnTo>
                    <a:pt x="1118" y="1600"/>
                  </a:lnTo>
                  <a:lnTo>
                    <a:pt x="1115" y="1598"/>
                  </a:lnTo>
                  <a:lnTo>
                    <a:pt x="1112" y="1597"/>
                  </a:lnTo>
                  <a:lnTo>
                    <a:pt x="1108" y="1594"/>
                  </a:lnTo>
                  <a:lnTo>
                    <a:pt x="1108" y="1594"/>
                  </a:lnTo>
                  <a:lnTo>
                    <a:pt x="1106" y="1591"/>
                  </a:lnTo>
                  <a:lnTo>
                    <a:pt x="1106" y="1589"/>
                  </a:lnTo>
                  <a:lnTo>
                    <a:pt x="1106" y="1586"/>
                  </a:lnTo>
                  <a:lnTo>
                    <a:pt x="1105" y="1585"/>
                  </a:lnTo>
                  <a:lnTo>
                    <a:pt x="1105" y="1585"/>
                  </a:lnTo>
                  <a:lnTo>
                    <a:pt x="1102" y="1584"/>
                  </a:lnTo>
                  <a:lnTo>
                    <a:pt x="1096" y="1584"/>
                  </a:lnTo>
                  <a:lnTo>
                    <a:pt x="1090" y="1582"/>
                  </a:lnTo>
                  <a:lnTo>
                    <a:pt x="1089" y="1581"/>
                  </a:lnTo>
                  <a:lnTo>
                    <a:pt x="1086" y="1579"/>
                  </a:lnTo>
                  <a:lnTo>
                    <a:pt x="1086" y="1579"/>
                  </a:lnTo>
                  <a:lnTo>
                    <a:pt x="1086" y="1576"/>
                  </a:lnTo>
                  <a:lnTo>
                    <a:pt x="1087" y="1573"/>
                  </a:lnTo>
                  <a:lnTo>
                    <a:pt x="1101" y="1567"/>
                  </a:lnTo>
                  <a:lnTo>
                    <a:pt x="1101" y="1567"/>
                  </a:lnTo>
                  <a:lnTo>
                    <a:pt x="1106" y="1564"/>
                  </a:lnTo>
                  <a:lnTo>
                    <a:pt x="1108" y="1561"/>
                  </a:lnTo>
                  <a:lnTo>
                    <a:pt x="1109" y="1557"/>
                  </a:lnTo>
                  <a:lnTo>
                    <a:pt x="1111" y="1551"/>
                  </a:lnTo>
                  <a:lnTo>
                    <a:pt x="1111" y="1551"/>
                  </a:lnTo>
                  <a:lnTo>
                    <a:pt x="1114" y="1545"/>
                  </a:lnTo>
                  <a:lnTo>
                    <a:pt x="1117" y="1544"/>
                  </a:lnTo>
                  <a:lnTo>
                    <a:pt x="1127" y="1542"/>
                  </a:lnTo>
                  <a:lnTo>
                    <a:pt x="1127" y="1542"/>
                  </a:lnTo>
                  <a:lnTo>
                    <a:pt x="1130" y="1541"/>
                  </a:lnTo>
                  <a:lnTo>
                    <a:pt x="1133" y="1539"/>
                  </a:lnTo>
                  <a:lnTo>
                    <a:pt x="1136" y="1532"/>
                  </a:lnTo>
                  <a:lnTo>
                    <a:pt x="1138" y="1523"/>
                  </a:lnTo>
                  <a:lnTo>
                    <a:pt x="1136" y="1512"/>
                  </a:lnTo>
                  <a:lnTo>
                    <a:pt x="1136" y="1512"/>
                  </a:lnTo>
                  <a:lnTo>
                    <a:pt x="1133" y="1495"/>
                  </a:lnTo>
                  <a:lnTo>
                    <a:pt x="1132" y="1469"/>
                  </a:lnTo>
                  <a:lnTo>
                    <a:pt x="1129" y="1425"/>
                  </a:lnTo>
                  <a:lnTo>
                    <a:pt x="1129" y="1425"/>
                  </a:lnTo>
                  <a:lnTo>
                    <a:pt x="1126" y="1404"/>
                  </a:lnTo>
                  <a:lnTo>
                    <a:pt x="1124" y="1397"/>
                  </a:lnTo>
                  <a:lnTo>
                    <a:pt x="1123" y="1388"/>
                  </a:lnTo>
                  <a:lnTo>
                    <a:pt x="1123" y="1388"/>
                  </a:lnTo>
                  <a:lnTo>
                    <a:pt x="1123" y="1369"/>
                  </a:lnTo>
                  <a:lnTo>
                    <a:pt x="1120" y="1358"/>
                  </a:lnTo>
                  <a:lnTo>
                    <a:pt x="1117" y="1350"/>
                  </a:lnTo>
                  <a:lnTo>
                    <a:pt x="1117" y="1350"/>
                  </a:lnTo>
                  <a:lnTo>
                    <a:pt x="1109" y="1339"/>
                  </a:lnTo>
                  <a:lnTo>
                    <a:pt x="1099" y="1329"/>
                  </a:lnTo>
                  <a:lnTo>
                    <a:pt x="1090" y="1318"/>
                  </a:lnTo>
                  <a:lnTo>
                    <a:pt x="1086" y="1311"/>
                  </a:lnTo>
                  <a:lnTo>
                    <a:pt x="1086" y="1311"/>
                  </a:lnTo>
                  <a:lnTo>
                    <a:pt x="1084" y="1301"/>
                  </a:lnTo>
                  <a:lnTo>
                    <a:pt x="1084" y="1296"/>
                  </a:lnTo>
                  <a:lnTo>
                    <a:pt x="1086" y="1292"/>
                  </a:lnTo>
                  <a:lnTo>
                    <a:pt x="1086" y="1292"/>
                  </a:lnTo>
                  <a:lnTo>
                    <a:pt x="1095" y="1290"/>
                  </a:lnTo>
                  <a:lnTo>
                    <a:pt x="1095" y="1290"/>
                  </a:lnTo>
                  <a:lnTo>
                    <a:pt x="1096" y="1290"/>
                  </a:lnTo>
                  <a:lnTo>
                    <a:pt x="1096" y="1290"/>
                  </a:lnTo>
                  <a:lnTo>
                    <a:pt x="1105" y="1287"/>
                  </a:lnTo>
                  <a:lnTo>
                    <a:pt x="1105" y="1287"/>
                  </a:lnTo>
                  <a:lnTo>
                    <a:pt x="1112" y="1284"/>
                  </a:lnTo>
                  <a:lnTo>
                    <a:pt x="1120" y="1278"/>
                  </a:lnTo>
                  <a:lnTo>
                    <a:pt x="1120" y="1278"/>
                  </a:lnTo>
                  <a:lnTo>
                    <a:pt x="1136" y="1270"/>
                  </a:lnTo>
                  <a:lnTo>
                    <a:pt x="1149" y="1264"/>
                  </a:lnTo>
                  <a:lnTo>
                    <a:pt x="1149" y="1264"/>
                  </a:lnTo>
                  <a:lnTo>
                    <a:pt x="1152" y="1261"/>
                  </a:lnTo>
                  <a:lnTo>
                    <a:pt x="1155" y="1256"/>
                  </a:lnTo>
                  <a:lnTo>
                    <a:pt x="1161" y="1249"/>
                  </a:lnTo>
                  <a:lnTo>
                    <a:pt x="1161" y="1249"/>
                  </a:lnTo>
                  <a:lnTo>
                    <a:pt x="1166" y="1247"/>
                  </a:lnTo>
                  <a:lnTo>
                    <a:pt x="1172" y="1247"/>
                  </a:lnTo>
                  <a:lnTo>
                    <a:pt x="1185" y="1249"/>
                  </a:lnTo>
                  <a:lnTo>
                    <a:pt x="1185" y="1249"/>
                  </a:lnTo>
                  <a:lnTo>
                    <a:pt x="1191" y="1250"/>
                  </a:lnTo>
                  <a:lnTo>
                    <a:pt x="1197" y="1249"/>
                  </a:lnTo>
                  <a:lnTo>
                    <a:pt x="1201" y="1247"/>
                  </a:lnTo>
                  <a:lnTo>
                    <a:pt x="1204" y="1244"/>
                  </a:lnTo>
                  <a:lnTo>
                    <a:pt x="1204" y="1244"/>
                  </a:lnTo>
                  <a:lnTo>
                    <a:pt x="1204" y="1240"/>
                  </a:lnTo>
                  <a:lnTo>
                    <a:pt x="1204" y="1234"/>
                  </a:lnTo>
                  <a:lnTo>
                    <a:pt x="1206" y="1228"/>
                  </a:lnTo>
                  <a:lnTo>
                    <a:pt x="1207" y="1224"/>
                  </a:lnTo>
                  <a:lnTo>
                    <a:pt x="1207" y="1224"/>
                  </a:lnTo>
                  <a:lnTo>
                    <a:pt x="1210" y="1221"/>
                  </a:lnTo>
                  <a:lnTo>
                    <a:pt x="1212" y="1218"/>
                  </a:lnTo>
                  <a:lnTo>
                    <a:pt x="1210" y="1215"/>
                  </a:lnTo>
                  <a:lnTo>
                    <a:pt x="1206" y="1210"/>
                  </a:lnTo>
                  <a:lnTo>
                    <a:pt x="1206" y="1210"/>
                  </a:lnTo>
                  <a:lnTo>
                    <a:pt x="1197" y="1204"/>
                  </a:lnTo>
                  <a:lnTo>
                    <a:pt x="1195" y="1204"/>
                  </a:lnTo>
                  <a:lnTo>
                    <a:pt x="1195" y="1203"/>
                  </a:lnTo>
                  <a:lnTo>
                    <a:pt x="1200" y="1200"/>
                  </a:lnTo>
                  <a:lnTo>
                    <a:pt x="1200" y="1200"/>
                  </a:lnTo>
                  <a:lnTo>
                    <a:pt x="1204" y="1197"/>
                  </a:lnTo>
                  <a:lnTo>
                    <a:pt x="1207" y="1194"/>
                  </a:lnTo>
                  <a:lnTo>
                    <a:pt x="1209" y="1191"/>
                  </a:lnTo>
                  <a:lnTo>
                    <a:pt x="1209" y="1187"/>
                  </a:lnTo>
                  <a:lnTo>
                    <a:pt x="1209" y="1187"/>
                  </a:lnTo>
                  <a:lnTo>
                    <a:pt x="1210" y="1182"/>
                  </a:lnTo>
                  <a:lnTo>
                    <a:pt x="1213" y="1178"/>
                  </a:lnTo>
                  <a:lnTo>
                    <a:pt x="1218" y="1175"/>
                  </a:lnTo>
                  <a:lnTo>
                    <a:pt x="1223" y="1173"/>
                  </a:lnTo>
                  <a:lnTo>
                    <a:pt x="1223" y="1173"/>
                  </a:lnTo>
                  <a:lnTo>
                    <a:pt x="1228" y="1173"/>
                  </a:lnTo>
                  <a:lnTo>
                    <a:pt x="1231" y="1172"/>
                  </a:lnTo>
                  <a:lnTo>
                    <a:pt x="1231" y="1169"/>
                  </a:lnTo>
                  <a:lnTo>
                    <a:pt x="1229" y="1164"/>
                  </a:lnTo>
                  <a:lnTo>
                    <a:pt x="1229" y="1164"/>
                  </a:lnTo>
                  <a:lnTo>
                    <a:pt x="1225" y="1158"/>
                  </a:lnTo>
                  <a:lnTo>
                    <a:pt x="1219" y="1154"/>
                  </a:lnTo>
                  <a:lnTo>
                    <a:pt x="1218" y="1151"/>
                  </a:lnTo>
                  <a:lnTo>
                    <a:pt x="1218" y="1148"/>
                  </a:lnTo>
                  <a:lnTo>
                    <a:pt x="1219" y="1145"/>
                  </a:lnTo>
                  <a:lnTo>
                    <a:pt x="1223" y="1144"/>
                  </a:lnTo>
                  <a:lnTo>
                    <a:pt x="1223" y="1144"/>
                  </a:lnTo>
                  <a:lnTo>
                    <a:pt x="1228" y="1141"/>
                  </a:lnTo>
                  <a:lnTo>
                    <a:pt x="1229" y="1138"/>
                  </a:lnTo>
                  <a:lnTo>
                    <a:pt x="1232" y="1133"/>
                  </a:lnTo>
                  <a:lnTo>
                    <a:pt x="1235" y="1129"/>
                  </a:lnTo>
                  <a:lnTo>
                    <a:pt x="1237" y="1127"/>
                  </a:lnTo>
                  <a:lnTo>
                    <a:pt x="1241" y="1127"/>
                  </a:lnTo>
                  <a:lnTo>
                    <a:pt x="1241" y="1127"/>
                  </a:lnTo>
                  <a:lnTo>
                    <a:pt x="1249" y="1126"/>
                  </a:lnTo>
                  <a:lnTo>
                    <a:pt x="1255" y="1124"/>
                  </a:lnTo>
                  <a:lnTo>
                    <a:pt x="1259" y="1120"/>
                  </a:lnTo>
                  <a:lnTo>
                    <a:pt x="1262" y="1116"/>
                  </a:lnTo>
                  <a:lnTo>
                    <a:pt x="1262" y="1116"/>
                  </a:lnTo>
                  <a:lnTo>
                    <a:pt x="1268" y="1110"/>
                  </a:lnTo>
                  <a:lnTo>
                    <a:pt x="1274" y="1107"/>
                  </a:lnTo>
                  <a:lnTo>
                    <a:pt x="1280" y="1104"/>
                  </a:lnTo>
                  <a:lnTo>
                    <a:pt x="1286" y="1099"/>
                  </a:lnTo>
                  <a:lnTo>
                    <a:pt x="1286" y="1099"/>
                  </a:lnTo>
                  <a:lnTo>
                    <a:pt x="1290" y="1093"/>
                  </a:lnTo>
                  <a:lnTo>
                    <a:pt x="1293" y="1089"/>
                  </a:lnTo>
                  <a:lnTo>
                    <a:pt x="1295" y="1080"/>
                  </a:lnTo>
                  <a:lnTo>
                    <a:pt x="1295" y="1080"/>
                  </a:lnTo>
                  <a:lnTo>
                    <a:pt x="1296" y="1070"/>
                  </a:lnTo>
                  <a:lnTo>
                    <a:pt x="1295" y="1064"/>
                  </a:lnTo>
                  <a:lnTo>
                    <a:pt x="1293" y="1061"/>
                  </a:lnTo>
                  <a:lnTo>
                    <a:pt x="1293" y="1061"/>
                  </a:lnTo>
                  <a:lnTo>
                    <a:pt x="1290" y="1059"/>
                  </a:lnTo>
                  <a:lnTo>
                    <a:pt x="1284" y="1061"/>
                  </a:lnTo>
                  <a:lnTo>
                    <a:pt x="1280" y="1059"/>
                  </a:lnTo>
                  <a:lnTo>
                    <a:pt x="1277" y="1058"/>
                  </a:lnTo>
                  <a:lnTo>
                    <a:pt x="1275" y="1055"/>
                  </a:lnTo>
                  <a:lnTo>
                    <a:pt x="1275" y="1055"/>
                  </a:lnTo>
                  <a:lnTo>
                    <a:pt x="1268" y="1030"/>
                  </a:lnTo>
                  <a:lnTo>
                    <a:pt x="1263" y="1007"/>
                  </a:lnTo>
                  <a:lnTo>
                    <a:pt x="1263" y="1007"/>
                  </a:lnTo>
                  <a:lnTo>
                    <a:pt x="1265" y="988"/>
                  </a:lnTo>
                  <a:lnTo>
                    <a:pt x="1265" y="982"/>
                  </a:lnTo>
                  <a:lnTo>
                    <a:pt x="1263" y="978"/>
                  </a:lnTo>
                  <a:lnTo>
                    <a:pt x="1260" y="972"/>
                  </a:lnTo>
                  <a:lnTo>
                    <a:pt x="1257" y="969"/>
                  </a:lnTo>
                  <a:lnTo>
                    <a:pt x="1257" y="969"/>
                  </a:lnTo>
                  <a:lnTo>
                    <a:pt x="1249" y="964"/>
                  </a:lnTo>
                  <a:lnTo>
                    <a:pt x="1238" y="961"/>
                  </a:lnTo>
                  <a:lnTo>
                    <a:pt x="1229" y="959"/>
                  </a:lnTo>
                  <a:lnTo>
                    <a:pt x="1225" y="956"/>
                  </a:lnTo>
                  <a:lnTo>
                    <a:pt x="1225" y="956"/>
                  </a:lnTo>
                  <a:lnTo>
                    <a:pt x="1223" y="954"/>
                  </a:lnTo>
                  <a:lnTo>
                    <a:pt x="1222" y="951"/>
                  </a:lnTo>
                  <a:lnTo>
                    <a:pt x="1222" y="948"/>
                  </a:lnTo>
                  <a:lnTo>
                    <a:pt x="1225" y="945"/>
                  </a:lnTo>
                  <a:lnTo>
                    <a:pt x="1225" y="945"/>
                  </a:lnTo>
                  <a:lnTo>
                    <a:pt x="1229" y="939"/>
                  </a:lnTo>
                  <a:lnTo>
                    <a:pt x="1231" y="938"/>
                  </a:lnTo>
                  <a:lnTo>
                    <a:pt x="1229" y="935"/>
                  </a:lnTo>
                  <a:lnTo>
                    <a:pt x="1229" y="935"/>
                  </a:lnTo>
                  <a:lnTo>
                    <a:pt x="1225" y="933"/>
                  </a:lnTo>
                  <a:lnTo>
                    <a:pt x="1220" y="933"/>
                  </a:lnTo>
                  <a:lnTo>
                    <a:pt x="1218" y="932"/>
                  </a:lnTo>
                  <a:lnTo>
                    <a:pt x="1216" y="930"/>
                  </a:lnTo>
                  <a:lnTo>
                    <a:pt x="1216" y="930"/>
                  </a:lnTo>
                  <a:lnTo>
                    <a:pt x="1215" y="927"/>
                  </a:lnTo>
                  <a:lnTo>
                    <a:pt x="1213" y="923"/>
                  </a:lnTo>
                  <a:lnTo>
                    <a:pt x="1213" y="923"/>
                  </a:lnTo>
                  <a:lnTo>
                    <a:pt x="1210" y="920"/>
                  </a:lnTo>
                  <a:lnTo>
                    <a:pt x="1207" y="919"/>
                  </a:lnTo>
                  <a:lnTo>
                    <a:pt x="1204" y="917"/>
                  </a:lnTo>
                  <a:lnTo>
                    <a:pt x="1204" y="916"/>
                  </a:lnTo>
                  <a:lnTo>
                    <a:pt x="1204" y="916"/>
                  </a:lnTo>
                  <a:lnTo>
                    <a:pt x="1203" y="871"/>
                  </a:lnTo>
                  <a:lnTo>
                    <a:pt x="1203" y="871"/>
                  </a:lnTo>
                  <a:lnTo>
                    <a:pt x="1195" y="870"/>
                  </a:lnTo>
                  <a:lnTo>
                    <a:pt x="1189" y="868"/>
                  </a:lnTo>
                  <a:lnTo>
                    <a:pt x="1186" y="867"/>
                  </a:lnTo>
                  <a:lnTo>
                    <a:pt x="1186" y="867"/>
                  </a:lnTo>
                  <a:lnTo>
                    <a:pt x="1186" y="865"/>
                  </a:lnTo>
                  <a:lnTo>
                    <a:pt x="1186" y="864"/>
                  </a:lnTo>
                  <a:lnTo>
                    <a:pt x="1188" y="861"/>
                  </a:lnTo>
                  <a:lnTo>
                    <a:pt x="1188" y="858"/>
                  </a:lnTo>
                  <a:lnTo>
                    <a:pt x="1188" y="858"/>
                  </a:lnTo>
                  <a:lnTo>
                    <a:pt x="1188" y="855"/>
                  </a:lnTo>
                  <a:lnTo>
                    <a:pt x="1186" y="852"/>
                  </a:lnTo>
                  <a:lnTo>
                    <a:pt x="1183" y="846"/>
                  </a:lnTo>
                  <a:lnTo>
                    <a:pt x="1183" y="846"/>
                  </a:lnTo>
                  <a:lnTo>
                    <a:pt x="1183" y="842"/>
                  </a:lnTo>
                  <a:lnTo>
                    <a:pt x="1183" y="839"/>
                  </a:lnTo>
                  <a:lnTo>
                    <a:pt x="1186" y="836"/>
                  </a:lnTo>
                  <a:lnTo>
                    <a:pt x="1189" y="833"/>
                  </a:lnTo>
                  <a:lnTo>
                    <a:pt x="1189" y="833"/>
                  </a:lnTo>
                  <a:lnTo>
                    <a:pt x="1191" y="831"/>
                  </a:lnTo>
                  <a:lnTo>
                    <a:pt x="1191" y="830"/>
                  </a:lnTo>
                  <a:lnTo>
                    <a:pt x="1188" y="827"/>
                  </a:lnTo>
                  <a:lnTo>
                    <a:pt x="1180" y="824"/>
                  </a:lnTo>
                  <a:lnTo>
                    <a:pt x="1180" y="824"/>
                  </a:lnTo>
                  <a:lnTo>
                    <a:pt x="1170" y="831"/>
                  </a:lnTo>
                  <a:lnTo>
                    <a:pt x="1170" y="831"/>
                  </a:lnTo>
                  <a:lnTo>
                    <a:pt x="1149" y="847"/>
                  </a:lnTo>
                  <a:lnTo>
                    <a:pt x="1129" y="865"/>
                  </a:lnTo>
                  <a:lnTo>
                    <a:pt x="1129" y="865"/>
                  </a:lnTo>
                  <a:lnTo>
                    <a:pt x="1121" y="870"/>
                  </a:lnTo>
                  <a:lnTo>
                    <a:pt x="1109" y="877"/>
                  </a:lnTo>
                  <a:lnTo>
                    <a:pt x="1096" y="884"/>
                  </a:lnTo>
                  <a:lnTo>
                    <a:pt x="1087" y="889"/>
                  </a:lnTo>
                  <a:lnTo>
                    <a:pt x="1087" y="889"/>
                  </a:lnTo>
                  <a:lnTo>
                    <a:pt x="1071" y="892"/>
                  </a:lnTo>
                  <a:lnTo>
                    <a:pt x="1064" y="895"/>
                  </a:lnTo>
                  <a:lnTo>
                    <a:pt x="1059" y="896"/>
                  </a:lnTo>
                  <a:lnTo>
                    <a:pt x="1059" y="896"/>
                  </a:lnTo>
                  <a:lnTo>
                    <a:pt x="1055" y="901"/>
                  </a:lnTo>
                  <a:lnTo>
                    <a:pt x="1053" y="908"/>
                  </a:lnTo>
                  <a:lnTo>
                    <a:pt x="1050" y="921"/>
                  </a:lnTo>
                  <a:lnTo>
                    <a:pt x="1050" y="921"/>
                  </a:lnTo>
                  <a:lnTo>
                    <a:pt x="1049" y="926"/>
                  </a:lnTo>
                  <a:lnTo>
                    <a:pt x="1046" y="932"/>
                  </a:lnTo>
                  <a:lnTo>
                    <a:pt x="1038" y="939"/>
                  </a:lnTo>
                  <a:lnTo>
                    <a:pt x="1038" y="939"/>
                  </a:lnTo>
                  <a:lnTo>
                    <a:pt x="1034" y="942"/>
                  </a:lnTo>
                  <a:lnTo>
                    <a:pt x="1025" y="945"/>
                  </a:lnTo>
                  <a:lnTo>
                    <a:pt x="1016" y="948"/>
                  </a:lnTo>
                  <a:lnTo>
                    <a:pt x="1010" y="948"/>
                  </a:lnTo>
                  <a:lnTo>
                    <a:pt x="1010" y="948"/>
                  </a:lnTo>
                  <a:lnTo>
                    <a:pt x="1009" y="947"/>
                  </a:lnTo>
                  <a:lnTo>
                    <a:pt x="1009" y="945"/>
                  </a:lnTo>
                  <a:lnTo>
                    <a:pt x="1012" y="941"/>
                  </a:lnTo>
                  <a:lnTo>
                    <a:pt x="1019" y="933"/>
                  </a:lnTo>
                  <a:lnTo>
                    <a:pt x="1019" y="933"/>
                  </a:lnTo>
                  <a:lnTo>
                    <a:pt x="1029" y="923"/>
                  </a:lnTo>
                  <a:lnTo>
                    <a:pt x="1040" y="910"/>
                  </a:lnTo>
                  <a:lnTo>
                    <a:pt x="1040" y="910"/>
                  </a:lnTo>
                  <a:lnTo>
                    <a:pt x="1043" y="904"/>
                  </a:lnTo>
                  <a:lnTo>
                    <a:pt x="1047" y="895"/>
                  </a:lnTo>
                  <a:lnTo>
                    <a:pt x="1050" y="880"/>
                  </a:lnTo>
                  <a:lnTo>
                    <a:pt x="1050" y="880"/>
                  </a:lnTo>
                  <a:lnTo>
                    <a:pt x="1053" y="876"/>
                  </a:lnTo>
                  <a:lnTo>
                    <a:pt x="1058" y="871"/>
                  </a:lnTo>
                  <a:lnTo>
                    <a:pt x="1066" y="864"/>
                  </a:lnTo>
                  <a:lnTo>
                    <a:pt x="1066" y="864"/>
                  </a:lnTo>
                  <a:lnTo>
                    <a:pt x="1074" y="858"/>
                  </a:lnTo>
                  <a:lnTo>
                    <a:pt x="1087" y="846"/>
                  </a:lnTo>
                  <a:lnTo>
                    <a:pt x="1109" y="824"/>
                  </a:lnTo>
                  <a:lnTo>
                    <a:pt x="1109" y="824"/>
                  </a:lnTo>
                  <a:lnTo>
                    <a:pt x="1129" y="802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45" y="775"/>
                  </a:lnTo>
                  <a:lnTo>
                    <a:pt x="1146" y="769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6" y="762"/>
                  </a:lnTo>
                  <a:lnTo>
                    <a:pt x="1145" y="757"/>
                  </a:lnTo>
                  <a:lnTo>
                    <a:pt x="1142" y="754"/>
                  </a:lnTo>
                  <a:lnTo>
                    <a:pt x="1142" y="751"/>
                  </a:lnTo>
                  <a:lnTo>
                    <a:pt x="1142" y="751"/>
                  </a:lnTo>
                  <a:lnTo>
                    <a:pt x="1143" y="748"/>
                  </a:lnTo>
                  <a:lnTo>
                    <a:pt x="1148" y="745"/>
                  </a:lnTo>
                  <a:lnTo>
                    <a:pt x="1158" y="742"/>
                  </a:lnTo>
                  <a:lnTo>
                    <a:pt x="1158" y="742"/>
                  </a:lnTo>
                  <a:lnTo>
                    <a:pt x="1164" y="738"/>
                  </a:lnTo>
                  <a:lnTo>
                    <a:pt x="1173" y="730"/>
                  </a:lnTo>
                  <a:lnTo>
                    <a:pt x="1186" y="717"/>
                  </a:lnTo>
                  <a:lnTo>
                    <a:pt x="1186" y="717"/>
                  </a:lnTo>
                  <a:lnTo>
                    <a:pt x="1201" y="695"/>
                  </a:lnTo>
                  <a:lnTo>
                    <a:pt x="1216" y="674"/>
                  </a:lnTo>
                  <a:lnTo>
                    <a:pt x="1216" y="674"/>
                  </a:lnTo>
                  <a:lnTo>
                    <a:pt x="1225" y="653"/>
                  </a:lnTo>
                  <a:lnTo>
                    <a:pt x="1234" y="631"/>
                  </a:lnTo>
                  <a:lnTo>
                    <a:pt x="1234" y="631"/>
                  </a:lnTo>
                  <a:lnTo>
                    <a:pt x="1234" y="625"/>
                  </a:lnTo>
                  <a:lnTo>
                    <a:pt x="1234" y="618"/>
                  </a:lnTo>
                  <a:lnTo>
                    <a:pt x="1232" y="610"/>
                  </a:lnTo>
                  <a:lnTo>
                    <a:pt x="1229" y="605"/>
                  </a:lnTo>
                  <a:lnTo>
                    <a:pt x="1229" y="605"/>
                  </a:lnTo>
                  <a:lnTo>
                    <a:pt x="1226" y="602"/>
                  </a:lnTo>
                  <a:lnTo>
                    <a:pt x="1225" y="600"/>
                  </a:lnTo>
                  <a:lnTo>
                    <a:pt x="1218" y="596"/>
                  </a:lnTo>
                  <a:lnTo>
                    <a:pt x="1218" y="596"/>
                  </a:lnTo>
                  <a:lnTo>
                    <a:pt x="1207" y="590"/>
                  </a:lnTo>
                  <a:lnTo>
                    <a:pt x="1198" y="582"/>
                  </a:lnTo>
                  <a:lnTo>
                    <a:pt x="1198" y="582"/>
                  </a:lnTo>
                  <a:lnTo>
                    <a:pt x="1195" y="579"/>
                  </a:lnTo>
                  <a:lnTo>
                    <a:pt x="1197" y="576"/>
                  </a:lnTo>
                  <a:lnTo>
                    <a:pt x="1200" y="575"/>
                  </a:lnTo>
                  <a:lnTo>
                    <a:pt x="1203" y="573"/>
                  </a:lnTo>
                  <a:lnTo>
                    <a:pt x="1203" y="573"/>
                  </a:lnTo>
                  <a:lnTo>
                    <a:pt x="1207" y="573"/>
                  </a:lnTo>
                  <a:lnTo>
                    <a:pt x="1213" y="576"/>
                  </a:lnTo>
                  <a:lnTo>
                    <a:pt x="1219" y="578"/>
                  </a:lnTo>
                  <a:lnTo>
                    <a:pt x="1225" y="579"/>
                  </a:lnTo>
                  <a:lnTo>
                    <a:pt x="1225" y="579"/>
                  </a:lnTo>
                  <a:lnTo>
                    <a:pt x="1226" y="579"/>
                  </a:lnTo>
                  <a:lnTo>
                    <a:pt x="1228" y="578"/>
                  </a:lnTo>
                  <a:lnTo>
                    <a:pt x="1229" y="573"/>
                  </a:lnTo>
                  <a:lnTo>
                    <a:pt x="1229" y="569"/>
                  </a:lnTo>
                  <a:lnTo>
                    <a:pt x="1229" y="563"/>
                  </a:lnTo>
                  <a:lnTo>
                    <a:pt x="1229" y="563"/>
                  </a:lnTo>
                  <a:lnTo>
                    <a:pt x="1228" y="560"/>
                  </a:lnTo>
                  <a:lnTo>
                    <a:pt x="1225" y="557"/>
                  </a:lnTo>
                  <a:lnTo>
                    <a:pt x="1218" y="550"/>
                  </a:lnTo>
                  <a:lnTo>
                    <a:pt x="1218" y="550"/>
                  </a:lnTo>
                  <a:lnTo>
                    <a:pt x="1215" y="545"/>
                  </a:lnTo>
                  <a:lnTo>
                    <a:pt x="1213" y="541"/>
                  </a:lnTo>
                  <a:lnTo>
                    <a:pt x="1210" y="532"/>
                  </a:lnTo>
                  <a:lnTo>
                    <a:pt x="1210" y="532"/>
                  </a:lnTo>
                  <a:lnTo>
                    <a:pt x="1209" y="528"/>
                  </a:lnTo>
                  <a:lnTo>
                    <a:pt x="1206" y="525"/>
                  </a:lnTo>
                  <a:lnTo>
                    <a:pt x="1204" y="525"/>
                  </a:lnTo>
                  <a:lnTo>
                    <a:pt x="1201" y="526"/>
                  </a:lnTo>
                  <a:lnTo>
                    <a:pt x="1201" y="526"/>
                  </a:lnTo>
                  <a:lnTo>
                    <a:pt x="1200" y="528"/>
                  </a:lnTo>
                  <a:lnTo>
                    <a:pt x="1198" y="531"/>
                  </a:lnTo>
                  <a:lnTo>
                    <a:pt x="1198" y="536"/>
                  </a:lnTo>
                  <a:lnTo>
                    <a:pt x="1198" y="542"/>
                  </a:lnTo>
                  <a:lnTo>
                    <a:pt x="1198" y="547"/>
                  </a:lnTo>
                  <a:lnTo>
                    <a:pt x="1198" y="547"/>
                  </a:lnTo>
                  <a:lnTo>
                    <a:pt x="1197" y="547"/>
                  </a:lnTo>
                  <a:lnTo>
                    <a:pt x="1195" y="547"/>
                  </a:lnTo>
                  <a:lnTo>
                    <a:pt x="1192" y="544"/>
                  </a:lnTo>
                  <a:lnTo>
                    <a:pt x="1188" y="533"/>
                  </a:lnTo>
                  <a:lnTo>
                    <a:pt x="1188" y="533"/>
                  </a:lnTo>
                  <a:lnTo>
                    <a:pt x="1185" y="528"/>
                  </a:lnTo>
                  <a:lnTo>
                    <a:pt x="1178" y="519"/>
                  </a:lnTo>
                  <a:lnTo>
                    <a:pt x="1166" y="505"/>
                  </a:lnTo>
                  <a:lnTo>
                    <a:pt x="1166" y="505"/>
                  </a:lnTo>
                  <a:lnTo>
                    <a:pt x="1161" y="502"/>
                  </a:lnTo>
                  <a:lnTo>
                    <a:pt x="1154" y="498"/>
                  </a:lnTo>
                  <a:lnTo>
                    <a:pt x="1139" y="491"/>
                  </a:lnTo>
                  <a:lnTo>
                    <a:pt x="1139" y="491"/>
                  </a:lnTo>
                  <a:lnTo>
                    <a:pt x="1129" y="489"/>
                  </a:lnTo>
                  <a:lnTo>
                    <a:pt x="1112" y="489"/>
                  </a:lnTo>
                  <a:lnTo>
                    <a:pt x="1084" y="489"/>
                  </a:lnTo>
                  <a:lnTo>
                    <a:pt x="1084" y="489"/>
                  </a:lnTo>
                  <a:lnTo>
                    <a:pt x="1080" y="489"/>
                  </a:lnTo>
                  <a:lnTo>
                    <a:pt x="1075" y="491"/>
                  </a:lnTo>
                  <a:lnTo>
                    <a:pt x="1066" y="495"/>
                  </a:lnTo>
                  <a:lnTo>
                    <a:pt x="1066" y="495"/>
                  </a:lnTo>
                  <a:lnTo>
                    <a:pt x="1064" y="498"/>
                  </a:lnTo>
                  <a:lnTo>
                    <a:pt x="1064" y="502"/>
                  </a:lnTo>
                  <a:lnTo>
                    <a:pt x="1064" y="505"/>
                  </a:lnTo>
                  <a:lnTo>
                    <a:pt x="1065" y="510"/>
                  </a:lnTo>
                  <a:lnTo>
                    <a:pt x="1065" y="510"/>
                  </a:lnTo>
                  <a:lnTo>
                    <a:pt x="1066" y="514"/>
                  </a:lnTo>
                  <a:lnTo>
                    <a:pt x="1066" y="517"/>
                  </a:lnTo>
                  <a:lnTo>
                    <a:pt x="1065" y="522"/>
                  </a:lnTo>
                  <a:lnTo>
                    <a:pt x="1065" y="522"/>
                  </a:lnTo>
                  <a:lnTo>
                    <a:pt x="1062" y="525"/>
                  </a:lnTo>
                  <a:lnTo>
                    <a:pt x="1056" y="526"/>
                  </a:lnTo>
                  <a:lnTo>
                    <a:pt x="1046" y="528"/>
                  </a:lnTo>
                  <a:lnTo>
                    <a:pt x="1046" y="528"/>
                  </a:lnTo>
                  <a:lnTo>
                    <a:pt x="1034" y="528"/>
                  </a:lnTo>
                  <a:lnTo>
                    <a:pt x="1028" y="526"/>
                  </a:lnTo>
                  <a:lnTo>
                    <a:pt x="1022" y="523"/>
                  </a:lnTo>
                  <a:lnTo>
                    <a:pt x="1022" y="523"/>
                  </a:lnTo>
                  <a:lnTo>
                    <a:pt x="1021" y="520"/>
                  </a:lnTo>
                  <a:lnTo>
                    <a:pt x="1021" y="516"/>
                  </a:lnTo>
                  <a:lnTo>
                    <a:pt x="1022" y="513"/>
                  </a:lnTo>
                  <a:lnTo>
                    <a:pt x="1026" y="508"/>
                  </a:lnTo>
                  <a:lnTo>
                    <a:pt x="1026" y="508"/>
                  </a:lnTo>
                  <a:lnTo>
                    <a:pt x="1035" y="498"/>
                  </a:lnTo>
                  <a:lnTo>
                    <a:pt x="1038" y="493"/>
                  </a:lnTo>
                  <a:lnTo>
                    <a:pt x="1040" y="489"/>
                  </a:lnTo>
                  <a:lnTo>
                    <a:pt x="1040" y="489"/>
                  </a:lnTo>
                  <a:lnTo>
                    <a:pt x="1040" y="485"/>
                  </a:lnTo>
                  <a:lnTo>
                    <a:pt x="1037" y="480"/>
                  </a:lnTo>
                  <a:lnTo>
                    <a:pt x="1032" y="476"/>
                  </a:lnTo>
                  <a:lnTo>
                    <a:pt x="1025" y="471"/>
                  </a:lnTo>
                  <a:lnTo>
                    <a:pt x="1025" y="471"/>
                  </a:lnTo>
                  <a:lnTo>
                    <a:pt x="1015" y="470"/>
                  </a:lnTo>
                  <a:lnTo>
                    <a:pt x="1001" y="470"/>
                  </a:lnTo>
                  <a:lnTo>
                    <a:pt x="979" y="470"/>
                  </a:lnTo>
                  <a:lnTo>
                    <a:pt x="979" y="470"/>
                  </a:lnTo>
                  <a:lnTo>
                    <a:pt x="975" y="470"/>
                  </a:lnTo>
                  <a:lnTo>
                    <a:pt x="970" y="468"/>
                  </a:lnTo>
                  <a:lnTo>
                    <a:pt x="969" y="467"/>
                  </a:lnTo>
                  <a:lnTo>
                    <a:pt x="967" y="464"/>
                  </a:lnTo>
                  <a:lnTo>
                    <a:pt x="967" y="464"/>
                  </a:lnTo>
                  <a:lnTo>
                    <a:pt x="967" y="461"/>
                  </a:lnTo>
                  <a:lnTo>
                    <a:pt x="969" y="459"/>
                  </a:lnTo>
                  <a:lnTo>
                    <a:pt x="978" y="458"/>
                  </a:lnTo>
                  <a:lnTo>
                    <a:pt x="978" y="458"/>
                  </a:lnTo>
                  <a:lnTo>
                    <a:pt x="982" y="455"/>
                  </a:lnTo>
                  <a:lnTo>
                    <a:pt x="985" y="452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5" y="439"/>
                  </a:lnTo>
                  <a:lnTo>
                    <a:pt x="998" y="431"/>
                  </a:lnTo>
                  <a:lnTo>
                    <a:pt x="1001" y="424"/>
                  </a:lnTo>
                  <a:lnTo>
                    <a:pt x="1001" y="418"/>
                  </a:lnTo>
                  <a:lnTo>
                    <a:pt x="1001" y="418"/>
                  </a:lnTo>
                  <a:lnTo>
                    <a:pt x="1000" y="414"/>
                  </a:lnTo>
                  <a:lnTo>
                    <a:pt x="997" y="411"/>
                  </a:lnTo>
                  <a:lnTo>
                    <a:pt x="992" y="409"/>
                  </a:lnTo>
                  <a:lnTo>
                    <a:pt x="988" y="408"/>
                  </a:lnTo>
                  <a:lnTo>
                    <a:pt x="988" y="408"/>
                  </a:lnTo>
                  <a:lnTo>
                    <a:pt x="978" y="408"/>
                  </a:lnTo>
                  <a:lnTo>
                    <a:pt x="967" y="405"/>
                  </a:lnTo>
                  <a:lnTo>
                    <a:pt x="967" y="405"/>
                  </a:lnTo>
                  <a:lnTo>
                    <a:pt x="957" y="399"/>
                  </a:lnTo>
                  <a:lnTo>
                    <a:pt x="954" y="397"/>
                  </a:lnTo>
                  <a:lnTo>
                    <a:pt x="948" y="396"/>
                  </a:lnTo>
                  <a:lnTo>
                    <a:pt x="948" y="396"/>
                  </a:lnTo>
                  <a:lnTo>
                    <a:pt x="945" y="397"/>
                  </a:lnTo>
                  <a:lnTo>
                    <a:pt x="941" y="402"/>
                  </a:lnTo>
                  <a:lnTo>
                    <a:pt x="935" y="411"/>
                  </a:lnTo>
                  <a:lnTo>
                    <a:pt x="935" y="411"/>
                  </a:lnTo>
                  <a:lnTo>
                    <a:pt x="895" y="449"/>
                  </a:lnTo>
                  <a:lnTo>
                    <a:pt x="895" y="449"/>
                  </a:lnTo>
                  <a:lnTo>
                    <a:pt x="886" y="461"/>
                  </a:lnTo>
                  <a:lnTo>
                    <a:pt x="875" y="476"/>
                  </a:lnTo>
                  <a:lnTo>
                    <a:pt x="875" y="476"/>
                  </a:lnTo>
                  <a:lnTo>
                    <a:pt x="874" y="480"/>
                  </a:lnTo>
                  <a:lnTo>
                    <a:pt x="874" y="486"/>
                  </a:lnTo>
                  <a:lnTo>
                    <a:pt x="874" y="504"/>
                  </a:lnTo>
                  <a:lnTo>
                    <a:pt x="875" y="526"/>
                  </a:lnTo>
                  <a:lnTo>
                    <a:pt x="875" y="526"/>
                  </a:lnTo>
                  <a:lnTo>
                    <a:pt x="878" y="529"/>
                  </a:lnTo>
                  <a:lnTo>
                    <a:pt x="887" y="538"/>
                  </a:lnTo>
                  <a:lnTo>
                    <a:pt x="887" y="538"/>
                  </a:lnTo>
                  <a:lnTo>
                    <a:pt x="893" y="541"/>
                  </a:lnTo>
                  <a:lnTo>
                    <a:pt x="901" y="542"/>
                  </a:lnTo>
                  <a:lnTo>
                    <a:pt x="912" y="544"/>
                  </a:lnTo>
                  <a:lnTo>
                    <a:pt x="912" y="544"/>
                  </a:lnTo>
                  <a:lnTo>
                    <a:pt x="915" y="545"/>
                  </a:lnTo>
                  <a:lnTo>
                    <a:pt x="915" y="547"/>
                  </a:lnTo>
                  <a:lnTo>
                    <a:pt x="915" y="553"/>
                  </a:lnTo>
                  <a:lnTo>
                    <a:pt x="915" y="553"/>
                  </a:lnTo>
                  <a:lnTo>
                    <a:pt x="905" y="554"/>
                  </a:lnTo>
                  <a:lnTo>
                    <a:pt x="898" y="553"/>
                  </a:lnTo>
                  <a:lnTo>
                    <a:pt x="889" y="551"/>
                  </a:lnTo>
                  <a:lnTo>
                    <a:pt x="889" y="551"/>
                  </a:lnTo>
                  <a:lnTo>
                    <a:pt x="881" y="548"/>
                  </a:lnTo>
                  <a:lnTo>
                    <a:pt x="874" y="544"/>
                  </a:lnTo>
                  <a:lnTo>
                    <a:pt x="861" y="536"/>
                  </a:lnTo>
                  <a:lnTo>
                    <a:pt x="861" y="536"/>
                  </a:lnTo>
                  <a:lnTo>
                    <a:pt x="855" y="536"/>
                  </a:lnTo>
                  <a:lnTo>
                    <a:pt x="847" y="538"/>
                  </a:lnTo>
                  <a:lnTo>
                    <a:pt x="833" y="541"/>
                  </a:lnTo>
                  <a:lnTo>
                    <a:pt x="833" y="541"/>
                  </a:lnTo>
                  <a:lnTo>
                    <a:pt x="828" y="542"/>
                  </a:lnTo>
                  <a:lnTo>
                    <a:pt x="824" y="545"/>
                  </a:lnTo>
                  <a:lnTo>
                    <a:pt x="822" y="547"/>
                  </a:lnTo>
                  <a:lnTo>
                    <a:pt x="822" y="550"/>
                  </a:lnTo>
                  <a:lnTo>
                    <a:pt x="822" y="550"/>
                  </a:lnTo>
                  <a:lnTo>
                    <a:pt x="822" y="553"/>
                  </a:lnTo>
                  <a:lnTo>
                    <a:pt x="825" y="556"/>
                  </a:lnTo>
                  <a:lnTo>
                    <a:pt x="834" y="562"/>
                  </a:lnTo>
                  <a:lnTo>
                    <a:pt x="834" y="562"/>
                  </a:lnTo>
                  <a:lnTo>
                    <a:pt x="840" y="566"/>
                  </a:lnTo>
                  <a:lnTo>
                    <a:pt x="844" y="573"/>
                  </a:lnTo>
                  <a:lnTo>
                    <a:pt x="847" y="581"/>
                  </a:lnTo>
                  <a:lnTo>
                    <a:pt x="849" y="585"/>
                  </a:lnTo>
                  <a:lnTo>
                    <a:pt x="849" y="585"/>
                  </a:lnTo>
                  <a:lnTo>
                    <a:pt x="849" y="588"/>
                  </a:lnTo>
                  <a:lnTo>
                    <a:pt x="846" y="590"/>
                  </a:lnTo>
                  <a:lnTo>
                    <a:pt x="843" y="588"/>
                  </a:lnTo>
                  <a:lnTo>
                    <a:pt x="838" y="587"/>
                  </a:lnTo>
                  <a:lnTo>
                    <a:pt x="838" y="587"/>
                  </a:lnTo>
                  <a:lnTo>
                    <a:pt x="834" y="582"/>
                  </a:lnTo>
                  <a:lnTo>
                    <a:pt x="831" y="578"/>
                  </a:lnTo>
                  <a:lnTo>
                    <a:pt x="827" y="572"/>
                  </a:lnTo>
                  <a:lnTo>
                    <a:pt x="822" y="568"/>
                  </a:lnTo>
                  <a:lnTo>
                    <a:pt x="822" y="568"/>
                  </a:lnTo>
                  <a:lnTo>
                    <a:pt x="819" y="565"/>
                  </a:lnTo>
                  <a:lnTo>
                    <a:pt x="816" y="565"/>
                  </a:lnTo>
                  <a:lnTo>
                    <a:pt x="812" y="569"/>
                  </a:lnTo>
                  <a:lnTo>
                    <a:pt x="812" y="569"/>
                  </a:lnTo>
                  <a:lnTo>
                    <a:pt x="797" y="581"/>
                  </a:lnTo>
                  <a:lnTo>
                    <a:pt x="788" y="588"/>
                  </a:lnTo>
                  <a:lnTo>
                    <a:pt x="781" y="593"/>
                  </a:lnTo>
                  <a:lnTo>
                    <a:pt x="781" y="593"/>
                  </a:lnTo>
                  <a:lnTo>
                    <a:pt x="773" y="594"/>
                  </a:lnTo>
                  <a:lnTo>
                    <a:pt x="760" y="596"/>
                  </a:lnTo>
                  <a:lnTo>
                    <a:pt x="748" y="597"/>
                  </a:lnTo>
                  <a:lnTo>
                    <a:pt x="739" y="597"/>
                  </a:lnTo>
                  <a:lnTo>
                    <a:pt x="739" y="597"/>
                  </a:lnTo>
                  <a:lnTo>
                    <a:pt x="738" y="596"/>
                  </a:lnTo>
                  <a:lnTo>
                    <a:pt x="736" y="594"/>
                  </a:lnTo>
                  <a:lnTo>
                    <a:pt x="738" y="591"/>
                  </a:lnTo>
                  <a:lnTo>
                    <a:pt x="742" y="585"/>
                  </a:lnTo>
                  <a:lnTo>
                    <a:pt x="742" y="585"/>
                  </a:lnTo>
                  <a:lnTo>
                    <a:pt x="742" y="581"/>
                  </a:lnTo>
                  <a:lnTo>
                    <a:pt x="739" y="573"/>
                  </a:lnTo>
                  <a:lnTo>
                    <a:pt x="739" y="573"/>
                  </a:lnTo>
                  <a:lnTo>
                    <a:pt x="736" y="570"/>
                  </a:lnTo>
                  <a:lnTo>
                    <a:pt x="732" y="570"/>
                  </a:lnTo>
                  <a:lnTo>
                    <a:pt x="723" y="569"/>
                  </a:lnTo>
                  <a:lnTo>
                    <a:pt x="723" y="569"/>
                  </a:lnTo>
                  <a:lnTo>
                    <a:pt x="701" y="566"/>
                  </a:lnTo>
                  <a:lnTo>
                    <a:pt x="676" y="566"/>
                  </a:lnTo>
                  <a:lnTo>
                    <a:pt x="676" y="566"/>
                  </a:lnTo>
                  <a:lnTo>
                    <a:pt x="673" y="566"/>
                  </a:lnTo>
                  <a:lnTo>
                    <a:pt x="670" y="568"/>
                  </a:lnTo>
                  <a:lnTo>
                    <a:pt x="665" y="570"/>
                  </a:lnTo>
                  <a:lnTo>
                    <a:pt x="662" y="576"/>
                  </a:lnTo>
                  <a:lnTo>
                    <a:pt x="662" y="581"/>
                  </a:lnTo>
                  <a:lnTo>
                    <a:pt x="662" y="581"/>
                  </a:lnTo>
                  <a:lnTo>
                    <a:pt x="665" y="584"/>
                  </a:lnTo>
                  <a:lnTo>
                    <a:pt x="671" y="585"/>
                  </a:lnTo>
                  <a:lnTo>
                    <a:pt x="677" y="587"/>
                  </a:lnTo>
                  <a:lnTo>
                    <a:pt x="683" y="590"/>
                  </a:lnTo>
                  <a:lnTo>
                    <a:pt x="683" y="590"/>
                  </a:lnTo>
                  <a:lnTo>
                    <a:pt x="684" y="593"/>
                  </a:lnTo>
                  <a:lnTo>
                    <a:pt x="684" y="594"/>
                  </a:lnTo>
                  <a:lnTo>
                    <a:pt x="677" y="597"/>
                  </a:lnTo>
                  <a:lnTo>
                    <a:pt x="677" y="597"/>
                  </a:lnTo>
                  <a:lnTo>
                    <a:pt x="673" y="600"/>
                  </a:lnTo>
                  <a:lnTo>
                    <a:pt x="665" y="602"/>
                  </a:lnTo>
                  <a:lnTo>
                    <a:pt x="652" y="603"/>
                  </a:lnTo>
                  <a:lnTo>
                    <a:pt x="652" y="603"/>
                  </a:lnTo>
                  <a:lnTo>
                    <a:pt x="600" y="612"/>
                  </a:lnTo>
                  <a:lnTo>
                    <a:pt x="600" y="612"/>
                  </a:lnTo>
                  <a:lnTo>
                    <a:pt x="584" y="616"/>
                  </a:lnTo>
                  <a:lnTo>
                    <a:pt x="566" y="622"/>
                  </a:lnTo>
                  <a:lnTo>
                    <a:pt x="566" y="622"/>
                  </a:lnTo>
                  <a:lnTo>
                    <a:pt x="539" y="634"/>
                  </a:lnTo>
                  <a:lnTo>
                    <a:pt x="517" y="646"/>
                  </a:lnTo>
                  <a:lnTo>
                    <a:pt x="517" y="646"/>
                  </a:lnTo>
                  <a:lnTo>
                    <a:pt x="505" y="649"/>
                  </a:lnTo>
                  <a:lnTo>
                    <a:pt x="490" y="652"/>
                  </a:lnTo>
                  <a:lnTo>
                    <a:pt x="490" y="652"/>
                  </a:lnTo>
                  <a:lnTo>
                    <a:pt x="486" y="653"/>
                  </a:lnTo>
                  <a:lnTo>
                    <a:pt x="483" y="658"/>
                  </a:lnTo>
                  <a:lnTo>
                    <a:pt x="480" y="665"/>
                  </a:lnTo>
                  <a:lnTo>
                    <a:pt x="480" y="665"/>
                  </a:lnTo>
                  <a:lnTo>
                    <a:pt x="477" y="676"/>
                  </a:lnTo>
                  <a:lnTo>
                    <a:pt x="473" y="685"/>
                  </a:lnTo>
                  <a:lnTo>
                    <a:pt x="473" y="685"/>
                  </a:lnTo>
                  <a:lnTo>
                    <a:pt x="470" y="687"/>
                  </a:lnTo>
                  <a:lnTo>
                    <a:pt x="465" y="690"/>
                  </a:lnTo>
                  <a:lnTo>
                    <a:pt x="462" y="690"/>
                  </a:lnTo>
                  <a:lnTo>
                    <a:pt x="458" y="692"/>
                  </a:lnTo>
                  <a:lnTo>
                    <a:pt x="458" y="692"/>
                  </a:lnTo>
                  <a:lnTo>
                    <a:pt x="453" y="689"/>
                  </a:lnTo>
                  <a:lnTo>
                    <a:pt x="449" y="685"/>
                  </a:lnTo>
                  <a:lnTo>
                    <a:pt x="446" y="680"/>
                  </a:lnTo>
                  <a:lnTo>
                    <a:pt x="443" y="679"/>
                  </a:lnTo>
                  <a:lnTo>
                    <a:pt x="443" y="679"/>
                  </a:lnTo>
                  <a:lnTo>
                    <a:pt x="442" y="679"/>
                  </a:lnTo>
                  <a:lnTo>
                    <a:pt x="440" y="680"/>
                  </a:lnTo>
                  <a:lnTo>
                    <a:pt x="439" y="685"/>
                  </a:lnTo>
                  <a:lnTo>
                    <a:pt x="436" y="695"/>
                  </a:lnTo>
                  <a:lnTo>
                    <a:pt x="436" y="695"/>
                  </a:lnTo>
                  <a:lnTo>
                    <a:pt x="437" y="699"/>
                  </a:lnTo>
                  <a:lnTo>
                    <a:pt x="440" y="701"/>
                  </a:lnTo>
                  <a:lnTo>
                    <a:pt x="448" y="705"/>
                  </a:lnTo>
                  <a:lnTo>
                    <a:pt x="448" y="705"/>
                  </a:lnTo>
                  <a:lnTo>
                    <a:pt x="453" y="710"/>
                  </a:lnTo>
                  <a:lnTo>
                    <a:pt x="458" y="714"/>
                  </a:lnTo>
                  <a:lnTo>
                    <a:pt x="467" y="723"/>
                  </a:lnTo>
                  <a:lnTo>
                    <a:pt x="467" y="723"/>
                  </a:lnTo>
                  <a:lnTo>
                    <a:pt x="467" y="726"/>
                  </a:lnTo>
                  <a:lnTo>
                    <a:pt x="467" y="729"/>
                  </a:lnTo>
                  <a:lnTo>
                    <a:pt x="464" y="730"/>
                  </a:lnTo>
                  <a:lnTo>
                    <a:pt x="459" y="732"/>
                  </a:lnTo>
                  <a:lnTo>
                    <a:pt x="459" y="732"/>
                  </a:lnTo>
                  <a:lnTo>
                    <a:pt x="455" y="730"/>
                  </a:lnTo>
                  <a:lnTo>
                    <a:pt x="450" y="726"/>
                  </a:lnTo>
                  <a:lnTo>
                    <a:pt x="446" y="723"/>
                  </a:lnTo>
                  <a:lnTo>
                    <a:pt x="442" y="720"/>
                  </a:lnTo>
                  <a:lnTo>
                    <a:pt x="442" y="720"/>
                  </a:lnTo>
                  <a:lnTo>
                    <a:pt x="436" y="719"/>
                  </a:lnTo>
                  <a:lnTo>
                    <a:pt x="433" y="720"/>
                  </a:lnTo>
                  <a:lnTo>
                    <a:pt x="431" y="723"/>
                  </a:lnTo>
                  <a:lnTo>
                    <a:pt x="430" y="726"/>
                  </a:lnTo>
                  <a:lnTo>
                    <a:pt x="430" y="726"/>
                  </a:lnTo>
                  <a:lnTo>
                    <a:pt x="431" y="730"/>
                  </a:lnTo>
                  <a:lnTo>
                    <a:pt x="434" y="735"/>
                  </a:lnTo>
                  <a:lnTo>
                    <a:pt x="439" y="739"/>
                  </a:lnTo>
                  <a:lnTo>
                    <a:pt x="445" y="742"/>
                  </a:lnTo>
                  <a:lnTo>
                    <a:pt x="445" y="742"/>
                  </a:lnTo>
                  <a:lnTo>
                    <a:pt x="448" y="745"/>
                  </a:lnTo>
                  <a:lnTo>
                    <a:pt x="450" y="748"/>
                  </a:lnTo>
                  <a:lnTo>
                    <a:pt x="453" y="756"/>
                  </a:lnTo>
                  <a:lnTo>
                    <a:pt x="456" y="765"/>
                  </a:lnTo>
                  <a:lnTo>
                    <a:pt x="458" y="770"/>
                  </a:lnTo>
                  <a:lnTo>
                    <a:pt x="458" y="770"/>
                  </a:lnTo>
                  <a:lnTo>
                    <a:pt x="456" y="779"/>
                  </a:lnTo>
                  <a:lnTo>
                    <a:pt x="452" y="787"/>
                  </a:lnTo>
                  <a:lnTo>
                    <a:pt x="452" y="787"/>
                  </a:lnTo>
                  <a:lnTo>
                    <a:pt x="449" y="788"/>
                  </a:lnTo>
                  <a:lnTo>
                    <a:pt x="443" y="788"/>
                  </a:lnTo>
                  <a:lnTo>
                    <a:pt x="430" y="784"/>
                  </a:lnTo>
                  <a:lnTo>
                    <a:pt x="430" y="784"/>
                  </a:lnTo>
                  <a:lnTo>
                    <a:pt x="424" y="784"/>
                  </a:lnTo>
                  <a:lnTo>
                    <a:pt x="419" y="785"/>
                  </a:lnTo>
                  <a:lnTo>
                    <a:pt x="410" y="788"/>
                  </a:lnTo>
                  <a:lnTo>
                    <a:pt x="410" y="788"/>
                  </a:lnTo>
                  <a:lnTo>
                    <a:pt x="400" y="793"/>
                  </a:lnTo>
                  <a:lnTo>
                    <a:pt x="394" y="793"/>
                  </a:lnTo>
                  <a:lnTo>
                    <a:pt x="388" y="794"/>
                  </a:lnTo>
                  <a:lnTo>
                    <a:pt x="388" y="794"/>
                  </a:lnTo>
                  <a:lnTo>
                    <a:pt x="382" y="791"/>
                  </a:lnTo>
                  <a:lnTo>
                    <a:pt x="376" y="788"/>
                  </a:lnTo>
                  <a:lnTo>
                    <a:pt x="371" y="787"/>
                  </a:lnTo>
                  <a:lnTo>
                    <a:pt x="366" y="785"/>
                  </a:lnTo>
                  <a:lnTo>
                    <a:pt x="366" y="785"/>
                  </a:lnTo>
                  <a:lnTo>
                    <a:pt x="341" y="785"/>
                  </a:lnTo>
                  <a:lnTo>
                    <a:pt x="328" y="785"/>
                  </a:lnTo>
                  <a:lnTo>
                    <a:pt x="319" y="785"/>
                  </a:lnTo>
                  <a:lnTo>
                    <a:pt x="319" y="785"/>
                  </a:lnTo>
                  <a:lnTo>
                    <a:pt x="313" y="784"/>
                  </a:lnTo>
                  <a:lnTo>
                    <a:pt x="305" y="779"/>
                  </a:lnTo>
                  <a:lnTo>
                    <a:pt x="291" y="770"/>
                  </a:lnTo>
                  <a:lnTo>
                    <a:pt x="291" y="770"/>
                  </a:lnTo>
                  <a:lnTo>
                    <a:pt x="282" y="767"/>
                  </a:lnTo>
                  <a:lnTo>
                    <a:pt x="271" y="766"/>
                  </a:lnTo>
                  <a:lnTo>
                    <a:pt x="252" y="766"/>
                  </a:lnTo>
                  <a:lnTo>
                    <a:pt x="252" y="766"/>
                  </a:lnTo>
                  <a:lnTo>
                    <a:pt x="249" y="766"/>
                  </a:lnTo>
                  <a:lnTo>
                    <a:pt x="246" y="767"/>
                  </a:lnTo>
                  <a:lnTo>
                    <a:pt x="242" y="772"/>
                  </a:lnTo>
                  <a:lnTo>
                    <a:pt x="233" y="784"/>
                  </a:lnTo>
                  <a:lnTo>
                    <a:pt x="233" y="784"/>
                  </a:lnTo>
                  <a:lnTo>
                    <a:pt x="231" y="787"/>
                  </a:lnTo>
                  <a:lnTo>
                    <a:pt x="231" y="791"/>
                  </a:lnTo>
                  <a:lnTo>
                    <a:pt x="231" y="802"/>
                  </a:lnTo>
                  <a:lnTo>
                    <a:pt x="233" y="818"/>
                  </a:lnTo>
                  <a:lnTo>
                    <a:pt x="233" y="818"/>
                  </a:lnTo>
                  <a:lnTo>
                    <a:pt x="231" y="824"/>
                  </a:lnTo>
                  <a:lnTo>
                    <a:pt x="228" y="831"/>
                  </a:lnTo>
                  <a:lnTo>
                    <a:pt x="224" y="846"/>
                  </a:lnTo>
                  <a:lnTo>
                    <a:pt x="224" y="846"/>
                  </a:lnTo>
                  <a:lnTo>
                    <a:pt x="222" y="861"/>
                  </a:lnTo>
                  <a:lnTo>
                    <a:pt x="222" y="871"/>
                  </a:lnTo>
                  <a:lnTo>
                    <a:pt x="222" y="880"/>
                  </a:lnTo>
                  <a:lnTo>
                    <a:pt x="222" y="880"/>
                  </a:lnTo>
                  <a:lnTo>
                    <a:pt x="224" y="884"/>
                  </a:lnTo>
                  <a:lnTo>
                    <a:pt x="227" y="887"/>
                  </a:lnTo>
                  <a:lnTo>
                    <a:pt x="234" y="893"/>
                  </a:lnTo>
                  <a:lnTo>
                    <a:pt x="249" y="902"/>
                  </a:lnTo>
                  <a:lnTo>
                    <a:pt x="249" y="902"/>
                  </a:lnTo>
                  <a:lnTo>
                    <a:pt x="254" y="907"/>
                  </a:lnTo>
                  <a:lnTo>
                    <a:pt x="255" y="911"/>
                  </a:lnTo>
                  <a:lnTo>
                    <a:pt x="254" y="923"/>
                  </a:lnTo>
                  <a:lnTo>
                    <a:pt x="254" y="923"/>
                  </a:lnTo>
                  <a:lnTo>
                    <a:pt x="254" y="929"/>
                  </a:lnTo>
                  <a:lnTo>
                    <a:pt x="255" y="936"/>
                  </a:lnTo>
                  <a:lnTo>
                    <a:pt x="258" y="948"/>
                  </a:lnTo>
                  <a:lnTo>
                    <a:pt x="258" y="948"/>
                  </a:lnTo>
                  <a:lnTo>
                    <a:pt x="261" y="953"/>
                  </a:lnTo>
                  <a:lnTo>
                    <a:pt x="267" y="957"/>
                  </a:lnTo>
                  <a:lnTo>
                    <a:pt x="274" y="961"/>
                  </a:lnTo>
                  <a:lnTo>
                    <a:pt x="280" y="967"/>
                  </a:lnTo>
                  <a:lnTo>
                    <a:pt x="280" y="967"/>
                  </a:lnTo>
                  <a:lnTo>
                    <a:pt x="285" y="973"/>
                  </a:lnTo>
                  <a:lnTo>
                    <a:pt x="286" y="982"/>
                  </a:lnTo>
                  <a:lnTo>
                    <a:pt x="286" y="990"/>
                  </a:lnTo>
                  <a:lnTo>
                    <a:pt x="285" y="996"/>
                  </a:lnTo>
                  <a:lnTo>
                    <a:pt x="285" y="996"/>
                  </a:lnTo>
                  <a:lnTo>
                    <a:pt x="282" y="1001"/>
                  </a:lnTo>
                  <a:lnTo>
                    <a:pt x="276" y="1010"/>
                  </a:lnTo>
                  <a:lnTo>
                    <a:pt x="268" y="1019"/>
                  </a:lnTo>
                  <a:lnTo>
                    <a:pt x="262" y="1025"/>
                  </a:lnTo>
                  <a:lnTo>
                    <a:pt x="262" y="1025"/>
                  </a:lnTo>
                  <a:lnTo>
                    <a:pt x="256" y="1031"/>
                  </a:lnTo>
                  <a:lnTo>
                    <a:pt x="255" y="1037"/>
                  </a:lnTo>
                  <a:lnTo>
                    <a:pt x="255" y="1049"/>
                  </a:lnTo>
                  <a:lnTo>
                    <a:pt x="255" y="1049"/>
                  </a:lnTo>
                  <a:lnTo>
                    <a:pt x="255" y="1056"/>
                  </a:lnTo>
                  <a:lnTo>
                    <a:pt x="255" y="1065"/>
                  </a:lnTo>
                  <a:lnTo>
                    <a:pt x="256" y="1076"/>
                  </a:lnTo>
                  <a:lnTo>
                    <a:pt x="259" y="1083"/>
                  </a:lnTo>
                  <a:lnTo>
                    <a:pt x="259" y="1083"/>
                  </a:lnTo>
                  <a:lnTo>
                    <a:pt x="261" y="1090"/>
                  </a:lnTo>
                  <a:lnTo>
                    <a:pt x="261" y="1102"/>
                  </a:lnTo>
                  <a:lnTo>
                    <a:pt x="259" y="1118"/>
                  </a:lnTo>
                  <a:lnTo>
                    <a:pt x="259" y="1118"/>
                  </a:lnTo>
                  <a:lnTo>
                    <a:pt x="256" y="1123"/>
                  </a:lnTo>
                  <a:lnTo>
                    <a:pt x="251" y="1127"/>
                  </a:lnTo>
                  <a:lnTo>
                    <a:pt x="237" y="1133"/>
                  </a:lnTo>
                  <a:lnTo>
                    <a:pt x="237" y="1133"/>
                  </a:lnTo>
                  <a:lnTo>
                    <a:pt x="234" y="1136"/>
                  </a:lnTo>
                  <a:lnTo>
                    <a:pt x="231" y="1138"/>
                  </a:lnTo>
                  <a:lnTo>
                    <a:pt x="228" y="1144"/>
                  </a:lnTo>
                  <a:lnTo>
                    <a:pt x="227" y="1148"/>
                  </a:lnTo>
                  <a:lnTo>
                    <a:pt x="225" y="1153"/>
                  </a:lnTo>
                  <a:lnTo>
                    <a:pt x="225" y="1153"/>
                  </a:lnTo>
                  <a:lnTo>
                    <a:pt x="221" y="1155"/>
                  </a:lnTo>
                  <a:lnTo>
                    <a:pt x="217" y="1155"/>
                  </a:lnTo>
                  <a:lnTo>
                    <a:pt x="211" y="1154"/>
                  </a:lnTo>
                  <a:lnTo>
                    <a:pt x="206" y="1153"/>
                  </a:lnTo>
                  <a:lnTo>
                    <a:pt x="206" y="1153"/>
                  </a:lnTo>
                  <a:lnTo>
                    <a:pt x="203" y="1148"/>
                  </a:lnTo>
                  <a:lnTo>
                    <a:pt x="203" y="1145"/>
                  </a:lnTo>
                  <a:lnTo>
                    <a:pt x="206" y="1138"/>
                  </a:lnTo>
                  <a:lnTo>
                    <a:pt x="206" y="1138"/>
                  </a:lnTo>
                  <a:lnTo>
                    <a:pt x="208" y="1133"/>
                  </a:lnTo>
                  <a:lnTo>
                    <a:pt x="212" y="1132"/>
                  </a:lnTo>
                  <a:lnTo>
                    <a:pt x="219" y="1127"/>
                  </a:lnTo>
                  <a:lnTo>
                    <a:pt x="219" y="1127"/>
                  </a:lnTo>
                  <a:lnTo>
                    <a:pt x="246" y="1108"/>
                  </a:lnTo>
                  <a:lnTo>
                    <a:pt x="246" y="1108"/>
                  </a:lnTo>
                  <a:lnTo>
                    <a:pt x="249" y="1107"/>
                  </a:lnTo>
                  <a:lnTo>
                    <a:pt x="249" y="1104"/>
                  </a:lnTo>
                  <a:lnTo>
                    <a:pt x="249" y="1098"/>
                  </a:lnTo>
                  <a:lnTo>
                    <a:pt x="245" y="1081"/>
                  </a:lnTo>
                  <a:lnTo>
                    <a:pt x="245" y="1081"/>
                  </a:lnTo>
                  <a:lnTo>
                    <a:pt x="242" y="1077"/>
                  </a:lnTo>
                  <a:lnTo>
                    <a:pt x="237" y="1074"/>
                  </a:lnTo>
                  <a:lnTo>
                    <a:pt x="233" y="1073"/>
                  </a:lnTo>
                  <a:lnTo>
                    <a:pt x="227" y="1073"/>
                  </a:lnTo>
                  <a:lnTo>
                    <a:pt x="227" y="1073"/>
                  </a:lnTo>
                  <a:lnTo>
                    <a:pt x="225" y="1074"/>
                  </a:lnTo>
                  <a:lnTo>
                    <a:pt x="222" y="1076"/>
                  </a:lnTo>
                  <a:lnTo>
                    <a:pt x="217" y="1081"/>
                  </a:lnTo>
                  <a:lnTo>
                    <a:pt x="212" y="1087"/>
                  </a:lnTo>
                  <a:lnTo>
                    <a:pt x="208" y="1090"/>
                  </a:lnTo>
                  <a:lnTo>
                    <a:pt x="208" y="1090"/>
                  </a:lnTo>
                  <a:lnTo>
                    <a:pt x="206" y="1090"/>
                  </a:lnTo>
                  <a:lnTo>
                    <a:pt x="205" y="1090"/>
                  </a:lnTo>
                  <a:lnTo>
                    <a:pt x="206" y="1086"/>
                  </a:lnTo>
                  <a:lnTo>
                    <a:pt x="211" y="1076"/>
                  </a:lnTo>
                  <a:lnTo>
                    <a:pt x="211" y="1076"/>
                  </a:lnTo>
                  <a:lnTo>
                    <a:pt x="212" y="1073"/>
                  </a:lnTo>
                  <a:lnTo>
                    <a:pt x="212" y="1067"/>
                  </a:lnTo>
                  <a:lnTo>
                    <a:pt x="214" y="1055"/>
                  </a:lnTo>
                  <a:lnTo>
                    <a:pt x="214" y="1055"/>
                  </a:lnTo>
                  <a:lnTo>
                    <a:pt x="217" y="1044"/>
                  </a:lnTo>
                  <a:lnTo>
                    <a:pt x="222" y="1034"/>
                  </a:lnTo>
                  <a:lnTo>
                    <a:pt x="222" y="1034"/>
                  </a:lnTo>
                  <a:lnTo>
                    <a:pt x="227" y="1030"/>
                  </a:lnTo>
                  <a:lnTo>
                    <a:pt x="233" y="1024"/>
                  </a:lnTo>
                  <a:lnTo>
                    <a:pt x="243" y="1018"/>
                  </a:lnTo>
                  <a:lnTo>
                    <a:pt x="243" y="1018"/>
                  </a:lnTo>
                  <a:lnTo>
                    <a:pt x="254" y="1010"/>
                  </a:lnTo>
                  <a:lnTo>
                    <a:pt x="259" y="1006"/>
                  </a:lnTo>
                  <a:lnTo>
                    <a:pt x="265" y="1001"/>
                  </a:lnTo>
                  <a:lnTo>
                    <a:pt x="265" y="1001"/>
                  </a:lnTo>
                  <a:lnTo>
                    <a:pt x="268" y="997"/>
                  </a:lnTo>
                  <a:lnTo>
                    <a:pt x="270" y="993"/>
                  </a:lnTo>
                  <a:lnTo>
                    <a:pt x="270" y="988"/>
                  </a:lnTo>
                  <a:lnTo>
                    <a:pt x="270" y="985"/>
                  </a:lnTo>
                  <a:lnTo>
                    <a:pt x="270" y="985"/>
                  </a:lnTo>
                  <a:lnTo>
                    <a:pt x="267" y="979"/>
                  </a:lnTo>
                  <a:lnTo>
                    <a:pt x="264" y="976"/>
                  </a:lnTo>
                  <a:lnTo>
                    <a:pt x="258" y="973"/>
                  </a:lnTo>
                  <a:lnTo>
                    <a:pt x="258" y="973"/>
                  </a:lnTo>
                  <a:lnTo>
                    <a:pt x="251" y="972"/>
                  </a:lnTo>
                  <a:lnTo>
                    <a:pt x="243" y="970"/>
                  </a:lnTo>
                  <a:lnTo>
                    <a:pt x="234" y="969"/>
                  </a:lnTo>
                  <a:lnTo>
                    <a:pt x="227" y="966"/>
                  </a:lnTo>
                  <a:lnTo>
                    <a:pt x="227" y="966"/>
                  </a:lnTo>
                  <a:lnTo>
                    <a:pt x="222" y="963"/>
                  </a:lnTo>
                  <a:lnTo>
                    <a:pt x="218" y="960"/>
                  </a:lnTo>
                  <a:lnTo>
                    <a:pt x="211" y="951"/>
                  </a:lnTo>
                  <a:lnTo>
                    <a:pt x="202" y="936"/>
                  </a:lnTo>
                  <a:lnTo>
                    <a:pt x="202" y="936"/>
                  </a:lnTo>
                  <a:lnTo>
                    <a:pt x="182" y="901"/>
                  </a:lnTo>
                  <a:lnTo>
                    <a:pt x="182" y="901"/>
                  </a:lnTo>
                  <a:lnTo>
                    <a:pt x="178" y="893"/>
                  </a:lnTo>
                  <a:lnTo>
                    <a:pt x="169" y="886"/>
                  </a:lnTo>
                  <a:lnTo>
                    <a:pt x="154" y="871"/>
                  </a:lnTo>
                  <a:lnTo>
                    <a:pt x="154" y="871"/>
                  </a:lnTo>
                  <a:lnTo>
                    <a:pt x="151" y="870"/>
                  </a:lnTo>
                  <a:lnTo>
                    <a:pt x="147" y="868"/>
                  </a:lnTo>
                  <a:lnTo>
                    <a:pt x="137" y="867"/>
                  </a:lnTo>
                  <a:lnTo>
                    <a:pt x="137" y="867"/>
                  </a:lnTo>
                  <a:lnTo>
                    <a:pt x="141" y="874"/>
                  </a:lnTo>
                  <a:lnTo>
                    <a:pt x="144" y="882"/>
                  </a:lnTo>
                  <a:lnTo>
                    <a:pt x="145" y="887"/>
                  </a:lnTo>
                  <a:lnTo>
                    <a:pt x="145" y="887"/>
                  </a:lnTo>
                  <a:lnTo>
                    <a:pt x="145" y="898"/>
                  </a:lnTo>
                  <a:lnTo>
                    <a:pt x="147" y="904"/>
                  </a:lnTo>
                  <a:lnTo>
                    <a:pt x="148" y="907"/>
                  </a:lnTo>
                  <a:lnTo>
                    <a:pt x="148" y="907"/>
                  </a:lnTo>
                  <a:lnTo>
                    <a:pt x="153" y="910"/>
                  </a:lnTo>
                  <a:lnTo>
                    <a:pt x="157" y="911"/>
                  </a:lnTo>
                  <a:lnTo>
                    <a:pt x="162" y="913"/>
                  </a:lnTo>
                  <a:lnTo>
                    <a:pt x="168" y="914"/>
                  </a:lnTo>
                  <a:lnTo>
                    <a:pt x="168" y="914"/>
                  </a:lnTo>
                  <a:lnTo>
                    <a:pt x="171" y="919"/>
                  </a:lnTo>
                  <a:lnTo>
                    <a:pt x="174" y="924"/>
                  </a:lnTo>
                  <a:lnTo>
                    <a:pt x="174" y="933"/>
                  </a:lnTo>
                  <a:lnTo>
                    <a:pt x="171" y="942"/>
                  </a:lnTo>
                  <a:lnTo>
                    <a:pt x="171" y="942"/>
                  </a:lnTo>
                  <a:lnTo>
                    <a:pt x="168" y="951"/>
                  </a:lnTo>
                  <a:lnTo>
                    <a:pt x="163" y="959"/>
                  </a:lnTo>
                  <a:lnTo>
                    <a:pt x="157" y="963"/>
                  </a:lnTo>
                  <a:lnTo>
                    <a:pt x="154" y="963"/>
                  </a:lnTo>
                  <a:lnTo>
                    <a:pt x="151" y="963"/>
                  </a:lnTo>
                  <a:lnTo>
                    <a:pt x="151" y="963"/>
                  </a:lnTo>
                  <a:lnTo>
                    <a:pt x="147" y="961"/>
                  </a:lnTo>
                  <a:lnTo>
                    <a:pt x="142" y="963"/>
                  </a:lnTo>
                  <a:lnTo>
                    <a:pt x="138" y="966"/>
                  </a:lnTo>
                  <a:lnTo>
                    <a:pt x="132" y="969"/>
                  </a:lnTo>
                  <a:lnTo>
                    <a:pt x="132" y="969"/>
                  </a:lnTo>
                  <a:lnTo>
                    <a:pt x="126" y="970"/>
                  </a:lnTo>
                  <a:lnTo>
                    <a:pt x="123" y="975"/>
                  </a:lnTo>
                  <a:lnTo>
                    <a:pt x="120" y="978"/>
                  </a:lnTo>
                  <a:lnTo>
                    <a:pt x="122" y="981"/>
                  </a:lnTo>
                  <a:lnTo>
                    <a:pt x="122" y="981"/>
                  </a:lnTo>
                  <a:lnTo>
                    <a:pt x="142" y="1010"/>
                  </a:lnTo>
                  <a:lnTo>
                    <a:pt x="142" y="1010"/>
                  </a:lnTo>
                  <a:lnTo>
                    <a:pt x="151" y="1019"/>
                  </a:lnTo>
                  <a:lnTo>
                    <a:pt x="154" y="1022"/>
                  </a:lnTo>
                  <a:lnTo>
                    <a:pt x="156" y="1027"/>
                  </a:lnTo>
                  <a:lnTo>
                    <a:pt x="156" y="1027"/>
                  </a:lnTo>
                  <a:lnTo>
                    <a:pt x="156" y="1033"/>
                  </a:lnTo>
                  <a:lnTo>
                    <a:pt x="153" y="1044"/>
                  </a:lnTo>
                  <a:lnTo>
                    <a:pt x="150" y="1058"/>
                  </a:lnTo>
                  <a:lnTo>
                    <a:pt x="145" y="1070"/>
                  </a:lnTo>
                  <a:lnTo>
                    <a:pt x="145" y="1070"/>
                  </a:lnTo>
                  <a:lnTo>
                    <a:pt x="140" y="1087"/>
                  </a:lnTo>
                  <a:lnTo>
                    <a:pt x="137" y="1090"/>
                  </a:lnTo>
                  <a:lnTo>
                    <a:pt x="135" y="1092"/>
                  </a:lnTo>
                  <a:lnTo>
                    <a:pt x="132" y="1093"/>
                  </a:lnTo>
                  <a:lnTo>
                    <a:pt x="128" y="1093"/>
                  </a:lnTo>
                  <a:lnTo>
                    <a:pt x="128" y="1093"/>
                  </a:lnTo>
                  <a:lnTo>
                    <a:pt x="123" y="1093"/>
                  </a:lnTo>
                  <a:lnTo>
                    <a:pt x="117" y="1095"/>
                  </a:lnTo>
                  <a:lnTo>
                    <a:pt x="104" y="1101"/>
                  </a:lnTo>
                  <a:lnTo>
                    <a:pt x="91" y="1105"/>
                  </a:lnTo>
                  <a:lnTo>
                    <a:pt x="85" y="1107"/>
                  </a:lnTo>
                  <a:lnTo>
                    <a:pt x="80" y="1108"/>
                  </a:lnTo>
                  <a:lnTo>
                    <a:pt x="80" y="1108"/>
                  </a:lnTo>
                  <a:lnTo>
                    <a:pt x="76" y="1108"/>
                  </a:lnTo>
                  <a:lnTo>
                    <a:pt x="73" y="1110"/>
                  </a:lnTo>
                  <a:lnTo>
                    <a:pt x="71" y="1111"/>
                  </a:lnTo>
                  <a:lnTo>
                    <a:pt x="70" y="1113"/>
                  </a:lnTo>
                  <a:lnTo>
                    <a:pt x="68" y="1118"/>
                  </a:lnTo>
                  <a:lnTo>
                    <a:pt x="67" y="1121"/>
                  </a:lnTo>
                  <a:lnTo>
                    <a:pt x="65" y="1126"/>
                  </a:lnTo>
                  <a:lnTo>
                    <a:pt x="65" y="1126"/>
                  </a:lnTo>
                  <a:lnTo>
                    <a:pt x="61" y="1132"/>
                  </a:lnTo>
                  <a:lnTo>
                    <a:pt x="60" y="1139"/>
                  </a:lnTo>
                  <a:lnTo>
                    <a:pt x="61" y="1148"/>
                  </a:lnTo>
                  <a:lnTo>
                    <a:pt x="65" y="1157"/>
                  </a:lnTo>
                  <a:lnTo>
                    <a:pt x="65" y="1157"/>
                  </a:lnTo>
                  <a:lnTo>
                    <a:pt x="70" y="1169"/>
                  </a:lnTo>
                  <a:lnTo>
                    <a:pt x="73" y="1179"/>
                  </a:lnTo>
                  <a:lnTo>
                    <a:pt x="79" y="1188"/>
                  </a:lnTo>
                  <a:lnTo>
                    <a:pt x="82" y="1193"/>
                  </a:lnTo>
                  <a:lnTo>
                    <a:pt x="86" y="1195"/>
                  </a:lnTo>
                  <a:lnTo>
                    <a:pt x="86" y="1195"/>
                  </a:lnTo>
                  <a:lnTo>
                    <a:pt x="97" y="1200"/>
                  </a:lnTo>
                  <a:lnTo>
                    <a:pt x="105" y="1207"/>
                  </a:lnTo>
                  <a:lnTo>
                    <a:pt x="119" y="1219"/>
                  </a:lnTo>
                  <a:lnTo>
                    <a:pt x="119" y="1219"/>
                  </a:lnTo>
                  <a:lnTo>
                    <a:pt x="122" y="1221"/>
                  </a:lnTo>
                  <a:lnTo>
                    <a:pt x="126" y="1221"/>
                  </a:lnTo>
                  <a:lnTo>
                    <a:pt x="132" y="1218"/>
                  </a:lnTo>
                  <a:lnTo>
                    <a:pt x="140" y="1213"/>
                  </a:lnTo>
                  <a:lnTo>
                    <a:pt x="144" y="1209"/>
                  </a:lnTo>
                  <a:lnTo>
                    <a:pt x="144" y="1209"/>
                  </a:lnTo>
                  <a:lnTo>
                    <a:pt x="145" y="1207"/>
                  </a:lnTo>
                  <a:lnTo>
                    <a:pt x="147" y="1209"/>
                  </a:lnTo>
                  <a:lnTo>
                    <a:pt x="150" y="1215"/>
                  </a:lnTo>
                  <a:lnTo>
                    <a:pt x="150" y="1224"/>
                  </a:lnTo>
                  <a:lnTo>
                    <a:pt x="148" y="1235"/>
                  </a:lnTo>
                  <a:lnTo>
                    <a:pt x="148" y="1235"/>
                  </a:lnTo>
                  <a:lnTo>
                    <a:pt x="148" y="1241"/>
                  </a:lnTo>
                  <a:lnTo>
                    <a:pt x="151" y="1244"/>
                  </a:lnTo>
                  <a:lnTo>
                    <a:pt x="154" y="1247"/>
                  </a:lnTo>
                  <a:lnTo>
                    <a:pt x="157" y="1249"/>
                  </a:lnTo>
                  <a:lnTo>
                    <a:pt x="165" y="1249"/>
                  </a:lnTo>
                  <a:lnTo>
                    <a:pt x="168" y="1250"/>
                  </a:lnTo>
                  <a:lnTo>
                    <a:pt x="168" y="1252"/>
                  </a:lnTo>
                  <a:lnTo>
                    <a:pt x="168" y="1252"/>
                  </a:lnTo>
                  <a:lnTo>
                    <a:pt x="168" y="1256"/>
                  </a:lnTo>
                  <a:lnTo>
                    <a:pt x="166" y="1258"/>
                  </a:lnTo>
                  <a:lnTo>
                    <a:pt x="165" y="1261"/>
                  </a:lnTo>
                  <a:lnTo>
                    <a:pt x="162" y="1267"/>
                  </a:lnTo>
                  <a:lnTo>
                    <a:pt x="162" y="1267"/>
                  </a:lnTo>
                  <a:lnTo>
                    <a:pt x="162" y="1272"/>
                  </a:lnTo>
                  <a:lnTo>
                    <a:pt x="162" y="1278"/>
                  </a:lnTo>
                  <a:lnTo>
                    <a:pt x="165" y="1284"/>
                  </a:lnTo>
                  <a:lnTo>
                    <a:pt x="168" y="1289"/>
                  </a:lnTo>
                  <a:lnTo>
                    <a:pt x="168" y="1289"/>
                  </a:lnTo>
                  <a:lnTo>
                    <a:pt x="171" y="1295"/>
                  </a:lnTo>
                  <a:lnTo>
                    <a:pt x="171" y="1296"/>
                  </a:lnTo>
                  <a:lnTo>
                    <a:pt x="168" y="1299"/>
                  </a:lnTo>
                  <a:lnTo>
                    <a:pt x="168" y="1299"/>
                  </a:lnTo>
                  <a:lnTo>
                    <a:pt x="162" y="1311"/>
                  </a:lnTo>
                  <a:lnTo>
                    <a:pt x="154" y="1327"/>
                  </a:lnTo>
                  <a:lnTo>
                    <a:pt x="154" y="1327"/>
                  </a:lnTo>
                  <a:lnTo>
                    <a:pt x="151" y="1339"/>
                  </a:lnTo>
                  <a:lnTo>
                    <a:pt x="151" y="1342"/>
                  </a:lnTo>
                  <a:lnTo>
                    <a:pt x="148" y="1345"/>
                  </a:lnTo>
                  <a:lnTo>
                    <a:pt x="148" y="1345"/>
                  </a:lnTo>
                  <a:lnTo>
                    <a:pt x="147" y="1348"/>
                  </a:lnTo>
                  <a:lnTo>
                    <a:pt x="144" y="1350"/>
                  </a:lnTo>
                  <a:lnTo>
                    <a:pt x="141" y="1352"/>
                  </a:lnTo>
                  <a:lnTo>
                    <a:pt x="138" y="1354"/>
                  </a:lnTo>
                  <a:lnTo>
                    <a:pt x="138" y="1354"/>
                  </a:lnTo>
                  <a:lnTo>
                    <a:pt x="132" y="1363"/>
                  </a:lnTo>
                  <a:lnTo>
                    <a:pt x="131" y="1367"/>
                  </a:lnTo>
                  <a:lnTo>
                    <a:pt x="126" y="1373"/>
                  </a:lnTo>
                  <a:lnTo>
                    <a:pt x="126" y="1373"/>
                  </a:lnTo>
                  <a:lnTo>
                    <a:pt x="125" y="1375"/>
                  </a:lnTo>
                  <a:lnTo>
                    <a:pt x="122" y="1376"/>
                  </a:lnTo>
                  <a:lnTo>
                    <a:pt x="117" y="1376"/>
                  </a:lnTo>
                  <a:lnTo>
                    <a:pt x="105" y="1372"/>
                  </a:lnTo>
                  <a:lnTo>
                    <a:pt x="105" y="1372"/>
                  </a:lnTo>
                  <a:lnTo>
                    <a:pt x="101" y="1370"/>
                  </a:lnTo>
                  <a:lnTo>
                    <a:pt x="98" y="1373"/>
                  </a:lnTo>
                  <a:lnTo>
                    <a:pt x="97" y="1376"/>
                  </a:lnTo>
                  <a:lnTo>
                    <a:pt x="95" y="1381"/>
                  </a:lnTo>
                  <a:lnTo>
                    <a:pt x="95" y="1381"/>
                  </a:lnTo>
                  <a:lnTo>
                    <a:pt x="97" y="1385"/>
                  </a:lnTo>
                  <a:lnTo>
                    <a:pt x="98" y="1388"/>
                  </a:lnTo>
                  <a:lnTo>
                    <a:pt x="104" y="1395"/>
                  </a:lnTo>
                  <a:lnTo>
                    <a:pt x="104" y="1395"/>
                  </a:lnTo>
                  <a:lnTo>
                    <a:pt x="107" y="1400"/>
                  </a:lnTo>
                  <a:lnTo>
                    <a:pt x="107" y="1406"/>
                  </a:lnTo>
                  <a:lnTo>
                    <a:pt x="108" y="1413"/>
                  </a:lnTo>
                  <a:lnTo>
                    <a:pt x="108" y="1413"/>
                  </a:lnTo>
                  <a:lnTo>
                    <a:pt x="110" y="1419"/>
                  </a:lnTo>
                  <a:lnTo>
                    <a:pt x="110" y="1427"/>
                  </a:lnTo>
                  <a:lnTo>
                    <a:pt x="108" y="1435"/>
                  </a:lnTo>
                  <a:lnTo>
                    <a:pt x="104" y="1443"/>
                  </a:lnTo>
                  <a:lnTo>
                    <a:pt x="104" y="1443"/>
                  </a:lnTo>
                  <a:lnTo>
                    <a:pt x="97" y="1453"/>
                  </a:lnTo>
                  <a:lnTo>
                    <a:pt x="94" y="1459"/>
                  </a:lnTo>
                  <a:lnTo>
                    <a:pt x="94" y="1459"/>
                  </a:lnTo>
                  <a:lnTo>
                    <a:pt x="94" y="1462"/>
                  </a:lnTo>
                  <a:lnTo>
                    <a:pt x="97" y="1465"/>
                  </a:lnTo>
                  <a:lnTo>
                    <a:pt x="100" y="1469"/>
                  </a:lnTo>
                  <a:lnTo>
                    <a:pt x="105" y="1477"/>
                  </a:lnTo>
                  <a:lnTo>
                    <a:pt x="105" y="1477"/>
                  </a:lnTo>
                  <a:lnTo>
                    <a:pt x="114" y="1490"/>
                  </a:lnTo>
                  <a:lnTo>
                    <a:pt x="120" y="1504"/>
                  </a:lnTo>
                  <a:lnTo>
                    <a:pt x="120" y="1504"/>
                  </a:lnTo>
                  <a:lnTo>
                    <a:pt x="123" y="1506"/>
                  </a:lnTo>
                  <a:lnTo>
                    <a:pt x="123" y="1511"/>
                  </a:lnTo>
                  <a:lnTo>
                    <a:pt x="123" y="1518"/>
                  </a:lnTo>
                  <a:lnTo>
                    <a:pt x="120" y="1526"/>
                  </a:lnTo>
                  <a:lnTo>
                    <a:pt x="116" y="1530"/>
                  </a:lnTo>
                  <a:lnTo>
                    <a:pt x="116" y="1530"/>
                  </a:lnTo>
                  <a:lnTo>
                    <a:pt x="113" y="1532"/>
                  </a:lnTo>
                  <a:lnTo>
                    <a:pt x="110" y="1535"/>
                  </a:lnTo>
                  <a:lnTo>
                    <a:pt x="107" y="1541"/>
                  </a:lnTo>
                  <a:lnTo>
                    <a:pt x="107" y="1541"/>
                  </a:lnTo>
                  <a:lnTo>
                    <a:pt x="104" y="1551"/>
                  </a:lnTo>
                  <a:lnTo>
                    <a:pt x="104" y="1555"/>
                  </a:lnTo>
                  <a:lnTo>
                    <a:pt x="104" y="1558"/>
                  </a:lnTo>
                  <a:lnTo>
                    <a:pt x="104" y="1558"/>
                  </a:lnTo>
                  <a:lnTo>
                    <a:pt x="107" y="1561"/>
                  </a:lnTo>
                  <a:lnTo>
                    <a:pt x="111" y="1566"/>
                  </a:lnTo>
                  <a:lnTo>
                    <a:pt x="116" y="1572"/>
                  </a:lnTo>
                  <a:lnTo>
                    <a:pt x="119" y="1578"/>
                  </a:lnTo>
                  <a:lnTo>
                    <a:pt x="119" y="1578"/>
                  </a:lnTo>
                  <a:lnTo>
                    <a:pt x="117" y="1584"/>
                  </a:lnTo>
                  <a:lnTo>
                    <a:pt x="114" y="1586"/>
                  </a:lnTo>
                  <a:lnTo>
                    <a:pt x="111" y="1589"/>
                  </a:lnTo>
                  <a:lnTo>
                    <a:pt x="107" y="1589"/>
                  </a:lnTo>
                  <a:lnTo>
                    <a:pt x="107" y="1589"/>
                  </a:lnTo>
                  <a:lnTo>
                    <a:pt x="105" y="1591"/>
                  </a:lnTo>
                  <a:lnTo>
                    <a:pt x="105" y="1592"/>
                  </a:lnTo>
                  <a:lnTo>
                    <a:pt x="107" y="1598"/>
                  </a:lnTo>
                  <a:lnTo>
                    <a:pt x="107" y="1598"/>
                  </a:lnTo>
                  <a:lnTo>
                    <a:pt x="107" y="1603"/>
                  </a:lnTo>
                  <a:lnTo>
                    <a:pt x="108" y="1612"/>
                  </a:lnTo>
                  <a:lnTo>
                    <a:pt x="108" y="1621"/>
                  </a:lnTo>
                  <a:lnTo>
                    <a:pt x="110" y="1625"/>
                  </a:lnTo>
                  <a:lnTo>
                    <a:pt x="111" y="1628"/>
                  </a:lnTo>
                  <a:lnTo>
                    <a:pt x="111" y="1628"/>
                  </a:lnTo>
                  <a:lnTo>
                    <a:pt x="117" y="1631"/>
                  </a:lnTo>
                  <a:lnTo>
                    <a:pt x="123" y="1632"/>
                  </a:lnTo>
                  <a:lnTo>
                    <a:pt x="129" y="1635"/>
                  </a:lnTo>
                  <a:lnTo>
                    <a:pt x="134" y="1638"/>
                  </a:lnTo>
                  <a:lnTo>
                    <a:pt x="134" y="1638"/>
                  </a:lnTo>
                  <a:lnTo>
                    <a:pt x="134" y="1641"/>
                  </a:lnTo>
                  <a:lnTo>
                    <a:pt x="135" y="1644"/>
                  </a:lnTo>
                  <a:lnTo>
                    <a:pt x="135" y="1655"/>
                  </a:lnTo>
                  <a:lnTo>
                    <a:pt x="135" y="1655"/>
                  </a:lnTo>
                  <a:lnTo>
                    <a:pt x="135" y="1658"/>
                  </a:lnTo>
                  <a:lnTo>
                    <a:pt x="135" y="1659"/>
                  </a:lnTo>
                  <a:lnTo>
                    <a:pt x="140" y="1662"/>
                  </a:lnTo>
                  <a:lnTo>
                    <a:pt x="142" y="1663"/>
                  </a:lnTo>
                  <a:lnTo>
                    <a:pt x="145" y="1668"/>
                  </a:lnTo>
                  <a:lnTo>
                    <a:pt x="145" y="1668"/>
                  </a:lnTo>
                  <a:lnTo>
                    <a:pt x="147" y="1677"/>
                  </a:lnTo>
                  <a:lnTo>
                    <a:pt x="145" y="1687"/>
                  </a:lnTo>
                  <a:lnTo>
                    <a:pt x="142" y="1696"/>
                  </a:lnTo>
                  <a:lnTo>
                    <a:pt x="140" y="1701"/>
                  </a:lnTo>
                  <a:lnTo>
                    <a:pt x="137" y="1702"/>
                  </a:lnTo>
                  <a:lnTo>
                    <a:pt x="137" y="1702"/>
                  </a:lnTo>
                  <a:lnTo>
                    <a:pt x="131" y="1708"/>
                  </a:lnTo>
                  <a:lnTo>
                    <a:pt x="125" y="1715"/>
                  </a:lnTo>
                  <a:lnTo>
                    <a:pt x="119" y="1730"/>
                  </a:lnTo>
                  <a:lnTo>
                    <a:pt x="119" y="1730"/>
                  </a:lnTo>
                  <a:lnTo>
                    <a:pt x="119" y="1733"/>
                  </a:lnTo>
                  <a:lnTo>
                    <a:pt x="119" y="1735"/>
                  </a:lnTo>
                  <a:lnTo>
                    <a:pt x="120" y="1736"/>
                  </a:lnTo>
                  <a:lnTo>
                    <a:pt x="122" y="1736"/>
                  </a:lnTo>
                  <a:lnTo>
                    <a:pt x="128" y="1736"/>
                  </a:lnTo>
                  <a:lnTo>
                    <a:pt x="135" y="1735"/>
                  </a:lnTo>
                  <a:lnTo>
                    <a:pt x="135" y="1735"/>
                  </a:lnTo>
                  <a:lnTo>
                    <a:pt x="140" y="1733"/>
                  </a:lnTo>
                  <a:lnTo>
                    <a:pt x="142" y="1733"/>
                  </a:lnTo>
                  <a:lnTo>
                    <a:pt x="144" y="1735"/>
                  </a:lnTo>
                  <a:lnTo>
                    <a:pt x="144" y="1736"/>
                  </a:lnTo>
                  <a:lnTo>
                    <a:pt x="145" y="1742"/>
                  </a:lnTo>
                  <a:lnTo>
                    <a:pt x="147" y="1746"/>
                  </a:lnTo>
                  <a:lnTo>
                    <a:pt x="147" y="1746"/>
                  </a:lnTo>
                  <a:lnTo>
                    <a:pt x="148" y="1749"/>
                  </a:lnTo>
                  <a:lnTo>
                    <a:pt x="151" y="1751"/>
                  </a:lnTo>
                  <a:lnTo>
                    <a:pt x="159" y="1752"/>
                  </a:lnTo>
                  <a:lnTo>
                    <a:pt x="169" y="1754"/>
                  </a:lnTo>
                  <a:lnTo>
                    <a:pt x="177" y="1755"/>
                  </a:lnTo>
                  <a:lnTo>
                    <a:pt x="177" y="1755"/>
                  </a:lnTo>
                  <a:lnTo>
                    <a:pt x="179" y="1757"/>
                  </a:lnTo>
                  <a:lnTo>
                    <a:pt x="181" y="1760"/>
                  </a:lnTo>
                  <a:lnTo>
                    <a:pt x="185" y="1767"/>
                  </a:lnTo>
                  <a:lnTo>
                    <a:pt x="185" y="1775"/>
                  </a:lnTo>
                  <a:lnTo>
                    <a:pt x="185" y="1779"/>
                  </a:lnTo>
                  <a:lnTo>
                    <a:pt x="184" y="1782"/>
                  </a:lnTo>
                  <a:lnTo>
                    <a:pt x="184" y="1782"/>
                  </a:lnTo>
                  <a:lnTo>
                    <a:pt x="178" y="1789"/>
                  </a:lnTo>
                  <a:lnTo>
                    <a:pt x="177" y="1794"/>
                  </a:lnTo>
                  <a:lnTo>
                    <a:pt x="175" y="1800"/>
                  </a:lnTo>
                  <a:lnTo>
                    <a:pt x="175" y="1800"/>
                  </a:lnTo>
                  <a:lnTo>
                    <a:pt x="175" y="1807"/>
                  </a:lnTo>
                  <a:lnTo>
                    <a:pt x="172" y="1816"/>
                  </a:lnTo>
                  <a:lnTo>
                    <a:pt x="169" y="1825"/>
                  </a:lnTo>
                  <a:lnTo>
                    <a:pt x="163" y="1834"/>
                  </a:lnTo>
                  <a:lnTo>
                    <a:pt x="163" y="1834"/>
                  </a:lnTo>
                  <a:lnTo>
                    <a:pt x="156" y="1840"/>
                  </a:lnTo>
                  <a:lnTo>
                    <a:pt x="151" y="1844"/>
                  </a:lnTo>
                  <a:lnTo>
                    <a:pt x="145" y="1847"/>
                  </a:lnTo>
                  <a:lnTo>
                    <a:pt x="142" y="1852"/>
                  </a:lnTo>
                  <a:lnTo>
                    <a:pt x="142" y="1852"/>
                  </a:lnTo>
                  <a:lnTo>
                    <a:pt x="137" y="1860"/>
                  </a:lnTo>
                  <a:lnTo>
                    <a:pt x="128" y="1869"/>
                  </a:lnTo>
                  <a:lnTo>
                    <a:pt x="116" y="1881"/>
                  </a:lnTo>
                  <a:lnTo>
                    <a:pt x="116" y="1881"/>
                  </a:lnTo>
                  <a:lnTo>
                    <a:pt x="125" y="1892"/>
                  </a:lnTo>
                  <a:lnTo>
                    <a:pt x="138" y="1908"/>
                  </a:lnTo>
                  <a:lnTo>
                    <a:pt x="138" y="1908"/>
                  </a:lnTo>
                  <a:lnTo>
                    <a:pt x="140" y="1909"/>
                  </a:lnTo>
                  <a:lnTo>
                    <a:pt x="141" y="1912"/>
                  </a:lnTo>
                  <a:lnTo>
                    <a:pt x="138" y="1917"/>
                  </a:lnTo>
                  <a:lnTo>
                    <a:pt x="135" y="1921"/>
                  </a:lnTo>
                  <a:lnTo>
                    <a:pt x="132" y="1926"/>
                  </a:lnTo>
                  <a:lnTo>
                    <a:pt x="132" y="1926"/>
                  </a:lnTo>
                  <a:lnTo>
                    <a:pt x="129" y="1936"/>
                  </a:lnTo>
                  <a:lnTo>
                    <a:pt x="129" y="1940"/>
                  </a:lnTo>
                  <a:lnTo>
                    <a:pt x="126" y="1948"/>
                  </a:lnTo>
                  <a:lnTo>
                    <a:pt x="126" y="1948"/>
                  </a:lnTo>
                  <a:lnTo>
                    <a:pt x="122" y="1954"/>
                  </a:lnTo>
                  <a:lnTo>
                    <a:pt x="114" y="1958"/>
                  </a:lnTo>
                  <a:lnTo>
                    <a:pt x="108" y="1963"/>
                  </a:lnTo>
                  <a:lnTo>
                    <a:pt x="102" y="1969"/>
                  </a:lnTo>
                  <a:lnTo>
                    <a:pt x="102" y="1969"/>
                  </a:lnTo>
                  <a:lnTo>
                    <a:pt x="100" y="1973"/>
                  </a:lnTo>
                  <a:lnTo>
                    <a:pt x="95" y="1976"/>
                  </a:lnTo>
                  <a:lnTo>
                    <a:pt x="80" y="1980"/>
                  </a:lnTo>
                  <a:lnTo>
                    <a:pt x="80" y="1980"/>
                  </a:lnTo>
                  <a:lnTo>
                    <a:pt x="76" y="1982"/>
                  </a:lnTo>
                  <a:lnTo>
                    <a:pt x="74" y="1983"/>
                  </a:lnTo>
                  <a:lnTo>
                    <a:pt x="73" y="1986"/>
                  </a:lnTo>
                  <a:lnTo>
                    <a:pt x="73" y="1988"/>
                  </a:lnTo>
                  <a:lnTo>
                    <a:pt x="74" y="1992"/>
                  </a:lnTo>
                  <a:lnTo>
                    <a:pt x="76" y="1997"/>
                  </a:lnTo>
                  <a:lnTo>
                    <a:pt x="76" y="1997"/>
                  </a:lnTo>
                  <a:lnTo>
                    <a:pt x="74" y="2000"/>
                  </a:lnTo>
                  <a:lnTo>
                    <a:pt x="73" y="2001"/>
                  </a:lnTo>
                  <a:lnTo>
                    <a:pt x="68" y="2004"/>
                  </a:lnTo>
                  <a:lnTo>
                    <a:pt x="64" y="2006"/>
                  </a:lnTo>
                  <a:lnTo>
                    <a:pt x="60" y="2009"/>
                  </a:lnTo>
                  <a:lnTo>
                    <a:pt x="60" y="2009"/>
                  </a:lnTo>
                  <a:lnTo>
                    <a:pt x="55" y="2014"/>
                  </a:lnTo>
                  <a:lnTo>
                    <a:pt x="52" y="2017"/>
                  </a:lnTo>
                  <a:lnTo>
                    <a:pt x="51" y="2019"/>
                  </a:lnTo>
                  <a:lnTo>
                    <a:pt x="51" y="2019"/>
                  </a:lnTo>
                  <a:lnTo>
                    <a:pt x="54" y="2022"/>
                  </a:lnTo>
                  <a:lnTo>
                    <a:pt x="58" y="2026"/>
                  </a:lnTo>
                  <a:lnTo>
                    <a:pt x="60" y="2032"/>
                  </a:lnTo>
                  <a:lnTo>
                    <a:pt x="60" y="2037"/>
                  </a:lnTo>
                  <a:lnTo>
                    <a:pt x="58" y="2040"/>
                  </a:lnTo>
                  <a:lnTo>
                    <a:pt x="58" y="2040"/>
                  </a:lnTo>
                  <a:lnTo>
                    <a:pt x="55" y="2049"/>
                  </a:lnTo>
                  <a:lnTo>
                    <a:pt x="54" y="2056"/>
                  </a:lnTo>
                  <a:lnTo>
                    <a:pt x="54" y="2059"/>
                  </a:lnTo>
                  <a:lnTo>
                    <a:pt x="57" y="2062"/>
                  </a:lnTo>
                  <a:lnTo>
                    <a:pt x="60" y="2065"/>
                  </a:lnTo>
                  <a:lnTo>
                    <a:pt x="63" y="2066"/>
                  </a:lnTo>
                  <a:lnTo>
                    <a:pt x="63" y="2066"/>
                  </a:lnTo>
                  <a:lnTo>
                    <a:pt x="71" y="2069"/>
                  </a:lnTo>
                  <a:lnTo>
                    <a:pt x="74" y="2072"/>
                  </a:lnTo>
                  <a:lnTo>
                    <a:pt x="77" y="2075"/>
                  </a:lnTo>
                  <a:lnTo>
                    <a:pt x="79" y="2081"/>
                  </a:lnTo>
                  <a:lnTo>
                    <a:pt x="79" y="2081"/>
                  </a:lnTo>
                  <a:lnTo>
                    <a:pt x="82" y="2089"/>
                  </a:lnTo>
                  <a:lnTo>
                    <a:pt x="86" y="2091"/>
                  </a:lnTo>
                  <a:lnTo>
                    <a:pt x="100" y="2094"/>
                  </a:lnTo>
                  <a:lnTo>
                    <a:pt x="100" y="2094"/>
                  </a:lnTo>
                  <a:lnTo>
                    <a:pt x="107" y="2097"/>
                  </a:lnTo>
                  <a:lnTo>
                    <a:pt x="113" y="2102"/>
                  </a:lnTo>
                  <a:lnTo>
                    <a:pt x="113" y="2103"/>
                  </a:lnTo>
                  <a:lnTo>
                    <a:pt x="113" y="2105"/>
                  </a:lnTo>
                  <a:lnTo>
                    <a:pt x="111" y="2106"/>
                  </a:lnTo>
                  <a:lnTo>
                    <a:pt x="108" y="2108"/>
                  </a:lnTo>
                  <a:lnTo>
                    <a:pt x="108" y="2108"/>
                  </a:lnTo>
                  <a:lnTo>
                    <a:pt x="92" y="2111"/>
                  </a:lnTo>
                  <a:lnTo>
                    <a:pt x="86" y="2114"/>
                  </a:lnTo>
                  <a:lnTo>
                    <a:pt x="85" y="2115"/>
                  </a:lnTo>
                  <a:lnTo>
                    <a:pt x="85" y="2118"/>
                  </a:lnTo>
                  <a:lnTo>
                    <a:pt x="85" y="2118"/>
                  </a:lnTo>
                  <a:lnTo>
                    <a:pt x="83" y="2124"/>
                  </a:lnTo>
                  <a:lnTo>
                    <a:pt x="79" y="2131"/>
                  </a:lnTo>
                  <a:lnTo>
                    <a:pt x="71" y="2139"/>
                  </a:lnTo>
                  <a:lnTo>
                    <a:pt x="61" y="2145"/>
                  </a:lnTo>
                  <a:lnTo>
                    <a:pt x="61" y="2145"/>
                  </a:lnTo>
                  <a:lnTo>
                    <a:pt x="27" y="2158"/>
                  </a:lnTo>
                  <a:lnTo>
                    <a:pt x="5" y="2167"/>
                  </a:lnTo>
                  <a:lnTo>
                    <a:pt x="5" y="2167"/>
                  </a:lnTo>
                  <a:lnTo>
                    <a:pt x="15" y="2169"/>
                  </a:lnTo>
                  <a:lnTo>
                    <a:pt x="15" y="2169"/>
                  </a:lnTo>
                  <a:lnTo>
                    <a:pt x="17" y="2170"/>
                  </a:lnTo>
                  <a:lnTo>
                    <a:pt x="18" y="2171"/>
                  </a:lnTo>
                  <a:lnTo>
                    <a:pt x="20" y="2176"/>
                  </a:lnTo>
                  <a:lnTo>
                    <a:pt x="18" y="2180"/>
                  </a:lnTo>
                  <a:lnTo>
                    <a:pt x="18" y="2183"/>
                  </a:lnTo>
                  <a:lnTo>
                    <a:pt x="18" y="2183"/>
                  </a:lnTo>
                  <a:lnTo>
                    <a:pt x="21" y="2192"/>
                  </a:lnTo>
                  <a:lnTo>
                    <a:pt x="23" y="2197"/>
                  </a:lnTo>
                  <a:lnTo>
                    <a:pt x="23" y="2201"/>
                  </a:lnTo>
                  <a:lnTo>
                    <a:pt x="23" y="2201"/>
                  </a:lnTo>
                  <a:lnTo>
                    <a:pt x="21" y="2204"/>
                  </a:lnTo>
                  <a:lnTo>
                    <a:pt x="18" y="2206"/>
                  </a:lnTo>
                  <a:lnTo>
                    <a:pt x="14" y="2208"/>
                  </a:lnTo>
                  <a:lnTo>
                    <a:pt x="12" y="2211"/>
                  </a:lnTo>
                  <a:lnTo>
                    <a:pt x="12" y="2211"/>
                  </a:lnTo>
                  <a:lnTo>
                    <a:pt x="9" y="2222"/>
                  </a:lnTo>
                  <a:lnTo>
                    <a:pt x="8" y="2228"/>
                  </a:lnTo>
                  <a:lnTo>
                    <a:pt x="5" y="2229"/>
                  </a:lnTo>
                  <a:lnTo>
                    <a:pt x="3" y="2231"/>
                  </a:lnTo>
                  <a:lnTo>
                    <a:pt x="3" y="2231"/>
                  </a:lnTo>
                  <a:lnTo>
                    <a:pt x="0" y="2232"/>
                  </a:lnTo>
                  <a:lnTo>
                    <a:pt x="0" y="2234"/>
                  </a:lnTo>
                  <a:lnTo>
                    <a:pt x="0" y="2238"/>
                  </a:lnTo>
                  <a:lnTo>
                    <a:pt x="5" y="2250"/>
                  </a:lnTo>
                  <a:lnTo>
                    <a:pt x="5" y="2250"/>
                  </a:lnTo>
                  <a:lnTo>
                    <a:pt x="6" y="2256"/>
                  </a:lnTo>
                  <a:lnTo>
                    <a:pt x="6" y="2260"/>
                  </a:lnTo>
                  <a:lnTo>
                    <a:pt x="3" y="2269"/>
                  </a:lnTo>
                  <a:lnTo>
                    <a:pt x="3" y="2269"/>
                  </a:lnTo>
                  <a:lnTo>
                    <a:pt x="3" y="2272"/>
                  </a:lnTo>
                  <a:lnTo>
                    <a:pt x="5" y="2274"/>
                  </a:lnTo>
                  <a:lnTo>
                    <a:pt x="12" y="2277"/>
                  </a:lnTo>
                  <a:lnTo>
                    <a:pt x="27" y="2281"/>
                  </a:lnTo>
                  <a:lnTo>
                    <a:pt x="27" y="2281"/>
                  </a:lnTo>
                  <a:lnTo>
                    <a:pt x="70" y="2288"/>
                  </a:lnTo>
                  <a:lnTo>
                    <a:pt x="101" y="2294"/>
                  </a:lnTo>
                  <a:lnTo>
                    <a:pt x="114" y="2299"/>
                  </a:lnTo>
                  <a:lnTo>
                    <a:pt x="123" y="2303"/>
                  </a:lnTo>
                  <a:lnTo>
                    <a:pt x="123" y="2303"/>
                  </a:lnTo>
                  <a:lnTo>
                    <a:pt x="132" y="2309"/>
                  </a:lnTo>
                  <a:lnTo>
                    <a:pt x="134" y="2312"/>
                  </a:lnTo>
                  <a:lnTo>
                    <a:pt x="135" y="2315"/>
                  </a:lnTo>
                  <a:lnTo>
                    <a:pt x="134" y="2320"/>
                  </a:lnTo>
                  <a:lnTo>
                    <a:pt x="134" y="2324"/>
                  </a:lnTo>
                  <a:lnTo>
                    <a:pt x="134" y="2324"/>
                  </a:lnTo>
                  <a:lnTo>
                    <a:pt x="134" y="2327"/>
                  </a:lnTo>
                  <a:lnTo>
                    <a:pt x="135" y="2328"/>
                  </a:lnTo>
                  <a:lnTo>
                    <a:pt x="140" y="2328"/>
                  </a:lnTo>
                  <a:lnTo>
                    <a:pt x="145" y="2328"/>
                  </a:lnTo>
                  <a:lnTo>
                    <a:pt x="153" y="2328"/>
                  </a:lnTo>
                  <a:lnTo>
                    <a:pt x="153" y="2328"/>
                  </a:lnTo>
                  <a:lnTo>
                    <a:pt x="156" y="2330"/>
                  </a:lnTo>
                  <a:lnTo>
                    <a:pt x="157" y="2334"/>
                  </a:lnTo>
                  <a:lnTo>
                    <a:pt x="160" y="2345"/>
                  </a:lnTo>
                  <a:lnTo>
                    <a:pt x="165" y="2368"/>
                  </a:lnTo>
                  <a:lnTo>
                    <a:pt x="165" y="2368"/>
                  </a:lnTo>
                  <a:lnTo>
                    <a:pt x="166" y="2374"/>
                  </a:lnTo>
                  <a:lnTo>
                    <a:pt x="169" y="2376"/>
                  </a:lnTo>
                  <a:lnTo>
                    <a:pt x="172" y="2377"/>
                  </a:lnTo>
                  <a:lnTo>
                    <a:pt x="179" y="2377"/>
                  </a:lnTo>
                  <a:lnTo>
                    <a:pt x="190" y="2377"/>
                  </a:lnTo>
                  <a:lnTo>
                    <a:pt x="190" y="2377"/>
                  </a:lnTo>
                  <a:lnTo>
                    <a:pt x="200" y="2377"/>
                  </a:lnTo>
                  <a:lnTo>
                    <a:pt x="205" y="2379"/>
                  </a:lnTo>
                  <a:lnTo>
                    <a:pt x="206" y="2380"/>
                  </a:lnTo>
                  <a:lnTo>
                    <a:pt x="206" y="2385"/>
                  </a:lnTo>
                  <a:lnTo>
                    <a:pt x="206" y="2385"/>
                  </a:lnTo>
                  <a:lnTo>
                    <a:pt x="205" y="2395"/>
                  </a:lnTo>
                  <a:lnTo>
                    <a:pt x="203" y="2405"/>
                  </a:lnTo>
                  <a:lnTo>
                    <a:pt x="203" y="2405"/>
                  </a:lnTo>
                  <a:lnTo>
                    <a:pt x="203" y="2408"/>
                  </a:lnTo>
                  <a:lnTo>
                    <a:pt x="203" y="2411"/>
                  </a:lnTo>
                  <a:lnTo>
                    <a:pt x="206" y="2416"/>
                  </a:lnTo>
                  <a:lnTo>
                    <a:pt x="211" y="2420"/>
                  </a:lnTo>
                  <a:lnTo>
                    <a:pt x="211" y="2423"/>
                  </a:lnTo>
                  <a:lnTo>
                    <a:pt x="211" y="2423"/>
                  </a:lnTo>
                  <a:lnTo>
                    <a:pt x="211" y="2425"/>
                  </a:lnTo>
                  <a:lnTo>
                    <a:pt x="209" y="2425"/>
                  </a:lnTo>
                  <a:lnTo>
                    <a:pt x="203" y="2426"/>
                  </a:lnTo>
                  <a:lnTo>
                    <a:pt x="184" y="2426"/>
                  </a:lnTo>
                  <a:lnTo>
                    <a:pt x="184" y="2426"/>
                  </a:lnTo>
                  <a:lnTo>
                    <a:pt x="178" y="2428"/>
                  </a:lnTo>
                  <a:lnTo>
                    <a:pt x="175" y="2429"/>
                  </a:lnTo>
                  <a:lnTo>
                    <a:pt x="172" y="2431"/>
                  </a:lnTo>
                  <a:lnTo>
                    <a:pt x="171" y="2434"/>
                  </a:lnTo>
                  <a:lnTo>
                    <a:pt x="169" y="2440"/>
                  </a:lnTo>
                  <a:lnTo>
                    <a:pt x="166" y="2445"/>
                  </a:lnTo>
                  <a:lnTo>
                    <a:pt x="166" y="2445"/>
                  </a:lnTo>
                  <a:lnTo>
                    <a:pt x="162" y="2450"/>
                  </a:lnTo>
                  <a:lnTo>
                    <a:pt x="156" y="2454"/>
                  </a:lnTo>
                  <a:lnTo>
                    <a:pt x="153" y="2457"/>
                  </a:lnTo>
                  <a:lnTo>
                    <a:pt x="148" y="2460"/>
                  </a:lnTo>
                  <a:lnTo>
                    <a:pt x="148" y="2460"/>
                  </a:lnTo>
                  <a:lnTo>
                    <a:pt x="147" y="2468"/>
                  </a:lnTo>
                  <a:lnTo>
                    <a:pt x="144" y="2481"/>
                  </a:lnTo>
                  <a:lnTo>
                    <a:pt x="142" y="2503"/>
                  </a:lnTo>
                  <a:lnTo>
                    <a:pt x="142" y="2503"/>
                  </a:lnTo>
                  <a:lnTo>
                    <a:pt x="142" y="2506"/>
                  </a:lnTo>
                  <a:lnTo>
                    <a:pt x="145" y="2509"/>
                  </a:lnTo>
                  <a:lnTo>
                    <a:pt x="153" y="2512"/>
                  </a:lnTo>
                  <a:lnTo>
                    <a:pt x="174" y="2518"/>
                  </a:lnTo>
                  <a:lnTo>
                    <a:pt x="174" y="2518"/>
                  </a:lnTo>
                  <a:lnTo>
                    <a:pt x="178" y="2520"/>
                  </a:lnTo>
                  <a:lnTo>
                    <a:pt x="182" y="2521"/>
                  </a:lnTo>
                  <a:lnTo>
                    <a:pt x="187" y="2527"/>
                  </a:lnTo>
                  <a:lnTo>
                    <a:pt x="191" y="2533"/>
                  </a:lnTo>
                  <a:lnTo>
                    <a:pt x="196" y="2539"/>
                  </a:lnTo>
                  <a:lnTo>
                    <a:pt x="196" y="2539"/>
                  </a:lnTo>
                  <a:lnTo>
                    <a:pt x="200" y="2543"/>
                  </a:lnTo>
                  <a:lnTo>
                    <a:pt x="203" y="2546"/>
                  </a:lnTo>
                  <a:lnTo>
                    <a:pt x="206" y="2548"/>
                  </a:lnTo>
                  <a:lnTo>
                    <a:pt x="209" y="2554"/>
                  </a:lnTo>
                  <a:lnTo>
                    <a:pt x="209" y="2554"/>
                  </a:lnTo>
                  <a:lnTo>
                    <a:pt x="209" y="2559"/>
                  </a:lnTo>
                  <a:lnTo>
                    <a:pt x="209" y="2564"/>
                  </a:lnTo>
                  <a:lnTo>
                    <a:pt x="206" y="2568"/>
                  </a:lnTo>
                  <a:lnTo>
                    <a:pt x="202" y="2573"/>
                  </a:lnTo>
                  <a:lnTo>
                    <a:pt x="202" y="2573"/>
                  </a:lnTo>
                  <a:lnTo>
                    <a:pt x="194" y="2580"/>
                  </a:lnTo>
                  <a:lnTo>
                    <a:pt x="184" y="2589"/>
                  </a:lnTo>
                  <a:lnTo>
                    <a:pt x="184" y="2589"/>
                  </a:lnTo>
                  <a:lnTo>
                    <a:pt x="172" y="2601"/>
                  </a:lnTo>
                  <a:lnTo>
                    <a:pt x="166" y="2611"/>
                  </a:lnTo>
                  <a:lnTo>
                    <a:pt x="166" y="2611"/>
                  </a:lnTo>
                  <a:lnTo>
                    <a:pt x="160" y="2619"/>
                  </a:lnTo>
                  <a:lnTo>
                    <a:pt x="159" y="2622"/>
                  </a:lnTo>
                  <a:lnTo>
                    <a:pt x="159" y="2623"/>
                  </a:lnTo>
                  <a:lnTo>
                    <a:pt x="159" y="2623"/>
                  </a:lnTo>
                  <a:lnTo>
                    <a:pt x="159" y="2632"/>
                  </a:lnTo>
                  <a:lnTo>
                    <a:pt x="160" y="2642"/>
                  </a:lnTo>
                  <a:lnTo>
                    <a:pt x="160" y="2642"/>
                  </a:lnTo>
                  <a:lnTo>
                    <a:pt x="159" y="2656"/>
                  </a:lnTo>
                  <a:lnTo>
                    <a:pt x="157" y="2663"/>
                  </a:lnTo>
                  <a:lnTo>
                    <a:pt x="156" y="2666"/>
                  </a:lnTo>
                  <a:lnTo>
                    <a:pt x="156" y="2666"/>
                  </a:lnTo>
                  <a:lnTo>
                    <a:pt x="159" y="2675"/>
                  </a:lnTo>
                  <a:lnTo>
                    <a:pt x="159" y="2681"/>
                  </a:lnTo>
                  <a:lnTo>
                    <a:pt x="157" y="2684"/>
                  </a:lnTo>
                  <a:lnTo>
                    <a:pt x="156" y="2685"/>
                  </a:lnTo>
                  <a:lnTo>
                    <a:pt x="156" y="2685"/>
                  </a:lnTo>
                  <a:lnTo>
                    <a:pt x="144" y="2687"/>
                  </a:lnTo>
                  <a:lnTo>
                    <a:pt x="141" y="2688"/>
                  </a:lnTo>
                  <a:lnTo>
                    <a:pt x="141" y="2690"/>
                  </a:lnTo>
                  <a:lnTo>
                    <a:pt x="142" y="2693"/>
                  </a:lnTo>
                  <a:lnTo>
                    <a:pt x="142" y="2693"/>
                  </a:lnTo>
                  <a:lnTo>
                    <a:pt x="148" y="2702"/>
                  </a:lnTo>
                  <a:lnTo>
                    <a:pt x="159" y="2715"/>
                  </a:lnTo>
                  <a:lnTo>
                    <a:pt x="159" y="2715"/>
                  </a:lnTo>
                  <a:lnTo>
                    <a:pt x="165" y="2725"/>
                  </a:lnTo>
                  <a:lnTo>
                    <a:pt x="171" y="2737"/>
                  </a:lnTo>
                  <a:lnTo>
                    <a:pt x="175" y="2751"/>
                  </a:lnTo>
                  <a:lnTo>
                    <a:pt x="177" y="2761"/>
                  </a:lnTo>
                  <a:lnTo>
                    <a:pt x="177" y="2761"/>
                  </a:lnTo>
                  <a:lnTo>
                    <a:pt x="178" y="2765"/>
                  </a:lnTo>
                  <a:lnTo>
                    <a:pt x="177" y="2770"/>
                  </a:lnTo>
                  <a:lnTo>
                    <a:pt x="175" y="2773"/>
                  </a:lnTo>
                  <a:lnTo>
                    <a:pt x="174" y="2776"/>
                  </a:lnTo>
                  <a:lnTo>
                    <a:pt x="165" y="2783"/>
                  </a:lnTo>
                  <a:lnTo>
                    <a:pt x="151" y="2791"/>
                  </a:lnTo>
                  <a:lnTo>
                    <a:pt x="151" y="2791"/>
                  </a:lnTo>
                  <a:lnTo>
                    <a:pt x="137" y="2798"/>
                  </a:lnTo>
                  <a:lnTo>
                    <a:pt x="125" y="2805"/>
                  </a:lnTo>
                  <a:lnTo>
                    <a:pt x="122" y="2808"/>
                  </a:lnTo>
                  <a:lnTo>
                    <a:pt x="119" y="2811"/>
                  </a:lnTo>
                  <a:lnTo>
                    <a:pt x="117" y="2816"/>
                  </a:lnTo>
                  <a:lnTo>
                    <a:pt x="117" y="2820"/>
                  </a:lnTo>
                  <a:lnTo>
                    <a:pt x="117" y="2820"/>
                  </a:lnTo>
                  <a:lnTo>
                    <a:pt x="116" y="2826"/>
                  </a:lnTo>
                  <a:lnTo>
                    <a:pt x="114" y="2831"/>
                  </a:lnTo>
                  <a:lnTo>
                    <a:pt x="114" y="2831"/>
                  </a:lnTo>
                  <a:lnTo>
                    <a:pt x="117" y="2831"/>
                  </a:lnTo>
                  <a:lnTo>
                    <a:pt x="126" y="2831"/>
                  </a:lnTo>
                  <a:lnTo>
                    <a:pt x="135" y="2832"/>
                  </a:lnTo>
                  <a:lnTo>
                    <a:pt x="140" y="2835"/>
                  </a:lnTo>
                  <a:lnTo>
                    <a:pt x="144" y="2838"/>
                  </a:lnTo>
                  <a:lnTo>
                    <a:pt x="144" y="2838"/>
                  </a:lnTo>
                  <a:lnTo>
                    <a:pt x="147" y="2842"/>
                  </a:lnTo>
                  <a:lnTo>
                    <a:pt x="148" y="2847"/>
                  </a:lnTo>
                  <a:lnTo>
                    <a:pt x="148" y="2856"/>
                  </a:lnTo>
                  <a:lnTo>
                    <a:pt x="148" y="2862"/>
                  </a:lnTo>
                  <a:lnTo>
                    <a:pt x="151" y="2863"/>
                  </a:lnTo>
                  <a:lnTo>
                    <a:pt x="154" y="2866"/>
                  </a:lnTo>
                  <a:lnTo>
                    <a:pt x="154" y="2866"/>
                  </a:lnTo>
                  <a:lnTo>
                    <a:pt x="166" y="2868"/>
                  </a:lnTo>
                  <a:lnTo>
                    <a:pt x="178" y="2868"/>
                  </a:lnTo>
                  <a:lnTo>
                    <a:pt x="197" y="2868"/>
                  </a:lnTo>
                  <a:lnTo>
                    <a:pt x="197" y="2868"/>
                  </a:lnTo>
                  <a:lnTo>
                    <a:pt x="197" y="28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0" name="Freeform 69">
              <a:extLst>
                <a:ext uri="{FF2B5EF4-FFF2-40B4-BE49-F238E27FC236}">
                  <a16:creationId xmlns:a16="http://schemas.microsoft.com/office/drawing/2014/main" id="{869A6DAF-7E1B-5042-8084-F529F557B8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7675" y="5634038"/>
              <a:ext cx="479425" cy="619125"/>
            </a:xfrm>
            <a:custGeom>
              <a:avLst/>
              <a:gdLst>
                <a:gd name="T0" fmla="*/ 85 w 302"/>
                <a:gd name="T1" fmla="*/ 147 h 390"/>
                <a:gd name="T2" fmla="*/ 101 w 302"/>
                <a:gd name="T3" fmla="*/ 151 h 390"/>
                <a:gd name="T4" fmla="*/ 142 w 302"/>
                <a:gd name="T5" fmla="*/ 199 h 390"/>
                <a:gd name="T6" fmla="*/ 156 w 302"/>
                <a:gd name="T7" fmla="*/ 231 h 390"/>
                <a:gd name="T8" fmla="*/ 160 w 302"/>
                <a:gd name="T9" fmla="*/ 286 h 390"/>
                <a:gd name="T10" fmla="*/ 134 w 302"/>
                <a:gd name="T11" fmla="*/ 310 h 390"/>
                <a:gd name="T12" fmla="*/ 125 w 302"/>
                <a:gd name="T13" fmla="*/ 291 h 390"/>
                <a:gd name="T14" fmla="*/ 114 w 302"/>
                <a:gd name="T15" fmla="*/ 283 h 390"/>
                <a:gd name="T16" fmla="*/ 97 w 302"/>
                <a:gd name="T17" fmla="*/ 301 h 390"/>
                <a:gd name="T18" fmla="*/ 86 w 302"/>
                <a:gd name="T19" fmla="*/ 316 h 390"/>
                <a:gd name="T20" fmla="*/ 48 w 302"/>
                <a:gd name="T21" fmla="*/ 322 h 390"/>
                <a:gd name="T22" fmla="*/ 49 w 302"/>
                <a:gd name="T23" fmla="*/ 279 h 390"/>
                <a:gd name="T24" fmla="*/ 70 w 302"/>
                <a:gd name="T25" fmla="*/ 271 h 390"/>
                <a:gd name="T26" fmla="*/ 94 w 302"/>
                <a:gd name="T27" fmla="*/ 270 h 390"/>
                <a:gd name="T28" fmla="*/ 122 w 302"/>
                <a:gd name="T29" fmla="*/ 237 h 390"/>
                <a:gd name="T30" fmla="*/ 134 w 302"/>
                <a:gd name="T31" fmla="*/ 221 h 390"/>
                <a:gd name="T32" fmla="*/ 120 w 302"/>
                <a:gd name="T33" fmla="*/ 203 h 390"/>
                <a:gd name="T34" fmla="*/ 101 w 302"/>
                <a:gd name="T35" fmla="*/ 202 h 390"/>
                <a:gd name="T36" fmla="*/ 76 w 302"/>
                <a:gd name="T37" fmla="*/ 175 h 390"/>
                <a:gd name="T38" fmla="*/ 230 w 302"/>
                <a:gd name="T39" fmla="*/ 234 h 390"/>
                <a:gd name="T40" fmla="*/ 249 w 302"/>
                <a:gd name="T41" fmla="*/ 248 h 390"/>
                <a:gd name="T42" fmla="*/ 274 w 302"/>
                <a:gd name="T43" fmla="*/ 234 h 390"/>
                <a:gd name="T44" fmla="*/ 298 w 302"/>
                <a:gd name="T45" fmla="*/ 200 h 390"/>
                <a:gd name="T46" fmla="*/ 298 w 302"/>
                <a:gd name="T47" fmla="*/ 190 h 390"/>
                <a:gd name="T48" fmla="*/ 273 w 302"/>
                <a:gd name="T49" fmla="*/ 178 h 390"/>
                <a:gd name="T50" fmla="*/ 282 w 302"/>
                <a:gd name="T51" fmla="*/ 146 h 390"/>
                <a:gd name="T52" fmla="*/ 289 w 302"/>
                <a:gd name="T53" fmla="*/ 122 h 390"/>
                <a:gd name="T54" fmla="*/ 293 w 302"/>
                <a:gd name="T55" fmla="*/ 104 h 390"/>
                <a:gd name="T56" fmla="*/ 256 w 302"/>
                <a:gd name="T57" fmla="*/ 64 h 390"/>
                <a:gd name="T58" fmla="*/ 243 w 302"/>
                <a:gd name="T59" fmla="*/ 72 h 390"/>
                <a:gd name="T60" fmla="*/ 231 w 302"/>
                <a:gd name="T61" fmla="*/ 51 h 390"/>
                <a:gd name="T62" fmla="*/ 243 w 302"/>
                <a:gd name="T63" fmla="*/ 39 h 390"/>
                <a:gd name="T64" fmla="*/ 216 w 302"/>
                <a:gd name="T65" fmla="*/ 21 h 390"/>
                <a:gd name="T66" fmla="*/ 191 w 302"/>
                <a:gd name="T67" fmla="*/ 2 h 390"/>
                <a:gd name="T68" fmla="*/ 176 w 302"/>
                <a:gd name="T69" fmla="*/ 8 h 390"/>
                <a:gd name="T70" fmla="*/ 188 w 302"/>
                <a:gd name="T71" fmla="*/ 45 h 390"/>
                <a:gd name="T72" fmla="*/ 182 w 302"/>
                <a:gd name="T73" fmla="*/ 67 h 390"/>
                <a:gd name="T74" fmla="*/ 163 w 302"/>
                <a:gd name="T75" fmla="*/ 55 h 390"/>
                <a:gd name="T76" fmla="*/ 119 w 302"/>
                <a:gd name="T77" fmla="*/ 49 h 390"/>
                <a:gd name="T78" fmla="*/ 51 w 302"/>
                <a:gd name="T79" fmla="*/ 46 h 390"/>
                <a:gd name="T80" fmla="*/ 45 w 302"/>
                <a:gd name="T81" fmla="*/ 29 h 390"/>
                <a:gd name="T82" fmla="*/ 17 w 302"/>
                <a:gd name="T83" fmla="*/ 15 h 390"/>
                <a:gd name="T84" fmla="*/ 11 w 302"/>
                <a:gd name="T85" fmla="*/ 60 h 390"/>
                <a:gd name="T86" fmla="*/ 2 w 302"/>
                <a:gd name="T87" fmla="*/ 95 h 390"/>
                <a:gd name="T88" fmla="*/ 20 w 302"/>
                <a:gd name="T89" fmla="*/ 166 h 390"/>
                <a:gd name="T90" fmla="*/ 24 w 302"/>
                <a:gd name="T91" fmla="*/ 227 h 390"/>
                <a:gd name="T92" fmla="*/ 9 w 302"/>
                <a:gd name="T93" fmla="*/ 301 h 390"/>
                <a:gd name="T94" fmla="*/ 31 w 302"/>
                <a:gd name="T95" fmla="*/ 348 h 390"/>
                <a:gd name="T96" fmla="*/ 45 w 302"/>
                <a:gd name="T97" fmla="*/ 366 h 390"/>
                <a:gd name="T98" fmla="*/ 76 w 302"/>
                <a:gd name="T99" fmla="*/ 362 h 390"/>
                <a:gd name="T100" fmla="*/ 92 w 302"/>
                <a:gd name="T101" fmla="*/ 354 h 390"/>
                <a:gd name="T102" fmla="*/ 108 w 302"/>
                <a:gd name="T103" fmla="*/ 372 h 390"/>
                <a:gd name="T104" fmla="*/ 123 w 302"/>
                <a:gd name="T105" fmla="*/ 388 h 390"/>
                <a:gd name="T106" fmla="*/ 147 w 302"/>
                <a:gd name="T107" fmla="*/ 378 h 390"/>
                <a:gd name="T108" fmla="*/ 171 w 302"/>
                <a:gd name="T109" fmla="*/ 374 h 390"/>
                <a:gd name="T110" fmla="*/ 181 w 302"/>
                <a:gd name="T111" fmla="*/ 362 h 390"/>
                <a:gd name="T112" fmla="*/ 202 w 302"/>
                <a:gd name="T113" fmla="*/ 347 h 390"/>
                <a:gd name="T114" fmla="*/ 208 w 302"/>
                <a:gd name="T115" fmla="*/ 331 h 390"/>
                <a:gd name="T116" fmla="*/ 224 w 302"/>
                <a:gd name="T117" fmla="*/ 300 h 390"/>
                <a:gd name="T118" fmla="*/ 224 w 302"/>
                <a:gd name="T119" fmla="*/ 271 h 390"/>
                <a:gd name="T120" fmla="*/ 219 w 302"/>
                <a:gd name="T121" fmla="*/ 243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2" h="390">
                  <a:moveTo>
                    <a:pt x="71" y="166"/>
                  </a:moveTo>
                  <a:lnTo>
                    <a:pt x="71" y="166"/>
                  </a:lnTo>
                  <a:lnTo>
                    <a:pt x="71" y="162"/>
                  </a:lnTo>
                  <a:lnTo>
                    <a:pt x="73" y="159"/>
                  </a:lnTo>
                  <a:lnTo>
                    <a:pt x="77" y="153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92" y="146"/>
                  </a:lnTo>
                  <a:lnTo>
                    <a:pt x="97" y="147"/>
                  </a:lnTo>
                  <a:lnTo>
                    <a:pt x="99" y="150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4" y="16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7" y="180"/>
                  </a:lnTo>
                  <a:lnTo>
                    <a:pt x="126" y="187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5" y="203"/>
                  </a:lnTo>
                  <a:lnTo>
                    <a:pt x="148" y="212"/>
                  </a:lnTo>
                  <a:lnTo>
                    <a:pt x="151" y="223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65" y="249"/>
                  </a:lnTo>
                  <a:lnTo>
                    <a:pt x="168" y="257"/>
                  </a:lnTo>
                  <a:lnTo>
                    <a:pt x="169" y="264"/>
                  </a:lnTo>
                  <a:lnTo>
                    <a:pt x="169" y="264"/>
                  </a:lnTo>
                  <a:lnTo>
                    <a:pt x="166" y="273"/>
                  </a:lnTo>
                  <a:lnTo>
                    <a:pt x="160" y="286"/>
                  </a:lnTo>
                  <a:lnTo>
                    <a:pt x="147" y="310"/>
                  </a:lnTo>
                  <a:lnTo>
                    <a:pt x="147" y="310"/>
                  </a:lnTo>
                  <a:lnTo>
                    <a:pt x="144" y="311"/>
                  </a:lnTo>
                  <a:lnTo>
                    <a:pt x="141" y="313"/>
                  </a:lnTo>
                  <a:lnTo>
                    <a:pt x="138" y="311"/>
                  </a:lnTo>
                  <a:lnTo>
                    <a:pt x="134" y="310"/>
                  </a:lnTo>
                  <a:lnTo>
                    <a:pt x="131" y="308"/>
                  </a:lnTo>
                  <a:lnTo>
                    <a:pt x="128" y="306"/>
                  </a:lnTo>
                  <a:lnTo>
                    <a:pt x="126" y="303"/>
                  </a:lnTo>
                  <a:lnTo>
                    <a:pt x="125" y="298"/>
                  </a:lnTo>
                  <a:lnTo>
                    <a:pt x="125" y="298"/>
                  </a:lnTo>
                  <a:lnTo>
                    <a:pt x="125" y="291"/>
                  </a:lnTo>
                  <a:lnTo>
                    <a:pt x="122" y="285"/>
                  </a:lnTo>
                  <a:lnTo>
                    <a:pt x="120" y="283"/>
                  </a:lnTo>
                  <a:lnTo>
                    <a:pt x="119" y="283"/>
                  </a:lnTo>
                  <a:lnTo>
                    <a:pt x="117" y="283"/>
                  </a:lnTo>
                  <a:lnTo>
                    <a:pt x="114" y="283"/>
                  </a:lnTo>
                  <a:lnTo>
                    <a:pt x="114" y="283"/>
                  </a:lnTo>
                  <a:lnTo>
                    <a:pt x="110" y="289"/>
                  </a:lnTo>
                  <a:lnTo>
                    <a:pt x="105" y="294"/>
                  </a:lnTo>
                  <a:lnTo>
                    <a:pt x="101" y="300"/>
                  </a:lnTo>
                  <a:lnTo>
                    <a:pt x="99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4" y="303"/>
                  </a:lnTo>
                  <a:lnTo>
                    <a:pt x="91" y="304"/>
                  </a:lnTo>
                  <a:lnTo>
                    <a:pt x="89" y="307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6" y="316"/>
                  </a:lnTo>
                  <a:lnTo>
                    <a:pt x="83" y="319"/>
                  </a:lnTo>
                  <a:lnTo>
                    <a:pt x="73" y="322"/>
                  </a:lnTo>
                  <a:lnTo>
                    <a:pt x="62" y="323"/>
                  </a:lnTo>
                  <a:lnTo>
                    <a:pt x="52" y="323"/>
                  </a:lnTo>
                  <a:lnTo>
                    <a:pt x="52" y="323"/>
                  </a:lnTo>
                  <a:lnTo>
                    <a:pt x="48" y="322"/>
                  </a:lnTo>
                  <a:lnTo>
                    <a:pt x="46" y="319"/>
                  </a:lnTo>
                  <a:lnTo>
                    <a:pt x="45" y="314"/>
                  </a:lnTo>
                  <a:lnTo>
                    <a:pt x="45" y="308"/>
                  </a:lnTo>
                  <a:lnTo>
                    <a:pt x="48" y="295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1"/>
                  </a:lnTo>
                  <a:lnTo>
                    <a:pt x="51" y="267"/>
                  </a:lnTo>
                  <a:lnTo>
                    <a:pt x="54" y="266"/>
                  </a:lnTo>
                  <a:lnTo>
                    <a:pt x="57" y="266"/>
                  </a:lnTo>
                  <a:lnTo>
                    <a:pt x="62" y="268"/>
                  </a:lnTo>
                  <a:lnTo>
                    <a:pt x="70" y="271"/>
                  </a:lnTo>
                  <a:lnTo>
                    <a:pt x="70" y="271"/>
                  </a:lnTo>
                  <a:lnTo>
                    <a:pt x="79" y="274"/>
                  </a:lnTo>
                  <a:lnTo>
                    <a:pt x="83" y="276"/>
                  </a:lnTo>
                  <a:lnTo>
                    <a:pt x="88" y="274"/>
                  </a:lnTo>
                  <a:lnTo>
                    <a:pt x="88" y="274"/>
                  </a:lnTo>
                  <a:lnTo>
                    <a:pt x="94" y="270"/>
                  </a:lnTo>
                  <a:lnTo>
                    <a:pt x="99" y="261"/>
                  </a:lnTo>
                  <a:lnTo>
                    <a:pt x="105" y="252"/>
                  </a:lnTo>
                  <a:lnTo>
                    <a:pt x="113" y="243"/>
                  </a:lnTo>
                  <a:lnTo>
                    <a:pt x="113" y="243"/>
                  </a:lnTo>
                  <a:lnTo>
                    <a:pt x="117" y="240"/>
                  </a:lnTo>
                  <a:lnTo>
                    <a:pt x="122" y="237"/>
                  </a:lnTo>
                  <a:lnTo>
                    <a:pt x="128" y="236"/>
                  </a:lnTo>
                  <a:lnTo>
                    <a:pt x="132" y="234"/>
                  </a:lnTo>
                  <a:lnTo>
                    <a:pt x="134" y="231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4" y="221"/>
                  </a:lnTo>
                  <a:lnTo>
                    <a:pt x="132" y="218"/>
                  </a:lnTo>
                  <a:lnTo>
                    <a:pt x="128" y="217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2" y="205"/>
                  </a:lnTo>
                  <a:lnTo>
                    <a:pt x="120" y="203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08" y="199"/>
                  </a:lnTo>
                  <a:lnTo>
                    <a:pt x="105" y="200"/>
                  </a:lnTo>
                  <a:lnTo>
                    <a:pt x="101" y="202"/>
                  </a:lnTo>
                  <a:lnTo>
                    <a:pt x="99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89" y="196"/>
                  </a:lnTo>
                  <a:lnTo>
                    <a:pt x="82" y="186"/>
                  </a:lnTo>
                  <a:lnTo>
                    <a:pt x="76" y="175"/>
                  </a:lnTo>
                  <a:lnTo>
                    <a:pt x="71" y="166"/>
                  </a:lnTo>
                  <a:lnTo>
                    <a:pt x="71" y="166"/>
                  </a:lnTo>
                  <a:close/>
                  <a:moveTo>
                    <a:pt x="219" y="243"/>
                  </a:moveTo>
                  <a:lnTo>
                    <a:pt x="219" y="243"/>
                  </a:lnTo>
                  <a:lnTo>
                    <a:pt x="224" y="237"/>
                  </a:lnTo>
                  <a:lnTo>
                    <a:pt x="230" y="234"/>
                  </a:lnTo>
                  <a:lnTo>
                    <a:pt x="234" y="233"/>
                  </a:lnTo>
                  <a:lnTo>
                    <a:pt x="237" y="233"/>
                  </a:lnTo>
                  <a:lnTo>
                    <a:pt x="239" y="236"/>
                  </a:lnTo>
                  <a:lnTo>
                    <a:pt x="239" y="236"/>
                  </a:lnTo>
                  <a:lnTo>
                    <a:pt x="246" y="245"/>
                  </a:lnTo>
                  <a:lnTo>
                    <a:pt x="249" y="248"/>
                  </a:lnTo>
                  <a:lnTo>
                    <a:pt x="252" y="248"/>
                  </a:lnTo>
                  <a:lnTo>
                    <a:pt x="255" y="246"/>
                  </a:lnTo>
                  <a:lnTo>
                    <a:pt x="255" y="24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6" y="231"/>
                  </a:lnTo>
                  <a:lnTo>
                    <a:pt x="279" y="226"/>
                  </a:lnTo>
                  <a:lnTo>
                    <a:pt x="285" y="220"/>
                  </a:lnTo>
                  <a:lnTo>
                    <a:pt x="289" y="214"/>
                  </a:lnTo>
                  <a:lnTo>
                    <a:pt x="289" y="214"/>
                  </a:lnTo>
                  <a:lnTo>
                    <a:pt x="298" y="200"/>
                  </a:lnTo>
                  <a:lnTo>
                    <a:pt x="301" y="196"/>
                  </a:lnTo>
                  <a:lnTo>
                    <a:pt x="302" y="193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01" y="190"/>
                  </a:lnTo>
                  <a:lnTo>
                    <a:pt x="298" y="190"/>
                  </a:lnTo>
                  <a:lnTo>
                    <a:pt x="293" y="190"/>
                  </a:lnTo>
                  <a:lnTo>
                    <a:pt x="288" y="190"/>
                  </a:lnTo>
                  <a:lnTo>
                    <a:pt x="282" y="189"/>
                  </a:lnTo>
                  <a:lnTo>
                    <a:pt x="282" y="189"/>
                  </a:lnTo>
                  <a:lnTo>
                    <a:pt x="277" y="184"/>
                  </a:lnTo>
                  <a:lnTo>
                    <a:pt x="273" y="178"/>
                  </a:lnTo>
                  <a:lnTo>
                    <a:pt x="265" y="165"/>
                  </a:lnTo>
                  <a:lnTo>
                    <a:pt x="265" y="165"/>
                  </a:lnTo>
                  <a:lnTo>
                    <a:pt x="265" y="162"/>
                  </a:lnTo>
                  <a:lnTo>
                    <a:pt x="265" y="159"/>
                  </a:lnTo>
                  <a:lnTo>
                    <a:pt x="270" y="154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5" y="143"/>
                  </a:lnTo>
                  <a:lnTo>
                    <a:pt x="286" y="13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9" y="122"/>
                  </a:lnTo>
                  <a:lnTo>
                    <a:pt x="292" y="119"/>
                  </a:lnTo>
                  <a:lnTo>
                    <a:pt x="295" y="116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09"/>
                  </a:lnTo>
                  <a:lnTo>
                    <a:pt x="293" y="104"/>
                  </a:lnTo>
                  <a:lnTo>
                    <a:pt x="283" y="91"/>
                  </a:lnTo>
                  <a:lnTo>
                    <a:pt x="283" y="91"/>
                  </a:lnTo>
                  <a:lnTo>
                    <a:pt x="271" y="77"/>
                  </a:lnTo>
                  <a:lnTo>
                    <a:pt x="261" y="67"/>
                  </a:lnTo>
                  <a:lnTo>
                    <a:pt x="261" y="67"/>
                  </a:lnTo>
                  <a:lnTo>
                    <a:pt x="256" y="64"/>
                  </a:lnTo>
                  <a:lnTo>
                    <a:pt x="255" y="64"/>
                  </a:lnTo>
                  <a:lnTo>
                    <a:pt x="253" y="66"/>
                  </a:lnTo>
                  <a:lnTo>
                    <a:pt x="251" y="69"/>
                  </a:lnTo>
                  <a:lnTo>
                    <a:pt x="246" y="72"/>
                  </a:lnTo>
                  <a:lnTo>
                    <a:pt x="246" y="72"/>
                  </a:lnTo>
                  <a:lnTo>
                    <a:pt x="243" y="72"/>
                  </a:lnTo>
                  <a:lnTo>
                    <a:pt x="242" y="72"/>
                  </a:lnTo>
                  <a:lnTo>
                    <a:pt x="239" y="67"/>
                  </a:lnTo>
                  <a:lnTo>
                    <a:pt x="236" y="61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1" y="51"/>
                  </a:lnTo>
                  <a:lnTo>
                    <a:pt x="233" y="49"/>
                  </a:lnTo>
                  <a:lnTo>
                    <a:pt x="237" y="46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43" y="42"/>
                  </a:lnTo>
                  <a:lnTo>
                    <a:pt x="243" y="39"/>
                  </a:lnTo>
                  <a:lnTo>
                    <a:pt x="242" y="36"/>
                  </a:lnTo>
                  <a:lnTo>
                    <a:pt x="239" y="32"/>
                  </a:lnTo>
                  <a:lnTo>
                    <a:pt x="237" y="29"/>
                  </a:lnTo>
                  <a:lnTo>
                    <a:pt x="237" y="29"/>
                  </a:lnTo>
                  <a:lnTo>
                    <a:pt x="222" y="24"/>
                  </a:lnTo>
                  <a:lnTo>
                    <a:pt x="216" y="21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06" y="8"/>
                  </a:lnTo>
                  <a:lnTo>
                    <a:pt x="202" y="3"/>
                  </a:lnTo>
                  <a:lnTo>
                    <a:pt x="197" y="0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84" y="2"/>
                  </a:lnTo>
                  <a:lnTo>
                    <a:pt x="179" y="3"/>
                  </a:lnTo>
                  <a:lnTo>
                    <a:pt x="178" y="3"/>
                  </a:lnTo>
                  <a:lnTo>
                    <a:pt x="176" y="5"/>
                  </a:lnTo>
                  <a:lnTo>
                    <a:pt x="176" y="8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7" y="30"/>
                  </a:lnTo>
                  <a:lnTo>
                    <a:pt x="188" y="37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90" y="60"/>
                  </a:lnTo>
                  <a:lnTo>
                    <a:pt x="188" y="64"/>
                  </a:lnTo>
                  <a:lnTo>
                    <a:pt x="188" y="66"/>
                  </a:lnTo>
                  <a:lnTo>
                    <a:pt x="187" y="66"/>
                  </a:lnTo>
                  <a:lnTo>
                    <a:pt x="187" y="66"/>
                  </a:lnTo>
                  <a:lnTo>
                    <a:pt x="182" y="67"/>
                  </a:lnTo>
                  <a:lnTo>
                    <a:pt x="179" y="67"/>
                  </a:lnTo>
                  <a:lnTo>
                    <a:pt x="175" y="67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66" y="60"/>
                  </a:lnTo>
                  <a:lnTo>
                    <a:pt x="163" y="55"/>
                  </a:lnTo>
                  <a:lnTo>
                    <a:pt x="162" y="52"/>
                  </a:lnTo>
                  <a:lnTo>
                    <a:pt x="159" y="51"/>
                  </a:lnTo>
                  <a:lnTo>
                    <a:pt x="159" y="51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19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71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51" y="46"/>
                  </a:lnTo>
                  <a:lnTo>
                    <a:pt x="49" y="45"/>
                  </a:lnTo>
                  <a:lnTo>
                    <a:pt x="49" y="43"/>
                  </a:lnTo>
                  <a:lnTo>
                    <a:pt x="49" y="39"/>
                  </a:lnTo>
                  <a:lnTo>
                    <a:pt x="48" y="34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39" y="18"/>
                  </a:lnTo>
                  <a:lnTo>
                    <a:pt x="33" y="14"/>
                  </a:lnTo>
                  <a:lnTo>
                    <a:pt x="2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4" y="18"/>
                  </a:lnTo>
                  <a:lnTo>
                    <a:pt x="12" y="23"/>
                  </a:lnTo>
                  <a:lnTo>
                    <a:pt x="12" y="29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1" y="60"/>
                  </a:lnTo>
                  <a:lnTo>
                    <a:pt x="9" y="64"/>
                  </a:lnTo>
                  <a:lnTo>
                    <a:pt x="6" y="69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0" y="85"/>
                  </a:lnTo>
                  <a:lnTo>
                    <a:pt x="2" y="95"/>
                  </a:lnTo>
                  <a:lnTo>
                    <a:pt x="5" y="109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14" y="137"/>
                  </a:lnTo>
                  <a:lnTo>
                    <a:pt x="18" y="151"/>
                  </a:lnTo>
                  <a:lnTo>
                    <a:pt x="20" y="166"/>
                  </a:lnTo>
                  <a:lnTo>
                    <a:pt x="21" y="181"/>
                  </a:lnTo>
                  <a:lnTo>
                    <a:pt x="21" y="181"/>
                  </a:lnTo>
                  <a:lnTo>
                    <a:pt x="22" y="194"/>
                  </a:lnTo>
                  <a:lnTo>
                    <a:pt x="24" y="205"/>
                  </a:lnTo>
                  <a:lnTo>
                    <a:pt x="25" y="215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5" y="261"/>
                  </a:lnTo>
                  <a:lnTo>
                    <a:pt x="11" y="280"/>
                  </a:lnTo>
                  <a:lnTo>
                    <a:pt x="9" y="29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8" y="348"/>
                  </a:lnTo>
                  <a:lnTo>
                    <a:pt x="8" y="348"/>
                  </a:lnTo>
                  <a:lnTo>
                    <a:pt x="20" y="347"/>
                  </a:lnTo>
                  <a:lnTo>
                    <a:pt x="27" y="347"/>
                  </a:lnTo>
                  <a:lnTo>
                    <a:pt x="30" y="347"/>
                  </a:lnTo>
                  <a:lnTo>
                    <a:pt x="31" y="348"/>
                  </a:lnTo>
                  <a:lnTo>
                    <a:pt x="31" y="348"/>
                  </a:lnTo>
                  <a:lnTo>
                    <a:pt x="33" y="356"/>
                  </a:lnTo>
                  <a:lnTo>
                    <a:pt x="34" y="360"/>
                  </a:lnTo>
                  <a:lnTo>
                    <a:pt x="39" y="365"/>
                  </a:lnTo>
                  <a:lnTo>
                    <a:pt x="39" y="365"/>
                  </a:lnTo>
                  <a:lnTo>
                    <a:pt x="45" y="366"/>
                  </a:lnTo>
                  <a:lnTo>
                    <a:pt x="49" y="366"/>
                  </a:lnTo>
                  <a:lnTo>
                    <a:pt x="57" y="362"/>
                  </a:lnTo>
                  <a:lnTo>
                    <a:pt x="57" y="362"/>
                  </a:lnTo>
                  <a:lnTo>
                    <a:pt x="61" y="360"/>
                  </a:lnTo>
                  <a:lnTo>
                    <a:pt x="67" y="360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80" y="360"/>
                  </a:lnTo>
                  <a:lnTo>
                    <a:pt x="85" y="357"/>
                  </a:lnTo>
                  <a:lnTo>
                    <a:pt x="88" y="354"/>
                  </a:lnTo>
                  <a:lnTo>
                    <a:pt x="92" y="354"/>
                  </a:lnTo>
                  <a:lnTo>
                    <a:pt x="92" y="354"/>
                  </a:lnTo>
                  <a:lnTo>
                    <a:pt x="95" y="356"/>
                  </a:lnTo>
                  <a:lnTo>
                    <a:pt x="101" y="359"/>
                  </a:lnTo>
                  <a:lnTo>
                    <a:pt x="105" y="362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08" y="372"/>
                  </a:lnTo>
                  <a:lnTo>
                    <a:pt x="108" y="377"/>
                  </a:lnTo>
                  <a:lnTo>
                    <a:pt x="110" y="381"/>
                  </a:lnTo>
                  <a:lnTo>
                    <a:pt x="110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23" y="388"/>
                  </a:lnTo>
                  <a:lnTo>
                    <a:pt x="129" y="390"/>
                  </a:lnTo>
                  <a:lnTo>
                    <a:pt x="136" y="388"/>
                  </a:lnTo>
                  <a:lnTo>
                    <a:pt x="136" y="388"/>
                  </a:lnTo>
                  <a:lnTo>
                    <a:pt x="141" y="385"/>
                  </a:lnTo>
                  <a:lnTo>
                    <a:pt x="144" y="383"/>
                  </a:lnTo>
                  <a:lnTo>
                    <a:pt x="147" y="378"/>
                  </a:lnTo>
                  <a:lnTo>
                    <a:pt x="150" y="375"/>
                  </a:lnTo>
                  <a:lnTo>
                    <a:pt x="150" y="375"/>
                  </a:lnTo>
                  <a:lnTo>
                    <a:pt x="154" y="375"/>
                  </a:lnTo>
                  <a:lnTo>
                    <a:pt x="160" y="375"/>
                  </a:lnTo>
                  <a:lnTo>
                    <a:pt x="171" y="374"/>
                  </a:lnTo>
                  <a:lnTo>
                    <a:pt x="171" y="374"/>
                  </a:lnTo>
                  <a:lnTo>
                    <a:pt x="172" y="372"/>
                  </a:lnTo>
                  <a:lnTo>
                    <a:pt x="175" y="371"/>
                  </a:lnTo>
                  <a:lnTo>
                    <a:pt x="175" y="371"/>
                  </a:lnTo>
                  <a:lnTo>
                    <a:pt x="178" y="366"/>
                  </a:lnTo>
                  <a:lnTo>
                    <a:pt x="181" y="362"/>
                  </a:lnTo>
                  <a:lnTo>
                    <a:pt x="181" y="362"/>
                  </a:lnTo>
                  <a:lnTo>
                    <a:pt x="182" y="357"/>
                  </a:lnTo>
                  <a:lnTo>
                    <a:pt x="187" y="353"/>
                  </a:lnTo>
                  <a:lnTo>
                    <a:pt x="193" y="350"/>
                  </a:lnTo>
                  <a:lnTo>
                    <a:pt x="197" y="348"/>
                  </a:lnTo>
                  <a:lnTo>
                    <a:pt x="197" y="348"/>
                  </a:lnTo>
                  <a:lnTo>
                    <a:pt x="202" y="347"/>
                  </a:lnTo>
                  <a:lnTo>
                    <a:pt x="205" y="346"/>
                  </a:lnTo>
                  <a:lnTo>
                    <a:pt x="208" y="341"/>
                  </a:lnTo>
                  <a:lnTo>
                    <a:pt x="209" y="337"/>
                  </a:lnTo>
                  <a:lnTo>
                    <a:pt x="209" y="337"/>
                  </a:lnTo>
                  <a:lnTo>
                    <a:pt x="209" y="334"/>
                  </a:lnTo>
                  <a:lnTo>
                    <a:pt x="208" y="331"/>
                  </a:lnTo>
                  <a:lnTo>
                    <a:pt x="208" y="328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19" y="307"/>
                  </a:lnTo>
                  <a:lnTo>
                    <a:pt x="222" y="301"/>
                  </a:lnTo>
                  <a:lnTo>
                    <a:pt x="224" y="300"/>
                  </a:lnTo>
                  <a:lnTo>
                    <a:pt x="222" y="298"/>
                  </a:lnTo>
                  <a:lnTo>
                    <a:pt x="222" y="298"/>
                  </a:lnTo>
                  <a:lnTo>
                    <a:pt x="222" y="292"/>
                  </a:lnTo>
                  <a:lnTo>
                    <a:pt x="224" y="285"/>
                  </a:lnTo>
                  <a:lnTo>
                    <a:pt x="224" y="276"/>
                  </a:lnTo>
                  <a:lnTo>
                    <a:pt x="224" y="271"/>
                  </a:lnTo>
                  <a:lnTo>
                    <a:pt x="222" y="266"/>
                  </a:lnTo>
                  <a:lnTo>
                    <a:pt x="222" y="266"/>
                  </a:lnTo>
                  <a:lnTo>
                    <a:pt x="216" y="252"/>
                  </a:lnTo>
                  <a:lnTo>
                    <a:pt x="216" y="248"/>
                  </a:lnTo>
                  <a:lnTo>
                    <a:pt x="219" y="243"/>
                  </a:lnTo>
                  <a:lnTo>
                    <a:pt x="219" y="2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1" name="Freeform 70">
              <a:extLst>
                <a:ext uri="{FF2B5EF4-FFF2-40B4-BE49-F238E27FC236}">
                  <a16:creationId xmlns:a16="http://schemas.microsoft.com/office/drawing/2014/main" id="{0A5E3769-80C5-514E-9823-D8AC58B85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25" y="4581525"/>
              <a:ext cx="708025" cy="458787"/>
            </a:xfrm>
            <a:custGeom>
              <a:avLst/>
              <a:gdLst>
                <a:gd name="T0" fmla="*/ 158 w 446"/>
                <a:gd name="T1" fmla="*/ 235 h 289"/>
                <a:gd name="T2" fmla="*/ 188 w 446"/>
                <a:gd name="T3" fmla="*/ 237 h 289"/>
                <a:gd name="T4" fmla="*/ 215 w 446"/>
                <a:gd name="T5" fmla="*/ 229 h 289"/>
                <a:gd name="T6" fmla="*/ 244 w 446"/>
                <a:gd name="T7" fmla="*/ 244 h 289"/>
                <a:gd name="T8" fmla="*/ 244 w 446"/>
                <a:gd name="T9" fmla="*/ 264 h 289"/>
                <a:gd name="T10" fmla="*/ 266 w 446"/>
                <a:gd name="T11" fmla="*/ 271 h 289"/>
                <a:gd name="T12" fmla="*/ 286 w 446"/>
                <a:gd name="T13" fmla="*/ 289 h 289"/>
                <a:gd name="T14" fmla="*/ 299 w 446"/>
                <a:gd name="T15" fmla="*/ 275 h 289"/>
                <a:gd name="T16" fmla="*/ 320 w 446"/>
                <a:gd name="T17" fmla="*/ 274 h 289"/>
                <a:gd name="T18" fmla="*/ 334 w 446"/>
                <a:gd name="T19" fmla="*/ 262 h 289"/>
                <a:gd name="T20" fmla="*/ 354 w 446"/>
                <a:gd name="T21" fmla="*/ 268 h 289"/>
                <a:gd name="T22" fmla="*/ 377 w 446"/>
                <a:gd name="T23" fmla="*/ 280 h 289"/>
                <a:gd name="T24" fmla="*/ 386 w 446"/>
                <a:gd name="T25" fmla="*/ 271 h 289"/>
                <a:gd name="T26" fmla="*/ 400 w 446"/>
                <a:gd name="T27" fmla="*/ 275 h 289"/>
                <a:gd name="T28" fmla="*/ 410 w 446"/>
                <a:gd name="T29" fmla="*/ 275 h 289"/>
                <a:gd name="T30" fmla="*/ 411 w 446"/>
                <a:gd name="T31" fmla="*/ 241 h 289"/>
                <a:gd name="T32" fmla="*/ 420 w 446"/>
                <a:gd name="T33" fmla="*/ 219 h 289"/>
                <a:gd name="T34" fmla="*/ 441 w 446"/>
                <a:gd name="T35" fmla="*/ 206 h 289"/>
                <a:gd name="T36" fmla="*/ 437 w 446"/>
                <a:gd name="T37" fmla="*/ 201 h 289"/>
                <a:gd name="T38" fmla="*/ 420 w 446"/>
                <a:gd name="T39" fmla="*/ 190 h 289"/>
                <a:gd name="T40" fmla="*/ 403 w 446"/>
                <a:gd name="T41" fmla="*/ 181 h 289"/>
                <a:gd name="T42" fmla="*/ 386 w 446"/>
                <a:gd name="T43" fmla="*/ 197 h 289"/>
                <a:gd name="T44" fmla="*/ 361 w 446"/>
                <a:gd name="T45" fmla="*/ 188 h 289"/>
                <a:gd name="T46" fmla="*/ 339 w 446"/>
                <a:gd name="T47" fmla="*/ 163 h 289"/>
                <a:gd name="T48" fmla="*/ 312 w 446"/>
                <a:gd name="T49" fmla="*/ 154 h 289"/>
                <a:gd name="T50" fmla="*/ 286 w 446"/>
                <a:gd name="T51" fmla="*/ 107 h 289"/>
                <a:gd name="T52" fmla="*/ 269 w 446"/>
                <a:gd name="T53" fmla="*/ 84 h 289"/>
                <a:gd name="T54" fmla="*/ 275 w 446"/>
                <a:gd name="T55" fmla="*/ 67 h 289"/>
                <a:gd name="T56" fmla="*/ 259 w 446"/>
                <a:gd name="T57" fmla="*/ 62 h 289"/>
                <a:gd name="T58" fmla="*/ 241 w 446"/>
                <a:gd name="T59" fmla="*/ 50 h 289"/>
                <a:gd name="T60" fmla="*/ 243 w 446"/>
                <a:gd name="T61" fmla="*/ 31 h 289"/>
                <a:gd name="T62" fmla="*/ 232 w 446"/>
                <a:gd name="T63" fmla="*/ 22 h 289"/>
                <a:gd name="T64" fmla="*/ 238 w 446"/>
                <a:gd name="T65" fmla="*/ 1 h 289"/>
                <a:gd name="T66" fmla="*/ 209 w 446"/>
                <a:gd name="T67" fmla="*/ 10 h 289"/>
                <a:gd name="T68" fmla="*/ 175 w 446"/>
                <a:gd name="T69" fmla="*/ 4 h 289"/>
                <a:gd name="T70" fmla="*/ 157 w 446"/>
                <a:gd name="T71" fmla="*/ 10 h 289"/>
                <a:gd name="T72" fmla="*/ 138 w 446"/>
                <a:gd name="T73" fmla="*/ 16 h 289"/>
                <a:gd name="T74" fmla="*/ 114 w 446"/>
                <a:gd name="T75" fmla="*/ 28 h 289"/>
                <a:gd name="T76" fmla="*/ 83 w 446"/>
                <a:gd name="T77" fmla="*/ 46 h 289"/>
                <a:gd name="T78" fmla="*/ 25 w 446"/>
                <a:gd name="T79" fmla="*/ 44 h 289"/>
                <a:gd name="T80" fmla="*/ 19 w 446"/>
                <a:gd name="T81" fmla="*/ 58 h 289"/>
                <a:gd name="T82" fmla="*/ 7 w 446"/>
                <a:gd name="T83" fmla="*/ 83 h 289"/>
                <a:gd name="T84" fmla="*/ 44 w 446"/>
                <a:gd name="T85" fmla="*/ 117 h 289"/>
                <a:gd name="T86" fmla="*/ 63 w 446"/>
                <a:gd name="T87" fmla="*/ 115 h 289"/>
                <a:gd name="T88" fmla="*/ 84 w 446"/>
                <a:gd name="T89" fmla="*/ 90 h 289"/>
                <a:gd name="T90" fmla="*/ 87 w 446"/>
                <a:gd name="T91" fmla="*/ 96 h 289"/>
                <a:gd name="T92" fmla="*/ 87 w 446"/>
                <a:gd name="T93" fmla="*/ 147 h 289"/>
                <a:gd name="T94" fmla="*/ 126 w 446"/>
                <a:gd name="T95" fmla="*/ 160 h 289"/>
                <a:gd name="T96" fmla="*/ 106 w 446"/>
                <a:gd name="T97" fmla="*/ 172 h 289"/>
                <a:gd name="T98" fmla="*/ 111 w 446"/>
                <a:gd name="T99" fmla="*/ 188 h 289"/>
                <a:gd name="T100" fmla="*/ 133 w 446"/>
                <a:gd name="T101" fmla="*/ 200 h 289"/>
                <a:gd name="T102" fmla="*/ 133 w 446"/>
                <a:gd name="T103" fmla="*/ 216 h 289"/>
                <a:gd name="T104" fmla="*/ 138 w 446"/>
                <a:gd name="T105" fmla="*/ 228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6" h="289">
                  <a:moveTo>
                    <a:pt x="138" y="228"/>
                  </a:moveTo>
                  <a:lnTo>
                    <a:pt x="138" y="228"/>
                  </a:lnTo>
                  <a:lnTo>
                    <a:pt x="148" y="231"/>
                  </a:lnTo>
                  <a:lnTo>
                    <a:pt x="158" y="235"/>
                  </a:lnTo>
                  <a:lnTo>
                    <a:pt x="158" y="235"/>
                  </a:lnTo>
                  <a:lnTo>
                    <a:pt x="166" y="237"/>
                  </a:lnTo>
                  <a:lnTo>
                    <a:pt x="173" y="235"/>
                  </a:lnTo>
                  <a:lnTo>
                    <a:pt x="180" y="235"/>
                  </a:lnTo>
                  <a:lnTo>
                    <a:pt x="188" y="237"/>
                  </a:lnTo>
                  <a:lnTo>
                    <a:pt x="188" y="237"/>
                  </a:lnTo>
                  <a:lnTo>
                    <a:pt x="195" y="237"/>
                  </a:lnTo>
                  <a:lnTo>
                    <a:pt x="201" y="235"/>
                  </a:lnTo>
                  <a:lnTo>
                    <a:pt x="207" y="232"/>
                  </a:lnTo>
                  <a:lnTo>
                    <a:pt x="215" y="229"/>
                  </a:lnTo>
                  <a:lnTo>
                    <a:pt x="215" y="229"/>
                  </a:lnTo>
                  <a:lnTo>
                    <a:pt x="217" y="229"/>
                  </a:lnTo>
                  <a:lnTo>
                    <a:pt x="222" y="229"/>
                  </a:lnTo>
                  <a:lnTo>
                    <a:pt x="231" y="234"/>
                  </a:lnTo>
                  <a:lnTo>
                    <a:pt x="238" y="238"/>
                  </a:lnTo>
                  <a:lnTo>
                    <a:pt x="244" y="244"/>
                  </a:lnTo>
                  <a:lnTo>
                    <a:pt x="244" y="244"/>
                  </a:lnTo>
                  <a:lnTo>
                    <a:pt x="244" y="250"/>
                  </a:lnTo>
                  <a:lnTo>
                    <a:pt x="243" y="255"/>
                  </a:lnTo>
                  <a:lnTo>
                    <a:pt x="243" y="259"/>
                  </a:lnTo>
                  <a:lnTo>
                    <a:pt x="244" y="264"/>
                  </a:lnTo>
                  <a:lnTo>
                    <a:pt x="244" y="264"/>
                  </a:lnTo>
                  <a:lnTo>
                    <a:pt x="249" y="267"/>
                  </a:lnTo>
                  <a:lnTo>
                    <a:pt x="255" y="268"/>
                  </a:lnTo>
                  <a:lnTo>
                    <a:pt x="260" y="269"/>
                  </a:lnTo>
                  <a:lnTo>
                    <a:pt x="266" y="271"/>
                  </a:lnTo>
                  <a:lnTo>
                    <a:pt x="266" y="271"/>
                  </a:lnTo>
                  <a:lnTo>
                    <a:pt x="272" y="275"/>
                  </a:lnTo>
                  <a:lnTo>
                    <a:pt x="277" y="280"/>
                  </a:lnTo>
                  <a:lnTo>
                    <a:pt x="286" y="289"/>
                  </a:lnTo>
                  <a:lnTo>
                    <a:pt x="286" y="289"/>
                  </a:lnTo>
                  <a:lnTo>
                    <a:pt x="287" y="289"/>
                  </a:lnTo>
                  <a:lnTo>
                    <a:pt x="287" y="289"/>
                  </a:lnTo>
                  <a:lnTo>
                    <a:pt x="292" y="286"/>
                  </a:lnTo>
                  <a:lnTo>
                    <a:pt x="296" y="281"/>
                  </a:lnTo>
                  <a:lnTo>
                    <a:pt x="299" y="275"/>
                  </a:lnTo>
                  <a:lnTo>
                    <a:pt x="302" y="274"/>
                  </a:lnTo>
                  <a:lnTo>
                    <a:pt x="302" y="274"/>
                  </a:lnTo>
                  <a:lnTo>
                    <a:pt x="308" y="274"/>
                  </a:lnTo>
                  <a:lnTo>
                    <a:pt x="314" y="275"/>
                  </a:lnTo>
                  <a:lnTo>
                    <a:pt x="320" y="274"/>
                  </a:lnTo>
                  <a:lnTo>
                    <a:pt x="320" y="274"/>
                  </a:lnTo>
                  <a:lnTo>
                    <a:pt x="323" y="274"/>
                  </a:lnTo>
                  <a:lnTo>
                    <a:pt x="326" y="271"/>
                  </a:lnTo>
                  <a:lnTo>
                    <a:pt x="330" y="267"/>
                  </a:lnTo>
                  <a:lnTo>
                    <a:pt x="334" y="262"/>
                  </a:lnTo>
                  <a:lnTo>
                    <a:pt x="337" y="262"/>
                  </a:lnTo>
                  <a:lnTo>
                    <a:pt x="339" y="264"/>
                  </a:lnTo>
                  <a:lnTo>
                    <a:pt x="339" y="264"/>
                  </a:lnTo>
                  <a:lnTo>
                    <a:pt x="345" y="267"/>
                  </a:lnTo>
                  <a:lnTo>
                    <a:pt x="354" y="268"/>
                  </a:lnTo>
                  <a:lnTo>
                    <a:pt x="361" y="271"/>
                  </a:lnTo>
                  <a:lnTo>
                    <a:pt x="367" y="272"/>
                  </a:lnTo>
                  <a:lnTo>
                    <a:pt x="367" y="272"/>
                  </a:lnTo>
                  <a:lnTo>
                    <a:pt x="374" y="280"/>
                  </a:lnTo>
                  <a:lnTo>
                    <a:pt x="377" y="280"/>
                  </a:lnTo>
                  <a:lnTo>
                    <a:pt x="379" y="280"/>
                  </a:lnTo>
                  <a:lnTo>
                    <a:pt x="380" y="278"/>
                  </a:lnTo>
                  <a:lnTo>
                    <a:pt x="380" y="278"/>
                  </a:lnTo>
                  <a:lnTo>
                    <a:pt x="383" y="274"/>
                  </a:lnTo>
                  <a:lnTo>
                    <a:pt x="386" y="271"/>
                  </a:lnTo>
                  <a:lnTo>
                    <a:pt x="391" y="269"/>
                  </a:lnTo>
                  <a:lnTo>
                    <a:pt x="392" y="269"/>
                  </a:lnTo>
                  <a:lnTo>
                    <a:pt x="395" y="272"/>
                  </a:lnTo>
                  <a:lnTo>
                    <a:pt x="395" y="272"/>
                  </a:lnTo>
                  <a:lnTo>
                    <a:pt x="400" y="275"/>
                  </a:lnTo>
                  <a:lnTo>
                    <a:pt x="404" y="278"/>
                  </a:lnTo>
                  <a:lnTo>
                    <a:pt x="409" y="278"/>
                  </a:lnTo>
                  <a:lnTo>
                    <a:pt x="410" y="278"/>
                  </a:lnTo>
                  <a:lnTo>
                    <a:pt x="410" y="275"/>
                  </a:lnTo>
                  <a:lnTo>
                    <a:pt x="410" y="275"/>
                  </a:lnTo>
                  <a:lnTo>
                    <a:pt x="410" y="259"/>
                  </a:lnTo>
                  <a:lnTo>
                    <a:pt x="410" y="246"/>
                  </a:lnTo>
                  <a:lnTo>
                    <a:pt x="410" y="246"/>
                  </a:lnTo>
                  <a:lnTo>
                    <a:pt x="410" y="244"/>
                  </a:lnTo>
                  <a:lnTo>
                    <a:pt x="411" y="241"/>
                  </a:lnTo>
                  <a:lnTo>
                    <a:pt x="416" y="235"/>
                  </a:lnTo>
                  <a:lnTo>
                    <a:pt x="416" y="235"/>
                  </a:lnTo>
                  <a:lnTo>
                    <a:pt x="417" y="228"/>
                  </a:lnTo>
                  <a:lnTo>
                    <a:pt x="419" y="222"/>
                  </a:lnTo>
                  <a:lnTo>
                    <a:pt x="420" y="219"/>
                  </a:lnTo>
                  <a:lnTo>
                    <a:pt x="420" y="219"/>
                  </a:lnTo>
                  <a:lnTo>
                    <a:pt x="426" y="215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41" y="206"/>
                  </a:lnTo>
                  <a:lnTo>
                    <a:pt x="446" y="201"/>
                  </a:lnTo>
                  <a:lnTo>
                    <a:pt x="446" y="201"/>
                  </a:lnTo>
                  <a:lnTo>
                    <a:pt x="443" y="203"/>
                  </a:lnTo>
                  <a:lnTo>
                    <a:pt x="441" y="203"/>
                  </a:lnTo>
                  <a:lnTo>
                    <a:pt x="437" y="201"/>
                  </a:lnTo>
                  <a:lnTo>
                    <a:pt x="434" y="198"/>
                  </a:lnTo>
                  <a:lnTo>
                    <a:pt x="429" y="195"/>
                  </a:lnTo>
                  <a:lnTo>
                    <a:pt x="429" y="195"/>
                  </a:lnTo>
                  <a:lnTo>
                    <a:pt x="425" y="194"/>
                  </a:lnTo>
                  <a:lnTo>
                    <a:pt x="420" y="190"/>
                  </a:lnTo>
                  <a:lnTo>
                    <a:pt x="411" y="178"/>
                  </a:lnTo>
                  <a:lnTo>
                    <a:pt x="411" y="178"/>
                  </a:lnTo>
                  <a:lnTo>
                    <a:pt x="410" y="176"/>
                  </a:lnTo>
                  <a:lnTo>
                    <a:pt x="407" y="176"/>
                  </a:lnTo>
                  <a:lnTo>
                    <a:pt x="403" y="181"/>
                  </a:lnTo>
                  <a:lnTo>
                    <a:pt x="397" y="188"/>
                  </a:lnTo>
                  <a:lnTo>
                    <a:pt x="392" y="194"/>
                  </a:lnTo>
                  <a:lnTo>
                    <a:pt x="392" y="194"/>
                  </a:lnTo>
                  <a:lnTo>
                    <a:pt x="389" y="195"/>
                  </a:lnTo>
                  <a:lnTo>
                    <a:pt x="386" y="197"/>
                  </a:lnTo>
                  <a:lnTo>
                    <a:pt x="377" y="197"/>
                  </a:lnTo>
                  <a:lnTo>
                    <a:pt x="370" y="195"/>
                  </a:lnTo>
                  <a:lnTo>
                    <a:pt x="366" y="194"/>
                  </a:lnTo>
                  <a:lnTo>
                    <a:pt x="366" y="194"/>
                  </a:lnTo>
                  <a:lnTo>
                    <a:pt x="361" y="188"/>
                  </a:lnTo>
                  <a:lnTo>
                    <a:pt x="357" y="181"/>
                  </a:lnTo>
                  <a:lnTo>
                    <a:pt x="349" y="170"/>
                  </a:lnTo>
                  <a:lnTo>
                    <a:pt x="349" y="170"/>
                  </a:lnTo>
                  <a:lnTo>
                    <a:pt x="343" y="166"/>
                  </a:lnTo>
                  <a:lnTo>
                    <a:pt x="339" y="163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20" y="158"/>
                  </a:lnTo>
                  <a:lnTo>
                    <a:pt x="312" y="154"/>
                  </a:lnTo>
                  <a:lnTo>
                    <a:pt x="312" y="154"/>
                  </a:lnTo>
                  <a:lnTo>
                    <a:pt x="306" y="148"/>
                  </a:lnTo>
                  <a:lnTo>
                    <a:pt x="302" y="142"/>
                  </a:lnTo>
                  <a:lnTo>
                    <a:pt x="293" y="123"/>
                  </a:lnTo>
                  <a:lnTo>
                    <a:pt x="293" y="123"/>
                  </a:lnTo>
                  <a:lnTo>
                    <a:pt x="286" y="107"/>
                  </a:lnTo>
                  <a:lnTo>
                    <a:pt x="281" y="99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1" y="89"/>
                  </a:lnTo>
                  <a:lnTo>
                    <a:pt x="269" y="84"/>
                  </a:lnTo>
                  <a:lnTo>
                    <a:pt x="269" y="81"/>
                  </a:lnTo>
                  <a:lnTo>
                    <a:pt x="271" y="78"/>
                  </a:lnTo>
                  <a:lnTo>
                    <a:pt x="274" y="71"/>
                  </a:lnTo>
                  <a:lnTo>
                    <a:pt x="275" y="67"/>
                  </a:lnTo>
                  <a:lnTo>
                    <a:pt x="275" y="67"/>
                  </a:lnTo>
                  <a:lnTo>
                    <a:pt x="274" y="64"/>
                  </a:lnTo>
                  <a:lnTo>
                    <a:pt x="271" y="62"/>
                  </a:lnTo>
                  <a:lnTo>
                    <a:pt x="265" y="62"/>
                  </a:lnTo>
                  <a:lnTo>
                    <a:pt x="259" y="62"/>
                  </a:lnTo>
                  <a:lnTo>
                    <a:pt x="259" y="62"/>
                  </a:lnTo>
                  <a:lnTo>
                    <a:pt x="255" y="61"/>
                  </a:lnTo>
                  <a:lnTo>
                    <a:pt x="252" y="59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1" y="50"/>
                  </a:lnTo>
                  <a:lnTo>
                    <a:pt x="241" y="47"/>
                  </a:lnTo>
                  <a:lnTo>
                    <a:pt x="241" y="41"/>
                  </a:lnTo>
                  <a:lnTo>
                    <a:pt x="243" y="37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1" y="27"/>
                  </a:lnTo>
                  <a:lnTo>
                    <a:pt x="238" y="25"/>
                  </a:lnTo>
                  <a:lnTo>
                    <a:pt x="235" y="24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18"/>
                  </a:lnTo>
                  <a:lnTo>
                    <a:pt x="234" y="12"/>
                  </a:lnTo>
                  <a:lnTo>
                    <a:pt x="238" y="3"/>
                  </a:lnTo>
                  <a:lnTo>
                    <a:pt x="238" y="3"/>
                  </a:lnTo>
                  <a:lnTo>
                    <a:pt x="238" y="1"/>
                  </a:lnTo>
                  <a:lnTo>
                    <a:pt x="234" y="0"/>
                  </a:lnTo>
                  <a:lnTo>
                    <a:pt x="229" y="1"/>
                  </a:lnTo>
                  <a:lnTo>
                    <a:pt x="222" y="3"/>
                  </a:lnTo>
                  <a:lnTo>
                    <a:pt x="222" y="3"/>
                  </a:lnTo>
                  <a:lnTo>
                    <a:pt x="209" y="10"/>
                  </a:lnTo>
                  <a:lnTo>
                    <a:pt x="203" y="13"/>
                  </a:lnTo>
                  <a:lnTo>
                    <a:pt x="198" y="15"/>
                  </a:lnTo>
                  <a:lnTo>
                    <a:pt x="198" y="15"/>
                  </a:lnTo>
                  <a:lnTo>
                    <a:pt x="189" y="10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69" y="1"/>
                  </a:lnTo>
                  <a:lnTo>
                    <a:pt x="164" y="3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1" y="13"/>
                  </a:lnTo>
                  <a:lnTo>
                    <a:pt x="145" y="16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2" y="15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0" y="22"/>
                  </a:lnTo>
                  <a:lnTo>
                    <a:pt x="114" y="28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2" y="38"/>
                  </a:lnTo>
                  <a:lnTo>
                    <a:pt x="93" y="43"/>
                  </a:lnTo>
                  <a:lnTo>
                    <a:pt x="83" y="46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47" y="44"/>
                  </a:lnTo>
                  <a:lnTo>
                    <a:pt x="32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4" y="47"/>
                  </a:lnTo>
                  <a:lnTo>
                    <a:pt x="24" y="50"/>
                  </a:lnTo>
                  <a:lnTo>
                    <a:pt x="22" y="55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7" y="65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7" y="83"/>
                  </a:lnTo>
                  <a:lnTo>
                    <a:pt x="13" y="92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37" y="112"/>
                  </a:lnTo>
                  <a:lnTo>
                    <a:pt x="44" y="117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58" y="120"/>
                  </a:lnTo>
                  <a:lnTo>
                    <a:pt x="61" y="118"/>
                  </a:lnTo>
                  <a:lnTo>
                    <a:pt x="63" y="115"/>
                  </a:lnTo>
                  <a:lnTo>
                    <a:pt x="66" y="114"/>
                  </a:lnTo>
                  <a:lnTo>
                    <a:pt x="71" y="107"/>
                  </a:lnTo>
                  <a:lnTo>
                    <a:pt x="74" y="102"/>
                  </a:lnTo>
                  <a:lnTo>
                    <a:pt x="74" y="102"/>
                  </a:lnTo>
                  <a:lnTo>
                    <a:pt x="84" y="90"/>
                  </a:lnTo>
                  <a:lnTo>
                    <a:pt x="86" y="89"/>
                  </a:lnTo>
                  <a:lnTo>
                    <a:pt x="87" y="89"/>
                  </a:lnTo>
                  <a:lnTo>
                    <a:pt x="87" y="90"/>
                  </a:lnTo>
                  <a:lnTo>
                    <a:pt x="87" y="96"/>
                  </a:lnTo>
                  <a:lnTo>
                    <a:pt x="87" y="96"/>
                  </a:lnTo>
                  <a:lnTo>
                    <a:pt x="84" y="129"/>
                  </a:lnTo>
                  <a:lnTo>
                    <a:pt x="84" y="141"/>
                  </a:lnTo>
                  <a:lnTo>
                    <a:pt x="84" y="145"/>
                  </a:lnTo>
                  <a:lnTo>
                    <a:pt x="87" y="147"/>
                  </a:lnTo>
                  <a:lnTo>
                    <a:pt x="87" y="147"/>
                  </a:lnTo>
                  <a:lnTo>
                    <a:pt x="115" y="154"/>
                  </a:lnTo>
                  <a:lnTo>
                    <a:pt x="115" y="154"/>
                  </a:lnTo>
                  <a:lnTo>
                    <a:pt x="120" y="155"/>
                  </a:lnTo>
                  <a:lnTo>
                    <a:pt x="124" y="158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4" y="163"/>
                  </a:lnTo>
                  <a:lnTo>
                    <a:pt x="120" y="166"/>
                  </a:lnTo>
                  <a:lnTo>
                    <a:pt x="120" y="166"/>
                  </a:lnTo>
                  <a:lnTo>
                    <a:pt x="106" y="172"/>
                  </a:lnTo>
                  <a:lnTo>
                    <a:pt x="103" y="175"/>
                  </a:lnTo>
                  <a:lnTo>
                    <a:pt x="102" y="176"/>
                  </a:lnTo>
                  <a:lnTo>
                    <a:pt x="103" y="178"/>
                  </a:lnTo>
                  <a:lnTo>
                    <a:pt x="103" y="17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8" y="194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33" y="200"/>
                  </a:lnTo>
                  <a:lnTo>
                    <a:pt x="136" y="201"/>
                  </a:lnTo>
                  <a:lnTo>
                    <a:pt x="138" y="204"/>
                  </a:lnTo>
                  <a:lnTo>
                    <a:pt x="138" y="204"/>
                  </a:lnTo>
                  <a:lnTo>
                    <a:pt x="136" y="209"/>
                  </a:lnTo>
                  <a:lnTo>
                    <a:pt x="133" y="216"/>
                  </a:lnTo>
                  <a:lnTo>
                    <a:pt x="132" y="219"/>
                  </a:lnTo>
                  <a:lnTo>
                    <a:pt x="133" y="224"/>
                  </a:lnTo>
                  <a:lnTo>
                    <a:pt x="135" y="225"/>
                  </a:lnTo>
                  <a:lnTo>
                    <a:pt x="138" y="228"/>
                  </a:lnTo>
                  <a:lnTo>
                    <a:pt x="138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2" name="Freeform 71">
              <a:extLst>
                <a:ext uri="{FF2B5EF4-FFF2-40B4-BE49-F238E27FC236}">
                  <a16:creationId xmlns:a16="http://schemas.microsoft.com/office/drawing/2014/main" id="{88870F4A-1733-4944-82EA-5030049B1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4743450"/>
              <a:ext cx="850900" cy="879475"/>
            </a:xfrm>
            <a:custGeom>
              <a:avLst/>
              <a:gdLst>
                <a:gd name="T0" fmla="*/ 68 w 536"/>
                <a:gd name="T1" fmla="*/ 339 h 554"/>
                <a:gd name="T2" fmla="*/ 107 w 536"/>
                <a:gd name="T3" fmla="*/ 367 h 554"/>
                <a:gd name="T4" fmla="*/ 139 w 536"/>
                <a:gd name="T5" fmla="*/ 357 h 554"/>
                <a:gd name="T6" fmla="*/ 114 w 536"/>
                <a:gd name="T7" fmla="*/ 387 h 554"/>
                <a:gd name="T8" fmla="*/ 132 w 536"/>
                <a:gd name="T9" fmla="*/ 430 h 554"/>
                <a:gd name="T10" fmla="*/ 133 w 536"/>
                <a:gd name="T11" fmla="*/ 476 h 554"/>
                <a:gd name="T12" fmla="*/ 116 w 536"/>
                <a:gd name="T13" fmla="*/ 507 h 554"/>
                <a:gd name="T14" fmla="*/ 120 w 536"/>
                <a:gd name="T15" fmla="*/ 547 h 554"/>
                <a:gd name="T16" fmla="*/ 144 w 536"/>
                <a:gd name="T17" fmla="*/ 545 h 554"/>
                <a:gd name="T18" fmla="*/ 159 w 536"/>
                <a:gd name="T19" fmla="*/ 518 h 554"/>
                <a:gd name="T20" fmla="*/ 194 w 536"/>
                <a:gd name="T21" fmla="*/ 493 h 554"/>
                <a:gd name="T22" fmla="*/ 222 w 536"/>
                <a:gd name="T23" fmla="*/ 443 h 554"/>
                <a:gd name="T24" fmla="*/ 246 w 536"/>
                <a:gd name="T25" fmla="*/ 461 h 554"/>
                <a:gd name="T26" fmla="*/ 276 w 536"/>
                <a:gd name="T27" fmla="*/ 447 h 554"/>
                <a:gd name="T28" fmla="*/ 292 w 536"/>
                <a:gd name="T29" fmla="*/ 422 h 554"/>
                <a:gd name="T30" fmla="*/ 302 w 536"/>
                <a:gd name="T31" fmla="*/ 399 h 554"/>
                <a:gd name="T32" fmla="*/ 336 w 536"/>
                <a:gd name="T33" fmla="*/ 384 h 554"/>
                <a:gd name="T34" fmla="*/ 355 w 536"/>
                <a:gd name="T35" fmla="*/ 401 h 554"/>
                <a:gd name="T36" fmla="*/ 376 w 536"/>
                <a:gd name="T37" fmla="*/ 413 h 554"/>
                <a:gd name="T38" fmla="*/ 384 w 536"/>
                <a:gd name="T39" fmla="*/ 440 h 554"/>
                <a:gd name="T40" fmla="*/ 401 w 536"/>
                <a:gd name="T41" fmla="*/ 446 h 554"/>
                <a:gd name="T42" fmla="*/ 443 w 536"/>
                <a:gd name="T43" fmla="*/ 440 h 554"/>
                <a:gd name="T44" fmla="*/ 452 w 536"/>
                <a:gd name="T45" fmla="*/ 415 h 554"/>
                <a:gd name="T46" fmla="*/ 453 w 536"/>
                <a:gd name="T47" fmla="*/ 384 h 554"/>
                <a:gd name="T48" fmla="*/ 477 w 536"/>
                <a:gd name="T49" fmla="*/ 357 h 554"/>
                <a:gd name="T50" fmla="*/ 518 w 536"/>
                <a:gd name="T51" fmla="*/ 341 h 554"/>
                <a:gd name="T52" fmla="*/ 533 w 536"/>
                <a:gd name="T53" fmla="*/ 296 h 554"/>
                <a:gd name="T54" fmla="*/ 489 w 536"/>
                <a:gd name="T55" fmla="*/ 253 h 554"/>
                <a:gd name="T56" fmla="*/ 456 w 536"/>
                <a:gd name="T57" fmla="*/ 249 h 554"/>
                <a:gd name="T58" fmla="*/ 422 w 536"/>
                <a:gd name="T59" fmla="*/ 237 h 554"/>
                <a:gd name="T60" fmla="*/ 376 w 536"/>
                <a:gd name="T61" fmla="*/ 221 h 554"/>
                <a:gd name="T62" fmla="*/ 326 w 536"/>
                <a:gd name="T63" fmla="*/ 230 h 554"/>
                <a:gd name="T64" fmla="*/ 299 w 536"/>
                <a:gd name="T65" fmla="*/ 228 h 554"/>
                <a:gd name="T66" fmla="*/ 295 w 536"/>
                <a:gd name="T67" fmla="*/ 190 h 554"/>
                <a:gd name="T68" fmla="*/ 290 w 536"/>
                <a:gd name="T69" fmla="*/ 167 h 554"/>
                <a:gd name="T70" fmla="*/ 310 w 536"/>
                <a:gd name="T71" fmla="*/ 144 h 554"/>
                <a:gd name="T72" fmla="*/ 342 w 536"/>
                <a:gd name="T73" fmla="*/ 116 h 554"/>
                <a:gd name="T74" fmla="*/ 372 w 536"/>
                <a:gd name="T75" fmla="*/ 67 h 554"/>
                <a:gd name="T76" fmla="*/ 360 w 536"/>
                <a:gd name="T77" fmla="*/ 33 h 554"/>
                <a:gd name="T78" fmla="*/ 332 w 536"/>
                <a:gd name="T79" fmla="*/ 0 h 554"/>
                <a:gd name="T80" fmla="*/ 302 w 536"/>
                <a:gd name="T81" fmla="*/ 24 h 554"/>
                <a:gd name="T82" fmla="*/ 271 w 536"/>
                <a:gd name="T83" fmla="*/ 34 h 554"/>
                <a:gd name="T84" fmla="*/ 250 w 536"/>
                <a:gd name="T85" fmla="*/ 55 h 554"/>
                <a:gd name="T86" fmla="*/ 250 w 536"/>
                <a:gd name="T87" fmla="*/ 77 h 554"/>
                <a:gd name="T88" fmla="*/ 231 w 536"/>
                <a:gd name="T89" fmla="*/ 104 h 554"/>
                <a:gd name="T90" fmla="*/ 206 w 536"/>
                <a:gd name="T91" fmla="*/ 133 h 554"/>
                <a:gd name="T92" fmla="*/ 199 w 536"/>
                <a:gd name="T93" fmla="*/ 176 h 554"/>
                <a:gd name="T94" fmla="*/ 170 w 536"/>
                <a:gd name="T95" fmla="*/ 176 h 554"/>
                <a:gd name="T96" fmla="*/ 135 w 536"/>
                <a:gd name="T97" fmla="*/ 165 h 554"/>
                <a:gd name="T98" fmla="*/ 110 w 536"/>
                <a:gd name="T99" fmla="*/ 172 h 554"/>
                <a:gd name="T100" fmla="*/ 77 w 536"/>
                <a:gd name="T101" fmla="*/ 187 h 554"/>
                <a:gd name="T102" fmla="*/ 120 w 536"/>
                <a:gd name="T103" fmla="*/ 252 h 554"/>
                <a:gd name="T104" fmla="*/ 77 w 536"/>
                <a:gd name="T105" fmla="*/ 273 h 554"/>
                <a:gd name="T106" fmla="*/ 45 w 536"/>
                <a:gd name="T107" fmla="*/ 253 h 554"/>
                <a:gd name="T108" fmla="*/ 21 w 536"/>
                <a:gd name="T109" fmla="*/ 264 h 554"/>
                <a:gd name="T110" fmla="*/ 0 w 536"/>
                <a:gd name="T111" fmla="*/ 286 h 554"/>
                <a:gd name="T112" fmla="*/ 5 w 536"/>
                <a:gd name="T113" fmla="*/ 311 h 554"/>
                <a:gd name="T114" fmla="*/ 49 w 536"/>
                <a:gd name="T115" fmla="*/ 323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6" h="554">
                  <a:moveTo>
                    <a:pt x="55" y="330"/>
                  </a:moveTo>
                  <a:lnTo>
                    <a:pt x="55" y="330"/>
                  </a:lnTo>
                  <a:lnTo>
                    <a:pt x="59" y="339"/>
                  </a:lnTo>
                  <a:lnTo>
                    <a:pt x="62" y="342"/>
                  </a:lnTo>
                  <a:lnTo>
                    <a:pt x="64" y="342"/>
                  </a:lnTo>
                  <a:lnTo>
                    <a:pt x="64" y="341"/>
                  </a:lnTo>
                  <a:lnTo>
                    <a:pt x="64" y="341"/>
                  </a:lnTo>
                  <a:lnTo>
                    <a:pt x="65" y="339"/>
                  </a:lnTo>
                  <a:lnTo>
                    <a:pt x="68" y="339"/>
                  </a:lnTo>
                  <a:lnTo>
                    <a:pt x="74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6" y="345"/>
                  </a:lnTo>
                  <a:lnTo>
                    <a:pt x="96" y="351"/>
                  </a:lnTo>
                  <a:lnTo>
                    <a:pt x="99" y="353"/>
                  </a:lnTo>
                  <a:lnTo>
                    <a:pt x="102" y="357"/>
                  </a:lnTo>
                  <a:lnTo>
                    <a:pt x="102" y="357"/>
                  </a:lnTo>
                  <a:lnTo>
                    <a:pt x="107" y="367"/>
                  </a:lnTo>
                  <a:lnTo>
                    <a:pt x="108" y="370"/>
                  </a:lnTo>
                  <a:lnTo>
                    <a:pt x="113" y="373"/>
                  </a:lnTo>
                  <a:lnTo>
                    <a:pt x="113" y="373"/>
                  </a:lnTo>
                  <a:lnTo>
                    <a:pt x="117" y="372"/>
                  </a:lnTo>
                  <a:lnTo>
                    <a:pt x="123" y="367"/>
                  </a:lnTo>
                  <a:lnTo>
                    <a:pt x="135" y="359"/>
                  </a:lnTo>
                  <a:lnTo>
                    <a:pt x="135" y="359"/>
                  </a:lnTo>
                  <a:lnTo>
                    <a:pt x="138" y="356"/>
                  </a:lnTo>
                  <a:lnTo>
                    <a:pt x="139" y="357"/>
                  </a:lnTo>
                  <a:lnTo>
                    <a:pt x="138" y="361"/>
                  </a:lnTo>
                  <a:lnTo>
                    <a:pt x="136" y="367"/>
                  </a:lnTo>
                  <a:lnTo>
                    <a:pt x="136" y="367"/>
                  </a:lnTo>
                  <a:lnTo>
                    <a:pt x="132" y="372"/>
                  </a:lnTo>
                  <a:lnTo>
                    <a:pt x="127" y="376"/>
                  </a:lnTo>
                  <a:lnTo>
                    <a:pt x="122" y="379"/>
                  </a:lnTo>
                  <a:lnTo>
                    <a:pt x="117" y="382"/>
                  </a:lnTo>
                  <a:lnTo>
                    <a:pt x="117" y="382"/>
                  </a:lnTo>
                  <a:lnTo>
                    <a:pt x="114" y="387"/>
                  </a:lnTo>
                  <a:lnTo>
                    <a:pt x="114" y="391"/>
                  </a:lnTo>
                  <a:lnTo>
                    <a:pt x="117" y="396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32" y="406"/>
                  </a:lnTo>
                  <a:lnTo>
                    <a:pt x="136" y="412"/>
                  </a:lnTo>
                  <a:lnTo>
                    <a:pt x="136" y="412"/>
                  </a:lnTo>
                  <a:lnTo>
                    <a:pt x="136" y="418"/>
                  </a:lnTo>
                  <a:lnTo>
                    <a:pt x="132" y="430"/>
                  </a:lnTo>
                  <a:lnTo>
                    <a:pt x="132" y="430"/>
                  </a:lnTo>
                  <a:lnTo>
                    <a:pt x="123" y="459"/>
                  </a:lnTo>
                  <a:lnTo>
                    <a:pt x="123" y="459"/>
                  </a:lnTo>
                  <a:lnTo>
                    <a:pt x="120" y="465"/>
                  </a:lnTo>
                  <a:lnTo>
                    <a:pt x="119" y="470"/>
                  </a:lnTo>
                  <a:lnTo>
                    <a:pt x="126" y="468"/>
                  </a:lnTo>
                  <a:lnTo>
                    <a:pt x="126" y="468"/>
                  </a:lnTo>
                  <a:lnTo>
                    <a:pt x="130" y="473"/>
                  </a:lnTo>
                  <a:lnTo>
                    <a:pt x="133" y="476"/>
                  </a:lnTo>
                  <a:lnTo>
                    <a:pt x="133" y="478"/>
                  </a:lnTo>
                  <a:lnTo>
                    <a:pt x="133" y="481"/>
                  </a:lnTo>
                  <a:lnTo>
                    <a:pt x="133" y="481"/>
                  </a:lnTo>
                  <a:lnTo>
                    <a:pt x="132" y="487"/>
                  </a:lnTo>
                  <a:lnTo>
                    <a:pt x="127" y="493"/>
                  </a:lnTo>
                  <a:lnTo>
                    <a:pt x="117" y="501"/>
                  </a:lnTo>
                  <a:lnTo>
                    <a:pt x="117" y="501"/>
                  </a:lnTo>
                  <a:lnTo>
                    <a:pt x="114" y="505"/>
                  </a:lnTo>
                  <a:lnTo>
                    <a:pt x="116" y="507"/>
                  </a:lnTo>
                  <a:lnTo>
                    <a:pt x="119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4" y="517"/>
                  </a:lnTo>
                  <a:lnTo>
                    <a:pt x="123" y="526"/>
                  </a:lnTo>
                  <a:lnTo>
                    <a:pt x="120" y="542"/>
                  </a:lnTo>
                  <a:lnTo>
                    <a:pt x="120" y="542"/>
                  </a:lnTo>
                  <a:lnTo>
                    <a:pt x="119" y="545"/>
                  </a:lnTo>
                  <a:lnTo>
                    <a:pt x="120" y="547"/>
                  </a:lnTo>
                  <a:lnTo>
                    <a:pt x="120" y="550"/>
                  </a:lnTo>
                  <a:lnTo>
                    <a:pt x="123" y="550"/>
                  </a:lnTo>
                  <a:lnTo>
                    <a:pt x="127" y="551"/>
                  </a:lnTo>
                  <a:lnTo>
                    <a:pt x="133" y="551"/>
                  </a:lnTo>
                  <a:lnTo>
                    <a:pt x="133" y="551"/>
                  </a:lnTo>
                  <a:lnTo>
                    <a:pt x="139" y="553"/>
                  </a:lnTo>
                  <a:lnTo>
                    <a:pt x="144" y="554"/>
                  </a:lnTo>
                  <a:lnTo>
                    <a:pt x="144" y="554"/>
                  </a:lnTo>
                  <a:lnTo>
                    <a:pt x="144" y="545"/>
                  </a:lnTo>
                  <a:lnTo>
                    <a:pt x="145" y="539"/>
                  </a:lnTo>
                  <a:lnTo>
                    <a:pt x="147" y="536"/>
                  </a:lnTo>
                  <a:lnTo>
                    <a:pt x="148" y="535"/>
                  </a:lnTo>
                  <a:lnTo>
                    <a:pt x="148" y="535"/>
                  </a:lnTo>
                  <a:lnTo>
                    <a:pt x="156" y="529"/>
                  </a:lnTo>
                  <a:lnTo>
                    <a:pt x="157" y="526"/>
                  </a:lnTo>
                  <a:lnTo>
                    <a:pt x="157" y="523"/>
                  </a:lnTo>
                  <a:lnTo>
                    <a:pt x="157" y="523"/>
                  </a:lnTo>
                  <a:lnTo>
                    <a:pt x="159" y="518"/>
                  </a:lnTo>
                  <a:lnTo>
                    <a:pt x="161" y="513"/>
                  </a:lnTo>
                  <a:lnTo>
                    <a:pt x="166" y="510"/>
                  </a:lnTo>
                  <a:lnTo>
                    <a:pt x="169" y="507"/>
                  </a:lnTo>
                  <a:lnTo>
                    <a:pt x="169" y="507"/>
                  </a:lnTo>
                  <a:lnTo>
                    <a:pt x="179" y="505"/>
                  </a:lnTo>
                  <a:lnTo>
                    <a:pt x="187" y="502"/>
                  </a:lnTo>
                  <a:lnTo>
                    <a:pt x="187" y="502"/>
                  </a:lnTo>
                  <a:lnTo>
                    <a:pt x="190" y="499"/>
                  </a:lnTo>
                  <a:lnTo>
                    <a:pt x="194" y="493"/>
                  </a:lnTo>
                  <a:lnTo>
                    <a:pt x="199" y="484"/>
                  </a:lnTo>
                  <a:lnTo>
                    <a:pt x="201" y="476"/>
                  </a:lnTo>
                  <a:lnTo>
                    <a:pt x="201" y="476"/>
                  </a:lnTo>
                  <a:lnTo>
                    <a:pt x="204" y="467"/>
                  </a:lnTo>
                  <a:lnTo>
                    <a:pt x="209" y="458"/>
                  </a:lnTo>
                  <a:lnTo>
                    <a:pt x="213" y="450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22" y="443"/>
                  </a:lnTo>
                  <a:lnTo>
                    <a:pt x="227" y="441"/>
                  </a:lnTo>
                  <a:lnTo>
                    <a:pt x="231" y="441"/>
                  </a:lnTo>
                  <a:lnTo>
                    <a:pt x="233" y="443"/>
                  </a:lnTo>
                  <a:lnTo>
                    <a:pt x="233" y="444"/>
                  </a:lnTo>
                  <a:lnTo>
                    <a:pt x="233" y="444"/>
                  </a:lnTo>
                  <a:lnTo>
                    <a:pt x="234" y="450"/>
                  </a:lnTo>
                  <a:lnTo>
                    <a:pt x="238" y="455"/>
                  </a:lnTo>
                  <a:lnTo>
                    <a:pt x="243" y="459"/>
                  </a:lnTo>
                  <a:lnTo>
                    <a:pt x="246" y="461"/>
                  </a:lnTo>
                  <a:lnTo>
                    <a:pt x="249" y="461"/>
                  </a:lnTo>
                  <a:lnTo>
                    <a:pt x="249" y="461"/>
                  </a:lnTo>
                  <a:lnTo>
                    <a:pt x="255" y="458"/>
                  </a:lnTo>
                  <a:lnTo>
                    <a:pt x="261" y="455"/>
                  </a:lnTo>
                  <a:lnTo>
                    <a:pt x="265" y="450"/>
                  </a:lnTo>
                  <a:lnTo>
                    <a:pt x="270" y="447"/>
                  </a:lnTo>
                  <a:lnTo>
                    <a:pt x="270" y="447"/>
                  </a:lnTo>
                  <a:lnTo>
                    <a:pt x="273" y="446"/>
                  </a:lnTo>
                  <a:lnTo>
                    <a:pt x="276" y="447"/>
                  </a:lnTo>
                  <a:lnTo>
                    <a:pt x="277" y="447"/>
                  </a:lnTo>
                  <a:lnTo>
                    <a:pt x="280" y="444"/>
                  </a:lnTo>
                  <a:lnTo>
                    <a:pt x="280" y="444"/>
                  </a:lnTo>
                  <a:lnTo>
                    <a:pt x="283" y="436"/>
                  </a:lnTo>
                  <a:lnTo>
                    <a:pt x="284" y="430"/>
                  </a:lnTo>
                  <a:lnTo>
                    <a:pt x="284" y="430"/>
                  </a:lnTo>
                  <a:lnTo>
                    <a:pt x="284" y="427"/>
                  </a:lnTo>
                  <a:lnTo>
                    <a:pt x="286" y="425"/>
                  </a:lnTo>
                  <a:lnTo>
                    <a:pt x="292" y="422"/>
                  </a:lnTo>
                  <a:lnTo>
                    <a:pt x="292" y="422"/>
                  </a:lnTo>
                  <a:lnTo>
                    <a:pt x="296" y="421"/>
                  </a:lnTo>
                  <a:lnTo>
                    <a:pt x="299" y="416"/>
                  </a:lnTo>
                  <a:lnTo>
                    <a:pt x="301" y="412"/>
                  </a:lnTo>
                  <a:lnTo>
                    <a:pt x="301" y="407"/>
                  </a:lnTo>
                  <a:lnTo>
                    <a:pt x="301" y="407"/>
                  </a:lnTo>
                  <a:lnTo>
                    <a:pt x="299" y="403"/>
                  </a:lnTo>
                  <a:lnTo>
                    <a:pt x="301" y="400"/>
                  </a:lnTo>
                  <a:lnTo>
                    <a:pt x="302" y="399"/>
                  </a:lnTo>
                  <a:lnTo>
                    <a:pt x="305" y="397"/>
                  </a:lnTo>
                  <a:lnTo>
                    <a:pt x="305" y="397"/>
                  </a:lnTo>
                  <a:lnTo>
                    <a:pt x="314" y="399"/>
                  </a:lnTo>
                  <a:lnTo>
                    <a:pt x="317" y="399"/>
                  </a:lnTo>
                  <a:lnTo>
                    <a:pt x="320" y="396"/>
                  </a:lnTo>
                  <a:lnTo>
                    <a:pt x="320" y="396"/>
                  </a:lnTo>
                  <a:lnTo>
                    <a:pt x="329" y="388"/>
                  </a:lnTo>
                  <a:lnTo>
                    <a:pt x="335" y="384"/>
                  </a:lnTo>
                  <a:lnTo>
                    <a:pt x="336" y="384"/>
                  </a:lnTo>
                  <a:lnTo>
                    <a:pt x="339" y="384"/>
                  </a:lnTo>
                  <a:lnTo>
                    <a:pt x="339" y="384"/>
                  </a:lnTo>
                  <a:lnTo>
                    <a:pt x="344" y="385"/>
                  </a:lnTo>
                  <a:lnTo>
                    <a:pt x="345" y="388"/>
                  </a:lnTo>
                  <a:lnTo>
                    <a:pt x="347" y="393"/>
                  </a:lnTo>
                  <a:lnTo>
                    <a:pt x="350" y="397"/>
                  </a:lnTo>
                  <a:lnTo>
                    <a:pt x="350" y="397"/>
                  </a:lnTo>
                  <a:lnTo>
                    <a:pt x="353" y="400"/>
                  </a:lnTo>
                  <a:lnTo>
                    <a:pt x="355" y="401"/>
                  </a:lnTo>
                  <a:lnTo>
                    <a:pt x="360" y="403"/>
                  </a:lnTo>
                  <a:lnTo>
                    <a:pt x="363" y="406"/>
                  </a:lnTo>
                  <a:lnTo>
                    <a:pt x="363" y="406"/>
                  </a:lnTo>
                  <a:lnTo>
                    <a:pt x="364" y="409"/>
                  </a:lnTo>
                  <a:lnTo>
                    <a:pt x="366" y="413"/>
                  </a:lnTo>
                  <a:lnTo>
                    <a:pt x="364" y="415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76" y="413"/>
                  </a:lnTo>
                  <a:lnTo>
                    <a:pt x="381" y="412"/>
                  </a:lnTo>
                  <a:lnTo>
                    <a:pt x="384" y="413"/>
                  </a:lnTo>
                  <a:lnTo>
                    <a:pt x="385" y="413"/>
                  </a:lnTo>
                  <a:lnTo>
                    <a:pt x="385" y="413"/>
                  </a:lnTo>
                  <a:lnTo>
                    <a:pt x="387" y="416"/>
                  </a:lnTo>
                  <a:lnTo>
                    <a:pt x="388" y="418"/>
                  </a:lnTo>
                  <a:lnTo>
                    <a:pt x="385" y="427"/>
                  </a:lnTo>
                  <a:lnTo>
                    <a:pt x="385" y="427"/>
                  </a:lnTo>
                  <a:lnTo>
                    <a:pt x="384" y="440"/>
                  </a:lnTo>
                  <a:lnTo>
                    <a:pt x="384" y="444"/>
                  </a:lnTo>
                  <a:lnTo>
                    <a:pt x="385" y="446"/>
                  </a:lnTo>
                  <a:lnTo>
                    <a:pt x="387" y="447"/>
                  </a:lnTo>
                  <a:lnTo>
                    <a:pt x="387" y="447"/>
                  </a:lnTo>
                  <a:lnTo>
                    <a:pt x="391" y="446"/>
                  </a:lnTo>
                  <a:lnTo>
                    <a:pt x="395" y="444"/>
                  </a:lnTo>
                  <a:lnTo>
                    <a:pt x="398" y="444"/>
                  </a:lnTo>
                  <a:lnTo>
                    <a:pt x="400" y="444"/>
                  </a:lnTo>
                  <a:lnTo>
                    <a:pt x="401" y="446"/>
                  </a:lnTo>
                  <a:lnTo>
                    <a:pt x="401" y="446"/>
                  </a:lnTo>
                  <a:lnTo>
                    <a:pt x="407" y="455"/>
                  </a:lnTo>
                  <a:lnTo>
                    <a:pt x="410" y="461"/>
                  </a:lnTo>
                  <a:lnTo>
                    <a:pt x="410" y="461"/>
                  </a:lnTo>
                  <a:lnTo>
                    <a:pt x="416" y="455"/>
                  </a:lnTo>
                  <a:lnTo>
                    <a:pt x="424" y="449"/>
                  </a:lnTo>
                  <a:lnTo>
                    <a:pt x="430" y="444"/>
                  </a:lnTo>
                  <a:lnTo>
                    <a:pt x="430" y="444"/>
                  </a:lnTo>
                  <a:lnTo>
                    <a:pt x="443" y="440"/>
                  </a:lnTo>
                  <a:lnTo>
                    <a:pt x="443" y="440"/>
                  </a:lnTo>
                  <a:lnTo>
                    <a:pt x="443" y="440"/>
                  </a:lnTo>
                  <a:lnTo>
                    <a:pt x="447" y="437"/>
                  </a:lnTo>
                  <a:lnTo>
                    <a:pt x="449" y="434"/>
                  </a:lnTo>
                  <a:lnTo>
                    <a:pt x="449" y="434"/>
                  </a:lnTo>
                  <a:lnTo>
                    <a:pt x="447" y="428"/>
                  </a:lnTo>
                  <a:lnTo>
                    <a:pt x="449" y="422"/>
                  </a:lnTo>
                  <a:lnTo>
                    <a:pt x="450" y="418"/>
                  </a:lnTo>
                  <a:lnTo>
                    <a:pt x="452" y="415"/>
                  </a:lnTo>
                  <a:lnTo>
                    <a:pt x="456" y="413"/>
                  </a:lnTo>
                  <a:lnTo>
                    <a:pt x="456" y="413"/>
                  </a:lnTo>
                  <a:lnTo>
                    <a:pt x="468" y="410"/>
                  </a:lnTo>
                  <a:lnTo>
                    <a:pt x="469" y="409"/>
                  </a:lnTo>
                  <a:lnTo>
                    <a:pt x="469" y="404"/>
                  </a:lnTo>
                  <a:lnTo>
                    <a:pt x="469" y="404"/>
                  </a:lnTo>
                  <a:lnTo>
                    <a:pt x="465" y="399"/>
                  </a:lnTo>
                  <a:lnTo>
                    <a:pt x="458" y="391"/>
                  </a:lnTo>
                  <a:lnTo>
                    <a:pt x="453" y="384"/>
                  </a:lnTo>
                  <a:lnTo>
                    <a:pt x="452" y="381"/>
                  </a:lnTo>
                  <a:lnTo>
                    <a:pt x="453" y="378"/>
                  </a:lnTo>
                  <a:lnTo>
                    <a:pt x="453" y="378"/>
                  </a:lnTo>
                  <a:lnTo>
                    <a:pt x="456" y="372"/>
                  </a:lnTo>
                  <a:lnTo>
                    <a:pt x="461" y="367"/>
                  </a:lnTo>
                  <a:lnTo>
                    <a:pt x="465" y="363"/>
                  </a:lnTo>
                  <a:lnTo>
                    <a:pt x="472" y="360"/>
                  </a:lnTo>
                  <a:lnTo>
                    <a:pt x="472" y="360"/>
                  </a:lnTo>
                  <a:lnTo>
                    <a:pt x="477" y="357"/>
                  </a:lnTo>
                  <a:lnTo>
                    <a:pt x="481" y="353"/>
                  </a:lnTo>
                  <a:lnTo>
                    <a:pt x="486" y="350"/>
                  </a:lnTo>
                  <a:lnTo>
                    <a:pt x="489" y="348"/>
                  </a:lnTo>
                  <a:lnTo>
                    <a:pt x="489" y="348"/>
                  </a:lnTo>
                  <a:lnTo>
                    <a:pt x="504" y="347"/>
                  </a:lnTo>
                  <a:lnTo>
                    <a:pt x="512" y="345"/>
                  </a:lnTo>
                  <a:lnTo>
                    <a:pt x="517" y="342"/>
                  </a:lnTo>
                  <a:lnTo>
                    <a:pt x="518" y="341"/>
                  </a:lnTo>
                  <a:lnTo>
                    <a:pt x="518" y="341"/>
                  </a:lnTo>
                  <a:lnTo>
                    <a:pt x="523" y="335"/>
                  </a:lnTo>
                  <a:lnTo>
                    <a:pt x="527" y="326"/>
                  </a:lnTo>
                  <a:lnTo>
                    <a:pt x="530" y="317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3" y="305"/>
                  </a:lnTo>
                  <a:lnTo>
                    <a:pt x="535" y="301"/>
                  </a:lnTo>
                  <a:lnTo>
                    <a:pt x="536" y="298"/>
                  </a:lnTo>
                  <a:lnTo>
                    <a:pt x="533" y="296"/>
                  </a:lnTo>
                  <a:lnTo>
                    <a:pt x="533" y="296"/>
                  </a:lnTo>
                  <a:lnTo>
                    <a:pt x="527" y="295"/>
                  </a:lnTo>
                  <a:lnTo>
                    <a:pt x="515" y="290"/>
                  </a:lnTo>
                  <a:lnTo>
                    <a:pt x="504" y="283"/>
                  </a:lnTo>
                  <a:lnTo>
                    <a:pt x="499" y="280"/>
                  </a:lnTo>
                  <a:lnTo>
                    <a:pt x="496" y="276"/>
                  </a:lnTo>
                  <a:lnTo>
                    <a:pt x="496" y="276"/>
                  </a:lnTo>
                  <a:lnTo>
                    <a:pt x="493" y="265"/>
                  </a:lnTo>
                  <a:lnTo>
                    <a:pt x="489" y="253"/>
                  </a:lnTo>
                  <a:lnTo>
                    <a:pt x="489" y="253"/>
                  </a:lnTo>
                  <a:lnTo>
                    <a:pt x="487" y="244"/>
                  </a:lnTo>
                  <a:lnTo>
                    <a:pt x="486" y="240"/>
                  </a:lnTo>
                  <a:lnTo>
                    <a:pt x="486" y="240"/>
                  </a:lnTo>
                  <a:lnTo>
                    <a:pt x="481" y="242"/>
                  </a:lnTo>
                  <a:lnTo>
                    <a:pt x="472" y="244"/>
                  </a:lnTo>
                  <a:lnTo>
                    <a:pt x="464" y="247"/>
                  </a:lnTo>
                  <a:lnTo>
                    <a:pt x="456" y="249"/>
                  </a:lnTo>
                  <a:lnTo>
                    <a:pt x="456" y="249"/>
                  </a:lnTo>
                  <a:lnTo>
                    <a:pt x="450" y="249"/>
                  </a:lnTo>
                  <a:lnTo>
                    <a:pt x="444" y="250"/>
                  </a:lnTo>
                  <a:lnTo>
                    <a:pt x="434" y="253"/>
                  </a:lnTo>
                  <a:lnTo>
                    <a:pt x="434" y="253"/>
                  </a:lnTo>
                  <a:lnTo>
                    <a:pt x="431" y="252"/>
                  </a:lnTo>
                  <a:lnTo>
                    <a:pt x="428" y="247"/>
                  </a:lnTo>
                  <a:lnTo>
                    <a:pt x="424" y="240"/>
                  </a:lnTo>
                  <a:lnTo>
                    <a:pt x="424" y="240"/>
                  </a:lnTo>
                  <a:lnTo>
                    <a:pt x="422" y="237"/>
                  </a:lnTo>
                  <a:lnTo>
                    <a:pt x="418" y="234"/>
                  </a:lnTo>
                  <a:lnTo>
                    <a:pt x="412" y="231"/>
                  </a:lnTo>
                  <a:lnTo>
                    <a:pt x="404" y="230"/>
                  </a:lnTo>
                  <a:lnTo>
                    <a:pt x="404" y="230"/>
                  </a:lnTo>
                  <a:lnTo>
                    <a:pt x="388" y="228"/>
                  </a:lnTo>
                  <a:lnTo>
                    <a:pt x="382" y="227"/>
                  </a:lnTo>
                  <a:lnTo>
                    <a:pt x="379" y="224"/>
                  </a:lnTo>
                  <a:lnTo>
                    <a:pt x="379" y="224"/>
                  </a:lnTo>
                  <a:lnTo>
                    <a:pt x="376" y="221"/>
                  </a:lnTo>
                  <a:lnTo>
                    <a:pt x="372" y="219"/>
                  </a:lnTo>
                  <a:lnTo>
                    <a:pt x="360" y="215"/>
                  </a:lnTo>
                  <a:lnTo>
                    <a:pt x="360" y="215"/>
                  </a:lnTo>
                  <a:lnTo>
                    <a:pt x="353" y="213"/>
                  </a:lnTo>
                  <a:lnTo>
                    <a:pt x="344" y="215"/>
                  </a:lnTo>
                  <a:lnTo>
                    <a:pt x="336" y="216"/>
                  </a:lnTo>
                  <a:lnTo>
                    <a:pt x="332" y="221"/>
                  </a:lnTo>
                  <a:lnTo>
                    <a:pt x="332" y="221"/>
                  </a:lnTo>
                  <a:lnTo>
                    <a:pt x="326" y="230"/>
                  </a:lnTo>
                  <a:lnTo>
                    <a:pt x="323" y="233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0" y="237"/>
                  </a:lnTo>
                  <a:lnTo>
                    <a:pt x="302" y="236"/>
                  </a:lnTo>
                  <a:lnTo>
                    <a:pt x="299" y="233"/>
                  </a:lnTo>
                  <a:lnTo>
                    <a:pt x="298" y="231"/>
                  </a:lnTo>
                  <a:lnTo>
                    <a:pt x="299" y="228"/>
                  </a:lnTo>
                  <a:lnTo>
                    <a:pt x="299" y="228"/>
                  </a:lnTo>
                  <a:lnTo>
                    <a:pt x="302" y="221"/>
                  </a:lnTo>
                  <a:lnTo>
                    <a:pt x="302" y="216"/>
                  </a:lnTo>
                  <a:lnTo>
                    <a:pt x="302" y="210"/>
                  </a:lnTo>
                  <a:lnTo>
                    <a:pt x="302" y="210"/>
                  </a:lnTo>
                  <a:lnTo>
                    <a:pt x="299" y="205"/>
                  </a:lnTo>
                  <a:lnTo>
                    <a:pt x="296" y="199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5" y="190"/>
                  </a:lnTo>
                  <a:lnTo>
                    <a:pt x="295" y="190"/>
                  </a:lnTo>
                  <a:lnTo>
                    <a:pt x="299" y="187"/>
                  </a:lnTo>
                  <a:lnTo>
                    <a:pt x="305" y="184"/>
                  </a:lnTo>
                  <a:lnTo>
                    <a:pt x="307" y="184"/>
                  </a:lnTo>
                  <a:lnTo>
                    <a:pt x="307" y="182"/>
                  </a:lnTo>
                  <a:lnTo>
                    <a:pt x="307" y="179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290" y="167"/>
                  </a:lnTo>
                  <a:lnTo>
                    <a:pt x="289" y="166"/>
                  </a:lnTo>
                  <a:lnTo>
                    <a:pt x="289" y="165"/>
                  </a:lnTo>
                  <a:lnTo>
                    <a:pt x="290" y="162"/>
                  </a:lnTo>
                  <a:lnTo>
                    <a:pt x="292" y="159"/>
                  </a:lnTo>
                  <a:lnTo>
                    <a:pt x="292" y="159"/>
                  </a:lnTo>
                  <a:lnTo>
                    <a:pt x="298" y="154"/>
                  </a:lnTo>
                  <a:lnTo>
                    <a:pt x="302" y="151"/>
                  </a:lnTo>
                  <a:lnTo>
                    <a:pt x="307" y="148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8" y="127"/>
                  </a:lnTo>
                  <a:lnTo>
                    <a:pt x="324" y="119"/>
                  </a:lnTo>
                  <a:lnTo>
                    <a:pt x="326" y="117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36" y="117"/>
                  </a:lnTo>
                  <a:lnTo>
                    <a:pt x="341" y="117"/>
                  </a:lnTo>
                  <a:lnTo>
                    <a:pt x="342" y="116"/>
                  </a:lnTo>
                  <a:lnTo>
                    <a:pt x="345" y="113"/>
                  </a:lnTo>
                  <a:lnTo>
                    <a:pt x="345" y="113"/>
                  </a:lnTo>
                  <a:lnTo>
                    <a:pt x="347" y="107"/>
                  </a:lnTo>
                  <a:lnTo>
                    <a:pt x="347" y="102"/>
                  </a:lnTo>
                  <a:lnTo>
                    <a:pt x="347" y="98"/>
                  </a:lnTo>
                  <a:lnTo>
                    <a:pt x="350" y="93"/>
                  </a:lnTo>
                  <a:lnTo>
                    <a:pt x="350" y="93"/>
                  </a:lnTo>
                  <a:lnTo>
                    <a:pt x="372" y="67"/>
                  </a:lnTo>
                  <a:lnTo>
                    <a:pt x="372" y="67"/>
                  </a:lnTo>
                  <a:lnTo>
                    <a:pt x="375" y="62"/>
                  </a:lnTo>
                  <a:lnTo>
                    <a:pt x="376" y="59"/>
                  </a:lnTo>
                  <a:lnTo>
                    <a:pt x="378" y="53"/>
                  </a:lnTo>
                  <a:lnTo>
                    <a:pt x="378" y="53"/>
                  </a:lnTo>
                  <a:lnTo>
                    <a:pt x="369" y="49"/>
                  </a:lnTo>
                  <a:lnTo>
                    <a:pt x="369" y="49"/>
                  </a:lnTo>
                  <a:lnTo>
                    <a:pt x="363" y="46"/>
                  </a:lnTo>
                  <a:lnTo>
                    <a:pt x="361" y="42"/>
                  </a:lnTo>
                  <a:lnTo>
                    <a:pt x="360" y="33"/>
                  </a:lnTo>
                  <a:lnTo>
                    <a:pt x="360" y="33"/>
                  </a:lnTo>
                  <a:lnTo>
                    <a:pt x="358" y="21"/>
                  </a:lnTo>
                  <a:lnTo>
                    <a:pt x="357" y="16"/>
                  </a:lnTo>
                  <a:lnTo>
                    <a:pt x="354" y="12"/>
                  </a:lnTo>
                  <a:lnTo>
                    <a:pt x="354" y="12"/>
                  </a:lnTo>
                  <a:lnTo>
                    <a:pt x="350" y="8"/>
                  </a:lnTo>
                  <a:lnTo>
                    <a:pt x="344" y="3"/>
                  </a:lnTo>
                  <a:lnTo>
                    <a:pt x="336" y="2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326" y="6"/>
                  </a:lnTo>
                  <a:lnTo>
                    <a:pt x="318" y="13"/>
                  </a:lnTo>
                  <a:lnTo>
                    <a:pt x="318" y="13"/>
                  </a:lnTo>
                  <a:lnTo>
                    <a:pt x="315" y="16"/>
                  </a:lnTo>
                  <a:lnTo>
                    <a:pt x="311" y="19"/>
                  </a:lnTo>
                  <a:lnTo>
                    <a:pt x="307" y="22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3" y="25"/>
                  </a:lnTo>
                  <a:lnTo>
                    <a:pt x="289" y="27"/>
                  </a:lnTo>
                  <a:lnTo>
                    <a:pt x="287" y="30"/>
                  </a:lnTo>
                  <a:lnTo>
                    <a:pt x="287" y="30"/>
                  </a:lnTo>
                  <a:lnTo>
                    <a:pt x="286" y="33"/>
                  </a:lnTo>
                  <a:lnTo>
                    <a:pt x="281" y="34"/>
                  </a:lnTo>
                  <a:lnTo>
                    <a:pt x="277" y="34"/>
                  </a:lnTo>
                  <a:lnTo>
                    <a:pt x="271" y="34"/>
                  </a:lnTo>
                  <a:lnTo>
                    <a:pt x="271" y="34"/>
                  </a:lnTo>
                  <a:lnTo>
                    <a:pt x="265" y="33"/>
                  </a:lnTo>
                  <a:lnTo>
                    <a:pt x="259" y="28"/>
                  </a:lnTo>
                  <a:lnTo>
                    <a:pt x="255" y="25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49" y="24"/>
                  </a:lnTo>
                  <a:lnTo>
                    <a:pt x="247" y="27"/>
                  </a:lnTo>
                  <a:lnTo>
                    <a:pt x="247" y="36"/>
                  </a:lnTo>
                  <a:lnTo>
                    <a:pt x="250" y="55"/>
                  </a:lnTo>
                  <a:lnTo>
                    <a:pt x="250" y="55"/>
                  </a:lnTo>
                  <a:lnTo>
                    <a:pt x="253" y="61"/>
                  </a:lnTo>
                  <a:lnTo>
                    <a:pt x="256" y="65"/>
                  </a:lnTo>
                  <a:lnTo>
                    <a:pt x="258" y="6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58" y="74"/>
                  </a:lnTo>
                  <a:lnTo>
                    <a:pt x="256" y="76"/>
                  </a:lnTo>
                  <a:lnTo>
                    <a:pt x="250" y="77"/>
                  </a:lnTo>
                  <a:lnTo>
                    <a:pt x="246" y="80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38" y="88"/>
                  </a:lnTo>
                  <a:lnTo>
                    <a:pt x="238" y="92"/>
                  </a:lnTo>
                  <a:lnTo>
                    <a:pt x="238" y="96"/>
                  </a:lnTo>
                  <a:lnTo>
                    <a:pt x="236" y="99"/>
                  </a:lnTo>
                  <a:lnTo>
                    <a:pt x="236" y="99"/>
                  </a:lnTo>
                  <a:lnTo>
                    <a:pt x="231" y="104"/>
                  </a:lnTo>
                  <a:lnTo>
                    <a:pt x="224" y="110"/>
                  </a:lnTo>
                  <a:lnTo>
                    <a:pt x="224" y="110"/>
                  </a:lnTo>
                  <a:lnTo>
                    <a:pt x="216" y="113"/>
                  </a:lnTo>
                  <a:lnTo>
                    <a:pt x="210" y="117"/>
                  </a:lnTo>
                  <a:lnTo>
                    <a:pt x="210" y="117"/>
                  </a:lnTo>
                  <a:lnTo>
                    <a:pt x="209" y="120"/>
                  </a:lnTo>
                  <a:lnTo>
                    <a:pt x="207" y="126"/>
                  </a:lnTo>
                  <a:lnTo>
                    <a:pt x="206" y="133"/>
                  </a:lnTo>
                  <a:lnTo>
                    <a:pt x="206" y="133"/>
                  </a:lnTo>
                  <a:lnTo>
                    <a:pt x="201" y="139"/>
                  </a:lnTo>
                  <a:lnTo>
                    <a:pt x="200" y="142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57"/>
                  </a:lnTo>
                  <a:lnTo>
                    <a:pt x="200" y="173"/>
                  </a:lnTo>
                  <a:lnTo>
                    <a:pt x="200" y="173"/>
                  </a:lnTo>
                  <a:lnTo>
                    <a:pt x="200" y="176"/>
                  </a:lnTo>
                  <a:lnTo>
                    <a:pt x="199" y="176"/>
                  </a:lnTo>
                  <a:lnTo>
                    <a:pt x="194" y="176"/>
                  </a:lnTo>
                  <a:lnTo>
                    <a:pt x="190" y="173"/>
                  </a:lnTo>
                  <a:lnTo>
                    <a:pt x="185" y="170"/>
                  </a:lnTo>
                  <a:lnTo>
                    <a:pt x="185" y="170"/>
                  </a:lnTo>
                  <a:lnTo>
                    <a:pt x="182" y="167"/>
                  </a:lnTo>
                  <a:lnTo>
                    <a:pt x="181" y="167"/>
                  </a:lnTo>
                  <a:lnTo>
                    <a:pt x="176" y="169"/>
                  </a:lnTo>
                  <a:lnTo>
                    <a:pt x="173" y="172"/>
                  </a:lnTo>
                  <a:lnTo>
                    <a:pt x="170" y="176"/>
                  </a:lnTo>
                  <a:lnTo>
                    <a:pt x="170" y="176"/>
                  </a:lnTo>
                  <a:lnTo>
                    <a:pt x="169" y="178"/>
                  </a:lnTo>
                  <a:lnTo>
                    <a:pt x="167" y="178"/>
                  </a:lnTo>
                  <a:lnTo>
                    <a:pt x="164" y="178"/>
                  </a:lnTo>
                  <a:lnTo>
                    <a:pt x="157" y="170"/>
                  </a:lnTo>
                  <a:lnTo>
                    <a:pt x="157" y="170"/>
                  </a:lnTo>
                  <a:lnTo>
                    <a:pt x="151" y="169"/>
                  </a:lnTo>
                  <a:lnTo>
                    <a:pt x="144" y="166"/>
                  </a:lnTo>
                  <a:lnTo>
                    <a:pt x="135" y="165"/>
                  </a:lnTo>
                  <a:lnTo>
                    <a:pt x="129" y="162"/>
                  </a:lnTo>
                  <a:lnTo>
                    <a:pt x="129" y="162"/>
                  </a:lnTo>
                  <a:lnTo>
                    <a:pt x="127" y="160"/>
                  </a:lnTo>
                  <a:lnTo>
                    <a:pt x="124" y="160"/>
                  </a:lnTo>
                  <a:lnTo>
                    <a:pt x="120" y="165"/>
                  </a:lnTo>
                  <a:lnTo>
                    <a:pt x="116" y="169"/>
                  </a:lnTo>
                  <a:lnTo>
                    <a:pt x="113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04" y="173"/>
                  </a:lnTo>
                  <a:lnTo>
                    <a:pt x="98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6" y="179"/>
                  </a:lnTo>
                  <a:lnTo>
                    <a:pt x="82" y="184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80" y="196"/>
                  </a:lnTo>
                  <a:lnTo>
                    <a:pt x="82" y="202"/>
                  </a:lnTo>
                  <a:lnTo>
                    <a:pt x="86" y="207"/>
                  </a:lnTo>
                  <a:lnTo>
                    <a:pt x="86" y="207"/>
                  </a:lnTo>
                  <a:lnTo>
                    <a:pt x="102" y="227"/>
                  </a:lnTo>
                  <a:lnTo>
                    <a:pt x="111" y="237"/>
                  </a:lnTo>
                  <a:lnTo>
                    <a:pt x="117" y="246"/>
                  </a:lnTo>
                  <a:lnTo>
                    <a:pt x="117" y="246"/>
                  </a:lnTo>
                  <a:lnTo>
                    <a:pt x="120" y="252"/>
                  </a:lnTo>
                  <a:lnTo>
                    <a:pt x="119" y="256"/>
                  </a:lnTo>
                  <a:lnTo>
                    <a:pt x="116" y="259"/>
                  </a:lnTo>
                  <a:lnTo>
                    <a:pt x="113" y="262"/>
                  </a:lnTo>
                  <a:lnTo>
                    <a:pt x="113" y="262"/>
                  </a:lnTo>
                  <a:lnTo>
                    <a:pt x="101" y="264"/>
                  </a:lnTo>
                  <a:lnTo>
                    <a:pt x="87" y="271"/>
                  </a:lnTo>
                  <a:lnTo>
                    <a:pt x="87" y="271"/>
                  </a:lnTo>
                  <a:lnTo>
                    <a:pt x="82" y="273"/>
                  </a:lnTo>
                  <a:lnTo>
                    <a:pt x="77" y="273"/>
                  </a:lnTo>
                  <a:lnTo>
                    <a:pt x="74" y="270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5" y="262"/>
                  </a:lnTo>
                  <a:lnTo>
                    <a:pt x="61" y="261"/>
                  </a:lnTo>
                  <a:lnTo>
                    <a:pt x="55" y="259"/>
                  </a:lnTo>
                  <a:lnTo>
                    <a:pt x="49" y="256"/>
                  </a:lnTo>
                  <a:lnTo>
                    <a:pt x="49" y="256"/>
                  </a:lnTo>
                  <a:lnTo>
                    <a:pt x="45" y="253"/>
                  </a:lnTo>
                  <a:lnTo>
                    <a:pt x="45" y="249"/>
                  </a:lnTo>
                  <a:lnTo>
                    <a:pt x="45" y="246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37" y="246"/>
                  </a:lnTo>
                  <a:lnTo>
                    <a:pt x="34" y="249"/>
                  </a:lnTo>
                  <a:lnTo>
                    <a:pt x="28" y="256"/>
                  </a:lnTo>
                  <a:lnTo>
                    <a:pt x="28" y="256"/>
                  </a:lnTo>
                  <a:lnTo>
                    <a:pt x="21" y="264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3" y="276"/>
                  </a:lnTo>
                  <a:lnTo>
                    <a:pt x="10" y="277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2" y="290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9" y="301"/>
                  </a:lnTo>
                  <a:lnTo>
                    <a:pt x="9" y="304"/>
                  </a:lnTo>
                  <a:lnTo>
                    <a:pt x="7" y="307"/>
                  </a:lnTo>
                  <a:lnTo>
                    <a:pt x="5" y="311"/>
                  </a:lnTo>
                  <a:lnTo>
                    <a:pt x="5" y="311"/>
                  </a:lnTo>
                  <a:lnTo>
                    <a:pt x="3" y="316"/>
                  </a:lnTo>
                  <a:lnTo>
                    <a:pt x="5" y="319"/>
                  </a:lnTo>
                  <a:lnTo>
                    <a:pt x="13" y="324"/>
                  </a:lnTo>
                  <a:lnTo>
                    <a:pt x="13" y="324"/>
                  </a:lnTo>
                  <a:lnTo>
                    <a:pt x="18" y="326"/>
                  </a:lnTo>
                  <a:lnTo>
                    <a:pt x="24" y="326"/>
                  </a:lnTo>
                  <a:lnTo>
                    <a:pt x="40" y="323"/>
                  </a:lnTo>
                  <a:lnTo>
                    <a:pt x="40" y="323"/>
                  </a:lnTo>
                  <a:lnTo>
                    <a:pt x="49" y="323"/>
                  </a:lnTo>
                  <a:lnTo>
                    <a:pt x="52" y="324"/>
                  </a:lnTo>
                  <a:lnTo>
                    <a:pt x="55" y="326"/>
                  </a:lnTo>
                  <a:lnTo>
                    <a:pt x="55" y="330"/>
                  </a:lnTo>
                  <a:lnTo>
                    <a:pt x="55" y="3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3" name="Freeform 72">
              <a:extLst>
                <a:ext uri="{FF2B5EF4-FFF2-40B4-BE49-F238E27FC236}">
                  <a16:creationId xmlns:a16="http://schemas.microsoft.com/office/drawing/2014/main" id="{7E6C931A-5848-4A4D-A92D-74E18F5E1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0875" y="7132638"/>
              <a:ext cx="490538" cy="831850"/>
            </a:xfrm>
            <a:custGeom>
              <a:avLst/>
              <a:gdLst>
                <a:gd name="T0" fmla="*/ 179 w 309"/>
                <a:gd name="T1" fmla="*/ 10 h 524"/>
                <a:gd name="T2" fmla="*/ 143 w 309"/>
                <a:gd name="T3" fmla="*/ 9 h 524"/>
                <a:gd name="T4" fmla="*/ 143 w 309"/>
                <a:gd name="T5" fmla="*/ 0 h 524"/>
                <a:gd name="T6" fmla="*/ 128 w 309"/>
                <a:gd name="T7" fmla="*/ 21 h 524"/>
                <a:gd name="T8" fmla="*/ 111 w 309"/>
                <a:gd name="T9" fmla="*/ 18 h 524"/>
                <a:gd name="T10" fmla="*/ 99 w 309"/>
                <a:gd name="T11" fmla="*/ 29 h 524"/>
                <a:gd name="T12" fmla="*/ 72 w 309"/>
                <a:gd name="T13" fmla="*/ 27 h 524"/>
                <a:gd name="T14" fmla="*/ 54 w 309"/>
                <a:gd name="T15" fmla="*/ 37 h 524"/>
                <a:gd name="T16" fmla="*/ 23 w 309"/>
                <a:gd name="T17" fmla="*/ 56 h 524"/>
                <a:gd name="T18" fmla="*/ 14 w 309"/>
                <a:gd name="T19" fmla="*/ 93 h 524"/>
                <a:gd name="T20" fmla="*/ 11 w 309"/>
                <a:gd name="T21" fmla="*/ 112 h 524"/>
                <a:gd name="T22" fmla="*/ 19 w 309"/>
                <a:gd name="T23" fmla="*/ 130 h 524"/>
                <a:gd name="T24" fmla="*/ 10 w 309"/>
                <a:gd name="T25" fmla="*/ 158 h 524"/>
                <a:gd name="T26" fmla="*/ 20 w 309"/>
                <a:gd name="T27" fmla="*/ 188 h 524"/>
                <a:gd name="T28" fmla="*/ 8 w 309"/>
                <a:gd name="T29" fmla="*/ 197 h 524"/>
                <a:gd name="T30" fmla="*/ 7 w 309"/>
                <a:gd name="T31" fmla="*/ 225 h 524"/>
                <a:gd name="T32" fmla="*/ 25 w 309"/>
                <a:gd name="T33" fmla="*/ 250 h 524"/>
                <a:gd name="T34" fmla="*/ 37 w 309"/>
                <a:gd name="T35" fmla="*/ 263 h 524"/>
                <a:gd name="T36" fmla="*/ 69 w 309"/>
                <a:gd name="T37" fmla="*/ 308 h 524"/>
                <a:gd name="T38" fmla="*/ 90 w 309"/>
                <a:gd name="T39" fmla="*/ 349 h 524"/>
                <a:gd name="T40" fmla="*/ 91 w 309"/>
                <a:gd name="T41" fmla="*/ 373 h 524"/>
                <a:gd name="T42" fmla="*/ 85 w 309"/>
                <a:gd name="T43" fmla="*/ 385 h 524"/>
                <a:gd name="T44" fmla="*/ 100 w 309"/>
                <a:gd name="T45" fmla="*/ 420 h 524"/>
                <a:gd name="T46" fmla="*/ 93 w 309"/>
                <a:gd name="T47" fmla="*/ 440 h 524"/>
                <a:gd name="T48" fmla="*/ 99 w 309"/>
                <a:gd name="T49" fmla="*/ 453 h 524"/>
                <a:gd name="T50" fmla="*/ 128 w 309"/>
                <a:gd name="T51" fmla="*/ 474 h 524"/>
                <a:gd name="T52" fmla="*/ 149 w 309"/>
                <a:gd name="T53" fmla="*/ 475 h 524"/>
                <a:gd name="T54" fmla="*/ 168 w 309"/>
                <a:gd name="T55" fmla="*/ 486 h 524"/>
                <a:gd name="T56" fmla="*/ 177 w 309"/>
                <a:gd name="T57" fmla="*/ 511 h 524"/>
                <a:gd name="T58" fmla="*/ 195 w 309"/>
                <a:gd name="T59" fmla="*/ 515 h 524"/>
                <a:gd name="T60" fmla="*/ 225 w 309"/>
                <a:gd name="T61" fmla="*/ 483 h 524"/>
                <a:gd name="T62" fmla="*/ 235 w 309"/>
                <a:gd name="T63" fmla="*/ 462 h 524"/>
                <a:gd name="T64" fmla="*/ 238 w 309"/>
                <a:gd name="T65" fmla="*/ 443 h 524"/>
                <a:gd name="T66" fmla="*/ 228 w 309"/>
                <a:gd name="T67" fmla="*/ 440 h 524"/>
                <a:gd name="T68" fmla="*/ 242 w 309"/>
                <a:gd name="T69" fmla="*/ 419 h 524"/>
                <a:gd name="T70" fmla="*/ 229 w 309"/>
                <a:gd name="T71" fmla="*/ 394 h 524"/>
                <a:gd name="T72" fmla="*/ 239 w 309"/>
                <a:gd name="T73" fmla="*/ 370 h 524"/>
                <a:gd name="T74" fmla="*/ 265 w 309"/>
                <a:gd name="T75" fmla="*/ 348 h 524"/>
                <a:gd name="T76" fmla="*/ 271 w 309"/>
                <a:gd name="T77" fmla="*/ 308 h 524"/>
                <a:gd name="T78" fmla="*/ 265 w 309"/>
                <a:gd name="T79" fmla="*/ 298 h 524"/>
                <a:gd name="T80" fmla="*/ 250 w 309"/>
                <a:gd name="T81" fmla="*/ 286 h 524"/>
                <a:gd name="T82" fmla="*/ 238 w 309"/>
                <a:gd name="T83" fmla="*/ 290 h 524"/>
                <a:gd name="T84" fmla="*/ 220 w 309"/>
                <a:gd name="T85" fmla="*/ 272 h 524"/>
                <a:gd name="T86" fmla="*/ 236 w 309"/>
                <a:gd name="T87" fmla="*/ 265 h 524"/>
                <a:gd name="T88" fmla="*/ 254 w 309"/>
                <a:gd name="T89" fmla="*/ 218 h 524"/>
                <a:gd name="T90" fmla="*/ 244 w 309"/>
                <a:gd name="T91" fmla="*/ 185 h 524"/>
                <a:gd name="T92" fmla="*/ 250 w 309"/>
                <a:gd name="T93" fmla="*/ 161 h 524"/>
                <a:gd name="T94" fmla="*/ 296 w 309"/>
                <a:gd name="T95" fmla="*/ 133 h 524"/>
                <a:gd name="T96" fmla="*/ 308 w 309"/>
                <a:gd name="T97" fmla="*/ 111 h 524"/>
                <a:gd name="T98" fmla="*/ 279 w 309"/>
                <a:gd name="T99" fmla="*/ 52 h 524"/>
                <a:gd name="T100" fmla="*/ 287 w 309"/>
                <a:gd name="T101" fmla="*/ 35 h 524"/>
                <a:gd name="T102" fmla="*/ 287 w 309"/>
                <a:gd name="T103" fmla="*/ 16 h 524"/>
                <a:gd name="T104" fmla="*/ 259 w 309"/>
                <a:gd name="T105" fmla="*/ 18 h 524"/>
                <a:gd name="T106" fmla="*/ 242 w 309"/>
                <a:gd name="T107" fmla="*/ 15 h 524"/>
                <a:gd name="T108" fmla="*/ 229 w 309"/>
                <a:gd name="T109" fmla="*/ 24 h 524"/>
                <a:gd name="T110" fmla="*/ 217 w 309"/>
                <a:gd name="T111" fmla="*/ 13 h 524"/>
                <a:gd name="T112" fmla="*/ 182 w 309"/>
                <a:gd name="T113" fmla="*/ 21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9" h="524">
                  <a:moveTo>
                    <a:pt x="182" y="21"/>
                  </a:moveTo>
                  <a:lnTo>
                    <a:pt x="182" y="21"/>
                  </a:lnTo>
                  <a:lnTo>
                    <a:pt x="180" y="21"/>
                  </a:lnTo>
                  <a:lnTo>
                    <a:pt x="179" y="19"/>
                  </a:lnTo>
                  <a:lnTo>
                    <a:pt x="179" y="16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0" y="12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5" y="10"/>
                  </a:lnTo>
                  <a:lnTo>
                    <a:pt x="143" y="9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43" y="1"/>
                  </a:lnTo>
                  <a:lnTo>
                    <a:pt x="145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2" y="1"/>
                  </a:lnTo>
                  <a:lnTo>
                    <a:pt x="140" y="6"/>
                  </a:lnTo>
                  <a:lnTo>
                    <a:pt x="139" y="12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28" y="21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1" y="24"/>
                  </a:lnTo>
                  <a:lnTo>
                    <a:pt x="118" y="22"/>
                  </a:lnTo>
                  <a:lnTo>
                    <a:pt x="115" y="19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9" y="16"/>
                  </a:lnTo>
                  <a:lnTo>
                    <a:pt x="108" y="18"/>
                  </a:lnTo>
                  <a:lnTo>
                    <a:pt x="103" y="21"/>
                  </a:lnTo>
                  <a:lnTo>
                    <a:pt x="100" y="25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79" y="31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8" y="25"/>
                  </a:lnTo>
                  <a:lnTo>
                    <a:pt x="65" y="27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4" y="37"/>
                  </a:lnTo>
                  <a:lnTo>
                    <a:pt x="45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6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0" y="62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80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1" y="101"/>
                  </a:lnTo>
                  <a:lnTo>
                    <a:pt x="11" y="106"/>
                  </a:lnTo>
                  <a:lnTo>
                    <a:pt x="11" y="111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5"/>
                  </a:lnTo>
                  <a:lnTo>
                    <a:pt x="13" y="117"/>
                  </a:lnTo>
                  <a:lnTo>
                    <a:pt x="16" y="120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9" y="130"/>
                  </a:lnTo>
                  <a:lnTo>
                    <a:pt x="17" y="138"/>
                  </a:lnTo>
                  <a:lnTo>
                    <a:pt x="16" y="145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0" y="155"/>
                  </a:lnTo>
                  <a:lnTo>
                    <a:pt x="10" y="158"/>
                  </a:lnTo>
                  <a:lnTo>
                    <a:pt x="10" y="161"/>
                  </a:lnTo>
                  <a:lnTo>
                    <a:pt x="11" y="167"/>
                  </a:lnTo>
                  <a:lnTo>
                    <a:pt x="11" y="167"/>
                  </a:lnTo>
                  <a:lnTo>
                    <a:pt x="17" y="179"/>
                  </a:lnTo>
                  <a:lnTo>
                    <a:pt x="19" y="183"/>
                  </a:lnTo>
                  <a:lnTo>
                    <a:pt x="20" y="188"/>
                  </a:lnTo>
                  <a:lnTo>
                    <a:pt x="20" y="188"/>
                  </a:lnTo>
                  <a:lnTo>
                    <a:pt x="19" y="191"/>
                  </a:lnTo>
                  <a:lnTo>
                    <a:pt x="16" y="192"/>
                  </a:lnTo>
                  <a:lnTo>
                    <a:pt x="11" y="194"/>
                  </a:lnTo>
                  <a:lnTo>
                    <a:pt x="8" y="197"/>
                  </a:lnTo>
                  <a:lnTo>
                    <a:pt x="8" y="197"/>
                  </a:lnTo>
                  <a:lnTo>
                    <a:pt x="5" y="201"/>
                  </a:lnTo>
                  <a:lnTo>
                    <a:pt x="2" y="206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7" y="225"/>
                  </a:lnTo>
                  <a:lnTo>
                    <a:pt x="11" y="231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7" y="238"/>
                  </a:lnTo>
                  <a:lnTo>
                    <a:pt x="22" y="244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28" y="256"/>
                  </a:lnTo>
                  <a:lnTo>
                    <a:pt x="29" y="261"/>
                  </a:lnTo>
                  <a:lnTo>
                    <a:pt x="32" y="262"/>
                  </a:lnTo>
                  <a:lnTo>
                    <a:pt x="37" y="263"/>
                  </a:lnTo>
                  <a:lnTo>
                    <a:pt x="37" y="263"/>
                  </a:lnTo>
                  <a:lnTo>
                    <a:pt x="41" y="265"/>
                  </a:lnTo>
                  <a:lnTo>
                    <a:pt x="45" y="268"/>
                  </a:lnTo>
                  <a:lnTo>
                    <a:pt x="53" y="280"/>
                  </a:lnTo>
                  <a:lnTo>
                    <a:pt x="53" y="280"/>
                  </a:lnTo>
                  <a:lnTo>
                    <a:pt x="63" y="298"/>
                  </a:lnTo>
                  <a:lnTo>
                    <a:pt x="69" y="308"/>
                  </a:lnTo>
                  <a:lnTo>
                    <a:pt x="71" y="315"/>
                  </a:lnTo>
                  <a:lnTo>
                    <a:pt x="71" y="315"/>
                  </a:lnTo>
                  <a:lnTo>
                    <a:pt x="72" y="323"/>
                  </a:lnTo>
                  <a:lnTo>
                    <a:pt x="78" y="332"/>
                  </a:lnTo>
                  <a:lnTo>
                    <a:pt x="90" y="349"/>
                  </a:lnTo>
                  <a:lnTo>
                    <a:pt x="90" y="349"/>
                  </a:lnTo>
                  <a:lnTo>
                    <a:pt x="94" y="355"/>
                  </a:lnTo>
                  <a:lnTo>
                    <a:pt x="96" y="360"/>
                  </a:lnTo>
                  <a:lnTo>
                    <a:pt x="97" y="366"/>
                  </a:lnTo>
                  <a:lnTo>
                    <a:pt x="94" y="370"/>
                  </a:lnTo>
                  <a:lnTo>
                    <a:pt x="94" y="370"/>
                  </a:lnTo>
                  <a:lnTo>
                    <a:pt x="91" y="373"/>
                  </a:lnTo>
                  <a:lnTo>
                    <a:pt x="87" y="375"/>
                  </a:lnTo>
                  <a:lnTo>
                    <a:pt x="84" y="376"/>
                  </a:lnTo>
                  <a:lnTo>
                    <a:pt x="81" y="379"/>
                  </a:lnTo>
                  <a:lnTo>
                    <a:pt x="81" y="379"/>
                  </a:lnTo>
                  <a:lnTo>
                    <a:pt x="82" y="382"/>
                  </a:lnTo>
                  <a:lnTo>
                    <a:pt x="85" y="385"/>
                  </a:lnTo>
                  <a:lnTo>
                    <a:pt x="91" y="392"/>
                  </a:lnTo>
                  <a:lnTo>
                    <a:pt x="91" y="392"/>
                  </a:lnTo>
                  <a:lnTo>
                    <a:pt x="94" y="398"/>
                  </a:lnTo>
                  <a:lnTo>
                    <a:pt x="97" y="407"/>
                  </a:lnTo>
                  <a:lnTo>
                    <a:pt x="100" y="416"/>
                  </a:lnTo>
                  <a:lnTo>
                    <a:pt x="100" y="420"/>
                  </a:lnTo>
                  <a:lnTo>
                    <a:pt x="99" y="423"/>
                  </a:lnTo>
                  <a:lnTo>
                    <a:pt x="99" y="423"/>
                  </a:lnTo>
                  <a:lnTo>
                    <a:pt x="94" y="431"/>
                  </a:lnTo>
                  <a:lnTo>
                    <a:pt x="93" y="437"/>
                  </a:lnTo>
                  <a:lnTo>
                    <a:pt x="93" y="437"/>
                  </a:lnTo>
                  <a:lnTo>
                    <a:pt x="93" y="440"/>
                  </a:lnTo>
                  <a:lnTo>
                    <a:pt x="94" y="441"/>
                  </a:lnTo>
                  <a:lnTo>
                    <a:pt x="97" y="447"/>
                  </a:lnTo>
                  <a:lnTo>
                    <a:pt x="97" y="447"/>
                  </a:lnTo>
                  <a:lnTo>
                    <a:pt x="99" y="450"/>
                  </a:lnTo>
                  <a:lnTo>
                    <a:pt x="99" y="453"/>
                  </a:lnTo>
                  <a:lnTo>
                    <a:pt x="99" y="453"/>
                  </a:lnTo>
                  <a:lnTo>
                    <a:pt x="100" y="456"/>
                  </a:lnTo>
                  <a:lnTo>
                    <a:pt x="100" y="457"/>
                  </a:lnTo>
                  <a:lnTo>
                    <a:pt x="105" y="460"/>
                  </a:lnTo>
                  <a:lnTo>
                    <a:pt x="121" y="469"/>
                  </a:lnTo>
                  <a:lnTo>
                    <a:pt x="121" y="469"/>
                  </a:lnTo>
                  <a:lnTo>
                    <a:pt x="128" y="474"/>
                  </a:lnTo>
                  <a:lnTo>
                    <a:pt x="130" y="477"/>
                  </a:lnTo>
                  <a:lnTo>
                    <a:pt x="131" y="477"/>
                  </a:lnTo>
                  <a:lnTo>
                    <a:pt x="136" y="477"/>
                  </a:lnTo>
                  <a:lnTo>
                    <a:pt x="136" y="477"/>
                  </a:lnTo>
                  <a:lnTo>
                    <a:pt x="145" y="474"/>
                  </a:lnTo>
                  <a:lnTo>
                    <a:pt x="149" y="475"/>
                  </a:lnTo>
                  <a:lnTo>
                    <a:pt x="154" y="478"/>
                  </a:lnTo>
                  <a:lnTo>
                    <a:pt x="154" y="478"/>
                  </a:lnTo>
                  <a:lnTo>
                    <a:pt x="161" y="484"/>
                  </a:lnTo>
                  <a:lnTo>
                    <a:pt x="164" y="486"/>
                  </a:lnTo>
                  <a:lnTo>
                    <a:pt x="168" y="486"/>
                  </a:lnTo>
                  <a:lnTo>
                    <a:pt x="168" y="486"/>
                  </a:lnTo>
                  <a:lnTo>
                    <a:pt x="173" y="487"/>
                  </a:lnTo>
                  <a:lnTo>
                    <a:pt x="176" y="490"/>
                  </a:lnTo>
                  <a:lnTo>
                    <a:pt x="179" y="495"/>
                  </a:lnTo>
                  <a:lnTo>
                    <a:pt x="179" y="500"/>
                  </a:lnTo>
                  <a:lnTo>
                    <a:pt x="179" y="500"/>
                  </a:lnTo>
                  <a:lnTo>
                    <a:pt x="177" y="51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4" y="523"/>
                  </a:lnTo>
                  <a:lnTo>
                    <a:pt x="176" y="524"/>
                  </a:lnTo>
                  <a:lnTo>
                    <a:pt x="180" y="523"/>
                  </a:lnTo>
                  <a:lnTo>
                    <a:pt x="195" y="515"/>
                  </a:lnTo>
                  <a:lnTo>
                    <a:pt x="195" y="515"/>
                  </a:lnTo>
                  <a:lnTo>
                    <a:pt x="198" y="512"/>
                  </a:lnTo>
                  <a:lnTo>
                    <a:pt x="202" y="509"/>
                  </a:lnTo>
                  <a:lnTo>
                    <a:pt x="210" y="499"/>
                  </a:lnTo>
                  <a:lnTo>
                    <a:pt x="219" y="489"/>
                  </a:lnTo>
                  <a:lnTo>
                    <a:pt x="225" y="483"/>
                  </a:lnTo>
                  <a:lnTo>
                    <a:pt x="225" y="483"/>
                  </a:lnTo>
                  <a:lnTo>
                    <a:pt x="229" y="480"/>
                  </a:lnTo>
                  <a:lnTo>
                    <a:pt x="231" y="477"/>
                  </a:lnTo>
                  <a:lnTo>
                    <a:pt x="233" y="468"/>
                  </a:lnTo>
                  <a:lnTo>
                    <a:pt x="233" y="468"/>
                  </a:lnTo>
                  <a:lnTo>
                    <a:pt x="235" y="462"/>
                  </a:lnTo>
                  <a:lnTo>
                    <a:pt x="238" y="459"/>
                  </a:lnTo>
                  <a:lnTo>
                    <a:pt x="239" y="456"/>
                  </a:lnTo>
                  <a:lnTo>
                    <a:pt x="239" y="450"/>
                  </a:lnTo>
                  <a:lnTo>
                    <a:pt x="239" y="450"/>
                  </a:lnTo>
                  <a:lnTo>
                    <a:pt x="239" y="444"/>
                  </a:lnTo>
                  <a:lnTo>
                    <a:pt x="238" y="443"/>
                  </a:lnTo>
                  <a:lnTo>
                    <a:pt x="236" y="443"/>
                  </a:lnTo>
                  <a:lnTo>
                    <a:pt x="233" y="443"/>
                  </a:lnTo>
                  <a:lnTo>
                    <a:pt x="229" y="443"/>
                  </a:lnTo>
                  <a:lnTo>
                    <a:pt x="229" y="443"/>
                  </a:lnTo>
                  <a:lnTo>
                    <a:pt x="228" y="443"/>
                  </a:lnTo>
                  <a:lnTo>
                    <a:pt x="228" y="440"/>
                  </a:lnTo>
                  <a:lnTo>
                    <a:pt x="228" y="435"/>
                  </a:lnTo>
                  <a:lnTo>
                    <a:pt x="232" y="431"/>
                  </a:lnTo>
                  <a:lnTo>
                    <a:pt x="236" y="426"/>
                  </a:lnTo>
                  <a:lnTo>
                    <a:pt x="236" y="426"/>
                  </a:lnTo>
                  <a:lnTo>
                    <a:pt x="241" y="422"/>
                  </a:lnTo>
                  <a:lnTo>
                    <a:pt x="242" y="419"/>
                  </a:lnTo>
                  <a:lnTo>
                    <a:pt x="242" y="415"/>
                  </a:lnTo>
                  <a:lnTo>
                    <a:pt x="242" y="410"/>
                  </a:lnTo>
                  <a:lnTo>
                    <a:pt x="242" y="410"/>
                  </a:lnTo>
                  <a:lnTo>
                    <a:pt x="241" y="406"/>
                  </a:lnTo>
                  <a:lnTo>
                    <a:pt x="236" y="401"/>
                  </a:lnTo>
                  <a:lnTo>
                    <a:pt x="229" y="394"/>
                  </a:lnTo>
                  <a:lnTo>
                    <a:pt x="229" y="394"/>
                  </a:lnTo>
                  <a:lnTo>
                    <a:pt x="226" y="391"/>
                  </a:lnTo>
                  <a:lnTo>
                    <a:pt x="228" y="389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9" y="370"/>
                  </a:lnTo>
                  <a:lnTo>
                    <a:pt x="245" y="360"/>
                  </a:lnTo>
                  <a:lnTo>
                    <a:pt x="248" y="354"/>
                  </a:lnTo>
                  <a:lnTo>
                    <a:pt x="248" y="354"/>
                  </a:lnTo>
                  <a:lnTo>
                    <a:pt x="259" y="351"/>
                  </a:lnTo>
                  <a:lnTo>
                    <a:pt x="263" y="348"/>
                  </a:lnTo>
                  <a:lnTo>
                    <a:pt x="265" y="348"/>
                  </a:lnTo>
                  <a:lnTo>
                    <a:pt x="265" y="346"/>
                  </a:lnTo>
                  <a:lnTo>
                    <a:pt x="265" y="346"/>
                  </a:lnTo>
                  <a:lnTo>
                    <a:pt x="265" y="340"/>
                  </a:lnTo>
                  <a:lnTo>
                    <a:pt x="265" y="329"/>
                  </a:lnTo>
                  <a:lnTo>
                    <a:pt x="268" y="317"/>
                  </a:lnTo>
                  <a:lnTo>
                    <a:pt x="271" y="308"/>
                  </a:lnTo>
                  <a:lnTo>
                    <a:pt x="271" y="308"/>
                  </a:lnTo>
                  <a:lnTo>
                    <a:pt x="272" y="305"/>
                  </a:lnTo>
                  <a:lnTo>
                    <a:pt x="272" y="302"/>
                  </a:lnTo>
                  <a:lnTo>
                    <a:pt x="271" y="300"/>
                  </a:lnTo>
                  <a:lnTo>
                    <a:pt x="269" y="299"/>
                  </a:lnTo>
                  <a:lnTo>
                    <a:pt x="265" y="298"/>
                  </a:lnTo>
                  <a:lnTo>
                    <a:pt x="260" y="296"/>
                  </a:lnTo>
                  <a:lnTo>
                    <a:pt x="260" y="296"/>
                  </a:lnTo>
                  <a:lnTo>
                    <a:pt x="257" y="295"/>
                  </a:lnTo>
                  <a:lnTo>
                    <a:pt x="254" y="292"/>
                  </a:lnTo>
                  <a:lnTo>
                    <a:pt x="250" y="286"/>
                  </a:lnTo>
                  <a:lnTo>
                    <a:pt x="250" y="286"/>
                  </a:lnTo>
                  <a:lnTo>
                    <a:pt x="248" y="284"/>
                  </a:lnTo>
                  <a:lnTo>
                    <a:pt x="247" y="284"/>
                  </a:lnTo>
                  <a:lnTo>
                    <a:pt x="244" y="286"/>
                  </a:lnTo>
                  <a:lnTo>
                    <a:pt x="241" y="289"/>
                  </a:lnTo>
                  <a:lnTo>
                    <a:pt x="238" y="290"/>
                  </a:lnTo>
                  <a:lnTo>
                    <a:pt x="238" y="290"/>
                  </a:lnTo>
                  <a:lnTo>
                    <a:pt x="232" y="287"/>
                  </a:lnTo>
                  <a:lnTo>
                    <a:pt x="228" y="283"/>
                  </a:lnTo>
                  <a:lnTo>
                    <a:pt x="222" y="278"/>
                  </a:lnTo>
                  <a:lnTo>
                    <a:pt x="220" y="274"/>
                  </a:lnTo>
                  <a:lnTo>
                    <a:pt x="220" y="274"/>
                  </a:lnTo>
                  <a:lnTo>
                    <a:pt x="220" y="272"/>
                  </a:lnTo>
                  <a:lnTo>
                    <a:pt x="222" y="271"/>
                  </a:lnTo>
                  <a:lnTo>
                    <a:pt x="226" y="271"/>
                  </a:lnTo>
                  <a:lnTo>
                    <a:pt x="232" y="269"/>
                  </a:lnTo>
                  <a:lnTo>
                    <a:pt x="233" y="266"/>
                  </a:lnTo>
                  <a:lnTo>
                    <a:pt x="236" y="265"/>
                  </a:lnTo>
                  <a:lnTo>
                    <a:pt x="236" y="265"/>
                  </a:lnTo>
                  <a:lnTo>
                    <a:pt x="248" y="243"/>
                  </a:lnTo>
                  <a:lnTo>
                    <a:pt x="254" y="231"/>
                  </a:lnTo>
                  <a:lnTo>
                    <a:pt x="257" y="223"/>
                  </a:lnTo>
                  <a:lnTo>
                    <a:pt x="257" y="223"/>
                  </a:lnTo>
                  <a:lnTo>
                    <a:pt x="256" y="221"/>
                  </a:lnTo>
                  <a:lnTo>
                    <a:pt x="254" y="218"/>
                  </a:lnTo>
                  <a:lnTo>
                    <a:pt x="247" y="201"/>
                  </a:lnTo>
                  <a:lnTo>
                    <a:pt x="247" y="201"/>
                  </a:lnTo>
                  <a:lnTo>
                    <a:pt x="244" y="197"/>
                  </a:lnTo>
                  <a:lnTo>
                    <a:pt x="242" y="192"/>
                  </a:lnTo>
                  <a:lnTo>
                    <a:pt x="242" y="188"/>
                  </a:lnTo>
                  <a:lnTo>
                    <a:pt x="244" y="185"/>
                  </a:lnTo>
                  <a:lnTo>
                    <a:pt x="247" y="178"/>
                  </a:lnTo>
                  <a:lnTo>
                    <a:pt x="247" y="175"/>
                  </a:lnTo>
                  <a:lnTo>
                    <a:pt x="248" y="170"/>
                  </a:lnTo>
                  <a:lnTo>
                    <a:pt x="248" y="170"/>
                  </a:lnTo>
                  <a:lnTo>
                    <a:pt x="248" y="166"/>
                  </a:lnTo>
                  <a:lnTo>
                    <a:pt x="250" y="161"/>
                  </a:lnTo>
                  <a:lnTo>
                    <a:pt x="253" y="158"/>
                  </a:lnTo>
                  <a:lnTo>
                    <a:pt x="256" y="155"/>
                  </a:lnTo>
                  <a:lnTo>
                    <a:pt x="268" y="148"/>
                  </a:lnTo>
                  <a:lnTo>
                    <a:pt x="282" y="141"/>
                  </a:lnTo>
                  <a:lnTo>
                    <a:pt x="282" y="141"/>
                  </a:lnTo>
                  <a:lnTo>
                    <a:pt x="296" y="133"/>
                  </a:lnTo>
                  <a:lnTo>
                    <a:pt x="305" y="126"/>
                  </a:lnTo>
                  <a:lnTo>
                    <a:pt x="306" y="123"/>
                  </a:lnTo>
                  <a:lnTo>
                    <a:pt x="308" y="120"/>
                  </a:lnTo>
                  <a:lnTo>
                    <a:pt x="309" y="115"/>
                  </a:lnTo>
                  <a:lnTo>
                    <a:pt x="308" y="111"/>
                  </a:lnTo>
                  <a:lnTo>
                    <a:pt x="308" y="111"/>
                  </a:lnTo>
                  <a:lnTo>
                    <a:pt x="306" y="101"/>
                  </a:lnTo>
                  <a:lnTo>
                    <a:pt x="302" y="87"/>
                  </a:lnTo>
                  <a:lnTo>
                    <a:pt x="296" y="7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79" y="52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5" y="37"/>
                  </a:lnTo>
                  <a:lnTo>
                    <a:pt x="287" y="35"/>
                  </a:lnTo>
                  <a:lnTo>
                    <a:pt x="287" y="35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25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79" y="15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66" y="15"/>
                  </a:lnTo>
                  <a:lnTo>
                    <a:pt x="263" y="16"/>
                  </a:lnTo>
                  <a:lnTo>
                    <a:pt x="259" y="18"/>
                  </a:lnTo>
                  <a:lnTo>
                    <a:pt x="254" y="19"/>
                  </a:lnTo>
                  <a:lnTo>
                    <a:pt x="254" y="19"/>
                  </a:lnTo>
                  <a:lnTo>
                    <a:pt x="250" y="18"/>
                  </a:lnTo>
                  <a:lnTo>
                    <a:pt x="248" y="16"/>
                  </a:lnTo>
                  <a:lnTo>
                    <a:pt x="247" y="15"/>
                  </a:lnTo>
                  <a:lnTo>
                    <a:pt x="242" y="15"/>
                  </a:lnTo>
                  <a:lnTo>
                    <a:pt x="242" y="15"/>
                  </a:lnTo>
                  <a:lnTo>
                    <a:pt x="239" y="16"/>
                  </a:lnTo>
                  <a:lnTo>
                    <a:pt x="236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29" y="24"/>
                  </a:lnTo>
                  <a:lnTo>
                    <a:pt x="226" y="22"/>
                  </a:lnTo>
                  <a:lnTo>
                    <a:pt x="223" y="19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19" y="15"/>
                  </a:lnTo>
                  <a:lnTo>
                    <a:pt x="217" y="13"/>
                  </a:lnTo>
                  <a:lnTo>
                    <a:pt x="213" y="13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192" y="19"/>
                  </a:lnTo>
                  <a:lnTo>
                    <a:pt x="188" y="21"/>
                  </a:lnTo>
                  <a:lnTo>
                    <a:pt x="182" y="21"/>
                  </a:lnTo>
                  <a:lnTo>
                    <a:pt x="18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4" name="Freeform 73">
              <a:extLst>
                <a:ext uri="{FF2B5EF4-FFF2-40B4-BE49-F238E27FC236}">
                  <a16:creationId xmlns:a16="http://schemas.microsoft.com/office/drawing/2014/main" id="{B59D1870-F1A1-B441-B834-27711AA9F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6184900"/>
              <a:ext cx="325438" cy="255587"/>
            </a:xfrm>
            <a:custGeom>
              <a:avLst/>
              <a:gdLst>
                <a:gd name="T0" fmla="*/ 128 w 205"/>
                <a:gd name="T1" fmla="*/ 41 h 161"/>
                <a:gd name="T2" fmla="*/ 115 w 205"/>
                <a:gd name="T3" fmla="*/ 41 h 161"/>
                <a:gd name="T4" fmla="*/ 105 w 205"/>
                <a:gd name="T5" fmla="*/ 37 h 161"/>
                <a:gd name="T6" fmla="*/ 102 w 205"/>
                <a:gd name="T7" fmla="*/ 34 h 161"/>
                <a:gd name="T8" fmla="*/ 100 w 205"/>
                <a:gd name="T9" fmla="*/ 25 h 161"/>
                <a:gd name="T10" fmla="*/ 100 w 205"/>
                <a:gd name="T11" fmla="*/ 19 h 161"/>
                <a:gd name="T12" fmla="*/ 93 w 205"/>
                <a:gd name="T13" fmla="*/ 12 h 161"/>
                <a:gd name="T14" fmla="*/ 84 w 205"/>
                <a:gd name="T15" fmla="*/ 7 h 161"/>
                <a:gd name="T16" fmla="*/ 80 w 205"/>
                <a:gd name="T17" fmla="*/ 7 h 161"/>
                <a:gd name="T18" fmla="*/ 72 w 205"/>
                <a:gd name="T19" fmla="*/ 13 h 161"/>
                <a:gd name="T20" fmla="*/ 68 w 205"/>
                <a:gd name="T21" fmla="*/ 15 h 161"/>
                <a:gd name="T22" fmla="*/ 53 w 205"/>
                <a:gd name="T23" fmla="*/ 13 h 161"/>
                <a:gd name="T24" fmla="*/ 49 w 205"/>
                <a:gd name="T25" fmla="*/ 15 h 161"/>
                <a:gd name="T26" fmla="*/ 37 w 205"/>
                <a:gd name="T27" fmla="*/ 19 h 161"/>
                <a:gd name="T28" fmla="*/ 31 w 205"/>
                <a:gd name="T29" fmla="*/ 18 h 161"/>
                <a:gd name="T30" fmla="*/ 25 w 205"/>
                <a:gd name="T31" fmla="*/ 9 h 161"/>
                <a:gd name="T32" fmla="*/ 23 w 205"/>
                <a:gd name="T33" fmla="*/ 1 h 161"/>
                <a:gd name="T34" fmla="*/ 19 w 205"/>
                <a:gd name="T35" fmla="*/ 0 h 161"/>
                <a:gd name="T36" fmla="*/ 0 w 205"/>
                <a:gd name="T37" fmla="*/ 1 h 161"/>
                <a:gd name="T38" fmla="*/ 1 w 205"/>
                <a:gd name="T39" fmla="*/ 12 h 161"/>
                <a:gd name="T40" fmla="*/ 10 w 205"/>
                <a:gd name="T41" fmla="*/ 21 h 161"/>
                <a:gd name="T42" fmla="*/ 32 w 205"/>
                <a:gd name="T43" fmla="*/ 49 h 161"/>
                <a:gd name="T44" fmla="*/ 40 w 205"/>
                <a:gd name="T45" fmla="*/ 64 h 161"/>
                <a:gd name="T46" fmla="*/ 41 w 205"/>
                <a:gd name="T47" fmla="*/ 73 h 161"/>
                <a:gd name="T48" fmla="*/ 46 w 205"/>
                <a:gd name="T49" fmla="*/ 99 h 161"/>
                <a:gd name="T50" fmla="*/ 50 w 205"/>
                <a:gd name="T51" fmla="*/ 117 h 161"/>
                <a:gd name="T52" fmla="*/ 60 w 205"/>
                <a:gd name="T53" fmla="*/ 133 h 161"/>
                <a:gd name="T54" fmla="*/ 90 w 205"/>
                <a:gd name="T55" fmla="*/ 161 h 161"/>
                <a:gd name="T56" fmla="*/ 100 w 205"/>
                <a:gd name="T57" fmla="*/ 158 h 161"/>
                <a:gd name="T58" fmla="*/ 111 w 205"/>
                <a:gd name="T59" fmla="*/ 155 h 161"/>
                <a:gd name="T60" fmla="*/ 115 w 205"/>
                <a:gd name="T61" fmla="*/ 150 h 161"/>
                <a:gd name="T62" fmla="*/ 124 w 205"/>
                <a:gd name="T63" fmla="*/ 139 h 161"/>
                <a:gd name="T64" fmla="*/ 128 w 205"/>
                <a:gd name="T65" fmla="*/ 138 h 161"/>
                <a:gd name="T66" fmla="*/ 142 w 205"/>
                <a:gd name="T67" fmla="*/ 138 h 161"/>
                <a:gd name="T68" fmla="*/ 160 w 205"/>
                <a:gd name="T69" fmla="*/ 142 h 161"/>
                <a:gd name="T70" fmla="*/ 170 w 205"/>
                <a:gd name="T71" fmla="*/ 142 h 161"/>
                <a:gd name="T72" fmla="*/ 174 w 205"/>
                <a:gd name="T73" fmla="*/ 139 h 161"/>
                <a:gd name="T74" fmla="*/ 182 w 205"/>
                <a:gd name="T75" fmla="*/ 135 h 161"/>
                <a:gd name="T76" fmla="*/ 185 w 205"/>
                <a:gd name="T77" fmla="*/ 132 h 161"/>
                <a:gd name="T78" fmla="*/ 180 w 205"/>
                <a:gd name="T79" fmla="*/ 120 h 161"/>
                <a:gd name="T80" fmla="*/ 174 w 205"/>
                <a:gd name="T81" fmla="*/ 117 h 161"/>
                <a:gd name="T82" fmla="*/ 173 w 205"/>
                <a:gd name="T83" fmla="*/ 113 h 161"/>
                <a:gd name="T84" fmla="*/ 176 w 205"/>
                <a:gd name="T85" fmla="*/ 107 h 161"/>
                <a:gd name="T86" fmla="*/ 191 w 205"/>
                <a:gd name="T87" fmla="*/ 101 h 161"/>
                <a:gd name="T88" fmla="*/ 198 w 205"/>
                <a:gd name="T89" fmla="*/ 101 h 161"/>
                <a:gd name="T90" fmla="*/ 204 w 205"/>
                <a:gd name="T91" fmla="*/ 95 h 161"/>
                <a:gd name="T92" fmla="*/ 205 w 205"/>
                <a:gd name="T93" fmla="*/ 92 h 161"/>
                <a:gd name="T94" fmla="*/ 200 w 205"/>
                <a:gd name="T95" fmla="*/ 81 h 161"/>
                <a:gd name="T96" fmla="*/ 188 w 205"/>
                <a:gd name="T97" fmla="*/ 68 h 161"/>
                <a:gd name="T98" fmla="*/ 180 w 205"/>
                <a:gd name="T99" fmla="*/ 58 h 161"/>
                <a:gd name="T100" fmla="*/ 180 w 205"/>
                <a:gd name="T101" fmla="*/ 56 h 161"/>
                <a:gd name="T102" fmla="*/ 185 w 205"/>
                <a:gd name="T103" fmla="*/ 47 h 161"/>
                <a:gd name="T104" fmla="*/ 167 w 205"/>
                <a:gd name="T105" fmla="*/ 24 h 161"/>
                <a:gd name="T106" fmla="*/ 164 w 205"/>
                <a:gd name="T107" fmla="*/ 25 h 161"/>
                <a:gd name="T108" fmla="*/ 163 w 205"/>
                <a:gd name="T109" fmla="*/ 27 h 161"/>
                <a:gd name="T110" fmla="*/ 146 w 205"/>
                <a:gd name="T111" fmla="*/ 28 h 161"/>
                <a:gd name="T112" fmla="*/ 142 w 205"/>
                <a:gd name="T113" fmla="*/ 28 h 161"/>
                <a:gd name="T114" fmla="*/ 136 w 205"/>
                <a:gd name="T115" fmla="*/ 36 h 161"/>
                <a:gd name="T116" fmla="*/ 128 w 205"/>
                <a:gd name="T117" fmla="*/ 4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5" h="161">
                  <a:moveTo>
                    <a:pt x="128" y="41"/>
                  </a:moveTo>
                  <a:lnTo>
                    <a:pt x="128" y="41"/>
                  </a:lnTo>
                  <a:lnTo>
                    <a:pt x="121" y="43"/>
                  </a:lnTo>
                  <a:lnTo>
                    <a:pt x="115" y="4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2" y="37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100" y="25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7" y="15"/>
                  </a:lnTo>
                  <a:lnTo>
                    <a:pt x="93" y="12"/>
                  </a:lnTo>
                  <a:lnTo>
                    <a:pt x="87" y="9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0" y="7"/>
                  </a:lnTo>
                  <a:lnTo>
                    <a:pt x="77" y="10"/>
                  </a:lnTo>
                  <a:lnTo>
                    <a:pt x="72" y="13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9" y="13"/>
                  </a:lnTo>
                  <a:lnTo>
                    <a:pt x="53" y="13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1" y="19"/>
                  </a:lnTo>
                  <a:lnTo>
                    <a:pt x="37" y="19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6" y="13"/>
                  </a:lnTo>
                  <a:lnTo>
                    <a:pt x="25" y="9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0" y="21"/>
                  </a:lnTo>
                  <a:lnTo>
                    <a:pt x="20" y="33"/>
                  </a:lnTo>
                  <a:lnTo>
                    <a:pt x="32" y="49"/>
                  </a:lnTo>
                  <a:lnTo>
                    <a:pt x="37" y="56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73"/>
                  </a:lnTo>
                  <a:lnTo>
                    <a:pt x="43" y="83"/>
                  </a:lnTo>
                  <a:lnTo>
                    <a:pt x="46" y="99"/>
                  </a:lnTo>
                  <a:lnTo>
                    <a:pt x="47" y="108"/>
                  </a:lnTo>
                  <a:lnTo>
                    <a:pt x="50" y="117"/>
                  </a:lnTo>
                  <a:lnTo>
                    <a:pt x="54" y="124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90" y="161"/>
                  </a:lnTo>
                  <a:lnTo>
                    <a:pt x="90" y="161"/>
                  </a:lnTo>
                  <a:lnTo>
                    <a:pt x="100" y="158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4" y="153"/>
                  </a:lnTo>
                  <a:lnTo>
                    <a:pt x="115" y="150"/>
                  </a:lnTo>
                  <a:lnTo>
                    <a:pt x="120" y="145"/>
                  </a:lnTo>
                  <a:lnTo>
                    <a:pt x="124" y="139"/>
                  </a:lnTo>
                  <a:lnTo>
                    <a:pt x="124" y="139"/>
                  </a:lnTo>
                  <a:lnTo>
                    <a:pt x="128" y="138"/>
                  </a:lnTo>
                  <a:lnTo>
                    <a:pt x="131" y="136"/>
                  </a:lnTo>
                  <a:lnTo>
                    <a:pt x="142" y="138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6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4" y="139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3" y="133"/>
                  </a:lnTo>
                  <a:lnTo>
                    <a:pt x="185" y="132"/>
                  </a:lnTo>
                  <a:lnTo>
                    <a:pt x="183" y="126"/>
                  </a:lnTo>
                  <a:lnTo>
                    <a:pt x="180" y="120"/>
                  </a:lnTo>
                  <a:lnTo>
                    <a:pt x="174" y="117"/>
                  </a:lnTo>
                  <a:lnTo>
                    <a:pt x="174" y="117"/>
                  </a:lnTo>
                  <a:lnTo>
                    <a:pt x="173" y="114"/>
                  </a:lnTo>
                  <a:lnTo>
                    <a:pt x="173" y="113"/>
                  </a:lnTo>
                  <a:lnTo>
                    <a:pt x="174" y="110"/>
                  </a:lnTo>
                  <a:lnTo>
                    <a:pt x="176" y="107"/>
                  </a:lnTo>
                  <a:lnTo>
                    <a:pt x="182" y="104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8" y="101"/>
                  </a:lnTo>
                  <a:lnTo>
                    <a:pt x="203" y="98"/>
                  </a:lnTo>
                  <a:lnTo>
                    <a:pt x="204" y="95"/>
                  </a:lnTo>
                  <a:lnTo>
                    <a:pt x="205" y="92"/>
                  </a:lnTo>
                  <a:lnTo>
                    <a:pt x="205" y="92"/>
                  </a:lnTo>
                  <a:lnTo>
                    <a:pt x="204" y="87"/>
                  </a:lnTo>
                  <a:lnTo>
                    <a:pt x="200" y="81"/>
                  </a:lnTo>
                  <a:lnTo>
                    <a:pt x="188" y="68"/>
                  </a:lnTo>
                  <a:lnTo>
                    <a:pt x="188" y="68"/>
                  </a:lnTo>
                  <a:lnTo>
                    <a:pt x="182" y="61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2" y="52"/>
                  </a:lnTo>
                  <a:lnTo>
                    <a:pt x="185" y="47"/>
                  </a:lnTo>
                  <a:lnTo>
                    <a:pt x="188" y="43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4" y="25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52" y="28"/>
                  </a:lnTo>
                  <a:lnTo>
                    <a:pt x="146" y="28"/>
                  </a:lnTo>
                  <a:lnTo>
                    <a:pt x="142" y="28"/>
                  </a:lnTo>
                  <a:lnTo>
                    <a:pt x="142" y="28"/>
                  </a:lnTo>
                  <a:lnTo>
                    <a:pt x="139" y="31"/>
                  </a:lnTo>
                  <a:lnTo>
                    <a:pt x="136" y="36"/>
                  </a:lnTo>
                  <a:lnTo>
                    <a:pt x="133" y="38"/>
                  </a:lnTo>
                  <a:lnTo>
                    <a:pt x="128" y="41"/>
                  </a:lnTo>
                  <a:lnTo>
                    <a:pt x="12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5" name="Freeform 74">
              <a:extLst>
                <a:ext uri="{FF2B5EF4-FFF2-40B4-BE49-F238E27FC236}">
                  <a16:creationId xmlns:a16="http://schemas.microsoft.com/office/drawing/2014/main" id="{18875031-A542-DE46-A40E-FF8C90070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0300" y="3133725"/>
              <a:ext cx="1560513" cy="2532062"/>
            </a:xfrm>
            <a:custGeom>
              <a:avLst/>
              <a:gdLst>
                <a:gd name="T0" fmla="*/ 122 w 983"/>
                <a:gd name="T1" fmla="*/ 435 h 1595"/>
                <a:gd name="T2" fmla="*/ 162 w 983"/>
                <a:gd name="T3" fmla="*/ 490 h 1595"/>
                <a:gd name="T4" fmla="*/ 219 w 983"/>
                <a:gd name="T5" fmla="*/ 549 h 1595"/>
                <a:gd name="T6" fmla="*/ 241 w 983"/>
                <a:gd name="T7" fmla="*/ 554 h 1595"/>
                <a:gd name="T8" fmla="*/ 290 w 983"/>
                <a:gd name="T9" fmla="*/ 564 h 1595"/>
                <a:gd name="T10" fmla="*/ 262 w 983"/>
                <a:gd name="T11" fmla="*/ 534 h 1595"/>
                <a:gd name="T12" fmla="*/ 217 w 983"/>
                <a:gd name="T13" fmla="*/ 479 h 1595"/>
                <a:gd name="T14" fmla="*/ 281 w 983"/>
                <a:gd name="T15" fmla="*/ 411 h 1595"/>
                <a:gd name="T16" fmla="*/ 287 w 983"/>
                <a:gd name="T17" fmla="*/ 484 h 1595"/>
                <a:gd name="T18" fmla="*/ 343 w 983"/>
                <a:gd name="T19" fmla="*/ 524 h 1595"/>
                <a:gd name="T20" fmla="*/ 365 w 983"/>
                <a:gd name="T21" fmla="*/ 586 h 1595"/>
                <a:gd name="T22" fmla="*/ 356 w 983"/>
                <a:gd name="T23" fmla="*/ 657 h 1595"/>
                <a:gd name="T24" fmla="*/ 393 w 983"/>
                <a:gd name="T25" fmla="*/ 755 h 1595"/>
                <a:gd name="T26" fmla="*/ 442 w 983"/>
                <a:gd name="T27" fmla="*/ 955 h 1595"/>
                <a:gd name="T28" fmla="*/ 420 w 983"/>
                <a:gd name="T29" fmla="*/ 1038 h 1595"/>
                <a:gd name="T30" fmla="*/ 441 w 983"/>
                <a:gd name="T31" fmla="*/ 1104 h 1595"/>
                <a:gd name="T32" fmla="*/ 506 w 983"/>
                <a:gd name="T33" fmla="*/ 1267 h 1595"/>
                <a:gd name="T34" fmla="*/ 888 w 983"/>
                <a:gd name="T35" fmla="*/ 1531 h 1595"/>
                <a:gd name="T36" fmla="*/ 975 w 983"/>
                <a:gd name="T37" fmla="*/ 1595 h 1595"/>
                <a:gd name="T38" fmla="*/ 956 w 983"/>
                <a:gd name="T39" fmla="*/ 1417 h 1595"/>
                <a:gd name="T40" fmla="*/ 904 w 983"/>
                <a:gd name="T41" fmla="*/ 1356 h 1595"/>
                <a:gd name="T42" fmla="*/ 895 w 983"/>
                <a:gd name="T43" fmla="*/ 1337 h 1595"/>
                <a:gd name="T44" fmla="*/ 928 w 983"/>
                <a:gd name="T45" fmla="*/ 1257 h 1595"/>
                <a:gd name="T46" fmla="*/ 887 w 983"/>
                <a:gd name="T47" fmla="*/ 1227 h 1595"/>
                <a:gd name="T48" fmla="*/ 838 w 983"/>
                <a:gd name="T49" fmla="*/ 1109 h 1595"/>
                <a:gd name="T50" fmla="*/ 860 w 983"/>
                <a:gd name="T51" fmla="*/ 1030 h 1595"/>
                <a:gd name="T52" fmla="*/ 761 w 983"/>
                <a:gd name="T53" fmla="*/ 965 h 1595"/>
                <a:gd name="T54" fmla="*/ 738 w 983"/>
                <a:gd name="T55" fmla="*/ 903 h 1595"/>
                <a:gd name="T56" fmla="*/ 777 w 983"/>
                <a:gd name="T57" fmla="*/ 912 h 1595"/>
                <a:gd name="T58" fmla="*/ 749 w 983"/>
                <a:gd name="T59" fmla="*/ 860 h 1595"/>
                <a:gd name="T60" fmla="*/ 724 w 983"/>
                <a:gd name="T61" fmla="*/ 870 h 1595"/>
                <a:gd name="T62" fmla="*/ 660 w 983"/>
                <a:gd name="T63" fmla="*/ 801 h 1595"/>
                <a:gd name="T64" fmla="*/ 610 w 983"/>
                <a:gd name="T65" fmla="*/ 804 h 1595"/>
                <a:gd name="T66" fmla="*/ 590 w 983"/>
                <a:gd name="T67" fmla="*/ 833 h 1595"/>
                <a:gd name="T68" fmla="*/ 515 w 983"/>
                <a:gd name="T69" fmla="*/ 715 h 1595"/>
                <a:gd name="T70" fmla="*/ 466 w 983"/>
                <a:gd name="T71" fmla="*/ 638 h 1595"/>
                <a:gd name="T72" fmla="*/ 484 w 983"/>
                <a:gd name="T73" fmla="*/ 580 h 1595"/>
                <a:gd name="T74" fmla="*/ 497 w 983"/>
                <a:gd name="T75" fmla="*/ 530 h 1595"/>
                <a:gd name="T76" fmla="*/ 527 w 983"/>
                <a:gd name="T77" fmla="*/ 502 h 1595"/>
                <a:gd name="T78" fmla="*/ 550 w 983"/>
                <a:gd name="T79" fmla="*/ 496 h 1595"/>
                <a:gd name="T80" fmla="*/ 534 w 983"/>
                <a:gd name="T81" fmla="*/ 371 h 1595"/>
                <a:gd name="T82" fmla="*/ 626 w 983"/>
                <a:gd name="T83" fmla="*/ 327 h 1595"/>
                <a:gd name="T84" fmla="*/ 623 w 983"/>
                <a:gd name="T85" fmla="*/ 278 h 1595"/>
                <a:gd name="T86" fmla="*/ 601 w 983"/>
                <a:gd name="T87" fmla="*/ 165 h 1595"/>
                <a:gd name="T88" fmla="*/ 574 w 983"/>
                <a:gd name="T89" fmla="*/ 91 h 1595"/>
                <a:gd name="T90" fmla="*/ 568 w 983"/>
                <a:gd name="T91" fmla="*/ 19 h 1595"/>
                <a:gd name="T92" fmla="*/ 512 w 983"/>
                <a:gd name="T93" fmla="*/ 1 h 1595"/>
                <a:gd name="T94" fmla="*/ 496 w 983"/>
                <a:gd name="T95" fmla="*/ 47 h 1595"/>
                <a:gd name="T96" fmla="*/ 469 w 983"/>
                <a:gd name="T97" fmla="*/ 90 h 1595"/>
                <a:gd name="T98" fmla="*/ 441 w 983"/>
                <a:gd name="T99" fmla="*/ 139 h 1595"/>
                <a:gd name="T100" fmla="*/ 405 w 983"/>
                <a:gd name="T101" fmla="*/ 183 h 1595"/>
                <a:gd name="T102" fmla="*/ 346 w 983"/>
                <a:gd name="T103" fmla="*/ 198 h 1595"/>
                <a:gd name="T104" fmla="*/ 297 w 983"/>
                <a:gd name="T105" fmla="*/ 192 h 1595"/>
                <a:gd name="T106" fmla="*/ 232 w 983"/>
                <a:gd name="T107" fmla="*/ 151 h 1595"/>
                <a:gd name="T108" fmla="*/ 161 w 983"/>
                <a:gd name="T109" fmla="*/ 179 h 1595"/>
                <a:gd name="T110" fmla="*/ 119 w 983"/>
                <a:gd name="T111" fmla="*/ 207 h 1595"/>
                <a:gd name="T112" fmla="*/ 72 w 983"/>
                <a:gd name="T113" fmla="*/ 237 h 1595"/>
                <a:gd name="T114" fmla="*/ 53 w 983"/>
                <a:gd name="T115" fmla="*/ 263 h 1595"/>
                <a:gd name="T116" fmla="*/ 14 w 983"/>
                <a:gd name="T117" fmla="*/ 302 h 1595"/>
                <a:gd name="T118" fmla="*/ 28 w 983"/>
                <a:gd name="T119" fmla="*/ 352 h 1595"/>
                <a:gd name="T120" fmla="*/ 63 w 983"/>
                <a:gd name="T121" fmla="*/ 376 h 1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3" h="1595">
                  <a:moveTo>
                    <a:pt x="75" y="400"/>
                  </a:moveTo>
                  <a:lnTo>
                    <a:pt x="75" y="400"/>
                  </a:lnTo>
                  <a:lnTo>
                    <a:pt x="84" y="410"/>
                  </a:lnTo>
                  <a:lnTo>
                    <a:pt x="91" y="414"/>
                  </a:lnTo>
                  <a:lnTo>
                    <a:pt x="94" y="416"/>
                  </a:lnTo>
                  <a:lnTo>
                    <a:pt x="99" y="417"/>
                  </a:lnTo>
                  <a:lnTo>
                    <a:pt x="99" y="417"/>
                  </a:lnTo>
                  <a:lnTo>
                    <a:pt x="114" y="419"/>
                  </a:lnTo>
                  <a:lnTo>
                    <a:pt x="117" y="419"/>
                  </a:lnTo>
                  <a:lnTo>
                    <a:pt x="119" y="420"/>
                  </a:lnTo>
                  <a:lnTo>
                    <a:pt x="119" y="420"/>
                  </a:lnTo>
                  <a:lnTo>
                    <a:pt x="119" y="428"/>
                  </a:lnTo>
                  <a:lnTo>
                    <a:pt x="119" y="432"/>
                  </a:lnTo>
                  <a:lnTo>
                    <a:pt x="122" y="435"/>
                  </a:lnTo>
                  <a:lnTo>
                    <a:pt x="122" y="435"/>
                  </a:lnTo>
                  <a:lnTo>
                    <a:pt x="131" y="444"/>
                  </a:lnTo>
                  <a:lnTo>
                    <a:pt x="134" y="448"/>
                  </a:lnTo>
                  <a:lnTo>
                    <a:pt x="137" y="453"/>
                  </a:lnTo>
                  <a:lnTo>
                    <a:pt x="137" y="453"/>
                  </a:lnTo>
                  <a:lnTo>
                    <a:pt x="139" y="459"/>
                  </a:lnTo>
                  <a:lnTo>
                    <a:pt x="137" y="466"/>
                  </a:lnTo>
                  <a:lnTo>
                    <a:pt x="136" y="474"/>
                  </a:lnTo>
                  <a:lnTo>
                    <a:pt x="137" y="478"/>
                  </a:lnTo>
                  <a:lnTo>
                    <a:pt x="139" y="481"/>
                  </a:lnTo>
                  <a:lnTo>
                    <a:pt x="139" y="481"/>
                  </a:lnTo>
                  <a:lnTo>
                    <a:pt x="143" y="485"/>
                  </a:lnTo>
                  <a:lnTo>
                    <a:pt x="149" y="488"/>
                  </a:lnTo>
                  <a:lnTo>
                    <a:pt x="156" y="490"/>
                  </a:lnTo>
                  <a:lnTo>
                    <a:pt x="162" y="490"/>
                  </a:lnTo>
                  <a:lnTo>
                    <a:pt x="162" y="490"/>
                  </a:lnTo>
                  <a:lnTo>
                    <a:pt x="176" y="488"/>
                  </a:lnTo>
                  <a:lnTo>
                    <a:pt x="182" y="487"/>
                  </a:lnTo>
                  <a:lnTo>
                    <a:pt x="185" y="485"/>
                  </a:lnTo>
                  <a:lnTo>
                    <a:pt x="185" y="485"/>
                  </a:lnTo>
                  <a:lnTo>
                    <a:pt x="188" y="487"/>
                  </a:lnTo>
                  <a:lnTo>
                    <a:pt x="194" y="490"/>
                  </a:lnTo>
                  <a:lnTo>
                    <a:pt x="207" y="502"/>
                  </a:lnTo>
                  <a:lnTo>
                    <a:pt x="226" y="519"/>
                  </a:lnTo>
                  <a:lnTo>
                    <a:pt x="226" y="519"/>
                  </a:lnTo>
                  <a:lnTo>
                    <a:pt x="222" y="524"/>
                  </a:lnTo>
                  <a:lnTo>
                    <a:pt x="220" y="528"/>
                  </a:lnTo>
                  <a:lnTo>
                    <a:pt x="219" y="536"/>
                  </a:lnTo>
                  <a:lnTo>
                    <a:pt x="219" y="536"/>
                  </a:lnTo>
                  <a:lnTo>
                    <a:pt x="219" y="543"/>
                  </a:lnTo>
                  <a:lnTo>
                    <a:pt x="219" y="549"/>
                  </a:lnTo>
                  <a:lnTo>
                    <a:pt x="220" y="551"/>
                  </a:lnTo>
                  <a:lnTo>
                    <a:pt x="223" y="549"/>
                  </a:lnTo>
                  <a:lnTo>
                    <a:pt x="223" y="549"/>
                  </a:lnTo>
                  <a:lnTo>
                    <a:pt x="228" y="545"/>
                  </a:lnTo>
                  <a:lnTo>
                    <a:pt x="233" y="540"/>
                  </a:lnTo>
                  <a:lnTo>
                    <a:pt x="238" y="539"/>
                  </a:lnTo>
                  <a:lnTo>
                    <a:pt x="239" y="539"/>
                  </a:lnTo>
                  <a:lnTo>
                    <a:pt x="241" y="540"/>
                  </a:lnTo>
                  <a:lnTo>
                    <a:pt x="241" y="540"/>
                  </a:lnTo>
                  <a:lnTo>
                    <a:pt x="241" y="545"/>
                  </a:lnTo>
                  <a:lnTo>
                    <a:pt x="239" y="549"/>
                  </a:lnTo>
                  <a:lnTo>
                    <a:pt x="238" y="552"/>
                  </a:lnTo>
                  <a:lnTo>
                    <a:pt x="239" y="554"/>
                  </a:lnTo>
                  <a:lnTo>
                    <a:pt x="241" y="554"/>
                  </a:lnTo>
                  <a:lnTo>
                    <a:pt x="241" y="554"/>
                  </a:lnTo>
                  <a:lnTo>
                    <a:pt x="245" y="555"/>
                  </a:lnTo>
                  <a:lnTo>
                    <a:pt x="250" y="555"/>
                  </a:lnTo>
                  <a:lnTo>
                    <a:pt x="256" y="556"/>
                  </a:lnTo>
                  <a:lnTo>
                    <a:pt x="260" y="559"/>
                  </a:lnTo>
                  <a:lnTo>
                    <a:pt x="260" y="559"/>
                  </a:lnTo>
                  <a:lnTo>
                    <a:pt x="266" y="568"/>
                  </a:lnTo>
                  <a:lnTo>
                    <a:pt x="268" y="570"/>
                  </a:lnTo>
                  <a:lnTo>
                    <a:pt x="272" y="571"/>
                  </a:lnTo>
                  <a:lnTo>
                    <a:pt x="272" y="571"/>
                  </a:lnTo>
                  <a:lnTo>
                    <a:pt x="272" y="567"/>
                  </a:lnTo>
                  <a:lnTo>
                    <a:pt x="275" y="565"/>
                  </a:lnTo>
                  <a:lnTo>
                    <a:pt x="278" y="564"/>
                  </a:lnTo>
                  <a:lnTo>
                    <a:pt x="282" y="564"/>
                  </a:lnTo>
                  <a:lnTo>
                    <a:pt x="282" y="564"/>
                  </a:lnTo>
                  <a:lnTo>
                    <a:pt x="290" y="564"/>
                  </a:lnTo>
                  <a:lnTo>
                    <a:pt x="294" y="562"/>
                  </a:lnTo>
                  <a:lnTo>
                    <a:pt x="297" y="561"/>
                  </a:lnTo>
                  <a:lnTo>
                    <a:pt x="297" y="561"/>
                  </a:lnTo>
                  <a:lnTo>
                    <a:pt x="299" y="558"/>
                  </a:lnTo>
                  <a:lnTo>
                    <a:pt x="300" y="556"/>
                  </a:lnTo>
                  <a:lnTo>
                    <a:pt x="297" y="552"/>
                  </a:lnTo>
                  <a:lnTo>
                    <a:pt x="291" y="543"/>
                  </a:lnTo>
                  <a:lnTo>
                    <a:pt x="291" y="543"/>
                  </a:lnTo>
                  <a:lnTo>
                    <a:pt x="288" y="542"/>
                  </a:lnTo>
                  <a:lnTo>
                    <a:pt x="284" y="543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1" y="543"/>
                  </a:lnTo>
                  <a:lnTo>
                    <a:pt x="268" y="540"/>
                  </a:lnTo>
                  <a:lnTo>
                    <a:pt x="262" y="534"/>
                  </a:lnTo>
                  <a:lnTo>
                    <a:pt x="262" y="534"/>
                  </a:lnTo>
                  <a:lnTo>
                    <a:pt x="256" y="528"/>
                  </a:lnTo>
                  <a:lnTo>
                    <a:pt x="247" y="522"/>
                  </a:lnTo>
                  <a:lnTo>
                    <a:pt x="247" y="522"/>
                  </a:lnTo>
                  <a:lnTo>
                    <a:pt x="244" y="519"/>
                  </a:lnTo>
                  <a:lnTo>
                    <a:pt x="241" y="515"/>
                  </a:lnTo>
                  <a:lnTo>
                    <a:pt x="236" y="508"/>
                  </a:lnTo>
                  <a:lnTo>
                    <a:pt x="236" y="508"/>
                  </a:lnTo>
                  <a:lnTo>
                    <a:pt x="233" y="500"/>
                  </a:lnTo>
                  <a:lnTo>
                    <a:pt x="231" y="497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2" y="491"/>
                  </a:lnTo>
                  <a:lnTo>
                    <a:pt x="219" y="485"/>
                  </a:lnTo>
                  <a:lnTo>
                    <a:pt x="217" y="479"/>
                  </a:lnTo>
                  <a:lnTo>
                    <a:pt x="216" y="474"/>
                  </a:lnTo>
                  <a:lnTo>
                    <a:pt x="216" y="474"/>
                  </a:lnTo>
                  <a:lnTo>
                    <a:pt x="217" y="468"/>
                  </a:lnTo>
                  <a:lnTo>
                    <a:pt x="219" y="460"/>
                  </a:lnTo>
                  <a:lnTo>
                    <a:pt x="225" y="447"/>
                  </a:lnTo>
                  <a:lnTo>
                    <a:pt x="225" y="447"/>
                  </a:lnTo>
                  <a:lnTo>
                    <a:pt x="232" y="435"/>
                  </a:lnTo>
                  <a:lnTo>
                    <a:pt x="241" y="425"/>
                  </a:lnTo>
                  <a:lnTo>
                    <a:pt x="241" y="425"/>
                  </a:lnTo>
                  <a:lnTo>
                    <a:pt x="247" y="420"/>
                  </a:lnTo>
                  <a:lnTo>
                    <a:pt x="254" y="417"/>
                  </a:lnTo>
                  <a:lnTo>
                    <a:pt x="272" y="413"/>
                  </a:lnTo>
                  <a:lnTo>
                    <a:pt x="272" y="413"/>
                  </a:lnTo>
                  <a:lnTo>
                    <a:pt x="278" y="411"/>
                  </a:lnTo>
                  <a:lnTo>
                    <a:pt x="281" y="411"/>
                  </a:lnTo>
                  <a:lnTo>
                    <a:pt x="281" y="413"/>
                  </a:lnTo>
                  <a:lnTo>
                    <a:pt x="278" y="416"/>
                  </a:lnTo>
                  <a:lnTo>
                    <a:pt x="278" y="416"/>
                  </a:lnTo>
                  <a:lnTo>
                    <a:pt x="266" y="426"/>
                  </a:lnTo>
                  <a:lnTo>
                    <a:pt x="257" y="434"/>
                  </a:lnTo>
                  <a:lnTo>
                    <a:pt x="251" y="441"/>
                  </a:lnTo>
                  <a:lnTo>
                    <a:pt x="251" y="441"/>
                  </a:lnTo>
                  <a:lnTo>
                    <a:pt x="250" y="444"/>
                  </a:lnTo>
                  <a:lnTo>
                    <a:pt x="250" y="445"/>
                  </a:lnTo>
                  <a:lnTo>
                    <a:pt x="253" y="451"/>
                  </a:lnTo>
                  <a:lnTo>
                    <a:pt x="257" y="457"/>
                  </a:lnTo>
                  <a:lnTo>
                    <a:pt x="263" y="465"/>
                  </a:lnTo>
                  <a:lnTo>
                    <a:pt x="278" y="477"/>
                  </a:lnTo>
                  <a:lnTo>
                    <a:pt x="287" y="484"/>
                  </a:lnTo>
                  <a:lnTo>
                    <a:pt x="287" y="484"/>
                  </a:lnTo>
                  <a:lnTo>
                    <a:pt x="300" y="493"/>
                  </a:lnTo>
                  <a:lnTo>
                    <a:pt x="306" y="499"/>
                  </a:lnTo>
                  <a:lnTo>
                    <a:pt x="309" y="502"/>
                  </a:lnTo>
                  <a:lnTo>
                    <a:pt x="309" y="502"/>
                  </a:lnTo>
                  <a:lnTo>
                    <a:pt x="310" y="511"/>
                  </a:lnTo>
                  <a:lnTo>
                    <a:pt x="312" y="515"/>
                  </a:lnTo>
                  <a:lnTo>
                    <a:pt x="313" y="518"/>
                  </a:lnTo>
                  <a:lnTo>
                    <a:pt x="313" y="518"/>
                  </a:lnTo>
                  <a:lnTo>
                    <a:pt x="316" y="521"/>
                  </a:lnTo>
                  <a:lnTo>
                    <a:pt x="322" y="521"/>
                  </a:lnTo>
                  <a:lnTo>
                    <a:pt x="333" y="522"/>
                  </a:lnTo>
                  <a:lnTo>
                    <a:pt x="333" y="522"/>
                  </a:lnTo>
                  <a:lnTo>
                    <a:pt x="339" y="522"/>
                  </a:lnTo>
                  <a:lnTo>
                    <a:pt x="343" y="524"/>
                  </a:lnTo>
                  <a:lnTo>
                    <a:pt x="343" y="524"/>
                  </a:lnTo>
                  <a:lnTo>
                    <a:pt x="345" y="528"/>
                  </a:lnTo>
                  <a:lnTo>
                    <a:pt x="346" y="537"/>
                  </a:lnTo>
                  <a:lnTo>
                    <a:pt x="350" y="551"/>
                  </a:lnTo>
                  <a:lnTo>
                    <a:pt x="350" y="551"/>
                  </a:lnTo>
                  <a:lnTo>
                    <a:pt x="355" y="558"/>
                  </a:lnTo>
                  <a:lnTo>
                    <a:pt x="359" y="561"/>
                  </a:lnTo>
                  <a:lnTo>
                    <a:pt x="364" y="564"/>
                  </a:lnTo>
                  <a:lnTo>
                    <a:pt x="364" y="564"/>
                  </a:lnTo>
                  <a:lnTo>
                    <a:pt x="371" y="565"/>
                  </a:lnTo>
                  <a:lnTo>
                    <a:pt x="374" y="567"/>
                  </a:lnTo>
                  <a:lnTo>
                    <a:pt x="376" y="567"/>
                  </a:lnTo>
                  <a:lnTo>
                    <a:pt x="376" y="567"/>
                  </a:lnTo>
                  <a:lnTo>
                    <a:pt x="376" y="570"/>
                  </a:lnTo>
                  <a:lnTo>
                    <a:pt x="373" y="574"/>
                  </a:lnTo>
                  <a:lnTo>
                    <a:pt x="365" y="586"/>
                  </a:lnTo>
                  <a:lnTo>
                    <a:pt x="365" y="586"/>
                  </a:lnTo>
                  <a:lnTo>
                    <a:pt x="362" y="594"/>
                  </a:lnTo>
                  <a:lnTo>
                    <a:pt x="361" y="602"/>
                  </a:lnTo>
                  <a:lnTo>
                    <a:pt x="361" y="613"/>
                  </a:lnTo>
                  <a:lnTo>
                    <a:pt x="361" y="613"/>
                  </a:lnTo>
                  <a:lnTo>
                    <a:pt x="364" y="620"/>
                  </a:lnTo>
                  <a:lnTo>
                    <a:pt x="365" y="626"/>
                  </a:lnTo>
                  <a:lnTo>
                    <a:pt x="365" y="626"/>
                  </a:lnTo>
                  <a:lnTo>
                    <a:pt x="364" y="634"/>
                  </a:lnTo>
                  <a:lnTo>
                    <a:pt x="361" y="638"/>
                  </a:lnTo>
                  <a:lnTo>
                    <a:pt x="358" y="641"/>
                  </a:lnTo>
                  <a:lnTo>
                    <a:pt x="358" y="641"/>
                  </a:lnTo>
                  <a:lnTo>
                    <a:pt x="358" y="642"/>
                  </a:lnTo>
                  <a:lnTo>
                    <a:pt x="356" y="647"/>
                  </a:lnTo>
                  <a:lnTo>
                    <a:pt x="356" y="657"/>
                  </a:lnTo>
                  <a:lnTo>
                    <a:pt x="358" y="668"/>
                  </a:lnTo>
                  <a:lnTo>
                    <a:pt x="359" y="675"/>
                  </a:lnTo>
                  <a:lnTo>
                    <a:pt x="359" y="675"/>
                  </a:lnTo>
                  <a:lnTo>
                    <a:pt x="362" y="681"/>
                  </a:lnTo>
                  <a:lnTo>
                    <a:pt x="368" y="688"/>
                  </a:lnTo>
                  <a:lnTo>
                    <a:pt x="379" y="699"/>
                  </a:lnTo>
                  <a:lnTo>
                    <a:pt x="379" y="699"/>
                  </a:lnTo>
                  <a:lnTo>
                    <a:pt x="380" y="700"/>
                  </a:lnTo>
                  <a:lnTo>
                    <a:pt x="382" y="705"/>
                  </a:lnTo>
                  <a:lnTo>
                    <a:pt x="383" y="713"/>
                  </a:lnTo>
                  <a:lnTo>
                    <a:pt x="383" y="731"/>
                  </a:lnTo>
                  <a:lnTo>
                    <a:pt x="383" y="731"/>
                  </a:lnTo>
                  <a:lnTo>
                    <a:pt x="385" y="737"/>
                  </a:lnTo>
                  <a:lnTo>
                    <a:pt x="387" y="745"/>
                  </a:lnTo>
                  <a:lnTo>
                    <a:pt x="393" y="755"/>
                  </a:lnTo>
                  <a:lnTo>
                    <a:pt x="393" y="755"/>
                  </a:lnTo>
                  <a:lnTo>
                    <a:pt x="395" y="774"/>
                  </a:lnTo>
                  <a:lnTo>
                    <a:pt x="398" y="792"/>
                  </a:lnTo>
                  <a:lnTo>
                    <a:pt x="398" y="792"/>
                  </a:lnTo>
                  <a:lnTo>
                    <a:pt x="402" y="836"/>
                  </a:lnTo>
                  <a:lnTo>
                    <a:pt x="402" y="836"/>
                  </a:lnTo>
                  <a:lnTo>
                    <a:pt x="405" y="847"/>
                  </a:lnTo>
                  <a:lnTo>
                    <a:pt x="411" y="862"/>
                  </a:lnTo>
                  <a:lnTo>
                    <a:pt x="420" y="887"/>
                  </a:lnTo>
                  <a:lnTo>
                    <a:pt x="420" y="887"/>
                  </a:lnTo>
                  <a:lnTo>
                    <a:pt x="430" y="915"/>
                  </a:lnTo>
                  <a:lnTo>
                    <a:pt x="439" y="942"/>
                  </a:lnTo>
                  <a:lnTo>
                    <a:pt x="439" y="942"/>
                  </a:lnTo>
                  <a:lnTo>
                    <a:pt x="441" y="947"/>
                  </a:lnTo>
                  <a:lnTo>
                    <a:pt x="442" y="955"/>
                  </a:lnTo>
                  <a:lnTo>
                    <a:pt x="442" y="970"/>
                  </a:lnTo>
                  <a:lnTo>
                    <a:pt x="442" y="970"/>
                  </a:lnTo>
                  <a:lnTo>
                    <a:pt x="442" y="992"/>
                  </a:lnTo>
                  <a:lnTo>
                    <a:pt x="442" y="1005"/>
                  </a:lnTo>
                  <a:lnTo>
                    <a:pt x="441" y="1013"/>
                  </a:lnTo>
                  <a:lnTo>
                    <a:pt x="441" y="1013"/>
                  </a:lnTo>
                  <a:lnTo>
                    <a:pt x="439" y="1017"/>
                  </a:lnTo>
                  <a:lnTo>
                    <a:pt x="435" y="1020"/>
                  </a:lnTo>
                  <a:lnTo>
                    <a:pt x="427" y="1023"/>
                  </a:lnTo>
                  <a:lnTo>
                    <a:pt x="427" y="1023"/>
                  </a:lnTo>
                  <a:lnTo>
                    <a:pt x="425" y="1026"/>
                  </a:lnTo>
                  <a:lnTo>
                    <a:pt x="423" y="1030"/>
                  </a:lnTo>
                  <a:lnTo>
                    <a:pt x="420" y="1035"/>
                  </a:lnTo>
                  <a:lnTo>
                    <a:pt x="420" y="1038"/>
                  </a:lnTo>
                  <a:lnTo>
                    <a:pt x="420" y="1038"/>
                  </a:lnTo>
                  <a:lnTo>
                    <a:pt x="425" y="1050"/>
                  </a:lnTo>
                  <a:lnTo>
                    <a:pt x="426" y="1056"/>
                  </a:lnTo>
                  <a:lnTo>
                    <a:pt x="427" y="1060"/>
                  </a:lnTo>
                  <a:lnTo>
                    <a:pt x="427" y="1060"/>
                  </a:lnTo>
                  <a:lnTo>
                    <a:pt x="423" y="1067"/>
                  </a:lnTo>
                  <a:lnTo>
                    <a:pt x="416" y="1078"/>
                  </a:lnTo>
                  <a:lnTo>
                    <a:pt x="416" y="1078"/>
                  </a:lnTo>
                  <a:lnTo>
                    <a:pt x="414" y="1081"/>
                  </a:lnTo>
                  <a:lnTo>
                    <a:pt x="413" y="1084"/>
                  </a:lnTo>
                  <a:lnTo>
                    <a:pt x="414" y="1087"/>
                  </a:lnTo>
                  <a:lnTo>
                    <a:pt x="416" y="1088"/>
                  </a:lnTo>
                  <a:lnTo>
                    <a:pt x="416" y="1088"/>
                  </a:lnTo>
                  <a:lnTo>
                    <a:pt x="427" y="1096"/>
                  </a:lnTo>
                  <a:lnTo>
                    <a:pt x="441" y="1104"/>
                  </a:lnTo>
                  <a:lnTo>
                    <a:pt x="441" y="1104"/>
                  </a:lnTo>
                  <a:lnTo>
                    <a:pt x="447" y="1110"/>
                  </a:lnTo>
                  <a:lnTo>
                    <a:pt x="451" y="1118"/>
                  </a:lnTo>
                  <a:lnTo>
                    <a:pt x="457" y="1131"/>
                  </a:lnTo>
                  <a:lnTo>
                    <a:pt x="457" y="1131"/>
                  </a:lnTo>
                  <a:lnTo>
                    <a:pt x="459" y="1139"/>
                  </a:lnTo>
                  <a:lnTo>
                    <a:pt x="460" y="1150"/>
                  </a:lnTo>
                  <a:lnTo>
                    <a:pt x="462" y="1170"/>
                  </a:lnTo>
                  <a:lnTo>
                    <a:pt x="462" y="1170"/>
                  </a:lnTo>
                  <a:lnTo>
                    <a:pt x="462" y="1187"/>
                  </a:lnTo>
                  <a:lnTo>
                    <a:pt x="463" y="1198"/>
                  </a:lnTo>
                  <a:lnTo>
                    <a:pt x="464" y="1205"/>
                  </a:lnTo>
                  <a:lnTo>
                    <a:pt x="464" y="1205"/>
                  </a:lnTo>
                  <a:lnTo>
                    <a:pt x="487" y="1238"/>
                  </a:lnTo>
                  <a:lnTo>
                    <a:pt x="506" y="1267"/>
                  </a:lnTo>
                  <a:lnTo>
                    <a:pt x="506" y="1267"/>
                  </a:lnTo>
                  <a:lnTo>
                    <a:pt x="522" y="1284"/>
                  </a:lnTo>
                  <a:lnTo>
                    <a:pt x="539" y="1304"/>
                  </a:lnTo>
                  <a:lnTo>
                    <a:pt x="539" y="1304"/>
                  </a:lnTo>
                  <a:lnTo>
                    <a:pt x="547" y="1313"/>
                  </a:lnTo>
                  <a:lnTo>
                    <a:pt x="564" y="1328"/>
                  </a:lnTo>
                  <a:lnTo>
                    <a:pt x="589" y="1352"/>
                  </a:lnTo>
                  <a:lnTo>
                    <a:pt x="589" y="1352"/>
                  </a:lnTo>
                  <a:lnTo>
                    <a:pt x="653" y="1393"/>
                  </a:lnTo>
                  <a:lnTo>
                    <a:pt x="715" y="1432"/>
                  </a:lnTo>
                  <a:lnTo>
                    <a:pt x="715" y="1432"/>
                  </a:lnTo>
                  <a:lnTo>
                    <a:pt x="824" y="1497"/>
                  </a:lnTo>
                  <a:lnTo>
                    <a:pt x="824" y="1497"/>
                  </a:lnTo>
                  <a:lnTo>
                    <a:pt x="857" y="1513"/>
                  </a:lnTo>
                  <a:lnTo>
                    <a:pt x="888" y="1531"/>
                  </a:lnTo>
                  <a:lnTo>
                    <a:pt x="888" y="1531"/>
                  </a:lnTo>
                  <a:lnTo>
                    <a:pt x="907" y="1549"/>
                  </a:lnTo>
                  <a:lnTo>
                    <a:pt x="919" y="1559"/>
                  </a:lnTo>
                  <a:lnTo>
                    <a:pt x="926" y="1565"/>
                  </a:lnTo>
                  <a:lnTo>
                    <a:pt x="926" y="1565"/>
                  </a:lnTo>
                  <a:lnTo>
                    <a:pt x="932" y="1567"/>
                  </a:lnTo>
                  <a:lnTo>
                    <a:pt x="940" y="1568"/>
                  </a:lnTo>
                  <a:lnTo>
                    <a:pt x="956" y="1570"/>
                  </a:lnTo>
                  <a:lnTo>
                    <a:pt x="956" y="1570"/>
                  </a:lnTo>
                  <a:lnTo>
                    <a:pt x="959" y="1571"/>
                  </a:lnTo>
                  <a:lnTo>
                    <a:pt x="962" y="1572"/>
                  </a:lnTo>
                  <a:lnTo>
                    <a:pt x="965" y="1578"/>
                  </a:lnTo>
                  <a:lnTo>
                    <a:pt x="971" y="1590"/>
                  </a:lnTo>
                  <a:lnTo>
                    <a:pt x="971" y="1590"/>
                  </a:lnTo>
                  <a:lnTo>
                    <a:pt x="972" y="1593"/>
                  </a:lnTo>
                  <a:lnTo>
                    <a:pt x="975" y="1595"/>
                  </a:lnTo>
                  <a:lnTo>
                    <a:pt x="978" y="1595"/>
                  </a:lnTo>
                  <a:lnTo>
                    <a:pt x="981" y="1595"/>
                  </a:lnTo>
                  <a:lnTo>
                    <a:pt x="981" y="1595"/>
                  </a:lnTo>
                  <a:lnTo>
                    <a:pt x="983" y="1592"/>
                  </a:lnTo>
                  <a:lnTo>
                    <a:pt x="983" y="1589"/>
                  </a:lnTo>
                  <a:lnTo>
                    <a:pt x="983" y="1581"/>
                  </a:lnTo>
                  <a:lnTo>
                    <a:pt x="981" y="1564"/>
                  </a:lnTo>
                  <a:lnTo>
                    <a:pt x="981" y="1564"/>
                  </a:lnTo>
                  <a:lnTo>
                    <a:pt x="975" y="1513"/>
                  </a:lnTo>
                  <a:lnTo>
                    <a:pt x="975" y="1513"/>
                  </a:lnTo>
                  <a:lnTo>
                    <a:pt x="966" y="1447"/>
                  </a:lnTo>
                  <a:lnTo>
                    <a:pt x="966" y="1447"/>
                  </a:lnTo>
                  <a:lnTo>
                    <a:pt x="962" y="1433"/>
                  </a:lnTo>
                  <a:lnTo>
                    <a:pt x="959" y="1424"/>
                  </a:lnTo>
                  <a:lnTo>
                    <a:pt x="956" y="1417"/>
                  </a:lnTo>
                  <a:lnTo>
                    <a:pt x="956" y="1417"/>
                  </a:lnTo>
                  <a:lnTo>
                    <a:pt x="953" y="1414"/>
                  </a:lnTo>
                  <a:lnTo>
                    <a:pt x="950" y="1410"/>
                  </a:lnTo>
                  <a:lnTo>
                    <a:pt x="940" y="1404"/>
                  </a:lnTo>
                  <a:lnTo>
                    <a:pt x="924" y="1393"/>
                  </a:lnTo>
                  <a:lnTo>
                    <a:pt x="924" y="1393"/>
                  </a:lnTo>
                  <a:lnTo>
                    <a:pt x="918" y="1389"/>
                  </a:lnTo>
                  <a:lnTo>
                    <a:pt x="915" y="1387"/>
                  </a:lnTo>
                  <a:lnTo>
                    <a:pt x="913" y="1384"/>
                  </a:lnTo>
                  <a:lnTo>
                    <a:pt x="913" y="1384"/>
                  </a:lnTo>
                  <a:lnTo>
                    <a:pt x="912" y="1373"/>
                  </a:lnTo>
                  <a:lnTo>
                    <a:pt x="910" y="1365"/>
                  </a:lnTo>
                  <a:lnTo>
                    <a:pt x="909" y="1359"/>
                  </a:lnTo>
                  <a:lnTo>
                    <a:pt x="909" y="1359"/>
                  </a:lnTo>
                  <a:lnTo>
                    <a:pt x="904" y="1356"/>
                  </a:lnTo>
                  <a:lnTo>
                    <a:pt x="900" y="1355"/>
                  </a:lnTo>
                  <a:lnTo>
                    <a:pt x="889" y="1353"/>
                  </a:lnTo>
                  <a:lnTo>
                    <a:pt x="889" y="1353"/>
                  </a:lnTo>
                  <a:lnTo>
                    <a:pt x="885" y="1353"/>
                  </a:lnTo>
                  <a:lnTo>
                    <a:pt x="882" y="1352"/>
                  </a:lnTo>
                  <a:lnTo>
                    <a:pt x="881" y="1349"/>
                  </a:lnTo>
                  <a:lnTo>
                    <a:pt x="879" y="1344"/>
                  </a:lnTo>
                  <a:lnTo>
                    <a:pt x="879" y="1344"/>
                  </a:lnTo>
                  <a:lnTo>
                    <a:pt x="879" y="1341"/>
                  </a:lnTo>
                  <a:lnTo>
                    <a:pt x="881" y="1338"/>
                  </a:lnTo>
                  <a:lnTo>
                    <a:pt x="887" y="1336"/>
                  </a:lnTo>
                  <a:lnTo>
                    <a:pt x="887" y="1336"/>
                  </a:lnTo>
                  <a:lnTo>
                    <a:pt x="889" y="1336"/>
                  </a:lnTo>
                  <a:lnTo>
                    <a:pt x="892" y="1336"/>
                  </a:lnTo>
                  <a:lnTo>
                    <a:pt x="895" y="1337"/>
                  </a:lnTo>
                  <a:lnTo>
                    <a:pt x="898" y="1336"/>
                  </a:lnTo>
                  <a:lnTo>
                    <a:pt x="898" y="1336"/>
                  </a:lnTo>
                  <a:lnTo>
                    <a:pt x="901" y="1333"/>
                  </a:lnTo>
                  <a:lnTo>
                    <a:pt x="901" y="1330"/>
                  </a:lnTo>
                  <a:lnTo>
                    <a:pt x="901" y="1321"/>
                  </a:lnTo>
                  <a:lnTo>
                    <a:pt x="901" y="1321"/>
                  </a:lnTo>
                  <a:lnTo>
                    <a:pt x="900" y="1307"/>
                  </a:lnTo>
                  <a:lnTo>
                    <a:pt x="898" y="1294"/>
                  </a:lnTo>
                  <a:lnTo>
                    <a:pt x="898" y="1294"/>
                  </a:lnTo>
                  <a:lnTo>
                    <a:pt x="900" y="1285"/>
                  </a:lnTo>
                  <a:lnTo>
                    <a:pt x="901" y="1276"/>
                  </a:lnTo>
                  <a:lnTo>
                    <a:pt x="901" y="1276"/>
                  </a:lnTo>
                  <a:lnTo>
                    <a:pt x="906" y="1272"/>
                  </a:lnTo>
                  <a:lnTo>
                    <a:pt x="913" y="1266"/>
                  </a:lnTo>
                  <a:lnTo>
                    <a:pt x="928" y="1257"/>
                  </a:lnTo>
                  <a:lnTo>
                    <a:pt x="928" y="1257"/>
                  </a:lnTo>
                  <a:lnTo>
                    <a:pt x="929" y="1254"/>
                  </a:lnTo>
                  <a:lnTo>
                    <a:pt x="929" y="1251"/>
                  </a:lnTo>
                  <a:lnTo>
                    <a:pt x="928" y="1250"/>
                  </a:lnTo>
                  <a:lnTo>
                    <a:pt x="925" y="1248"/>
                  </a:lnTo>
                  <a:lnTo>
                    <a:pt x="925" y="1248"/>
                  </a:lnTo>
                  <a:lnTo>
                    <a:pt x="912" y="1247"/>
                  </a:lnTo>
                  <a:lnTo>
                    <a:pt x="901" y="1247"/>
                  </a:lnTo>
                  <a:lnTo>
                    <a:pt x="895" y="1245"/>
                  </a:lnTo>
                  <a:lnTo>
                    <a:pt x="895" y="1245"/>
                  </a:lnTo>
                  <a:lnTo>
                    <a:pt x="892" y="1242"/>
                  </a:lnTo>
                  <a:lnTo>
                    <a:pt x="889" y="1239"/>
                  </a:lnTo>
                  <a:lnTo>
                    <a:pt x="889" y="1230"/>
                  </a:lnTo>
                  <a:lnTo>
                    <a:pt x="889" y="1230"/>
                  </a:lnTo>
                  <a:lnTo>
                    <a:pt x="887" y="1227"/>
                  </a:lnTo>
                  <a:lnTo>
                    <a:pt x="882" y="1223"/>
                  </a:lnTo>
                  <a:lnTo>
                    <a:pt x="869" y="1217"/>
                  </a:lnTo>
                  <a:lnTo>
                    <a:pt x="869" y="1217"/>
                  </a:lnTo>
                  <a:lnTo>
                    <a:pt x="864" y="1216"/>
                  </a:lnTo>
                  <a:lnTo>
                    <a:pt x="860" y="1211"/>
                  </a:lnTo>
                  <a:lnTo>
                    <a:pt x="852" y="1202"/>
                  </a:lnTo>
                  <a:lnTo>
                    <a:pt x="847" y="1193"/>
                  </a:lnTo>
                  <a:lnTo>
                    <a:pt x="842" y="1187"/>
                  </a:lnTo>
                  <a:lnTo>
                    <a:pt x="842" y="1187"/>
                  </a:lnTo>
                  <a:lnTo>
                    <a:pt x="835" y="1152"/>
                  </a:lnTo>
                  <a:lnTo>
                    <a:pt x="835" y="1152"/>
                  </a:lnTo>
                  <a:lnTo>
                    <a:pt x="835" y="1128"/>
                  </a:lnTo>
                  <a:lnTo>
                    <a:pt x="836" y="1115"/>
                  </a:lnTo>
                  <a:lnTo>
                    <a:pt x="838" y="1109"/>
                  </a:lnTo>
                  <a:lnTo>
                    <a:pt x="838" y="1109"/>
                  </a:lnTo>
                  <a:lnTo>
                    <a:pt x="848" y="1103"/>
                  </a:lnTo>
                  <a:lnTo>
                    <a:pt x="860" y="1097"/>
                  </a:lnTo>
                  <a:lnTo>
                    <a:pt x="860" y="1097"/>
                  </a:lnTo>
                  <a:lnTo>
                    <a:pt x="864" y="1094"/>
                  </a:lnTo>
                  <a:lnTo>
                    <a:pt x="870" y="1087"/>
                  </a:lnTo>
                  <a:lnTo>
                    <a:pt x="875" y="1079"/>
                  </a:lnTo>
                  <a:lnTo>
                    <a:pt x="878" y="1070"/>
                  </a:lnTo>
                  <a:lnTo>
                    <a:pt x="878" y="1070"/>
                  </a:lnTo>
                  <a:lnTo>
                    <a:pt x="878" y="1062"/>
                  </a:lnTo>
                  <a:lnTo>
                    <a:pt x="875" y="1053"/>
                  </a:lnTo>
                  <a:lnTo>
                    <a:pt x="872" y="1039"/>
                  </a:lnTo>
                  <a:lnTo>
                    <a:pt x="872" y="1039"/>
                  </a:lnTo>
                  <a:lnTo>
                    <a:pt x="869" y="1036"/>
                  </a:lnTo>
                  <a:lnTo>
                    <a:pt x="866" y="1033"/>
                  </a:lnTo>
                  <a:lnTo>
                    <a:pt x="860" y="1030"/>
                  </a:lnTo>
                  <a:lnTo>
                    <a:pt x="855" y="1030"/>
                  </a:lnTo>
                  <a:lnTo>
                    <a:pt x="855" y="1030"/>
                  </a:lnTo>
                  <a:lnTo>
                    <a:pt x="841" y="1029"/>
                  </a:lnTo>
                  <a:lnTo>
                    <a:pt x="832" y="1029"/>
                  </a:lnTo>
                  <a:lnTo>
                    <a:pt x="826" y="1029"/>
                  </a:lnTo>
                  <a:lnTo>
                    <a:pt x="826" y="1029"/>
                  </a:lnTo>
                  <a:lnTo>
                    <a:pt x="818" y="1024"/>
                  </a:lnTo>
                  <a:lnTo>
                    <a:pt x="808" y="1016"/>
                  </a:lnTo>
                  <a:lnTo>
                    <a:pt x="799" y="1007"/>
                  </a:lnTo>
                  <a:lnTo>
                    <a:pt x="793" y="1001"/>
                  </a:lnTo>
                  <a:lnTo>
                    <a:pt x="793" y="1001"/>
                  </a:lnTo>
                  <a:lnTo>
                    <a:pt x="784" y="989"/>
                  </a:lnTo>
                  <a:lnTo>
                    <a:pt x="772" y="977"/>
                  </a:lnTo>
                  <a:lnTo>
                    <a:pt x="772" y="977"/>
                  </a:lnTo>
                  <a:lnTo>
                    <a:pt x="761" y="965"/>
                  </a:lnTo>
                  <a:lnTo>
                    <a:pt x="756" y="961"/>
                  </a:lnTo>
                  <a:lnTo>
                    <a:pt x="753" y="955"/>
                  </a:lnTo>
                  <a:lnTo>
                    <a:pt x="753" y="955"/>
                  </a:lnTo>
                  <a:lnTo>
                    <a:pt x="753" y="947"/>
                  </a:lnTo>
                  <a:lnTo>
                    <a:pt x="755" y="940"/>
                  </a:lnTo>
                  <a:lnTo>
                    <a:pt x="756" y="931"/>
                  </a:lnTo>
                  <a:lnTo>
                    <a:pt x="756" y="925"/>
                  </a:lnTo>
                  <a:lnTo>
                    <a:pt x="756" y="925"/>
                  </a:lnTo>
                  <a:lnTo>
                    <a:pt x="755" y="922"/>
                  </a:lnTo>
                  <a:lnTo>
                    <a:pt x="749" y="919"/>
                  </a:lnTo>
                  <a:lnTo>
                    <a:pt x="738" y="913"/>
                  </a:lnTo>
                  <a:lnTo>
                    <a:pt x="738" y="913"/>
                  </a:lnTo>
                  <a:lnTo>
                    <a:pt x="737" y="910"/>
                  </a:lnTo>
                  <a:lnTo>
                    <a:pt x="737" y="909"/>
                  </a:lnTo>
                  <a:lnTo>
                    <a:pt x="738" y="903"/>
                  </a:lnTo>
                  <a:lnTo>
                    <a:pt x="741" y="893"/>
                  </a:lnTo>
                  <a:lnTo>
                    <a:pt x="741" y="893"/>
                  </a:lnTo>
                  <a:lnTo>
                    <a:pt x="749" y="876"/>
                  </a:lnTo>
                  <a:lnTo>
                    <a:pt x="749" y="876"/>
                  </a:lnTo>
                  <a:lnTo>
                    <a:pt x="750" y="876"/>
                  </a:lnTo>
                  <a:lnTo>
                    <a:pt x="752" y="878"/>
                  </a:lnTo>
                  <a:lnTo>
                    <a:pt x="752" y="885"/>
                  </a:lnTo>
                  <a:lnTo>
                    <a:pt x="752" y="885"/>
                  </a:lnTo>
                  <a:lnTo>
                    <a:pt x="752" y="890"/>
                  </a:lnTo>
                  <a:lnTo>
                    <a:pt x="755" y="896"/>
                  </a:lnTo>
                  <a:lnTo>
                    <a:pt x="759" y="907"/>
                  </a:lnTo>
                  <a:lnTo>
                    <a:pt x="759" y="907"/>
                  </a:lnTo>
                  <a:lnTo>
                    <a:pt x="762" y="910"/>
                  </a:lnTo>
                  <a:lnTo>
                    <a:pt x="768" y="912"/>
                  </a:lnTo>
                  <a:lnTo>
                    <a:pt x="777" y="912"/>
                  </a:lnTo>
                  <a:lnTo>
                    <a:pt x="777" y="912"/>
                  </a:lnTo>
                  <a:lnTo>
                    <a:pt x="780" y="909"/>
                  </a:lnTo>
                  <a:lnTo>
                    <a:pt x="784" y="903"/>
                  </a:lnTo>
                  <a:lnTo>
                    <a:pt x="792" y="890"/>
                  </a:lnTo>
                  <a:lnTo>
                    <a:pt x="792" y="890"/>
                  </a:lnTo>
                  <a:lnTo>
                    <a:pt x="792" y="888"/>
                  </a:lnTo>
                  <a:lnTo>
                    <a:pt x="792" y="885"/>
                  </a:lnTo>
                  <a:lnTo>
                    <a:pt x="787" y="879"/>
                  </a:lnTo>
                  <a:lnTo>
                    <a:pt x="783" y="875"/>
                  </a:lnTo>
                  <a:lnTo>
                    <a:pt x="777" y="872"/>
                  </a:lnTo>
                  <a:lnTo>
                    <a:pt x="777" y="872"/>
                  </a:lnTo>
                  <a:lnTo>
                    <a:pt x="765" y="866"/>
                  </a:lnTo>
                  <a:lnTo>
                    <a:pt x="752" y="862"/>
                  </a:lnTo>
                  <a:lnTo>
                    <a:pt x="752" y="862"/>
                  </a:lnTo>
                  <a:lnTo>
                    <a:pt x="749" y="860"/>
                  </a:lnTo>
                  <a:lnTo>
                    <a:pt x="746" y="857"/>
                  </a:lnTo>
                  <a:lnTo>
                    <a:pt x="743" y="853"/>
                  </a:lnTo>
                  <a:lnTo>
                    <a:pt x="740" y="844"/>
                  </a:lnTo>
                  <a:lnTo>
                    <a:pt x="740" y="844"/>
                  </a:lnTo>
                  <a:lnTo>
                    <a:pt x="737" y="842"/>
                  </a:lnTo>
                  <a:lnTo>
                    <a:pt x="735" y="842"/>
                  </a:lnTo>
                  <a:lnTo>
                    <a:pt x="731" y="848"/>
                  </a:lnTo>
                  <a:lnTo>
                    <a:pt x="731" y="848"/>
                  </a:lnTo>
                  <a:lnTo>
                    <a:pt x="730" y="853"/>
                  </a:lnTo>
                  <a:lnTo>
                    <a:pt x="730" y="859"/>
                  </a:lnTo>
                  <a:lnTo>
                    <a:pt x="730" y="863"/>
                  </a:lnTo>
                  <a:lnTo>
                    <a:pt x="728" y="868"/>
                  </a:lnTo>
                  <a:lnTo>
                    <a:pt x="728" y="868"/>
                  </a:lnTo>
                  <a:lnTo>
                    <a:pt x="727" y="870"/>
                  </a:lnTo>
                  <a:lnTo>
                    <a:pt x="724" y="870"/>
                  </a:lnTo>
                  <a:lnTo>
                    <a:pt x="715" y="868"/>
                  </a:lnTo>
                  <a:lnTo>
                    <a:pt x="715" y="868"/>
                  </a:lnTo>
                  <a:lnTo>
                    <a:pt x="704" y="860"/>
                  </a:lnTo>
                  <a:lnTo>
                    <a:pt x="693" y="851"/>
                  </a:lnTo>
                  <a:lnTo>
                    <a:pt x="693" y="851"/>
                  </a:lnTo>
                  <a:lnTo>
                    <a:pt x="682" y="845"/>
                  </a:lnTo>
                  <a:lnTo>
                    <a:pt x="676" y="842"/>
                  </a:lnTo>
                  <a:lnTo>
                    <a:pt x="670" y="838"/>
                  </a:lnTo>
                  <a:lnTo>
                    <a:pt x="670" y="838"/>
                  </a:lnTo>
                  <a:lnTo>
                    <a:pt x="666" y="833"/>
                  </a:lnTo>
                  <a:lnTo>
                    <a:pt x="664" y="830"/>
                  </a:lnTo>
                  <a:lnTo>
                    <a:pt x="664" y="823"/>
                  </a:lnTo>
                  <a:lnTo>
                    <a:pt x="664" y="823"/>
                  </a:lnTo>
                  <a:lnTo>
                    <a:pt x="663" y="810"/>
                  </a:lnTo>
                  <a:lnTo>
                    <a:pt x="660" y="801"/>
                  </a:lnTo>
                  <a:lnTo>
                    <a:pt x="658" y="795"/>
                  </a:lnTo>
                  <a:lnTo>
                    <a:pt x="658" y="795"/>
                  </a:lnTo>
                  <a:lnTo>
                    <a:pt x="654" y="792"/>
                  </a:lnTo>
                  <a:lnTo>
                    <a:pt x="650" y="789"/>
                  </a:lnTo>
                  <a:lnTo>
                    <a:pt x="645" y="789"/>
                  </a:lnTo>
                  <a:lnTo>
                    <a:pt x="642" y="789"/>
                  </a:lnTo>
                  <a:lnTo>
                    <a:pt x="642" y="789"/>
                  </a:lnTo>
                  <a:lnTo>
                    <a:pt x="638" y="790"/>
                  </a:lnTo>
                  <a:lnTo>
                    <a:pt x="633" y="793"/>
                  </a:lnTo>
                  <a:lnTo>
                    <a:pt x="627" y="795"/>
                  </a:lnTo>
                  <a:lnTo>
                    <a:pt x="627" y="795"/>
                  </a:lnTo>
                  <a:lnTo>
                    <a:pt x="620" y="796"/>
                  </a:lnTo>
                  <a:lnTo>
                    <a:pt x="616" y="798"/>
                  </a:lnTo>
                  <a:lnTo>
                    <a:pt x="613" y="801"/>
                  </a:lnTo>
                  <a:lnTo>
                    <a:pt x="610" y="804"/>
                  </a:lnTo>
                  <a:lnTo>
                    <a:pt x="610" y="804"/>
                  </a:lnTo>
                  <a:lnTo>
                    <a:pt x="608" y="808"/>
                  </a:lnTo>
                  <a:lnTo>
                    <a:pt x="610" y="810"/>
                  </a:lnTo>
                  <a:lnTo>
                    <a:pt x="617" y="816"/>
                  </a:lnTo>
                  <a:lnTo>
                    <a:pt x="617" y="816"/>
                  </a:lnTo>
                  <a:lnTo>
                    <a:pt x="621" y="819"/>
                  </a:lnTo>
                  <a:lnTo>
                    <a:pt x="623" y="823"/>
                  </a:lnTo>
                  <a:lnTo>
                    <a:pt x="624" y="828"/>
                  </a:lnTo>
                  <a:lnTo>
                    <a:pt x="626" y="830"/>
                  </a:lnTo>
                  <a:lnTo>
                    <a:pt x="626" y="830"/>
                  </a:lnTo>
                  <a:lnTo>
                    <a:pt x="624" y="832"/>
                  </a:lnTo>
                  <a:lnTo>
                    <a:pt x="621" y="833"/>
                  </a:lnTo>
                  <a:lnTo>
                    <a:pt x="610" y="835"/>
                  </a:lnTo>
                  <a:lnTo>
                    <a:pt x="590" y="833"/>
                  </a:lnTo>
                  <a:lnTo>
                    <a:pt x="590" y="833"/>
                  </a:lnTo>
                  <a:lnTo>
                    <a:pt x="580" y="828"/>
                  </a:lnTo>
                  <a:lnTo>
                    <a:pt x="568" y="822"/>
                  </a:lnTo>
                  <a:lnTo>
                    <a:pt x="568" y="822"/>
                  </a:lnTo>
                  <a:lnTo>
                    <a:pt x="564" y="816"/>
                  </a:lnTo>
                  <a:lnTo>
                    <a:pt x="559" y="808"/>
                  </a:lnTo>
                  <a:lnTo>
                    <a:pt x="550" y="793"/>
                  </a:lnTo>
                  <a:lnTo>
                    <a:pt x="550" y="793"/>
                  </a:lnTo>
                  <a:lnTo>
                    <a:pt x="544" y="776"/>
                  </a:lnTo>
                  <a:lnTo>
                    <a:pt x="539" y="755"/>
                  </a:lnTo>
                  <a:lnTo>
                    <a:pt x="539" y="755"/>
                  </a:lnTo>
                  <a:lnTo>
                    <a:pt x="534" y="746"/>
                  </a:lnTo>
                  <a:lnTo>
                    <a:pt x="527" y="734"/>
                  </a:lnTo>
                  <a:lnTo>
                    <a:pt x="516" y="718"/>
                  </a:lnTo>
                  <a:lnTo>
                    <a:pt x="516" y="718"/>
                  </a:lnTo>
                  <a:lnTo>
                    <a:pt x="515" y="715"/>
                  </a:lnTo>
                  <a:lnTo>
                    <a:pt x="515" y="711"/>
                  </a:lnTo>
                  <a:lnTo>
                    <a:pt x="516" y="708"/>
                  </a:lnTo>
                  <a:lnTo>
                    <a:pt x="519" y="703"/>
                  </a:lnTo>
                  <a:lnTo>
                    <a:pt x="519" y="703"/>
                  </a:lnTo>
                  <a:lnTo>
                    <a:pt x="521" y="700"/>
                  </a:lnTo>
                  <a:lnTo>
                    <a:pt x="519" y="696"/>
                  </a:lnTo>
                  <a:lnTo>
                    <a:pt x="513" y="690"/>
                  </a:lnTo>
                  <a:lnTo>
                    <a:pt x="513" y="690"/>
                  </a:lnTo>
                  <a:lnTo>
                    <a:pt x="503" y="681"/>
                  </a:lnTo>
                  <a:lnTo>
                    <a:pt x="493" y="673"/>
                  </a:lnTo>
                  <a:lnTo>
                    <a:pt x="493" y="673"/>
                  </a:lnTo>
                  <a:lnTo>
                    <a:pt x="482" y="663"/>
                  </a:lnTo>
                  <a:lnTo>
                    <a:pt x="472" y="651"/>
                  </a:lnTo>
                  <a:lnTo>
                    <a:pt x="472" y="651"/>
                  </a:lnTo>
                  <a:lnTo>
                    <a:pt x="466" y="638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0"/>
                  </a:lnTo>
                  <a:lnTo>
                    <a:pt x="462" y="616"/>
                  </a:lnTo>
                  <a:lnTo>
                    <a:pt x="466" y="611"/>
                  </a:lnTo>
                  <a:lnTo>
                    <a:pt x="470" y="608"/>
                  </a:lnTo>
                  <a:lnTo>
                    <a:pt x="470" y="608"/>
                  </a:lnTo>
                  <a:lnTo>
                    <a:pt x="473" y="607"/>
                  </a:lnTo>
                  <a:lnTo>
                    <a:pt x="476" y="604"/>
                  </a:lnTo>
                  <a:lnTo>
                    <a:pt x="479" y="596"/>
                  </a:lnTo>
                  <a:lnTo>
                    <a:pt x="479" y="596"/>
                  </a:lnTo>
                  <a:lnTo>
                    <a:pt x="481" y="589"/>
                  </a:lnTo>
                  <a:lnTo>
                    <a:pt x="482" y="583"/>
                  </a:lnTo>
                  <a:lnTo>
                    <a:pt x="484" y="580"/>
                  </a:lnTo>
                  <a:lnTo>
                    <a:pt x="484" y="580"/>
                  </a:lnTo>
                  <a:lnTo>
                    <a:pt x="487" y="580"/>
                  </a:lnTo>
                  <a:lnTo>
                    <a:pt x="490" y="580"/>
                  </a:lnTo>
                  <a:lnTo>
                    <a:pt x="494" y="580"/>
                  </a:lnTo>
                  <a:lnTo>
                    <a:pt x="500" y="580"/>
                  </a:lnTo>
                  <a:lnTo>
                    <a:pt x="500" y="580"/>
                  </a:lnTo>
                  <a:lnTo>
                    <a:pt x="502" y="579"/>
                  </a:lnTo>
                  <a:lnTo>
                    <a:pt x="504" y="577"/>
                  </a:lnTo>
                  <a:lnTo>
                    <a:pt x="507" y="571"/>
                  </a:lnTo>
                  <a:lnTo>
                    <a:pt x="507" y="564"/>
                  </a:lnTo>
                  <a:lnTo>
                    <a:pt x="509" y="558"/>
                  </a:lnTo>
                  <a:lnTo>
                    <a:pt x="509" y="558"/>
                  </a:lnTo>
                  <a:lnTo>
                    <a:pt x="507" y="552"/>
                  </a:lnTo>
                  <a:lnTo>
                    <a:pt x="503" y="545"/>
                  </a:lnTo>
                  <a:lnTo>
                    <a:pt x="500" y="537"/>
                  </a:lnTo>
                  <a:lnTo>
                    <a:pt x="497" y="530"/>
                  </a:lnTo>
                  <a:lnTo>
                    <a:pt x="497" y="530"/>
                  </a:lnTo>
                  <a:lnTo>
                    <a:pt x="490" y="493"/>
                  </a:lnTo>
                  <a:lnTo>
                    <a:pt x="490" y="493"/>
                  </a:lnTo>
                  <a:lnTo>
                    <a:pt x="490" y="490"/>
                  </a:lnTo>
                  <a:lnTo>
                    <a:pt x="491" y="487"/>
                  </a:lnTo>
                  <a:lnTo>
                    <a:pt x="493" y="484"/>
                  </a:lnTo>
                  <a:lnTo>
                    <a:pt x="496" y="482"/>
                  </a:lnTo>
                  <a:lnTo>
                    <a:pt x="502" y="481"/>
                  </a:lnTo>
                  <a:lnTo>
                    <a:pt x="506" y="479"/>
                  </a:lnTo>
                  <a:lnTo>
                    <a:pt x="506" y="479"/>
                  </a:lnTo>
                  <a:lnTo>
                    <a:pt x="509" y="481"/>
                  </a:lnTo>
                  <a:lnTo>
                    <a:pt x="512" y="482"/>
                  </a:lnTo>
                  <a:lnTo>
                    <a:pt x="518" y="490"/>
                  </a:lnTo>
                  <a:lnTo>
                    <a:pt x="524" y="496"/>
                  </a:lnTo>
                  <a:lnTo>
                    <a:pt x="527" y="502"/>
                  </a:lnTo>
                  <a:lnTo>
                    <a:pt x="527" y="502"/>
                  </a:lnTo>
                  <a:lnTo>
                    <a:pt x="528" y="505"/>
                  </a:lnTo>
                  <a:lnTo>
                    <a:pt x="533" y="512"/>
                  </a:lnTo>
                  <a:lnTo>
                    <a:pt x="537" y="517"/>
                  </a:lnTo>
                  <a:lnTo>
                    <a:pt x="541" y="519"/>
                  </a:lnTo>
                  <a:lnTo>
                    <a:pt x="544" y="519"/>
                  </a:lnTo>
                  <a:lnTo>
                    <a:pt x="544" y="519"/>
                  </a:lnTo>
                  <a:lnTo>
                    <a:pt x="549" y="519"/>
                  </a:lnTo>
                  <a:lnTo>
                    <a:pt x="550" y="519"/>
                  </a:lnTo>
                  <a:lnTo>
                    <a:pt x="552" y="517"/>
                  </a:lnTo>
                  <a:lnTo>
                    <a:pt x="552" y="514"/>
                  </a:lnTo>
                  <a:lnTo>
                    <a:pt x="553" y="508"/>
                  </a:lnTo>
                  <a:lnTo>
                    <a:pt x="552" y="502"/>
                  </a:lnTo>
                  <a:lnTo>
                    <a:pt x="552" y="502"/>
                  </a:lnTo>
                  <a:lnTo>
                    <a:pt x="550" y="496"/>
                  </a:lnTo>
                  <a:lnTo>
                    <a:pt x="547" y="488"/>
                  </a:lnTo>
                  <a:lnTo>
                    <a:pt x="543" y="482"/>
                  </a:lnTo>
                  <a:lnTo>
                    <a:pt x="540" y="475"/>
                  </a:lnTo>
                  <a:lnTo>
                    <a:pt x="540" y="475"/>
                  </a:lnTo>
                  <a:lnTo>
                    <a:pt x="534" y="462"/>
                  </a:lnTo>
                  <a:lnTo>
                    <a:pt x="530" y="453"/>
                  </a:lnTo>
                  <a:lnTo>
                    <a:pt x="528" y="445"/>
                  </a:lnTo>
                  <a:lnTo>
                    <a:pt x="528" y="445"/>
                  </a:lnTo>
                  <a:lnTo>
                    <a:pt x="528" y="435"/>
                  </a:lnTo>
                  <a:lnTo>
                    <a:pt x="528" y="420"/>
                  </a:lnTo>
                  <a:lnTo>
                    <a:pt x="531" y="398"/>
                  </a:lnTo>
                  <a:lnTo>
                    <a:pt x="531" y="398"/>
                  </a:lnTo>
                  <a:lnTo>
                    <a:pt x="533" y="385"/>
                  </a:lnTo>
                  <a:lnTo>
                    <a:pt x="534" y="371"/>
                  </a:lnTo>
                  <a:lnTo>
                    <a:pt x="534" y="371"/>
                  </a:lnTo>
                  <a:lnTo>
                    <a:pt x="537" y="361"/>
                  </a:lnTo>
                  <a:lnTo>
                    <a:pt x="541" y="352"/>
                  </a:lnTo>
                  <a:lnTo>
                    <a:pt x="541" y="352"/>
                  </a:lnTo>
                  <a:lnTo>
                    <a:pt x="546" y="348"/>
                  </a:lnTo>
                  <a:lnTo>
                    <a:pt x="552" y="340"/>
                  </a:lnTo>
                  <a:lnTo>
                    <a:pt x="559" y="334"/>
                  </a:lnTo>
                  <a:lnTo>
                    <a:pt x="565" y="330"/>
                  </a:lnTo>
                  <a:lnTo>
                    <a:pt x="565" y="330"/>
                  </a:lnTo>
                  <a:lnTo>
                    <a:pt x="581" y="324"/>
                  </a:lnTo>
                  <a:lnTo>
                    <a:pt x="590" y="321"/>
                  </a:lnTo>
                  <a:lnTo>
                    <a:pt x="596" y="320"/>
                  </a:lnTo>
                  <a:lnTo>
                    <a:pt x="596" y="320"/>
                  </a:lnTo>
                  <a:lnTo>
                    <a:pt x="604" y="321"/>
                  </a:lnTo>
                  <a:lnTo>
                    <a:pt x="611" y="322"/>
                  </a:lnTo>
                  <a:lnTo>
                    <a:pt x="626" y="327"/>
                  </a:lnTo>
                  <a:lnTo>
                    <a:pt x="626" y="327"/>
                  </a:lnTo>
                  <a:lnTo>
                    <a:pt x="630" y="328"/>
                  </a:lnTo>
                  <a:lnTo>
                    <a:pt x="633" y="328"/>
                  </a:lnTo>
                  <a:lnTo>
                    <a:pt x="638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18"/>
                  </a:lnTo>
                  <a:lnTo>
                    <a:pt x="644" y="312"/>
                  </a:lnTo>
                  <a:lnTo>
                    <a:pt x="644" y="306"/>
                  </a:lnTo>
                  <a:lnTo>
                    <a:pt x="644" y="306"/>
                  </a:lnTo>
                  <a:lnTo>
                    <a:pt x="641" y="300"/>
                  </a:lnTo>
                  <a:lnTo>
                    <a:pt x="638" y="294"/>
                  </a:lnTo>
                  <a:lnTo>
                    <a:pt x="626" y="284"/>
                  </a:lnTo>
                  <a:lnTo>
                    <a:pt x="626" y="284"/>
                  </a:lnTo>
                  <a:lnTo>
                    <a:pt x="623" y="278"/>
                  </a:lnTo>
                  <a:lnTo>
                    <a:pt x="620" y="271"/>
                  </a:lnTo>
                  <a:lnTo>
                    <a:pt x="618" y="259"/>
                  </a:lnTo>
                  <a:lnTo>
                    <a:pt x="618" y="259"/>
                  </a:lnTo>
                  <a:lnTo>
                    <a:pt x="617" y="240"/>
                  </a:lnTo>
                  <a:lnTo>
                    <a:pt x="614" y="220"/>
                  </a:lnTo>
                  <a:lnTo>
                    <a:pt x="614" y="220"/>
                  </a:lnTo>
                  <a:lnTo>
                    <a:pt x="613" y="216"/>
                  </a:lnTo>
                  <a:lnTo>
                    <a:pt x="610" y="211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1" y="201"/>
                  </a:lnTo>
                  <a:lnTo>
                    <a:pt x="601" y="198"/>
                  </a:lnTo>
                  <a:lnTo>
                    <a:pt x="601" y="186"/>
                  </a:lnTo>
                  <a:lnTo>
                    <a:pt x="601" y="174"/>
                  </a:lnTo>
                  <a:lnTo>
                    <a:pt x="601" y="165"/>
                  </a:lnTo>
                  <a:lnTo>
                    <a:pt x="601" y="165"/>
                  </a:lnTo>
                  <a:lnTo>
                    <a:pt x="598" y="155"/>
                  </a:lnTo>
                  <a:lnTo>
                    <a:pt x="593" y="142"/>
                  </a:lnTo>
                  <a:lnTo>
                    <a:pt x="586" y="127"/>
                  </a:lnTo>
                  <a:lnTo>
                    <a:pt x="581" y="123"/>
                  </a:lnTo>
                  <a:lnTo>
                    <a:pt x="579" y="118"/>
                  </a:lnTo>
                  <a:lnTo>
                    <a:pt x="579" y="118"/>
                  </a:lnTo>
                  <a:lnTo>
                    <a:pt x="574" y="114"/>
                  </a:lnTo>
                  <a:lnTo>
                    <a:pt x="573" y="111"/>
                  </a:lnTo>
                  <a:lnTo>
                    <a:pt x="574" y="106"/>
                  </a:lnTo>
                  <a:lnTo>
                    <a:pt x="574" y="106"/>
                  </a:lnTo>
                  <a:lnTo>
                    <a:pt x="576" y="99"/>
                  </a:lnTo>
                  <a:lnTo>
                    <a:pt x="576" y="94"/>
                  </a:lnTo>
                  <a:lnTo>
                    <a:pt x="574" y="91"/>
                  </a:lnTo>
                  <a:lnTo>
                    <a:pt x="574" y="91"/>
                  </a:lnTo>
                  <a:lnTo>
                    <a:pt x="571" y="86"/>
                  </a:lnTo>
                  <a:lnTo>
                    <a:pt x="565" y="78"/>
                  </a:lnTo>
                  <a:lnTo>
                    <a:pt x="565" y="78"/>
                  </a:lnTo>
                  <a:lnTo>
                    <a:pt x="562" y="77"/>
                  </a:lnTo>
                  <a:lnTo>
                    <a:pt x="561" y="72"/>
                  </a:lnTo>
                  <a:lnTo>
                    <a:pt x="561" y="65"/>
                  </a:lnTo>
                  <a:lnTo>
                    <a:pt x="561" y="65"/>
                  </a:lnTo>
                  <a:lnTo>
                    <a:pt x="562" y="62"/>
                  </a:lnTo>
                  <a:lnTo>
                    <a:pt x="564" y="59"/>
                  </a:lnTo>
                  <a:lnTo>
                    <a:pt x="568" y="51"/>
                  </a:lnTo>
                  <a:lnTo>
                    <a:pt x="568" y="51"/>
                  </a:lnTo>
                  <a:lnTo>
                    <a:pt x="570" y="48"/>
                  </a:lnTo>
                  <a:lnTo>
                    <a:pt x="570" y="44"/>
                  </a:lnTo>
                  <a:lnTo>
                    <a:pt x="570" y="35"/>
                  </a:lnTo>
                  <a:lnTo>
                    <a:pt x="568" y="19"/>
                  </a:lnTo>
                  <a:lnTo>
                    <a:pt x="568" y="19"/>
                  </a:lnTo>
                  <a:lnTo>
                    <a:pt x="567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56" y="7"/>
                  </a:lnTo>
                  <a:lnTo>
                    <a:pt x="552" y="7"/>
                  </a:lnTo>
                  <a:lnTo>
                    <a:pt x="549" y="7"/>
                  </a:lnTo>
                  <a:lnTo>
                    <a:pt x="549" y="7"/>
                  </a:lnTo>
                  <a:lnTo>
                    <a:pt x="540" y="9"/>
                  </a:lnTo>
                  <a:lnTo>
                    <a:pt x="536" y="10"/>
                  </a:lnTo>
                  <a:lnTo>
                    <a:pt x="528" y="9"/>
                  </a:lnTo>
                  <a:lnTo>
                    <a:pt x="528" y="9"/>
                  </a:lnTo>
                  <a:lnTo>
                    <a:pt x="518" y="7"/>
                  </a:lnTo>
                  <a:lnTo>
                    <a:pt x="515" y="4"/>
                  </a:lnTo>
                  <a:lnTo>
                    <a:pt x="512" y="1"/>
                  </a:lnTo>
                  <a:lnTo>
                    <a:pt x="512" y="1"/>
                  </a:lnTo>
                  <a:lnTo>
                    <a:pt x="510" y="0"/>
                  </a:lnTo>
                  <a:lnTo>
                    <a:pt x="507" y="0"/>
                  </a:lnTo>
                  <a:lnTo>
                    <a:pt x="503" y="1"/>
                  </a:lnTo>
                  <a:lnTo>
                    <a:pt x="497" y="6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88" y="17"/>
                  </a:lnTo>
                  <a:lnTo>
                    <a:pt x="488" y="22"/>
                  </a:lnTo>
                  <a:lnTo>
                    <a:pt x="490" y="28"/>
                  </a:lnTo>
                  <a:lnTo>
                    <a:pt x="493" y="32"/>
                  </a:lnTo>
                  <a:lnTo>
                    <a:pt x="493" y="32"/>
                  </a:lnTo>
                  <a:lnTo>
                    <a:pt x="496" y="37"/>
                  </a:lnTo>
                  <a:lnTo>
                    <a:pt x="496" y="41"/>
                  </a:lnTo>
                  <a:lnTo>
                    <a:pt x="496" y="47"/>
                  </a:lnTo>
                  <a:lnTo>
                    <a:pt x="496" y="51"/>
                  </a:lnTo>
                  <a:lnTo>
                    <a:pt x="496" y="51"/>
                  </a:lnTo>
                  <a:lnTo>
                    <a:pt x="494" y="54"/>
                  </a:lnTo>
                  <a:lnTo>
                    <a:pt x="493" y="56"/>
                  </a:lnTo>
                  <a:lnTo>
                    <a:pt x="490" y="57"/>
                  </a:lnTo>
                  <a:lnTo>
                    <a:pt x="485" y="60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2" y="69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5" y="78"/>
                  </a:lnTo>
                  <a:lnTo>
                    <a:pt x="473" y="81"/>
                  </a:lnTo>
                  <a:lnTo>
                    <a:pt x="472" y="86"/>
                  </a:lnTo>
                  <a:lnTo>
                    <a:pt x="469" y="90"/>
                  </a:lnTo>
                  <a:lnTo>
                    <a:pt x="469" y="90"/>
                  </a:lnTo>
                  <a:lnTo>
                    <a:pt x="466" y="94"/>
                  </a:lnTo>
                  <a:lnTo>
                    <a:pt x="462" y="96"/>
                  </a:lnTo>
                  <a:lnTo>
                    <a:pt x="460" y="99"/>
                  </a:lnTo>
                  <a:lnTo>
                    <a:pt x="459" y="105"/>
                  </a:lnTo>
                  <a:lnTo>
                    <a:pt x="459" y="105"/>
                  </a:lnTo>
                  <a:lnTo>
                    <a:pt x="457" y="111"/>
                  </a:lnTo>
                  <a:lnTo>
                    <a:pt x="456" y="117"/>
                  </a:lnTo>
                  <a:lnTo>
                    <a:pt x="450" y="126"/>
                  </a:lnTo>
                  <a:lnTo>
                    <a:pt x="450" y="126"/>
                  </a:lnTo>
                  <a:lnTo>
                    <a:pt x="448" y="130"/>
                  </a:lnTo>
                  <a:lnTo>
                    <a:pt x="445" y="131"/>
                  </a:lnTo>
                  <a:lnTo>
                    <a:pt x="442" y="134"/>
                  </a:lnTo>
                  <a:lnTo>
                    <a:pt x="441" y="139"/>
                  </a:lnTo>
                  <a:lnTo>
                    <a:pt x="441" y="139"/>
                  </a:lnTo>
                  <a:lnTo>
                    <a:pt x="441" y="151"/>
                  </a:lnTo>
                  <a:lnTo>
                    <a:pt x="439" y="163"/>
                  </a:lnTo>
                  <a:lnTo>
                    <a:pt x="439" y="163"/>
                  </a:lnTo>
                  <a:lnTo>
                    <a:pt x="438" y="167"/>
                  </a:lnTo>
                  <a:lnTo>
                    <a:pt x="435" y="168"/>
                  </a:lnTo>
                  <a:lnTo>
                    <a:pt x="430" y="170"/>
                  </a:lnTo>
                  <a:lnTo>
                    <a:pt x="427" y="173"/>
                  </a:lnTo>
                  <a:lnTo>
                    <a:pt x="427" y="173"/>
                  </a:lnTo>
                  <a:lnTo>
                    <a:pt x="425" y="179"/>
                  </a:lnTo>
                  <a:lnTo>
                    <a:pt x="423" y="182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16" y="186"/>
                  </a:lnTo>
                  <a:lnTo>
                    <a:pt x="411" y="186"/>
                  </a:lnTo>
                  <a:lnTo>
                    <a:pt x="405" y="183"/>
                  </a:lnTo>
                  <a:lnTo>
                    <a:pt x="399" y="179"/>
                  </a:lnTo>
                  <a:lnTo>
                    <a:pt x="399" y="179"/>
                  </a:lnTo>
                  <a:lnTo>
                    <a:pt x="396" y="176"/>
                  </a:lnTo>
                  <a:lnTo>
                    <a:pt x="393" y="174"/>
                  </a:lnTo>
                  <a:lnTo>
                    <a:pt x="387" y="174"/>
                  </a:lnTo>
                  <a:lnTo>
                    <a:pt x="383" y="177"/>
                  </a:lnTo>
                  <a:lnTo>
                    <a:pt x="380" y="180"/>
                  </a:lnTo>
                  <a:lnTo>
                    <a:pt x="380" y="180"/>
                  </a:lnTo>
                  <a:lnTo>
                    <a:pt x="379" y="185"/>
                  </a:lnTo>
                  <a:lnTo>
                    <a:pt x="374" y="189"/>
                  </a:lnTo>
                  <a:lnTo>
                    <a:pt x="370" y="191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53" y="195"/>
                  </a:lnTo>
                  <a:lnTo>
                    <a:pt x="346" y="198"/>
                  </a:lnTo>
                  <a:lnTo>
                    <a:pt x="340" y="203"/>
                  </a:lnTo>
                  <a:lnTo>
                    <a:pt x="336" y="207"/>
                  </a:lnTo>
                  <a:lnTo>
                    <a:pt x="336" y="207"/>
                  </a:lnTo>
                  <a:lnTo>
                    <a:pt x="328" y="219"/>
                  </a:lnTo>
                  <a:lnTo>
                    <a:pt x="322" y="225"/>
                  </a:lnTo>
                  <a:lnTo>
                    <a:pt x="322" y="225"/>
                  </a:lnTo>
                  <a:lnTo>
                    <a:pt x="319" y="225"/>
                  </a:lnTo>
                  <a:lnTo>
                    <a:pt x="316" y="223"/>
                  </a:lnTo>
                  <a:lnTo>
                    <a:pt x="309" y="211"/>
                  </a:lnTo>
                  <a:lnTo>
                    <a:pt x="309" y="211"/>
                  </a:lnTo>
                  <a:lnTo>
                    <a:pt x="305" y="205"/>
                  </a:lnTo>
                  <a:lnTo>
                    <a:pt x="302" y="201"/>
                  </a:lnTo>
                  <a:lnTo>
                    <a:pt x="299" y="198"/>
                  </a:lnTo>
                  <a:lnTo>
                    <a:pt x="297" y="192"/>
                  </a:lnTo>
                  <a:lnTo>
                    <a:pt x="297" y="192"/>
                  </a:lnTo>
                  <a:lnTo>
                    <a:pt x="296" y="188"/>
                  </a:lnTo>
                  <a:lnTo>
                    <a:pt x="293" y="182"/>
                  </a:lnTo>
                  <a:lnTo>
                    <a:pt x="282" y="165"/>
                  </a:lnTo>
                  <a:lnTo>
                    <a:pt x="282" y="165"/>
                  </a:lnTo>
                  <a:lnTo>
                    <a:pt x="279" y="157"/>
                  </a:lnTo>
                  <a:lnTo>
                    <a:pt x="278" y="149"/>
                  </a:lnTo>
                  <a:lnTo>
                    <a:pt x="275" y="142"/>
                  </a:lnTo>
                  <a:lnTo>
                    <a:pt x="273" y="139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66" y="137"/>
                  </a:lnTo>
                  <a:lnTo>
                    <a:pt x="262" y="137"/>
                  </a:lnTo>
                  <a:lnTo>
                    <a:pt x="251" y="140"/>
                  </a:lnTo>
                  <a:lnTo>
                    <a:pt x="241" y="145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26" y="154"/>
                  </a:lnTo>
                  <a:lnTo>
                    <a:pt x="217" y="154"/>
                  </a:lnTo>
                  <a:lnTo>
                    <a:pt x="208" y="152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89" y="148"/>
                  </a:lnTo>
                  <a:lnTo>
                    <a:pt x="185" y="149"/>
                  </a:lnTo>
                  <a:lnTo>
                    <a:pt x="182" y="152"/>
                  </a:lnTo>
                  <a:lnTo>
                    <a:pt x="179" y="160"/>
                  </a:lnTo>
                  <a:lnTo>
                    <a:pt x="179" y="160"/>
                  </a:lnTo>
                  <a:lnTo>
                    <a:pt x="170" y="171"/>
                  </a:lnTo>
                  <a:lnTo>
                    <a:pt x="165" y="176"/>
                  </a:lnTo>
                  <a:lnTo>
                    <a:pt x="161" y="179"/>
                  </a:lnTo>
                  <a:lnTo>
                    <a:pt x="161" y="179"/>
                  </a:lnTo>
                  <a:lnTo>
                    <a:pt x="156" y="179"/>
                  </a:lnTo>
                  <a:lnTo>
                    <a:pt x="152" y="179"/>
                  </a:lnTo>
                  <a:lnTo>
                    <a:pt x="148" y="179"/>
                  </a:lnTo>
                  <a:lnTo>
                    <a:pt x="145" y="179"/>
                  </a:lnTo>
                  <a:lnTo>
                    <a:pt x="145" y="179"/>
                  </a:lnTo>
                  <a:lnTo>
                    <a:pt x="142" y="182"/>
                  </a:lnTo>
                  <a:lnTo>
                    <a:pt x="139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25" y="183"/>
                  </a:lnTo>
                  <a:lnTo>
                    <a:pt x="122" y="186"/>
                  </a:lnTo>
                  <a:lnTo>
                    <a:pt x="121" y="19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7"/>
                  </a:lnTo>
                  <a:lnTo>
                    <a:pt x="118" y="210"/>
                  </a:lnTo>
                  <a:lnTo>
                    <a:pt x="115" y="213"/>
                  </a:lnTo>
                  <a:lnTo>
                    <a:pt x="109" y="217"/>
                  </a:lnTo>
                  <a:lnTo>
                    <a:pt x="109" y="217"/>
                  </a:lnTo>
                  <a:lnTo>
                    <a:pt x="103" y="222"/>
                  </a:lnTo>
                  <a:lnTo>
                    <a:pt x="102" y="226"/>
                  </a:lnTo>
                  <a:lnTo>
                    <a:pt x="100" y="235"/>
                  </a:lnTo>
                  <a:lnTo>
                    <a:pt x="100" y="235"/>
                  </a:lnTo>
                  <a:lnTo>
                    <a:pt x="97" y="240"/>
                  </a:lnTo>
                  <a:lnTo>
                    <a:pt x="93" y="243"/>
                  </a:lnTo>
                  <a:lnTo>
                    <a:pt x="88" y="243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75" y="238"/>
                  </a:lnTo>
                  <a:lnTo>
                    <a:pt x="72" y="237"/>
                  </a:lnTo>
                  <a:lnTo>
                    <a:pt x="69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3" y="240"/>
                  </a:lnTo>
                  <a:lnTo>
                    <a:pt x="62" y="244"/>
                  </a:lnTo>
                  <a:lnTo>
                    <a:pt x="60" y="247"/>
                  </a:lnTo>
                  <a:lnTo>
                    <a:pt x="59" y="248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54" y="250"/>
                  </a:lnTo>
                  <a:lnTo>
                    <a:pt x="51" y="253"/>
                  </a:lnTo>
                  <a:lnTo>
                    <a:pt x="51" y="257"/>
                  </a:lnTo>
                  <a:lnTo>
                    <a:pt x="51" y="260"/>
                  </a:lnTo>
                  <a:lnTo>
                    <a:pt x="51" y="260"/>
                  </a:lnTo>
                  <a:lnTo>
                    <a:pt x="53" y="263"/>
                  </a:lnTo>
                  <a:lnTo>
                    <a:pt x="57" y="268"/>
                  </a:lnTo>
                  <a:lnTo>
                    <a:pt x="62" y="271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3" y="275"/>
                  </a:lnTo>
                  <a:lnTo>
                    <a:pt x="62" y="277"/>
                  </a:lnTo>
                  <a:lnTo>
                    <a:pt x="56" y="278"/>
                  </a:lnTo>
                  <a:lnTo>
                    <a:pt x="40" y="281"/>
                  </a:lnTo>
                  <a:lnTo>
                    <a:pt x="40" y="281"/>
                  </a:lnTo>
                  <a:lnTo>
                    <a:pt x="32" y="284"/>
                  </a:lnTo>
                  <a:lnTo>
                    <a:pt x="26" y="287"/>
                  </a:lnTo>
                  <a:lnTo>
                    <a:pt x="20" y="290"/>
                  </a:lnTo>
                  <a:lnTo>
                    <a:pt x="19" y="294"/>
                  </a:lnTo>
                  <a:lnTo>
                    <a:pt x="19" y="294"/>
                  </a:lnTo>
                  <a:lnTo>
                    <a:pt x="14" y="302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4" y="314"/>
                  </a:lnTo>
                  <a:lnTo>
                    <a:pt x="1" y="321"/>
                  </a:lnTo>
                  <a:lnTo>
                    <a:pt x="0" y="327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4" y="343"/>
                  </a:lnTo>
                  <a:lnTo>
                    <a:pt x="4" y="343"/>
                  </a:lnTo>
                  <a:lnTo>
                    <a:pt x="5" y="343"/>
                  </a:lnTo>
                  <a:lnTo>
                    <a:pt x="8" y="345"/>
                  </a:lnTo>
                  <a:lnTo>
                    <a:pt x="11" y="348"/>
                  </a:lnTo>
                  <a:lnTo>
                    <a:pt x="16" y="349"/>
                  </a:lnTo>
                  <a:lnTo>
                    <a:pt x="16" y="349"/>
                  </a:lnTo>
                  <a:lnTo>
                    <a:pt x="28" y="352"/>
                  </a:lnTo>
                  <a:lnTo>
                    <a:pt x="32" y="351"/>
                  </a:lnTo>
                  <a:lnTo>
                    <a:pt x="35" y="349"/>
                  </a:lnTo>
                  <a:lnTo>
                    <a:pt x="35" y="349"/>
                  </a:lnTo>
                  <a:lnTo>
                    <a:pt x="38" y="346"/>
                  </a:lnTo>
                  <a:lnTo>
                    <a:pt x="42" y="345"/>
                  </a:lnTo>
                  <a:lnTo>
                    <a:pt x="47" y="346"/>
                  </a:lnTo>
                  <a:lnTo>
                    <a:pt x="48" y="349"/>
                  </a:lnTo>
                  <a:lnTo>
                    <a:pt x="50" y="352"/>
                  </a:lnTo>
                  <a:lnTo>
                    <a:pt x="50" y="352"/>
                  </a:lnTo>
                  <a:lnTo>
                    <a:pt x="53" y="360"/>
                  </a:lnTo>
                  <a:lnTo>
                    <a:pt x="59" y="365"/>
                  </a:lnTo>
                  <a:lnTo>
                    <a:pt x="63" y="371"/>
                  </a:lnTo>
                  <a:lnTo>
                    <a:pt x="63" y="373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2" y="379"/>
                  </a:lnTo>
                  <a:lnTo>
                    <a:pt x="57" y="383"/>
                  </a:lnTo>
                  <a:lnTo>
                    <a:pt x="56" y="386"/>
                  </a:lnTo>
                  <a:lnTo>
                    <a:pt x="54" y="388"/>
                  </a:lnTo>
                  <a:lnTo>
                    <a:pt x="56" y="389"/>
                  </a:lnTo>
                  <a:lnTo>
                    <a:pt x="56" y="389"/>
                  </a:lnTo>
                  <a:lnTo>
                    <a:pt x="59" y="392"/>
                  </a:lnTo>
                  <a:lnTo>
                    <a:pt x="65" y="394"/>
                  </a:lnTo>
                  <a:lnTo>
                    <a:pt x="69" y="395"/>
                  </a:lnTo>
                  <a:lnTo>
                    <a:pt x="75" y="400"/>
                  </a:lnTo>
                  <a:lnTo>
                    <a:pt x="75" y="4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6" name="Freeform 75">
              <a:extLst>
                <a:ext uri="{FF2B5EF4-FFF2-40B4-BE49-F238E27FC236}">
                  <a16:creationId xmlns:a16="http://schemas.microsoft.com/office/drawing/2014/main" id="{A592022F-2EBF-7E4D-B170-C835CBC04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9075" y="4443413"/>
              <a:ext cx="396875" cy="300037"/>
            </a:xfrm>
            <a:custGeom>
              <a:avLst/>
              <a:gdLst>
                <a:gd name="T0" fmla="*/ 9 w 250"/>
                <a:gd name="T1" fmla="*/ 140 h 189"/>
                <a:gd name="T2" fmla="*/ 12 w 250"/>
                <a:gd name="T3" fmla="*/ 155 h 189"/>
                <a:gd name="T4" fmla="*/ 6 w 250"/>
                <a:gd name="T5" fmla="*/ 161 h 189"/>
                <a:gd name="T6" fmla="*/ 25 w 250"/>
                <a:gd name="T7" fmla="*/ 170 h 189"/>
                <a:gd name="T8" fmla="*/ 40 w 250"/>
                <a:gd name="T9" fmla="*/ 171 h 189"/>
                <a:gd name="T10" fmla="*/ 54 w 250"/>
                <a:gd name="T11" fmla="*/ 170 h 189"/>
                <a:gd name="T12" fmla="*/ 70 w 250"/>
                <a:gd name="T13" fmla="*/ 182 h 189"/>
                <a:gd name="T14" fmla="*/ 79 w 250"/>
                <a:gd name="T15" fmla="*/ 186 h 189"/>
                <a:gd name="T16" fmla="*/ 85 w 250"/>
                <a:gd name="T17" fmla="*/ 183 h 189"/>
                <a:gd name="T18" fmla="*/ 85 w 250"/>
                <a:gd name="T19" fmla="*/ 170 h 189"/>
                <a:gd name="T20" fmla="*/ 92 w 250"/>
                <a:gd name="T21" fmla="*/ 167 h 189"/>
                <a:gd name="T22" fmla="*/ 104 w 250"/>
                <a:gd name="T23" fmla="*/ 168 h 189"/>
                <a:gd name="T24" fmla="*/ 113 w 250"/>
                <a:gd name="T25" fmla="*/ 167 h 189"/>
                <a:gd name="T26" fmla="*/ 126 w 250"/>
                <a:gd name="T27" fmla="*/ 162 h 189"/>
                <a:gd name="T28" fmla="*/ 139 w 250"/>
                <a:gd name="T29" fmla="*/ 165 h 189"/>
                <a:gd name="T30" fmla="*/ 156 w 250"/>
                <a:gd name="T31" fmla="*/ 170 h 189"/>
                <a:gd name="T32" fmla="*/ 159 w 250"/>
                <a:gd name="T33" fmla="*/ 179 h 189"/>
                <a:gd name="T34" fmla="*/ 171 w 250"/>
                <a:gd name="T35" fmla="*/ 189 h 189"/>
                <a:gd name="T36" fmla="*/ 175 w 250"/>
                <a:gd name="T37" fmla="*/ 185 h 189"/>
                <a:gd name="T38" fmla="*/ 182 w 250"/>
                <a:gd name="T39" fmla="*/ 174 h 189"/>
                <a:gd name="T40" fmla="*/ 188 w 250"/>
                <a:gd name="T41" fmla="*/ 176 h 189"/>
                <a:gd name="T42" fmla="*/ 199 w 250"/>
                <a:gd name="T43" fmla="*/ 182 h 189"/>
                <a:gd name="T44" fmla="*/ 212 w 250"/>
                <a:gd name="T45" fmla="*/ 179 h 189"/>
                <a:gd name="T46" fmla="*/ 230 w 250"/>
                <a:gd name="T47" fmla="*/ 174 h 189"/>
                <a:gd name="T48" fmla="*/ 239 w 250"/>
                <a:gd name="T49" fmla="*/ 165 h 189"/>
                <a:gd name="T50" fmla="*/ 248 w 250"/>
                <a:gd name="T51" fmla="*/ 142 h 189"/>
                <a:gd name="T52" fmla="*/ 249 w 250"/>
                <a:gd name="T53" fmla="*/ 115 h 189"/>
                <a:gd name="T54" fmla="*/ 248 w 250"/>
                <a:gd name="T55" fmla="*/ 106 h 189"/>
                <a:gd name="T56" fmla="*/ 239 w 250"/>
                <a:gd name="T57" fmla="*/ 100 h 189"/>
                <a:gd name="T58" fmla="*/ 225 w 250"/>
                <a:gd name="T59" fmla="*/ 90 h 189"/>
                <a:gd name="T60" fmla="*/ 212 w 250"/>
                <a:gd name="T61" fmla="*/ 87 h 189"/>
                <a:gd name="T62" fmla="*/ 212 w 250"/>
                <a:gd name="T63" fmla="*/ 82 h 189"/>
                <a:gd name="T64" fmla="*/ 213 w 250"/>
                <a:gd name="T65" fmla="*/ 62 h 189"/>
                <a:gd name="T66" fmla="*/ 206 w 250"/>
                <a:gd name="T67" fmla="*/ 54 h 189"/>
                <a:gd name="T68" fmla="*/ 171 w 250"/>
                <a:gd name="T69" fmla="*/ 48 h 189"/>
                <a:gd name="T70" fmla="*/ 138 w 250"/>
                <a:gd name="T71" fmla="*/ 50 h 189"/>
                <a:gd name="T72" fmla="*/ 126 w 250"/>
                <a:gd name="T73" fmla="*/ 56 h 189"/>
                <a:gd name="T74" fmla="*/ 117 w 250"/>
                <a:gd name="T75" fmla="*/ 56 h 189"/>
                <a:gd name="T76" fmla="*/ 113 w 250"/>
                <a:gd name="T77" fmla="*/ 44 h 189"/>
                <a:gd name="T78" fmla="*/ 104 w 250"/>
                <a:gd name="T79" fmla="*/ 44 h 189"/>
                <a:gd name="T80" fmla="*/ 86 w 250"/>
                <a:gd name="T81" fmla="*/ 54 h 189"/>
                <a:gd name="T82" fmla="*/ 82 w 250"/>
                <a:gd name="T83" fmla="*/ 45 h 189"/>
                <a:gd name="T84" fmla="*/ 85 w 250"/>
                <a:gd name="T85" fmla="*/ 23 h 189"/>
                <a:gd name="T86" fmla="*/ 79 w 250"/>
                <a:gd name="T87" fmla="*/ 7 h 189"/>
                <a:gd name="T88" fmla="*/ 71 w 250"/>
                <a:gd name="T89" fmla="*/ 1 h 189"/>
                <a:gd name="T90" fmla="*/ 61 w 250"/>
                <a:gd name="T91" fmla="*/ 1 h 189"/>
                <a:gd name="T92" fmla="*/ 36 w 250"/>
                <a:gd name="T93" fmla="*/ 23 h 189"/>
                <a:gd name="T94" fmla="*/ 30 w 250"/>
                <a:gd name="T95" fmla="*/ 25 h 189"/>
                <a:gd name="T96" fmla="*/ 18 w 250"/>
                <a:gd name="T97" fmla="*/ 48 h 189"/>
                <a:gd name="T98" fmla="*/ 25 w 250"/>
                <a:gd name="T99" fmla="*/ 59 h 189"/>
                <a:gd name="T100" fmla="*/ 27 w 250"/>
                <a:gd name="T101" fmla="*/ 74 h 189"/>
                <a:gd name="T102" fmla="*/ 24 w 250"/>
                <a:gd name="T103" fmla="*/ 87 h 189"/>
                <a:gd name="T104" fmla="*/ 2 w 250"/>
                <a:gd name="T105" fmla="*/ 111 h 189"/>
                <a:gd name="T106" fmla="*/ 0 w 250"/>
                <a:gd name="T107" fmla="*/ 122 h 189"/>
                <a:gd name="T108" fmla="*/ 5 w 250"/>
                <a:gd name="T109" fmla="*/ 13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189">
                  <a:moveTo>
                    <a:pt x="5" y="134"/>
                  </a:moveTo>
                  <a:lnTo>
                    <a:pt x="5" y="134"/>
                  </a:lnTo>
                  <a:lnTo>
                    <a:pt x="9" y="140"/>
                  </a:lnTo>
                  <a:lnTo>
                    <a:pt x="12" y="145"/>
                  </a:lnTo>
                  <a:lnTo>
                    <a:pt x="12" y="151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9" y="158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17" y="167"/>
                  </a:lnTo>
                  <a:lnTo>
                    <a:pt x="25" y="170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40" y="171"/>
                  </a:lnTo>
                  <a:lnTo>
                    <a:pt x="45" y="170"/>
                  </a:lnTo>
                  <a:lnTo>
                    <a:pt x="49" y="168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62" y="176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4" y="185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83" y="185"/>
                  </a:lnTo>
                  <a:lnTo>
                    <a:pt x="85" y="183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70"/>
                  </a:lnTo>
                  <a:lnTo>
                    <a:pt x="88" y="167"/>
                  </a:lnTo>
                  <a:lnTo>
                    <a:pt x="89" y="165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8" y="168"/>
                  </a:lnTo>
                  <a:lnTo>
                    <a:pt x="104" y="168"/>
                  </a:lnTo>
                  <a:lnTo>
                    <a:pt x="110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6" y="165"/>
                  </a:lnTo>
                  <a:lnTo>
                    <a:pt x="120" y="164"/>
                  </a:lnTo>
                  <a:lnTo>
                    <a:pt x="126" y="162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9" y="165"/>
                  </a:lnTo>
                  <a:lnTo>
                    <a:pt x="147" y="167"/>
                  </a:lnTo>
                  <a:lnTo>
                    <a:pt x="153" y="168"/>
                  </a:lnTo>
                  <a:lnTo>
                    <a:pt x="156" y="170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9" y="179"/>
                  </a:lnTo>
                  <a:lnTo>
                    <a:pt x="163" y="186"/>
                  </a:lnTo>
                  <a:lnTo>
                    <a:pt x="168" y="189"/>
                  </a:lnTo>
                  <a:lnTo>
                    <a:pt x="171" y="189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5" y="185"/>
                  </a:lnTo>
                  <a:lnTo>
                    <a:pt x="178" y="179"/>
                  </a:lnTo>
                  <a:lnTo>
                    <a:pt x="179" y="176"/>
                  </a:lnTo>
                  <a:lnTo>
                    <a:pt x="182" y="174"/>
                  </a:lnTo>
                  <a:lnTo>
                    <a:pt x="185" y="174"/>
                  </a:lnTo>
                  <a:lnTo>
                    <a:pt x="185" y="174"/>
                  </a:lnTo>
                  <a:lnTo>
                    <a:pt x="188" y="176"/>
                  </a:lnTo>
                  <a:lnTo>
                    <a:pt x="191" y="179"/>
                  </a:lnTo>
                  <a:lnTo>
                    <a:pt x="194" y="180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205" y="180"/>
                  </a:lnTo>
                  <a:lnTo>
                    <a:pt x="212" y="179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30" y="174"/>
                  </a:lnTo>
                  <a:lnTo>
                    <a:pt x="234" y="176"/>
                  </a:lnTo>
                  <a:lnTo>
                    <a:pt x="234" y="176"/>
                  </a:lnTo>
                  <a:lnTo>
                    <a:pt x="239" y="165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8" y="142"/>
                  </a:lnTo>
                  <a:lnTo>
                    <a:pt x="249" y="131"/>
                  </a:lnTo>
                  <a:lnTo>
                    <a:pt x="250" y="122"/>
                  </a:lnTo>
                  <a:lnTo>
                    <a:pt x="249" y="115"/>
                  </a:lnTo>
                  <a:lnTo>
                    <a:pt x="249" y="115"/>
                  </a:lnTo>
                  <a:lnTo>
                    <a:pt x="249" y="109"/>
                  </a:lnTo>
                  <a:lnTo>
                    <a:pt x="248" y="106"/>
                  </a:lnTo>
                  <a:lnTo>
                    <a:pt x="245" y="103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0" y="94"/>
                  </a:lnTo>
                  <a:lnTo>
                    <a:pt x="225" y="90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6" y="88"/>
                  </a:lnTo>
                  <a:lnTo>
                    <a:pt x="212" y="87"/>
                  </a:lnTo>
                  <a:lnTo>
                    <a:pt x="212" y="85"/>
                  </a:lnTo>
                  <a:lnTo>
                    <a:pt x="212" y="82"/>
                  </a:lnTo>
                  <a:lnTo>
                    <a:pt x="212" y="82"/>
                  </a:lnTo>
                  <a:lnTo>
                    <a:pt x="213" y="75"/>
                  </a:lnTo>
                  <a:lnTo>
                    <a:pt x="213" y="68"/>
                  </a:lnTo>
                  <a:lnTo>
                    <a:pt x="213" y="62"/>
                  </a:lnTo>
                  <a:lnTo>
                    <a:pt x="212" y="59"/>
                  </a:lnTo>
                  <a:lnTo>
                    <a:pt x="212" y="59"/>
                  </a:lnTo>
                  <a:lnTo>
                    <a:pt x="206" y="54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171" y="48"/>
                  </a:lnTo>
                  <a:lnTo>
                    <a:pt x="150" y="48"/>
                  </a:lnTo>
                  <a:lnTo>
                    <a:pt x="141" y="48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1" y="54"/>
                  </a:lnTo>
                  <a:lnTo>
                    <a:pt x="126" y="56"/>
                  </a:lnTo>
                  <a:lnTo>
                    <a:pt x="122" y="57"/>
                  </a:lnTo>
                  <a:lnTo>
                    <a:pt x="122" y="57"/>
                  </a:lnTo>
                  <a:lnTo>
                    <a:pt x="117" y="56"/>
                  </a:lnTo>
                  <a:lnTo>
                    <a:pt x="116" y="53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3" y="43"/>
                  </a:lnTo>
                  <a:lnTo>
                    <a:pt x="110" y="41"/>
                  </a:lnTo>
                  <a:lnTo>
                    <a:pt x="104" y="44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6" y="54"/>
                  </a:lnTo>
                  <a:lnTo>
                    <a:pt x="85" y="53"/>
                  </a:lnTo>
                  <a:lnTo>
                    <a:pt x="83" y="50"/>
                  </a:lnTo>
                  <a:lnTo>
                    <a:pt x="82" y="45"/>
                  </a:lnTo>
                  <a:lnTo>
                    <a:pt x="82" y="35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16"/>
                  </a:lnTo>
                  <a:lnTo>
                    <a:pt x="86" y="13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6" y="4"/>
                  </a:lnTo>
                  <a:lnTo>
                    <a:pt x="71" y="1"/>
                  </a:lnTo>
                  <a:lnTo>
                    <a:pt x="65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55" y="5"/>
                  </a:lnTo>
                  <a:lnTo>
                    <a:pt x="48" y="11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3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4" y="35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2" y="54"/>
                  </a:lnTo>
                  <a:lnTo>
                    <a:pt x="25" y="59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74"/>
                  </a:lnTo>
                  <a:lnTo>
                    <a:pt x="27" y="81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12" y="99"/>
                  </a:lnTo>
                  <a:lnTo>
                    <a:pt x="6" y="105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0" y="115"/>
                  </a:lnTo>
                  <a:lnTo>
                    <a:pt x="0" y="122"/>
                  </a:lnTo>
                  <a:lnTo>
                    <a:pt x="0" y="128"/>
                  </a:lnTo>
                  <a:lnTo>
                    <a:pt x="2" y="131"/>
                  </a:lnTo>
                  <a:lnTo>
                    <a:pt x="5" y="134"/>
                  </a:lnTo>
                  <a:lnTo>
                    <a:pt x="5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7" name="Freeform 76">
              <a:extLst>
                <a:ext uri="{FF2B5EF4-FFF2-40B4-BE49-F238E27FC236}">
                  <a16:creationId xmlns:a16="http://schemas.microsoft.com/office/drawing/2014/main" id="{7E050A9A-A831-FF41-8A12-1F49C2D03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325" y="3198813"/>
              <a:ext cx="215900" cy="263525"/>
            </a:xfrm>
            <a:custGeom>
              <a:avLst/>
              <a:gdLst>
                <a:gd name="T0" fmla="*/ 128 w 136"/>
                <a:gd name="T1" fmla="*/ 49 h 166"/>
                <a:gd name="T2" fmla="*/ 128 w 136"/>
                <a:gd name="T3" fmla="*/ 49 h 166"/>
                <a:gd name="T4" fmla="*/ 133 w 136"/>
                <a:gd name="T5" fmla="*/ 55 h 166"/>
                <a:gd name="T6" fmla="*/ 134 w 136"/>
                <a:gd name="T7" fmla="*/ 61 h 166"/>
                <a:gd name="T8" fmla="*/ 136 w 136"/>
                <a:gd name="T9" fmla="*/ 67 h 166"/>
                <a:gd name="T10" fmla="*/ 134 w 136"/>
                <a:gd name="T11" fmla="*/ 73 h 166"/>
                <a:gd name="T12" fmla="*/ 131 w 136"/>
                <a:gd name="T13" fmla="*/ 86 h 166"/>
                <a:gd name="T14" fmla="*/ 127 w 136"/>
                <a:gd name="T15" fmla="*/ 95 h 166"/>
                <a:gd name="T16" fmla="*/ 127 w 136"/>
                <a:gd name="T17" fmla="*/ 95 h 166"/>
                <a:gd name="T18" fmla="*/ 126 w 136"/>
                <a:gd name="T19" fmla="*/ 101 h 166"/>
                <a:gd name="T20" fmla="*/ 126 w 136"/>
                <a:gd name="T21" fmla="*/ 108 h 166"/>
                <a:gd name="T22" fmla="*/ 128 w 136"/>
                <a:gd name="T23" fmla="*/ 116 h 166"/>
                <a:gd name="T24" fmla="*/ 130 w 136"/>
                <a:gd name="T25" fmla="*/ 126 h 166"/>
                <a:gd name="T26" fmla="*/ 130 w 136"/>
                <a:gd name="T27" fmla="*/ 126 h 166"/>
                <a:gd name="T28" fmla="*/ 131 w 136"/>
                <a:gd name="T29" fmla="*/ 136 h 166"/>
                <a:gd name="T30" fmla="*/ 130 w 136"/>
                <a:gd name="T31" fmla="*/ 142 h 166"/>
                <a:gd name="T32" fmla="*/ 127 w 136"/>
                <a:gd name="T33" fmla="*/ 148 h 166"/>
                <a:gd name="T34" fmla="*/ 121 w 136"/>
                <a:gd name="T35" fmla="*/ 154 h 166"/>
                <a:gd name="T36" fmla="*/ 121 w 136"/>
                <a:gd name="T37" fmla="*/ 154 h 166"/>
                <a:gd name="T38" fmla="*/ 118 w 136"/>
                <a:gd name="T39" fmla="*/ 156 h 166"/>
                <a:gd name="T40" fmla="*/ 112 w 136"/>
                <a:gd name="T41" fmla="*/ 159 h 166"/>
                <a:gd name="T42" fmla="*/ 97 w 136"/>
                <a:gd name="T43" fmla="*/ 162 h 166"/>
                <a:gd name="T44" fmla="*/ 80 w 136"/>
                <a:gd name="T45" fmla="*/ 164 h 166"/>
                <a:gd name="T46" fmla="*/ 68 w 136"/>
                <a:gd name="T47" fmla="*/ 166 h 166"/>
                <a:gd name="T48" fmla="*/ 68 w 136"/>
                <a:gd name="T49" fmla="*/ 166 h 166"/>
                <a:gd name="T50" fmla="*/ 66 w 136"/>
                <a:gd name="T51" fmla="*/ 164 h 166"/>
                <a:gd name="T52" fmla="*/ 62 w 136"/>
                <a:gd name="T53" fmla="*/ 160 h 166"/>
                <a:gd name="T54" fmla="*/ 54 w 136"/>
                <a:gd name="T55" fmla="*/ 153 h 166"/>
                <a:gd name="T56" fmla="*/ 47 w 136"/>
                <a:gd name="T57" fmla="*/ 138 h 166"/>
                <a:gd name="T58" fmla="*/ 47 w 136"/>
                <a:gd name="T59" fmla="*/ 138 h 166"/>
                <a:gd name="T60" fmla="*/ 19 w 136"/>
                <a:gd name="T61" fmla="*/ 86 h 166"/>
                <a:gd name="T62" fmla="*/ 19 w 136"/>
                <a:gd name="T63" fmla="*/ 86 h 166"/>
                <a:gd name="T64" fmla="*/ 12 w 136"/>
                <a:gd name="T65" fmla="*/ 70 h 166"/>
                <a:gd name="T66" fmla="*/ 4 w 136"/>
                <a:gd name="T67" fmla="*/ 50 h 166"/>
                <a:gd name="T68" fmla="*/ 1 w 136"/>
                <a:gd name="T69" fmla="*/ 33 h 166"/>
                <a:gd name="T70" fmla="*/ 0 w 136"/>
                <a:gd name="T71" fmla="*/ 25 h 166"/>
                <a:gd name="T72" fmla="*/ 1 w 136"/>
                <a:gd name="T73" fmla="*/ 19 h 166"/>
                <a:gd name="T74" fmla="*/ 25 w 136"/>
                <a:gd name="T75" fmla="*/ 27 h 166"/>
                <a:gd name="T76" fmla="*/ 25 w 136"/>
                <a:gd name="T77" fmla="*/ 10 h 166"/>
                <a:gd name="T78" fmla="*/ 34 w 136"/>
                <a:gd name="T79" fmla="*/ 2 h 166"/>
                <a:gd name="T80" fmla="*/ 47 w 136"/>
                <a:gd name="T81" fmla="*/ 0 h 166"/>
                <a:gd name="T82" fmla="*/ 57 w 136"/>
                <a:gd name="T83" fmla="*/ 3 h 166"/>
                <a:gd name="T84" fmla="*/ 65 w 136"/>
                <a:gd name="T85" fmla="*/ 10 h 166"/>
                <a:gd name="T86" fmla="*/ 69 w 136"/>
                <a:gd name="T87" fmla="*/ 25 h 166"/>
                <a:gd name="T88" fmla="*/ 69 w 136"/>
                <a:gd name="T89" fmla="*/ 25 h 166"/>
                <a:gd name="T90" fmla="*/ 74 w 136"/>
                <a:gd name="T91" fmla="*/ 40 h 166"/>
                <a:gd name="T92" fmla="*/ 74 w 136"/>
                <a:gd name="T93" fmla="*/ 40 h 166"/>
                <a:gd name="T94" fmla="*/ 80 w 136"/>
                <a:gd name="T95" fmla="*/ 52 h 166"/>
                <a:gd name="T96" fmla="*/ 80 w 136"/>
                <a:gd name="T97" fmla="*/ 52 h 166"/>
                <a:gd name="T98" fmla="*/ 80 w 136"/>
                <a:gd name="T99" fmla="*/ 52 h 166"/>
                <a:gd name="T100" fmla="*/ 81 w 136"/>
                <a:gd name="T101" fmla="*/ 55 h 166"/>
                <a:gd name="T102" fmla="*/ 81 w 136"/>
                <a:gd name="T103" fmla="*/ 55 h 166"/>
                <a:gd name="T104" fmla="*/ 81 w 136"/>
                <a:gd name="T105" fmla="*/ 62 h 166"/>
                <a:gd name="T106" fmla="*/ 87 w 136"/>
                <a:gd name="T107" fmla="*/ 64 h 166"/>
                <a:gd name="T108" fmla="*/ 100 w 136"/>
                <a:gd name="T109" fmla="*/ 61 h 166"/>
                <a:gd name="T110" fmla="*/ 117 w 136"/>
                <a:gd name="T111" fmla="*/ 53 h 166"/>
                <a:gd name="T112" fmla="*/ 127 w 136"/>
                <a:gd name="T113" fmla="*/ 50 h 166"/>
                <a:gd name="T114" fmla="*/ 128 w 136"/>
                <a:gd name="T115" fmla="*/ 4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66">
                  <a:moveTo>
                    <a:pt x="128" y="49"/>
                  </a:moveTo>
                  <a:lnTo>
                    <a:pt x="128" y="49"/>
                  </a:lnTo>
                  <a:lnTo>
                    <a:pt x="133" y="55"/>
                  </a:lnTo>
                  <a:lnTo>
                    <a:pt x="134" y="61"/>
                  </a:lnTo>
                  <a:lnTo>
                    <a:pt x="136" y="67"/>
                  </a:lnTo>
                  <a:lnTo>
                    <a:pt x="134" y="73"/>
                  </a:lnTo>
                  <a:lnTo>
                    <a:pt x="131" y="86"/>
                  </a:lnTo>
                  <a:lnTo>
                    <a:pt x="127" y="95"/>
                  </a:lnTo>
                  <a:lnTo>
                    <a:pt x="127" y="95"/>
                  </a:lnTo>
                  <a:lnTo>
                    <a:pt x="126" y="101"/>
                  </a:lnTo>
                  <a:lnTo>
                    <a:pt x="126" y="108"/>
                  </a:lnTo>
                  <a:lnTo>
                    <a:pt x="128" y="11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1" y="136"/>
                  </a:lnTo>
                  <a:lnTo>
                    <a:pt x="130" y="142"/>
                  </a:lnTo>
                  <a:lnTo>
                    <a:pt x="127" y="148"/>
                  </a:lnTo>
                  <a:lnTo>
                    <a:pt x="121" y="154"/>
                  </a:lnTo>
                  <a:lnTo>
                    <a:pt x="121" y="154"/>
                  </a:lnTo>
                  <a:lnTo>
                    <a:pt x="118" y="156"/>
                  </a:lnTo>
                  <a:lnTo>
                    <a:pt x="112" y="159"/>
                  </a:lnTo>
                  <a:lnTo>
                    <a:pt x="97" y="162"/>
                  </a:lnTo>
                  <a:lnTo>
                    <a:pt x="80" y="164"/>
                  </a:lnTo>
                  <a:lnTo>
                    <a:pt x="68" y="166"/>
                  </a:lnTo>
                  <a:lnTo>
                    <a:pt x="68" y="166"/>
                  </a:lnTo>
                  <a:lnTo>
                    <a:pt x="66" y="164"/>
                  </a:lnTo>
                  <a:lnTo>
                    <a:pt x="62" y="160"/>
                  </a:lnTo>
                  <a:lnTo>
                    <a:pt x="54" y="153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2" y="70"/>
                  </a:lnTo>
                  <a:lnTo>
                    <a:pt x="4" y="50"/>
                  </a:lnTo>
                  <a:lnTo>
                    <a:pt x="1" y="33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5" y="27"/>
                  </a:lnTo>
                  <a:lnTo>
                    <a:pt x="25" y="10"/>
                  </a:lnTo>
                  <a:lnTo>
                    <a:pt x="34" y="2"/>
                  </a:lnTo>
                  <a:lnTo>
                    <a:pt x="47" y="0"/>
                  </a:lnTo>
                  <a:lnTo>
                    <a:pt x="57" y="3"/>
                  </a:lnTo>
                  <a:lnTo>
                    <a:pt x="65" y="10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62"/>
                  </a:lnTo>
                  <a:lnTo>
                    <a:pt x="87" y="64"/>
                  </a:lnTo>
                  <a:lnTo>
                    <a:pt x="100" y="61"/>
                  </a:lnTo>
                  <a:lnTo>
                    <a:pt x="117" y="53"/>
                  </a:lnTo>
                  <a:lnTo>
                    <a:pt x="127" y="50"/>
                  </a:lnTo>
                  <a:lnTo>
                    <a:pt x="12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8" name="Freeform 77">
              <a:extLst>
                <a:ext uri="{FF2B5EF4-FFF2-40B4-BE49-F238E27FC236}">
                  <a16:creationId xmlns:a16="http://schemas.microsoft.com/office/drawing/2014/main" id="{502A936F-1C21-DB42-A7B2-3DA2F9C65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0" y="6400800"/>
              <a:ext cx="274638" cy="207962"/>
            </a:xfrm>
            <a:custGeom>
              <a:avLst/>
              <a:gdLst>
                <a:gd name="T0" fmla="*/ 99 w 173"/>
                <a:gd name="T1" fmla="*/ 120 h 131"/>
                <a:gd name="T2" fmla="*/ 110 w 173"/>
                <a:gd name="T3" fmla="*/ 123 h 131"/>
                <a:gd name="T4" fmla="*/ 120 w 173"/>
                <a:gd name="T5" fmla="*/ 126 h 131"/>
                <a:gd name="T6" fmla="*/ 145 w 173"/>
                <a:gd name="T7" fmla="*/ 131 h 131"/>
                <a:gd name="T8" fmla="*/ 153 w 173"/>
                <a:gd name="T9" fmla="*/ 129 h 131"/>
                <a:gd name="T10" fmla="*/ 158 w 173"/>
                <a:gd name="T11" fmla="*/ 119 h 131"/>
                <a:gd name="T12" fmla="*/ 158 w 173"/>
                <a:gd name="T13" fmla="*/ 114 h 131"/>
                <a:gd name="T14" fmla="*/ 160 w 173"/>
                <a:gd name="T15" fmla="*/ 104 h 131"/>
                <a:gd name="T16" fmla="*/ 163 w 173"/>
                <a:gd name="T17" fmla="*/ 99 h 131"/>
                <a:gd name="T18" fmla="*/ 167 w 173"/>
                <a:gd name="T19" fmla="*/ 97 h 131"/>
                <a:gd name="T20" fmla="*/ 173 w 173"/>
                <a:gd name="T21" fmla="*/ 89 h 131"/>
                <a:gd name="T22" fmla="*/ 169 w 173"/>
                <a:gd name="T23" fmla="*/ 83 h 131"/>
                <a:gd name="T24" fmla="*/ 164 w 173"/>
                <a:gd name="T25" fmla="*/ 80 h 131"/>
                <a:gd name="T26" fmla="*/ 148 w 173"/>
                <a:gd name="T27" fmla="*/ 64 h 131"/>
                <a:gd name="T28" fmla="*/ 142 w 173"/>
                <a:gd name="T29" fmla="*/ 59 h 131"/>
                <a:gd name="T30" fmla="*/ 129 w 173"/>
                <a:gd name="T31" fmla="*/ 55 h 131"/>
                <a:gd name="T32" fmla="*/ 123 w 173"/>
                <a:gd name="T33" fmla="*/ 54 h 131"/>
                <a:gd name="T34" fmla="*/ 114 w 173"/>
                <a:gd name="T35" fmla="*/ 46 h 131"/>
                <a:gd name="T36" fmla="*/ 110 w 173"/>
                <a:gd name="T37" fmla="*/ 34 h 131"/>
                <a:gd name="T38" fmla="*/ 111 w 173"/>
                <a:gd name="T39" fmla="*/ 24 h 131"/>
                <a:gd name="T40" fmla="*/ 107 w 173"/>
                <a:gd name="T41" fmla="*/ 17 h 131"/>
                <a:gd name="T42" fmla="*/ 102 w 173"/>
                <a:gd name="T43" fmla="*/ 14 h 131"/>
                <a:gd name="T44" fmla="*/ 93 w 173"/>
                <a:gd name="T45" fmla="*/ 14 h 131"/>
                <a:gd name="T46" fmla="*/ 87 w 173"/>
                <a:gd name="T47" fmla="*/ 17 h 131"/>
                <a:gd name="T48" fmla="*/ 83 w 173"/>
                <a:gd name="T49" fmla="*/ 17 h 131"/>
                <a:gd name="T50" fmla="*/ 80 w 173"/>
                <a:gd name="T51" fmla="*/ 6 h 131"/>
                <a:gd name="T52" fmla="*/ 76 w 173"/>
                <a:gd name="T53" fmla="*/ 6 h 131"/>
                <a:gd name="T54" fmla="*/ 70 w 173"/>
                <a:gd name="T55" fmla="*/ 6 h 131"/>
                <a:gd name="T56" fmla="*/ 41 w 173"/>
                <a:gd name="T57" fmla="*/ 0 h 131"/>
                <a:gd name="T58" fmla="*/ 34 w 173"/>
                <a:gd name="T59" fmla="*/ 3 h 131"/>
                <a:gd name="T60" fmla="*/ 30 w 173"/>
                <a:gd name="T61" fmla="*/ 9 h 131"/>
                <a:gd name="T62" fmla="*/ 24 w 173"/>
                <a:gd name="T63" fmla="*/ 17 h 131"/>
                <a:gd name="T64" fmla="*/ 21 w 173"/>
                <a:gd name="T65" fmla="*/ 19 h 131"/>
                <a:gd name="T66" fmla="*/ 0 w 173"/>
                <a:gd name="T67" fmla="*/ 25 h 131"/>
                <a:gd name="T68" fmla="*/ 7 w 173"/>
                <a:gd name="T69" fmla="*/ 34 h 131"/>
                <a:gd name="T70" fmla="*/ 10 w 173"/>
                <a:gd name="T71" fmla="*/ 39 h 131"/>
                <a:gd name="T72" fmla="*/ 6 w 173"/>
                <a:gd name="T73" fmla="*/ 48 h 131"/>
                <a:gd name="T74" fmla="*/ 6 w 173"/>
                <a:gd name="T75" fmla="*/ 54 h 131"/>
                <a:gd name="T76" fmla="*/ 12 w 173"/>
                <a:gd name="T77" fmla="*/ 61 h 131"/>
                <a:gd name="T78" fmla="*/ 21 w 173"/>
                <a:gd name="T79" fmla="*/ 67 h 131"/>
                <a:gd name="T80" fmla="*/ 28 w 173"/>
                <a:gd name="T81" fmla="*/ 74 h 131"/>
                <a:gd name="T82" fmla="*/ 30 w 173"/>
                <a:gd name="T83" fmla="*/ 85 h 131"/>
                <a:gd name="T84" fmla="*/ 30 w 173"/>
                <a:gd name="T85" fmla="*/ 94 h 131"/>
                <a:gd name="T86" fmla="*/ 28 w 173"/>
                <a:gd name="T87" fmla="*/ 104 h 131"/>
                <a:gd name="T88" fmla="*/ 49 w 173"/>
                <a:gd name="T89" fmla="*/ 114 h 131"/>
                <a:gd name="T90" fmla="*/ 55 w 173"/>
                <a:gd name="T91" fmla="*/ 116 h 131"/>
                <a:gd name="T92" fmla="*/ 71 w 173"/>
                <a:gd name="T93" fmla="*/ 119 h 131"/>
                <a:gd name="T94" fmla="*/ 76 w 173"/>
                <a:gd name="T95" fmla="*/ 120 h 131"/>
                <a:gd name="T96" fmla="*/ 86 w 173"/>
                <a:gd name="T97" fmla="*/ 122 h 131"/>
                <a:gd name="T98" fmla="*/ 99 w 173"/>
                <a:gd name="T99" fmla="*/ 12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3" h="131">
                  <a:moveTo>
                    <a:pt x="99" y="120"/>
                  </a:moveTo>
                  <a:lnTo>
                    <a:pt x="99" y="120"/>
                  </a:lnTo>
                  <a:lnTo>
                    <a:pt x="104" y="120"/>
                  </a:lnTo>
                  <a:lnTo>
                    <a:pt x="110" y="123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50" y="129"/>
                  </a:lnTo>
                  <a:lnTo>
                    <a:pt x="153" y="129"/>
                  </a:lnTo>
                  <a:lnTo>
                    <a:pt x="157" y="125"/>
                  </a:lnTo>
                  <a:lnTo>
                    <a:pt x="158" y="119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58" y="108"/>
                  </a:lnTo>
                  <a:lnTo>
                    <a:pt x="160" y="104"/>
                  </a:lnTo>
                  <a:lnTo>
                    <a:pt x="160" y="104"/>
                  </a:lnTo>
                  <a:lnTo>
                    <a:pt x="163" y="99"/>
                  </a:lnTo>
                  <a:lnTo>
                    <a:pt x="167" y="97"/>
                  </a:lnTo>
                  <a:lnTo>
                    <a:pt x="167" y="97"/>
                  </a:lnTo>
                  <a:lnTo>
                    <a:pt x="173" y="92"/>
                  </a:lnTo>
                  <a:lnTo>
                    <a:pt x="173" y="89"/>
                  </a:lnTo>
                  <a:lnTo>
                    <a:pt x="172" y="86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64" y="80"/>
                  </a:lnTo>
                  <a:lnTo>
                    <a:pt x="158" y="76"/>
                  </a:lnTo>
                  <a:lnTo>
                    <a:pt x="148" y="64"/>
                  </a:lnTo>
                  <a:lnTo>
                    <a:pt x="148" y="64"/>
                  </a:lnTo>
                  <a:lnTo>
                    <a:pt x="142" y="59"/>
                  </a:lnTo>
                  <a:lnTo>
                    <a:pt x="135" y="57"/>
                  </a:lnTo>
                  <a:lnTo>
                    <a:pt x="129" y="55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18" y="51"/>
                  </a:lnTo>
                  <a:lnTo>
                    <a:pt x="114" y="46"/>
                  </a:lnTo>
                  <a:lnTo>
                    <a:pt x="111" y="40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1" y="24"/>
                  </a:lnTo>
                  <a:lnTo>
                    <a:pt x="110" y="19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2" y="14"/>
                  </a:lnTo>
                  <a:lnTo>
                    <a:pt x="98" y="14"/>
                  </a:lnTo>
                  <a:lnTo>
                    <a:pt x="93" y="14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4" y="18"/>
                  </a:lnTo>
                  <a:lnTo>
                    <a:pt x="83" y="17"/>
                  </a:lnTo>
                  <a:lnTo>
                    <a:pt x="80" y="14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52" y="2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0" y="9"/>
                  </a:lnTo>
                  <a:lnTo>
                    <a:pt x="25" y="14"/>
                  </a:lnTo>
                  <a:lnTo>
                    <a:pt x="24" y="17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0" y="2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7" y="34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9" y="43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9" y="58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21" y="67"/>
                  </a:lnTo>
                  <a:lnTo>
                    <a:pt x="27" y="71"/>
                  </a:lnTo>
                  <a:lnTo>
                    <a:pt x="28" y="74"/>
                  </a:lnTo>
                  <a:lnTo>
                    <a:pt x="30" y="79"/>
                  </a:lnTo>
                  <a:lnTo>
                    <a:pt x="30" y="85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37" y="107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55" y="116"/>
                  </a:lnTo>
                  <a:lnTo>
                    <a:pt x="62" y="117"/>
                  </a:lnTo>
                  <a:lnTo>
                    <a:pt x="71" y="119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8" y="122"/>
                  </a:lnTo>
                  <a:lnTo>
                    <a:pt x="86" y="122"/>
                  </a:lnTo>
                  <a:lnTo>
                    <a:pt x="99" y="120"/>
                  </a:lnTo>
                  <a:lnTo>
                    <a:pt x="99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9" name="Freeform 78">
              <a:extLst>
                <a:ext uri="{FF2B5EF4-FFF2-40B4-BE49-F238E27FC236}">
                  <a16:creationId xmlns:a16="http://schemas.microsoft.com/office/drawing/2014/main" id="{9177099F-27C1-FF49-8BB8-48AD352EE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8950" y="5876925"/>
              <a:ext cx="2195513" cy="2355850"/>
            </a:xfrm>
            <a:custGeom>
              <a:avLst/>
              <a:gdLst>
                <a:gd name="T0" fmla="*/ 439 w 1383"/>
                <a:gd name="T1" fmla="*/ 595 h 1484"/>
                <a:gd name="T2" fmla="*/ 378 w 1383"/>
                <a:gd name="T3" fmla="*/ 692 h 1484"/>
                <a:gd name="T4" fmla="*/ 343 w 1383"/>
                <a:gd name="T5" fmla="*/ 751 h 1484"/>
                <a:gd name="T6" fmla="*/ 305 w 1383"/>
                <a:gd name="T7" fmla="*/ 767 h 1484"/>
                <a:gd name="T8" fmla="*/ 252 w 1383"/>
                <a:gd name="T9" fmla="*/ 730 h 1484"/>
                <a:gd name="T10" fmla="*/ 141 w 1383"/>
                <a:gd name="T11" fmla="*/ 752 h 1484"/>
                <a:gd name="T12" fmla="*/ 129 w 1383"/>
                <a:gd name="T13" fmla="*/ 862 h 1484"/>
                <a:gd name="T14" fmla="*/ 132 w 1383"/>
                <a:gd name="T15" fmla="*/ 921 h 1484"/>
                <a:gd name="T16" fmla="*/ 86 w 1383"/>
                <a:gd name="T17" fmla="*/ 957 h 1484"/>
                <a:gd name="T18" fmla="*/ 64 w 1383"/>
                <a:gd name="T19" fmla="*/ 1034 h 1484"/>
                <a:gd name="T20" fmla="*/ 21 w 1383"/>
                <a:gd name="T21" fmla="*/ 1099 h 1484"/>
                <a:gd name="T22" fmla="*/ 48 w 1383"/>
                <a:gd name="T23" fmla="*/ 1204 h 1484"/>
                <a:gd name="T24" fmla="*/ 116 w 1383"/>
                <a:gd name="T25" fmla="*/ 1243 h 1484"/>
                <a:gd name="T26" fmla="*/ 220 w 1383"/>
                <a:gd name="T27" fmla="*/ 1288 h 1484"/>
                <a:gd name="T28" fmla="*/ 322 w 1383"/>
                <a:gd name="T29" fmla="*/ 1259 h 1484"/>
                <a:gd name="T30" fmla="*/ 406 w 1383"/>
                <a:gd name="T31" fmla="*/ 1358 h 1484"/>
                <a:gd name="T32" fmla="*/ 470 w 1383"/>
                <a:gd name="T33" fmla="*/ 1397 h 1484"/>
                <a:gd name="T34" fmla="*/ 526 w 1383"/>
                <a:gd name="T35" fmla="*/ 1457 h 1484"/>
                <a:gd name="T36" fmla="*/ 624 w 1383"/>
                <a:gd name="T37" fmla="*/ 1451 h 1484"/>
                <a:gd name="T38" fmla="*/ 837 w 1383"/>
                <a:gd name="T39" fmla="*/ 1006 h 1484"/>
                <a:gd name="T40" fmla="*/ 849 w 1383"/>
                <a:gd name="T41" fmla="*/ 926 h 1484"/>
                <a:gd name="T42" fmla="*/ 810 w 1383"/>
                <a:gd name="T43" fmla="*/ 862 h 1484"/>
                <a:gd name="T44" fmla="*/ 911 w 1383"/>
                <a:gd name="T45" fmla="*/ 809 h 1484"/>
                <a:gd name="T46" fmla="*/ 982 w 1383"/>
                <a:gd name="T47" fmla="*/ 786 h 1484"/>
                <a:gd name="T48" fmla="*/ 1044 w 1383"/>
                <a:gd name="T49" fmla="*/ 776 h 1484"/>
                <a:gd name="T50" fmla="*/ 1124 w 1383"/>
                <a:gd name="T51" fmla="*/ 804 h 1484"/>
                <a:gd name="T52" fmla="*/ 1203 w 1383"/>
                <a:gd name="T53" fmla="*/ 720 h 1484"/>
                <a:gd name="T54" fmla="*/ 1295 w 1383"/>
                <a:gd name="T55" fmla="*/ 732 h 1484"/>
                <a:gd name="T56" fmla="*/ 1330 w 1383"/>
                <a:gd name="T57" fmla="*/ 668 h 1484"/>
                <a:gd name="T58" fmla="*/ 1304 w 1383"/>
                <a:gd name="T59" fmla="*/ 647 h 1484"/>
                <a:gd name="T60" fmla="*/ 1295 w 1383"/>
                <a:gd name="T61" fmla="*/ 592 h 1484"/>
                <a:gd name="T62" fmla="*/ 1320 w 1383"/>
                <a:gd name="T63" fmla="*/ 533 h 1484"/>
                <a:gd name="T64" fmla="*/ 1370 w 1383"/>
                <a:gd name="T65" fmla="*/ 511 h 1484"/>
                <a:gd name="T66" fmla="*/ 1329 w 1383"/>
                <a:gd name="T67" fmla="*/ 440 h 1484"/>
                <a:gd name="T68" fmla="*/ 1280 w 1383"/>
                <a:gd name="T69" fmla="*/ 422 h 1484"/>
                <a:gd name="T70" fmla="*/ 1225 w 1383"/>
                <a:gd name="T71" fmla="*/ 397 h 1484"/>
                <a:gd name="T72" fmla="*/ 1172 w 1383"/>
                <a:gd name="T73" fmla="*/ 351 h 1484"/>
                <a:gd name="T74" fmla="*/ 1089 w 1383"/>
                <a:gd name="T75" fmla="*/ 394 h 1484"/>
                <a:gd name="T76" fmla="*/ 1036 w 1383"/>
                <a:gd name="T77" fmla="*/ 468 h 1484"/>
                <a:gd name="T78" fmla="*/ 1025 w 1383"/>
                <a:gd name="T79" fmla="*/ 526 h 1484"/>
                <a:gd name="T80" fmla="*/ 963 w 1383"/>
                <a:gd name="T81" fmla="*/ 508 h 1484"/>
                <a:gd name="T82" fmla="*/ 905 w 1383"/>
                <a:gd name="T83" fmla="*/ 542 h 1484"/>
                <a:gd name="T84" fmla="*/ 862 w 1383"/>
                <a:gd name="T85" fmla="*/ 583 h 1484"/>
                <a:gd name="T86" fmla="*/ 810 w 1383"/>
                <a:gd name="T87" fmla="*/ 505 h 1484"/>
                <a:gd name="T88" fmla="*/ 830 w 1383"/>
                <a:gd name="T89" fmla="*/ 404 h 1484"/>
                <a:gd name="T90" fmla="*/ 825 w 1383"/>
                <a:gd name="T91" fmla="*/ 335 h 1484"/>
                <a:gd name="T92" fmla="*/ 769 w 1383"/>
                <a:gd name="T93" fmla="*/ 295 h 1484"/>
                <a:gd name="T94" fmla="*/ 753 w 1383"/>
                <a:gd name="T95" fmla="*/ 201 h 1484"/>
                <a:gd name="T96" fmla="*/ 733 w 1383"/>
                <a:gd name="T97" fmla="*/ 98 h 1484"/>
                <a:gd name="T98" fmla="*/ 685 w 1383"/>
                <a:gd name="T99" fmla="*/ 55 h 1484"/>
                <a:gd name="T100" fmla="*/ 679 w 1383"/>
                <a:gd name="T101" fmla="*/ 0 h 1484"/>
                <a:gd name="T102" fmla="*/ 662 w 1383"/>
                <a:gd name="T103" fmla="*/ 46 h 1484"/>
                <a:gd name="T104" fmla="*/ 593 w 1383"/>
                <a:gd name="T105" fmla="*/ 95 h 1484"/>
                <a:gd name="T106" fmla="*/ 596 w 1383"/>
                <a:gd name="T107" fmla="*/ 135 h 1484"/>
                <a:gd name="T108" fmla="*/ 621 w 1383"/>
                <a:gd name="T109" fmla="*/ 195 h 1484"/>
                <a:gd name="T110" fmla="*/ 602 w 1383"/>
                <a:gd name="T111" fmla="*/ 270 h 1484"/>
                <a:gd name="T112" fmla="*/ 554 w 1383"/>
                <a:gd name="T113" fmla="*/ 338 h 1484"/>
                <a:gd name="T114" fmla="*/ 523 w 1383"/>
                <a:gd name="T115" fmla="*/ 403 h 1484"/>
                <a:gd name="T116" fmla="*/ 579 w 1383"/>
                <a:gd name="T117" fmla="*/ 505 h 1484"/>
                <a:gd name="T118" fmla="*/ 563 w 1383"/>
                <a:gd name="T119" fmla="*/ 560 h 1484"/>
                <a:gd name="T120" fmla="*/ 551 w 1383"/>
                <a:gd name="T121" fmla="*/ 622 h 1484"/>
                <a:gd name="T122" fmla="*/ 519 w 1383"/>
                <a:gd name="T123" fmla="*/ 640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83" h="1484">
                  <a:moveTo>
                    <a:pt x="501" y="625"/>
                  </a:moveTo>
                  <a:lnTo>
                    <a:pt x="501" y="625"/>
                  </a:lnTo>
                  <a:lnTo>
                    <a:pt x="497" y="623"/>
                  </a:lnTo>
                  <a:lnTo>
                    <a:pt x="489" y="622"/>
                  </a:lnTo>
                  <a:lnTo>
                    <a:pt x="480" y="619"/>
                  </a:lnTo>
                  <a:lnTo>
                    <a:pt x="476" y="618"/>
                  </a:lnTo>
                  <a:lnTo>
                    <a:pt x="474" y="615"/>
                  </a:lnTo>
                  <a:lnTo>
                    <a:pt x="474" y="615"/>
                  </a:lnTo>
                  <a:lnTo>
                    <a:pt x="471" y="603"/>
                  </a:lnTo>
                  <a:lnTo>
                    <a:pt x="468" y="595"/>
                  </a:lnTo>
                  <a:lnTo>
                    <a:pt x="464" y="591"/>
                  </a:lnTo>
                  <a:lnTo>
                    <a:pt x="464" y="591"/>
                  </a:lnTo>
                  <a:lnTo>
                    <a:pt x="457" y="585"/>
                  </a:lnTo>
                  <a:lnTo>
                    <a:pt x="455" y="585"/>
                  </a:lnTo>
                  <a:lnTo>
                    <a:pt x="454" y="588"/>
                  </a:lnTo>
                  <a:lnTo>
                    <a:pt x="454" y="588"/>
                  </a:lnTo>
                  <a:lnTo>
                    <a:pt x="452" y="591"/>
                  </a:lnTo>
                  <a:lnTo>
                    <a:pt x="449" y="594"/>
                  </a:lnTo>
                  <a:lnTo>
                    <a:pt x="445" y="595"/>
                  </a:lnTo>
                  <a:lnTo>
                    <a:pt x="439" y="595"/>
                  </a:lnTo>
                  <a:lnTo>
                    <a:pt x="439" y="595"/>
                  </a:lnTo>
                  <a:lnTo>
                    <a:pt x="428" y="597"/>
                  </a:lnTo>
                  <a:lnTo>
                    <a:pt x="424" y="597"/>
                  </a:lnTo>
                  <a:lnTo>
                    <a:pt x="424" y="597"/>
                  </a:lnTo>
                  <a:lnTo>
                    <a:pt x="418" y="607"/>
                  </a:lnTo>
                  <a:lnTo>
                    <a:pt x="417" y="612"/>
                  </a:lnTo>
                  <a:lnTo>
                    <a:pt x="417" y="615"/>
                  </a:lnTo>
                  <a:lnTo>
                    <a:pt x="417" y="615"/>
                  </a:lnTo>
                  <a:lnTo>
                    <a:pt x="417" y="644"/>
                  </a:lnTo>
                  <a:lnTo>
                    <a:pt x="417" y="652"/>
                  </a:lnTo>
                  <a:lnTo>
                    <a:pt x="415" y="656"/>
                  </a:lnTo>
                  <a:lnTo>
                    <a:pt x="415" y="656"/>
                  </a:lnTo>
                  <a:lnTo>
                    <a:pt x="408" y="665"/>
                  </a:lnTo>
                  <a:lnTo>
                    <a:pt x="397" y="675"/>
                  </a:lnTo>
                  <a:lnTo>
                    <a:pt x="397" y="675"/>
                  </a:lnTo>
                  <a:lnTo>
                    <a:pt x="391" y="681"/>
                  </a:lnTo>
                  <a:lnTo>
                    <a:pt x="388" y="684"/>
                  </a:lnTo>
                  <a:lnTo>
                    <a:pt x="385" y="684"/>
                  </a:lnTo>
                  <a:lnTo>
                    <a:pt x="385" y="684"/>
                  </a:lnTo>
                  <a:lnTo>
                    <a:pt x="381" y="686"/>
                  </a:lnTo>
                  <a:lnTo>
                    <a:pt x="378" y="687"/>
                  </a:lnTo>
                  <a:lnTo>
                    <a:pt x="378" y="692"/>
                  </a:lnTo>
                  <a:lnTo>
                    <a:pt x="378" y="696"/>
                  </a:lnTo>
                  <a:lnTo>
                    <a:pt x="378" y="696"/>
                  </a:lnTo>
                  <a:lnTo>
                    <a:pt x="378" y="702"/>
                  </a:lnTo>
                  <a:lnTo>
                    <a:pt x="375" y="703"/>
                  </a:lnTo>
                  <a:lnTo>
                    <a:pt x="371" y="705"/>
                  </a:lnTo>
                  <a:lnTo>
                    <a:pt x="363" y="706"/>
                  </a:lnTo>
                  <a:lnTo>
                    <a:pt x="363" y="706"/>
                  </a:lnTo>
                  <a:lnTo>
                    <a:pt x="359" y="708"/>
                  </a:lnTo>
                  <a:lnTo>
                    <a:pt x="356" y="709"/>
                  </a:lnTo>
                  <a:lnTo>
                    <a:pt x="348" y="717"/>
                  </a:lnTo>
                  <a:lnTo>
                    <a:pt x="348" y="717"/>
                  </a:lnTo>
                  <a:lnTo>
                    <a:pt x="345" y="723"/>
                  </a:lnTo>
                  <a:lnTo>
                    <a:pt x="344" y="727"/>
                  </a:lnTo>
                  <a:lnTo>
                    <a:pt x="344" y="732"/>
                  </a:lnTo>
                  <a:lnTo>
                    <a:pt x="344" y="732"/>
                  </a:lnTo>
                  <a:lnTo>
                    <a:pt x="344" y="739"/>
                  </a:lnTo>
                  <a:lnTo>
                    <a:pt x="345" y="746"/>
                  </a:lnTo>
                  <a:lnTo>
                    <a:pt x="345" y="746"/>
                  </a:lnTo>
                  <a:lnTo>
                    <a:pt x="344" y="749"/>
                  </a:lnTo>
                  <a:lnTo>
                    <a:pt x="343" y="751"/>
                  </a:lnTo>
                  <a:lnTo>
                    <a:pt x="343" y="751"/>
                  </a:lnTo>
                  <a:lnTo>
                    <a:pt x="340" y="754"/>
                  </a:lnTo>
                  <a:lnTo>
                    <a:pt x="337" y="757"/>
                  </a:lnTo>
                  <a:lnTo>
                    <a:pt x="335" y="760"/>
                  </a:lnTo>
                  <a:lnTo>
                    <a:pt x="335" y="760"/>
                  </a:lnTo>
                  <a:lnTo>
                    <a:pt x="335" y="764"/>
                  </a:lnTo>
                  <a:lnTo>
                    <a:pt x="337" y="772"/>
                  </a:lnTo>
                  <a:lnTo>
                    <a:pt x="338" y="786"/>
                  </a:lnTo>
                  <a:lnTo>
                    <a:pt x="338" y="786"/>
                  </a:lnTo>
                  <a:lnTo>
                    <a:pt x="337" y="791"/>
                  </a:lnTo>
                  <a:lnTo>
                    <a:pt x="334" y="795"/>
                  </a:lnTo>
                  <a:lnTo>
                    <a:pt x="331" y="798"/>
                  </a:lnTo>
                  <a:lnTo>
                    <a:pt x="328" y="800"/>
                  </a:lnTo>
                  <a:lnTo>
                    <a:pt x="328" y="800"/>
                  </a:lnTo>
                  <a:lnTo>
                    <a:pt x="325" y="797"/>
                  </a:lnTo>
                  <a:lnTo>
                    <a:pt x="319" y="791"/>
                  </a:lnTo>
                  <a:lnTo>
                    <a:pt x="319" y="791"/>
                  </a:lnTo>
                  <a:lnTo>
                    <a:pt x="310" y="780"/>
                  </a:lnTo>
                  <a:lnTo>
                    <a:pt x="304" y="772"/>
                  </a:lnTo>
                  <a:lnTo>
                    <a:pt x="304" y="772"/>
                  </a:lnTo>
                  <a:lnTo>
                    <a:pt x="304" y="770"/>
                  </a:lnTo>
                  <a:lnTo>
                    <a:pt x="305" y="767"/>
                  </a:lnTo>
                  <a:lnTo>
                    <a:pt x="307" y="764"/>
                  </a:lnTo>
                  <a:lnTo>
                    <a:pt x="307" y="764"/>
                  </a:lnTo>
                  <a:lnTo>
                    <a:pt x="305" y="760"/>
                  </a:lnTo>
                  <a:lnTo>
                    <a:pt x="303" y="755"/>
                  </a:lnTo>
                  <a:lnTo>
                    <a:pt x="303" y="755"/>
                  </a:lnTo>
                  <a:lnTo>
                    <a:pt x="298" y="749"/>
                  </a:lnTo>
                  <a:lnTo>
                    <a:pt x="291" y="739"/>
                  </a:lnTo>
                  <a:lnTo>
                    <a:pt x="291" y="739"/>
                  </a:lnTo>
                  <a:lnTo>
                    <a:pt x="289" y="735"/>
                  </a:lnTo>
                  <a:lnTo>
                    <a:pt x="289" y="732"/>
                  </a:lnTo>
                  <a:lnTo>
                    <a:pt x="289" y="732"/>
                  </a:lnTo>
                  <a:lnTo>
                    <a:pt x="286" y="727"/>
                  </a:lnTo>
                  <a:lnTo>
                    <a:pt x="283" y="724"/>
                  </a:lnTo>
                  <a:lnTo>
                    <a:pt x="283" y="724"/>
                  </a:lnTo>
                  <a:lnTo>
                    <a:pt x="279" y="721"/>
                  </a:lnTo>
                  <a:lnTo>
                    <a:pt x="273" y="720"/>
                  </a:lnTo>
                  <a:lnTo>
                    <a:pt x="273" y="720"/>
                  </a:lnTo>
                  <a:lnTo>
                    <a:pt x="267" y="721"/>
                  </a:lnTo>
                  <a:lnTo>
                    <a:pt x="263" y="724"/>
                  </a:lnTo>
                  <a:lnTo>
                    <a:pt x="263" y="724"/>
                  </a:lnTo>
                  <a:lnTo>
                    <a:pt x="252" y="730"/>
                  </a:lnTo>
                  <a:lnTo>
                    <a:pt x="246" y="736"/>
                  </a:lnTo>
                  <a:lnTo>
                    <a:pt x="242" y="743"/>
                  </a:lnTo>
                  <a:lnTo>
                    <a:pt x="234" y="751"/>
                  </a:lnTo>
                  <a:lnTo>
                    <a:pt x="234" y="751"/>
                  </a:lnTo>
                  <a:lnTo>
                    <a:pt x="230" y="755"/>
                  </a:lnTo>
                  <a:lnTo>
                    <a:pt x="224" y="758"/>
                  </a:lnTo>
                  <a:lnTo>
                    <a:pt x="224" y="758"/>
                  </a:lnTo>
                  <a:lnTo>
                    <a:pt x="220" y="758"/>
                  </a:lnTo>
                  <a:lnTo>
                    <a:pt x="214" y="757"/>
                  </a:lnTo>
                  <a:lnTo>
                    <a:pt x="214" y="757"/>
                  </a:lnTo>
                  <a:lnTo>
                    <a:pt x="202" y="754"/>
                  </a:lnTo>
                  <a:lnTo>
                    <a:pt x="202" y="754"/>
                  </a:lnTo>
                  <a:lnTo>
                    <a:pt x="187" y="751"/>
                  </a:lnTo>
                  <a:lnTo>
                    <a:pt x="187" y="751"/>
                  </a:lnTo>
                  <a:lnTo>
                    <a:pt x="169" y="748"/>
                  </a:lnTo>
                  <a:lnTo>
                    <a:pt x="159" y="746"/>
                  </a:lnTo>
                  <a:lnTo>
                    <a:pt x="159" y="746"/>
                  </a:lnTo>
                  <a:lnTo>
                    <a:pt x="149" y="748"/>
                  </a:lnTo>
                  <a:lnTo>
                    <a:pt x="143" y="749"/>
                  </a:lnTo>
                  <a:lnTo>
                    <a:pt x="141" y="751"/>
                  </a:lnTo>
                  <a:lnTo>
                    <a:pt x="141" y="752"/>
                  </a:lnTo>
                  <a:lnTo>
                    <a:pt x="141" y="752"/>
                  </a:lnTo>
                  <a:lnTo>
                    <a:pt x="132" y="775"/>
                  </a:lnTo>
                  <a:lnTo>
                    <a:pt x="125" y="792"/>
                  </a:lnTo>
                  <a:lnTo>
                    <a:pt x="125" y="792"/>
                  </a:lnTo>
                  <a:lnTo>
                    <a:pt x="122" y="804"/>
                  </a:lnTo>
                  <a:lnTo>
                    <a:pt x="117" y="822"/>
                  </a:lnTo>
                  <a:lnTo>
                    <a:pt x="117" y="822"/>
                  </a:lnTo>
                  <a:lnTo>
                    <a:pt x="119" y="825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6" y="843"/>
                  </a:lnTo>
                  <a:lnTo>
                    <a:pt x="126" y="843"/>
                  </a:lnTo>
                  <a:lnTo>
                    <a:pt x="128" y="844"/>
                  </a:lnTo>
                  <a:lnTo>
                    <a:pt x="126" y="846"/>
                  </a:lnTo>
                  <a:lnTo>
                    <a:pt x="125" y="850"/>
                  </a:lnTo>
                  <a:lnTo>
                    <a:pt x="122" y="853"/>
                  </a:lnTo>
                  <a:lnTo>
                    <a:pt x="120" y="856"/>
                  </a:lnTo>
                  <a:lnTo>
                    <a:pt x="120" y="856"/>
                  </a:lnTo>
                  <a:lnTo>
                    <a:pt x="120" y="859"/>
                  </a:lnTo>
                  <a:lnTo>
                    <a:pt x="123" y="860"/>
                  </a:lnTo>
                  <a:lnTo>
                    <a:pt x="129" y="862"/>
                  </a:lnTo>
                  <a:lnTo>
                    <a:pt x="137" y="863"/>
                  </a:lnTo>
                  <a:lnTo>
                    <a:pt x="141" y="865"/>
                  </a:lnTo>
                  <a:lnTo>
                    <a:pt x="141" y="865"/>
                  </a:lnTo>
                  <a:lnTo>
                    <a:pt x="143" y="868"/>
                  </a:lnTo>
                  <a:lnTo>
                    <a:pt x="144" y="872"/>
                  </a:lnTo>
                  <a:lnTo>
                    <a:pt x="146" y="884"/>
                  </a:lnTo>
                  <a:lnTo>
                    <a:pt x="146" y="884"/>
                  </a:lnTo>
                  <a:lnTo>
                    <a:pt x="149" y="896"/>
                  </a:lnTo>
                  <a:lnTo>
                    <a:pt x="149" y="900"/>
                  </a:lnTo>
                  <a:lnTo>
                    <a:pt x="147" y="906"/>
                  </a:lnTo>
                  <a:lnTo>
                    <a:pt x="147" y="906"/>
                  </a:lnTo>
                  <a:lnTo>
                    <a:pt x="144" y="909"/>
                  </a:lnTo>
                  <a:lnTo>
                    <a:pt x="141" y="909"/>
                  </a:lnTo>
                  <a:lnTo>
                    <a:pt x="135" y="908"/>
                  </a:lnTo>
                  <a:lnTo>
                    <a:pt x="135" y="908"/>
                  </a:lnTo>
                  <a:lnTo>
                    <a:pt x="131" y="909"/>
                  </a:lnTo>
                  <a:lnTo>
                    <a:pt x="128" y="911"/>
                  </a:lnTo>
                  <a:lnTo>
                    <a:pt x="128" y="911"/>
                  </a:lnTo>
                  <a:lnTo>
                    <a:pt x="126" y="912"/>
                  </a:lnTo>
                  <a:lnTo>
                    <a:pt x="126" y="914"/>
                  </a:lnTo>
                  <a:lnTo>
                    <a:pt x="132" y="921"/>
                  </a:lnTo>
                  <a:lnTo>
                    <a:pt x="132" y="921"/>
                  </a:lnTo>
                  <a:lnTo>
                    <a:pt x="129" y="924"/>
                  </a:lnTo>
                  <a:lnTo>
                    <a:pt x="129" y="924"/>
                  </a:lnTo>
                  <a:lnTo>
                    <a:pt x="128" y="930"/>
                  </a:lnTo>
                  <a:lnTo>
                    <a:pt x="128" y="936"/>
                  </a:lnTo>
                  <a:lnTo>
                    <a:pt x="128" y="936"/>
                  </a:lnTo>
                  <a:lnTo>
                    <a:pt x="128" y="939"/>
                  </a:lnTo>
                  <a:lnTo>
                    <a:pt x="126" y="940"/>
                  </a:lnTo>
                  <a:lnTo>
                    <a:pt x="119" y="942"/>
                  </a:lnTo>
                  <a:lnTo>
                    <a:pt x="119" y="942"/>
                  </a:lnTo>
                  <a:lnTo>
                    <a:pt x="117" y="942"/>
                  </a:lnTo>
                  <a:lnTo>
                    <a:pt x="113" y="940"/>
                  </a:lnTo>
                  <a:lnTo>
                    <a:pt x="110" y="939"/>
                  </a:lnTo>
                  <a:lnTo>
                    <a:pt x="107" y="937"/>
                  </a:lnTo>
                  <a:lnTo>
                    <a:pt x="107" y="937"/>
                  </a:lnTo>
                  <a:lnTo>
                    <a:pt x="103" y="939"/>
                  </a:lnTo>
                  <a:lnTo>
                    <a:pt x="100" y="942"/>
                  </a:lnTo>
                  <a:lnTo>
                    <a:pt x="94" y="946"/>
                  </a:lnTo>
                  <a:lnTo>
                    <a:pt x="94" y="946"/>
                  </a:lnTo>
                  <a:lnTo>
                    <a:pt x="91" y="951"/>
                  </a:lnTo>
                  <a:lnTo>
                    <a:pt x="86" y="957"/>
                  </a:lnTo>
                  <a:lnTo>
                    <a:pt x="85" y="963"/>
                  </a:lnTo>
                  <a:lnTo>
                    <a:pt x="86" y="966"/>
                  </a:lnTo>
                  <a:lnTo>
                    <a:pt x="86" y="966"/>
                  </a:lnTo>
                  <a:lnTo>
                    <a:pt x="86" y="973"/>
                  </a:lnTo>
                  <a:lnTo>
                    <a:pt x="86" y="973"/>
                  </a:lnTo>
                  <a:lnTo>
                    <a:pt x="86" y="979"/>
                  </a:lnTo>
                  <a:lnTo>
                    <a:pt x="86" y="979"/>
                  </a:lnTo>
                  <a:lnTo>
                    <a:pt x="83" y="988"/>
                  </a:lnTo>
                  <a:lnTo>
                    <a:pt x="80" y="997"/>
                  </a:lnTo>
                  <a:lnTo>
                    <a:pt x="80" y="997"/>
                  </a:lnTo>
                  <a:lnTo>
                    <a:pt x="80" y="1007"/>
                  </a:lnTo>
                  <a:lnTo>
                    <a:pt x="80" y="1022"/>
                  </a:lnTo>
                  <a:lnTo>
                    <a:pt x="80" y="1022"/>
                  </a:lnTo>
                  <a:lnTo>
                    <a:pt x="79" y="1028"/>
                  </a:lnTo>
                  <a:lnTo>
                    <a:pt x="77" y="1031"/>
                  </a:lnTo>
                  <a:lnTo>
                    <a:pt x="77" y="1031"/>
                  </a:lnTo>
                  <a:lnTo>
                    <a:pt x="74" y="1029"/>
                  </a:lnTo>
                  <a:lnTo>
                    <a:pt x="70" y="1028"/>
                  </a:lnTo>
                  <a:lnTo>
                    <a:pt x="70" y="1028"/>
                  </a:lnTo>
                  <a:lnTo>
                    <a:pt x="67" y="1029"/>
                  </a:lnTo>
                  <a:lnTo>
                    <a:pt x="64" y="1034"/>
                  </a:lnTo>
                  <a:lnTo>
                    <a:pt x="64" y="1034"/>
                  </a:lnTo>
                  <a:lnTo>
                    <a:pt x="63" y="1038"/>
                  </a:lnTo>
                  <a:lnTo>
                    <a:pt x="63" y="1047"/>
                  </a:lnTo>
                  <a:lnTo>
                    <a:pt x="64" y="1062"/>
                  </a:lnTo>
                  <a:lnTo>
                    <a:pt x="64" y="1062"/>
                  </a:lnTo>
                  <a:lnTo>
                    <a:pt x="66" y="1071"/>
                  </a:lnTo>
                  <a:lnTo>
                    <a:pt x="64" y="1080"/>
                  </a:lnTo>
                  <a:lnTo>
                    <a:pt x="64" y="1086"/>
                  </a:lnTo>
                  <a:lnTo>
                    <a:pt x="61" y="1091"/>
                  </a:lnTo>
                  <a:lnTo>
                    <a:pt x="57" y="1099"/>
                  </a:lnTo>
                  <a:lnTo>
                    <a:pt x="54" y="1100"/>
                  </a:lnTo>
                  <a:lnTo>
                    <a:pt x="54" y="1100"/>
                  </a:lnTo>
                  <a:lnTo>
                    <a:pt x="45" y="1105"/>
                  </a:lnTo>
                  <a:lnTo>
                    <a:pt x="40" y="1106"/>
                  </a:lnTo>
                  <a:lnTo>
                    <a:pt x="40" y="1106"/>
                  </a:lnTo>
                  <a:lnTo>
                    <a:pt x="33" y="1099"/>
                  </a:lnTo>
                  <a:lnTo>
                    <a:pt x="30" y="1097"/>
                  </a:lnTo>
                  <a:lnTo>
                    <a:pt x="27" y="1096"/>
                  </a:lnTo>
                  <a:lnTo>
                    <a:pt x="27" y="1096"/>
                  </a:lnTo>
                  <a:lnTo>
                    <a:pt x="24" y="1096"/>
                  </a:lnTo>
                  <a:lnTo>
                    <a:pt x="21" y="1099"/>
                  </a:lnTo>
                  <a:lnTo>
                    <a:pt x="18" y="1108"/>
                  </a:lnTo>
                  <a:lnTo>
                    <a:pt x="17" y="1118"/>
                  </a:lnTo>
                  <a:lnTo>
                    <a:pt x="14" y="1129"/>
                  </a:lnTo>
                  <a:lnTo>
                    <a:pt x="14" y="1129"/>
                  </a:lnTo>
                  <a:lnTo>
                    <a:pt x="12" y="1130"/>
                  </a:lnTo>
                  <a:lnTo>
                    <a:pt x="9" y="1129"/>
                  </a:lnTo>
                  <a:lnTo>
                    <a:pt x="9" y="1129"/>
                  </a:lnTo>
                  <a:lnTo>
                    <a:pt x="5" y="1133"/>
                  </a:lnTo>
                  <a:lnTo>
                    <a:pt x="2" y="1136"/>
                  </a:lnTo>
                  <a:lnTo>
                    <a:pt x="0" y="1140"/>
                  </a:lnTo>
                  <a:lnTo>
                    <a:pt x="0" y="1140"/>
                  </a:lnTo>
                  <a:lnTo>
                    <a:pt x="0" y="1143"/>
                  </a:lnTo>
                  <a:lnTo>
                    <a:pt x="2" y="1146"/>
                  </a:lnTo>
                  <a:lnTo>
                    <a:pt x="5" y="1151"/>
                  </a:lnTo>
                  <a:lnTo>
                    <a:pt x="9" y="1155"/>
                  </a:lnTo>
                  <a:lnTo>
                    <a:pt x="12" y="1160"/>
                  </a:lnTo>
                  <a:lnTo>
                    <a:pt x="12" y="1160"/>
                  </a:lnTo>
                  <a:lnTo>
                    <a:pt x="21" y="1171"/>
                  </a:lnTo>
                  <a:lnTo>
                    <a:pt x="33" y="1183"/>
                  </a:lnTo>
                  <a:lnTo>
                    <a:pt x="33" y="1183"/>
                  </a:lnTo>
                  <a:lnTo>
                    <a:pt x="48" y="1204"/>
                  </a:lnTo>
                  <a:lnTo>
                    <a:pt x="48" y="1204"/>
                  </a:lnTo>
                  <a:lnTo>
                    <a:pt x="52" y="1208"/>
                  </a:lnTo>
                  <a:lnTo>
                    <a:pt x="57" y="1210"/>
                  </a:lnTo>
                  <a:lnTo>
                    <a:pt x="61" y="1210"/>
                  </a:lnTo>
                  <a:lnTo>
                    <a:pt x="61" y="1210"/>
                  </a:lnTo>
                  <a:lnTo>
                    <a:pt x="64" y="1207"/>
                  </a:lnTo>
                  <a:lnTo>
                    <a:pt x="69" y="1206"/>
                  </a:lnTo>
                  <a:lnTo>
                    <a:pt x="76" y="1206"/>
                  </a:lnTo>
                  <a:lnTo>
                    <a:pt x="79" y="1206"/>
                  </a:lnTo>
                  <a:lnTo>
                    <a:pt x="83" y="1208"/>
                  </a:lnTo>
                  <a:lnTo>
                    <a:pt x="83" y="1208"/>
                  </a:lnTo>
                  <a:lnTo>
                    <a:pt x="100" y="1217"/>
                  </a:lnTo>
                  <a:lnTo>
                    <a:pt x="106" y="1222"/>
                  </a:lnTo>
                  <a:lnTo>
                    <a:pt x="110" y="1225"/>
                  </a:lnTo>
                  <a:lnTo>
                    <a:pt x="110" y="1225"/>
                  </a:lnTo>
                  <a:lnTo>
                    <a:pt x="110" y="1228"/>
                  </a:lnTo>
                  <a:lnTo>
                    <a:pt x="109" y="1231"/>
                  </a:lnTo>
                  <a:lnTo>
                    <a:pt x="110" y="1235"/>
                  </a:lnTo>
                  <a:lnTo>
                    <a:pt x="113" y="1240"/>
                  </a:lnTo>
                  <a:lnTo>
                    <a:pt x="113" y="1240"/>
                  </a:lnTo>
                  <a:lnTo>
                    <a:pt x="116" y="1243"/>
                  </a:lnTo>
                  <a:lnTo>
                    <a:pt x="120" y="1246"/>
                  </a:lnTo>
                  <a:lnTo>
                    <a:pt x="132" y="1250"/>
                  </a:lnTo>
                  <a:lnTo>
                    <a:pt x="132" y="1250"/>
                  </a:lnTo>
                  <a:lnTo>
                    <a:pt x="144" y="1253"/>
                  </a:lnTo>
                  <a:lnTo>
                    <a:pt x="147" y="1254"/>
                  </a:lnTo>
                  <a:lnTo>
                    <a:pt x="150" y="1257"/>
                  </a:lnTo>
                  <a:lnTo>
                    <a:pt x="150" y="1257"/>
                  </a:lnTo>
                  <a:lnTo>
                    <a:pt x="154" y="1262"/>
                  </a:lnTo>
                  <a:lnTo>
                    <a:pt x="159" y="1265"/>
                  </a:lnTo>
                  <a:lnTo>
                    <a:pt x="169" y="1272"/>
                  </a:lnTo>
                  <a:lnTo>
                    <a:pt x="169" y="1272"/>
                  </a:lnTo>
                  <a:lnTo>
                    <a:pt x="175" y="1280"/>
                  </a:lnTo>
                  <a:lnTo>
                    <a:pt x="180" y="1281"/>
                  </a:lnTo>
                  <a:lnTo>
                    <a:pt x="184" y="1280"/>
                  </a:lnTo>
                  <a:lnTo>
                    <a:pt x="184" y="1280"/>
                  </a:lnTo>
                  <a:lnTo>
                    <a:pt x="193" y="1275"/>
                  </a:lnTo>
                  <a:lnTo>
                    <a:pt x="199" y="1274"/>
                  </a:lnTo>
                  <a:lnTo>
                    <a:pt x="205" y="1275"/>
                  </a:lnTo>
                  <a:lnTo>
                    <a:pt x="205" y="1275"/>
                  </a:lnTo>
                  <a:lnTo>
                    <a:pt x="211" y="1280"/>
                  </a:lnTo>
                  <a:lnTo>
                    <a:pt x="220" y="1288"/>
                  </a:lnTo>
                  <a:lnTo>
                    <a:pt x="233" y="1299"/>
                  </a:lnTo>
                  <a:lnTo>
                    <a:pt x="233" y="1299"/>
                  </a:lnTo>
                  <a:lnTo>
                    <a:pt x="234" y="1299"/>
                  </a:lnTo>
                  <a:lnTo>
                    <a:pt x="234" y="1299"/>
                  </a:lnTo>
                  <a:lnTo>
                    <a:pt x="248" y="1287"/>
                  </a:lnTo>
                  <a:lnTo>
                    <a:pt x="261" y="1278"/>
                  </a:lnTo>
                  <a:lnTo>
                    <a:pt x="270" y="1271"/>
                  </a:lnTo>
                  <a:lnTo>
                    <a:pt x="276" y="1263"/>
                  </a:lnTo>
                  <a:lnTo>
                    <a:pt x="276" y="1263"/>
                  </a:lnTo>
                  <a:lnTo>
                    <a:pt x="280" y="1257"/>
                  </a:lnTo>
                  <a:lnTo>
                    <a:pt x="286" y="1254"/>
                  </a:lnTo>
                  <a:lnTo>
                    <a:pt x="286" y="1254"/>
                  </a:lnTo>
                  <a:lnTo>
                    <a:pt x="289" y="1250"/>
                  </a:lnTo>
                  <a:lnTo>
                    <a:pt x="294" y="1246"/>
                  </a:lnTo>
                  <a:lnTo>
                    <a:pt x="298" y="1243"/>
                  </a:lnTo>
                  <a:lnTo>
                    <a:pt x="300" y="1241"/>
                  </a:lnTo>
                  <a:lnTo>
                    <a:pt x="303" y="1243"/>
                  </a:lnTo>
                  <a:lnTo>
                    <a:pt x="303" y="1243"/>
                  </a:lnTo>
                  <a:lnTo>
                    <a:pt x="314" y="1250"/>
                  </a:lnTo>
                  <a:lnTo>
                    <a:pt x="320" y="1256"/>
                  </a:lnTo>
                  <a:lnTo>
                    <a:pt x="322" y="1259"/>
                  </a:lnTo>
                  <a:lnTo>
                    <a:pt x="322" y="1262"/>
                  </a:lnTo>
                  <a:lnTo>
                    <a:pt x="322" y="1262"/>
                  </a:lnTo>
                  <a:lnTo>
                    <a:pt x="320" y="1263"/>
                  </a:lnTo>
                  <a:lnTo>
                    <a:pt x="319" y="1266"/>
                  </a:lnTo>
                  <a:lnTo>
                    <a:pt x="313" y="1269"/>
                  </a:lnTo>
                  <a:lnTo>
                    <a:pt x="308" y="1272"/>
                  </a:lnTo>
                  <a:lnTo>
                    <a:pt x="307" y="1275"/>
                  </a:lnTo>
                  <a:lnTo>
                    <a:pt x="308" y="1277"/>
                  </a:lnTo>
                  <a:lnTo>
                    <a:pt x="308" y="1277"/>
                  </a:lnTo>
                  <a:lnTo>
                    <a:pt x="317" y="1284"/>
                  </a:lnTo>
                  <a:lnTo>
                    <a:pt x="322" y="1288"/>
                  </a:lnTo>
                  <a:lnTo>
                    <a:pt x="326" y="1296"/>
                  </a:lnTo>
                  <a:lnTo>
                    <a:pt x="326" y="1296"/>
                  </a:lnTo>
                  <a:lnTo>
                    <a:pt x="329" y="1300"/>
                  </a:lnTo>
                  <a:lnTo>
                    <a:pt x="334" y="1305"/>
                  </a:lnTo>
                  <a:lnTo>
                    <a:pt x="345" y="1315"/>
                  </a:lnTo>
                  <a:lnTo>
                    <a:pt x="368" y="1333"/>
                  </a:lnTo>
                  <a:lnTo>
                    <a:pt x="368" y="1333"/>
                  </a:lnTo>
                  <a:lnTo>
                    <a:pt x="399" y="1354"/>
                  </a:lnTo>
                  <a:lnTo>
                    <a:pt x="399" y="1354"/>
                  </a:lnTo>
                  <a:lnTo>
                    <a:pt x="406" y="1358"/>
                  </a:lnTo>
                  <a:lnTo>
                    <a:pt x="409" y="1360"/>
                  </a:lnTo>
                  <a:lnTo>
                    <a:pt x="411" y="1364"/>
                  </a:lnTo>
                  <a:lnTo>
                    <a:pt x="411" y="1364"/>
                  </a:lnTo>
                  <a:lnTo>
                    <a:pt x="412" y="1371"/>
                  </a:lnTo>
                  <a:lnTo>
                    <a:pt x="414" y="1373"/>
                  </a:lnTo>
                  <a:lnTo>
                    <a:pt x="417" y="1373"/>
                  </a:lnTo>
                  <a:lnTo>
                    <a:pt x="417" y="1373"/>
                  </a:lnTo>
                  <a:lnTo>
                    <a:pt x="420" y="1371"/>
                  </a:lnTo>
                  <a:lnTo>
                    <a:pt x="420" y="1368"/>
                  </a:lnTo>
                  <a:lnTo>
                    <a:pt x="422" y="1367"/>
                  </a:lnTo>
                  <a:lnTo>
                    <a:pt x="430" y="1368"/>
                  </a:lnTo>
                  <a:lnTo>
                    <a:pt x="430" y="1368"/>
                  </a:lnTo>
                  <a:lnTo>
                    <a:pt x="446" y="1370"/>
                  </a:lnTo>
                  <a:lnTo>
                    <a:pt x="452" y="1371"/>
                  </a:lnTo>
                  <a:lnTo>
                    <a:pt x="457" y="1376"/>
                  </a:lnTo>
                  <a:lnTo>
                    <a:pt x="457" y="1376"/>
                  </a:lnTo>
                  <a:lnTo>
                    <a:pt x="461" y="1385"/>
                  </a:lnTo>
                  <a:lnTo>
                    <a:pt x="462" y="1388"/>
                  </a:lnTo>
                  <a:lnTo>
                    <a:pt x="465" y="1391"/>
                  </a:lnTo>
                  <a:lnTo>
                    <a:pt x="465" y="1391"/>
                  </a:lnTo>
                  <a:lnTo>
                    <a:pt x="470" y="1397"/>
                  </a:lnTo>
                  <a:lnTo>
                    <a:pt x="476" y="1403"/>
                  </a:lnTo>
                  <a:lnTo>
                    <a:pt x="476" y="1403"/>
                  </a:lnTo>
                  <a:lnTo>
                    <a:pt x="480" y="1407"/>
                  </a:lnTo>
                  <a:lnTo>
                    <a:pt x="485" y="1410"/>
                  </a:lnTo>
                  <a:lnTo>
                    <a:pt x="495" y="1413"/>
                  </a:lnTo>
                  <a:lnTo>
                    <a:pt x="495" y="1413"/>
                  </a:lnTo>
                  <a:lnTo>
                    <a:pt x="501" y="1414"/>
                  </a:lnTo>
                  <a:lnTo>
                    <a:pt x="505" y="1414"/>
                  </a:lnTo>
                  <a:lnTo>
                    <a:pt x="507" y="1416"/>
                  </a:lnTo>
                  <a:lnTo>
                    <a:pt x="507" y="1420"/>
                  </a:lnTo>
                  <a:lnTo>
                    <a:pt x="507" y="1420"/>
                  </a:lnTo>
                  <a:lnTo>
                    <a:pt x="504" y="1434"/>
                  </a:lnTo>
                  <a:lnTo>
                    <a:pt x="504" y="1440"/>
                  </a:lnTo>
                  <a:lnTo>
                    <a:pt x="507" y="1444"/>
                  </a:lnTo>
                  <a:lnTo>
                    <a:pt x="507" y="1444"/>
                  </a:lnTo>
                  <a:lnTo>
                    <a:pt x="508" y="1448"/>
                  </a:lnTo>
                  <a:lnTo>
                    <a:pt x="510" y="1453"/>
                  </a:lnTo>
                  <a:lnTo>
                    <a:pt x="513" y="1456"/>
                  </a:lnTo>
                  <a:lnTo>
                    <a:pt x="519" y="1456"/>
                  </a:lnTo>
                  <a:lnTo>
                    <a:pt x="519" y="1456"/>
                  </a:lnTo>
                  <a:lnTo>
                    <a:pt x="526" y="1457"/>
                  </a:lnTo>
                  <a:lnTo>
                    <a:pt x="534" y="1459"/>
                  </a:lnTo>
                  <a:lnTo>
                    <a:pt x="538" y="1463"/>
                  </a:lnTo>
                  <a:lnTo>
                    <a:pt x="541" y="1469"/>
                  </a:lnTo>
                  <a:lnTo>
                    <a:pt x="541" y="1469"/>
                  </a:lnTo>
                  <a:lnTo>
                    <a:pt x="542" y="1477"/>
                  </a:lnTo>
                  <a:lnTo>
                    <a:pt x="544" y="1481"/>
                  </a:lnTo>
                  <a:lnTo>
                    <a:pt x="545" y="1484"/>
                  </a:lnTo>
                  <a:lnTo>
                    <a:pt x="547" y="1484"/>
                  </a:lnTo>
                  <a:lnTo>
                    <a:pt x="548" y="1484"/>
                  </a:lnTo>
                  <a:lnTo>
                    <a:pt x="551" y="1484"/>
                  </a:lnTo>
                  <a:lnTo>
                    <a:pt x="551" y="1484"/>
                  </a:lnTo>
                  <a:lnTo>
                    <a:pt x="566" y="1477"/>
                  </a:lnTo>
                  <a:lnTo>
                    <a:pt x="574" y="1474"/>
                  </a:lnTo>
                  <a:lnTo>
                    <a:pt x="582" y="1472"/>
                  </a:lnTo>
                  <a:lnTo>
                    <a:pt x="582" y="1472"/>
                  </a:lnTo>
                  <a:lnTo>
                    <a:pt x="602" y="1472"/>
                  </a:lnTo>
                  <a:lnTo>
                    <a:pt x="611" y="1471"/>
                  </a:lnTo>
                  <a:lnTo>
                    <a:pt x="613" y="1469"/>
                  </a:lnTo>
                  <a:lnTo>
                    <a:pt x="615" y="1466"/>
                  </a:lnTo>
                  <a:lnTo>
                    <a:pt x="615" y="1466"/>
                  </a:lnTo>
                  <a:lnTo>
                    <a:pt x="624" y="1451"/>
                  </a:lnTo>
                  <a:lnTo>
                    <a:pt x="702" y="1339"/>
                  </a:lnTo>
                  <a:lnTo>
                    <a:pt x="775" y="1274"/>
                  </a:lnTo>
                  <a:lnTo>
                    <a:pt x="839" y="1167"/>
                  </a:lnTo>
                  <a:lnTo>
                    <a:pt x="846" y="1083"/>
                  </a:lnTo>
                  <a:lnTo>
                    <a:pt x="846" y="1083"/>
                  </a:lnTo>
                  <a:lnTo>
                    <a:pt x="844" y="1081"/>
                  </a:lnTo>
                  <a:lnTo>
                    <a:pt x="844" y="1081"/>
                  </a:lnTo>
                  <a:lnTo>
                    <a:pt x="837" y="1080"/>
                  </a:lnTo>
                  <a:lnTo>
                    <a:pt x="831" y="1077"/>
                  </a:lnTo>
                  <a:lnTo>
                    <a:pt x="831" y="1077"/>
                  </a:lnTo>
                  <a:lnTo>
                    <a:pt x="831" y="1074"/>
                  </a:lnTo>
                  <a:lnTo>
                    <a:pt x="833" y="1068"/>
                  </a:lnTo>
                  <a:lnTo>
                    <a:pt x="833" y="1059"/>
                  </a:lnTo>
                  <a:lnTo>
                    <a:pt x="834" y="1047"/>
                  </a:lnTo>
                  <a:lnTo>
                    <a:pt x="834" y="1047"/>
                  </a:lnTo>
                  <a:lnTo>
                    <a:pt x="833" y="1031"/>
                  </a:lnTo>
                  <a:lnTo>
                    <a:pt x="834" y="1023"/>
                  </a:lnTo>
                  <a:lnTo>
                    <a:pt x="837" y="1014"/>
                  </a:lnTo>
                  <a:lnTo>
                    <a:pt x="837" y="1014"/>
                  </a:lnTo>
                  <a:lnTo>
                    <a:pt x="839" y="1009"/>
                  </a:lnTo>
                  <a:lnTo>
                    <a:pt x="837" y="1006"/>
                  </a:lnTo>
                  <a:lnTo>
                    <a:pt x="836" y="1003"/>
                  </a:lnTo>
                  <a:lnTo>
                    <a:pt x="833" y="1001"/>
                  </a:lnTo>
                  <a:lnTo>
                    <a:pt x="833" y="1001"/>
                  </a:lnTo>
                  <a:lnTo>
                    <a:pt x="831" y="995"/>
                  </a:lnTo>
                  <a:lnTo>
                    <a:pt x="831" y="989"/>
                  </a:lnTo>
                  <a:lnTo>
                    <a:pt x="830" y="982"/>
                  </a:lnTo>
                  <a:lnTo>
                    <a:pt x="824" y="974"/>
                  </a:lnTo>
                  <a:lnTo>
                    <a:pt x="824" y="974"/>
                  </a:lnTo>
                  <a:lnTo>
                    <a:pt x="822" y="970"/>
                  </a:lnTo>
                  <a:lnTo>
                    <a:pt x="821" y="966"/>
                  </a:lnTo>
                  <a:lnTo>
                    <a:pt x="821" y="961"/>
                  </a:lnTo>
                  <a:lnTo>
                    <a:pt x="822" y="955"/>
                  </a:lnTo>
                  <a:lnTo>
                    <a:pt x="827" y="945"/>
                  </a:lnTo>
                  <a:lnTo>
                    <a:pt x="828" y="935"/>
                  </a:lnTo>
                  <a:lnTo>
                    <a:pt x="828" y="935"/>
                  </a:lnTo>
                  <a:lnTo>
                    <a:pt x="830" y="930"/>
                  </a:lnTo>
                  <a:lnTo>
                    <a:pt x="830" y="927"/>
                  </a:lnTo>
                  <a:lnTo>
                    <a:pt x="831" y="926"/>
                  </a:lnTo>
                  <a:lnTo>
                    <a:pt x="834" y="926"/>
                  </a:lnTo>
                  <a:lnTo>
                    <a:pt x="840" y="926"/>
                  </a:lnTo>
                  <a:lnTo>
                    <a:pt x="849" y="926"/>
                  </a:lnTo>
                  <a:lnTo>
                    <a:pt x="849" y="926"/>
                  </a:lnTo>
                  <a:lnTo>
                    <a:pt x="855" y="924"/>
                  </a:lnTo>
                  <a:lnTo>
                    <a:pt x="855" y="923"/>
                  </a:lnTo>
                  <a:lnTo>
                    <a:pt x="853" y="921"/>
                  </a:lnTo>
                  <a:lnTo>
                    <a:pt x="840" y="917"/>
                  </a:lnTo>
                  <a:lnTo>
                    <a:pt x="840" y="917"/>
                  </a:lnTo>
                  <a:lnTo>
                    <a:pt x="833" y="914"/>
                  </a:lnTo>
                  <a:lnTo>
                    <a:pt x="825" y="905"/>
                  </a:lnTo>
                  <a:lnTo>
                    <a:pt x="825" y="905"/>
                  </a:lnTo>
                  <a:lnTo>
                    <a:pt x="819" y="899"/>
                  </a:lnTo>
                  <a:lnTo>
                    <a:pt x="816" y="896"/>
                  </a:lnTo>
                  <a:lnTo>
                    <a:pt x="810" y="897"/>
                  </a:lnTo>
                  <a:lnTo>
                    <a:pt x="810" y="897"/>
                  </a:lnTo>
                  <a:lnTo>
                    <a:pt x="806" y="895"/>
                  </a:lnTo>
                  <a:lnTo>
                    <a:pt x="803" y="892"/>
                  </a:lnTo>
                  <a:lnTo>
                    <a:pt x="803" y="886"/>
                  </a:lnTo>
                  <a:lnTo>
                    <a:pt x="803" y="878"/>
                  </a:lnTo>
                  <a:lnTo>
                    <a:pt x="803" y="878"/>
                  </a:lnTo>
                  <a:lnTo>
                    <a:pt x="806" y="866"/>
                  </a:lnTo>
                  <a:lnTo>
                    <a:pt x="807" y="863"/>
                  </a:lnTo>
                  <a:lnTo>
                    <a:pt x="810" y="862"/>
                  </a:lnTo>
                  <a:lnTo>
                    <a:pt x="810" y="862"/>
                  </a:lnTo>
                  <a:lnTo>
                    <a:pt x="816" y="857"/>
                  </a:lnTo>
                  <a:lnTo>
                    <a:pt x="828" y="849"/>
                  </a:lnTo>
                  <a:lnTo>
                    <a:pt x="840" y="838"/>
                  </a:lnTo>
                  <a:lnTo>
                    <a:pt x="849" y="832"/>
                  </a:lnTo>
                  <a:lnTo>
                    <a:pt x="849" y="832"/>
                  </a:lnTo>
                  <a:lnTo>
                    <a:pt x="858" y="829"/>
                  </a:lnTo>
                  <a:lnTo>
                    <a:pt x="868" y="829"/>
                  </a:lnTo>
                  <a:lnTo>
                    <a:pt x="879" y="831"/>
                  </a:lnTo>
                  <a:lnTo>
                    <a:pt x="879" y="831"/>
                  </a:lnTo>
                  <a:lnTo>
                    <a:pt x="876" y="819"/>
                  </a:lnTo>
                  <a:lnTo>
                    <a:pt x="874" y="809"/>
                  </a:lnTo>
                  <a:lnTo>
                    <a:pt x="874" y="801"/>
                  </a:lnTo>
                  <a:lnTo>
                    <a:pt x="874" y="801"/>
                  </a:lnTo>
                  <a:lnTo>
                    <a:pt x="876" y="800"/>
                  </a:lnTo>
                  <a:lnTo>
                    <a:pt x="879" y="798"/>
                  </a:lnTo>
                  <a:lnTo>
                    <a:pt x="887" y="798"/>
                  </a:lnTo>
                  <a:lnTo>
                    <a:pt x="898" y="801"/>
                  </a:lnTo>
                  <a:lnTo>
                    <a:pt x="905" y="806"/>
                  </a:lnTo>
                  <a:lnTo>
                    <a:pt x="905" y="806"/>
                  </a:lnTo>
                  <a:lnTo>
                    <a:pt x="911" y="809"/>
                  </a:lnTo>
                  <a:lnTo>
                    <a:pt x="914" y="809"/>
                  </a:lnTo>
                  <a:lnTo>
                    <a:pt x="920" y="807"/>
                  </a:lnTo>
                  <a:lnTo>
                    <a:pt x="929" y="807"/>
                  </a:lnTo>
                  <a:lnTo>
                    <a:pt x="929" y="807"/>
                  </a:lnTo>
                  <a:lnTo>
                    <a:pt x="939" y="807"/>
                  </a:lnTo>
                  <a:lnTo>
                    <a:pt x="947" y="807"/>
                  </a:lnTo>
                  <a:lnTo>
                    <a:pt x="953" y="804"/>
                  </a:lnTo>
                  <a:lnTo>
                    <a:pt x="959" y="798"/>
                  </a:lnTo>
                  <a:lnTo>
                    <a:pt x="959" y="798"/>
                  </a:lnTo>
                  <a:lnTo>
                    <a:pt x="964" y="791"/>
                  </a:lnTo>
                  <a:lnTo>
                    <a:pt x="967" y="783"/>
                  </a:lnTo>
                  <a:lnTo>
                    <a:pt x="972" y="778"/>
                  </a:lnTo>
                  <a:lnTo>
                    <a:pt x="975" y="773"/>
                  </a:lnTo>
                  <a:lnTo>
                    <a:pt x="975" y="773"/>
                  </a:lnTo>
                  <a:lnTo>
                    <a:pt x="976" y="770"/>
                  </a:lnTo>
                  <a:lnTo>
                    <a:pt x="978" y="770"/>
                  </a:lnTo>
                  <a:lnTo>
                    <a:pt x="981" y="773"/>
                  </a:lnTo>
                  <a:lnTo>
                    <a:pt x="981" y="778"/>
                  </a:lnTo>
                  <a:lnTo>
                    <a:pt x="981" y="782"/>
                  </a:lnTo>
                  <a:lnTo>
                    <a:pt x="981" y="782"/>
                  </a:lnTo>
                  <a:lnTo>
                    <a:pt x="982" y="786"/>
                  </a:lnTo>
                  <a:lnTo>
                    <a:pt x="984" y="788"/>
                  </a:lnTo>
                  <a:lnTo>
                    <a:pt x="993" y="791"/>
                  </a:lnTo>
                  <a:lnTo>
                    <a:pt x="993" y="791"/>
                  </a:lnTo>
                  <a:lnTo>
                    <a:pt x="996" y="792"/>
                  </a:lnTo>
                  <a:lnTo>
                    <a:pt x="997" y="791"/>
                  </a:lnTo>
                  <a:lnTo>
                    <a:pt x="1000" y="789"/>
                  </a:lnTo>
                  <a:lnTo>
                    <a:pt x="1004" y="786"/>
                  </a:lnTo>
                  <a:lnTo>
                    <a:pt x="1007" y="786"/>
                  </a:lnTo>
                  <a:lnTo>
                    <a:pt x="1007" y="786"/>
                  </a:lnTo>
                  <a:lnTo>
                    <a:pt x="1016" y="788"/>
                  </a:lnTo>
                  <a:lnTo>
                    <a:pt x="1022" y="789"/>
                  </a:lnTo>
                  <a:lnTo>
                    <a:pt x="1030" y="789"/>
                  </a:lnTo>
                  <a:lnTo>
                    <a:pt x="1030" y="789"/>
                  </a:lnTo>
                  <a:lnTo>
                    <a:pt x="1034" y="788"/>
                  </a:lnTo>
                  <a:lnTo>
                    <a:pt x="1037" y="786"/>
                  </a:lnTo>
                  <a:lnTo>
                    <a:pt x="1040" y="783"/>
                  </a:lnTo>
                  <a:lnTo>
                    <a:pt x="1040" y="779"/>
                  </a:lnTo>
                  <a:lnTo>
                    <a:pt x="1041" y="778"/>
                  </a:lnTo>
                  <a:lnTo>
                    <a:pt x="1043" y="776"/>
                  </a:lnTo>
                  <a:lnTo>
                    <a:pt x="1043" y="776"/>
                  </a:lnTo>
                  <a:lnTo>
                    <a:pt x="1044" y="776"/>
                  </a:lnTo>
                  <a:lnTo>
                    <a:pt x="1046" y="778"/>
                  </a:lnTo>
                  <a:lnTo>
                    <a:pt x="1049" y="782"/>
                  </a:lnTo>
                  <a:lnTo>
                    <a:pt x="1050" y="788"/>
                  </a:lnTo>
                  <a:lnTo>
                    <a:pt x="1053" y="795"/>
                  </a:lnTo>
                  <a:lnTo>
                    <a:pt x="1053" y="795"/>
                  </a:lnTo>
                  <a:lnTo>
                    <a:pt x="1056" y="798"/>
                  </a:lnTo>
                  <a:lnTo>
                    <a:pt x="1059" y="800"/>
                  </a:lnTo>
                  <a:lnTo>
                    <a:pt x="1064" y="801"/>
                  </a:lnTo>
                  <a:lnTo>
                    <a:pt x="1070" y="801"/>
                  </a:lnTo>
                  <a:lnTo>
                    <a:pt x="1080" y="798"/>
                  </a:lnTo>
                  <a:lnTo>
                    <a:pt x="1086" y="797"/>
                  </a:lnTo>
                  <a:lnTo>
                    <a:pt x="1086" y="797"/>
                  </a:lnTo>
                  <a:lnTo>
                    <a:pt x="1090" y="795"/>
                  </a:lnTo>
                  <a:lnTo>
                    <a:pt x="1096" y="794"/>
                  </a:lnTo>
                  <a:lnTo>
                    <a:pt x="1104" y="794"/>
                  </a:lnTo>
                  <a:lnTo>
                    <a:pt x="1111" y="794"/>
                  </a:lnTo>
                  <a:lnTo>
                    <a:pt x="1111" y="794"/>
                  </a:lnTo>
                  <a:lnTo>
                    <a:pt x="1117" y="795"/>
                  </a:lnTo>
                  <a:lnTo>
                    <a:pt x="1118" y="798"/>
                  </a:lnTo>
                  <a:lnTo>
                    <a:pt x="1121" y="801"/>
                  </a:lnTo>
                  <a:lnTo>
                    <a:pt x="1124" y="804"/>
                  </a:lnTo>
                  <a:lnTo>
                    <a:pt x="1124" y="804"/>
                  </a:lnTo>
                  <a:lnTo>
                    <a:pt x="1127" y="804"/>
                  </a:lnTo>
                  <a:lnTo>
                    <a:pt x="1129" y="804"/>
                  </a:lnTo>
                  <a:lnTo>
                    <a:pt x="1135" y="798"/>
                  </a:lnTo>
                  <a:lnTo>
                    <a:pt x="1142" y="785"/>
                  </a:lnTo>
                  <a:lnTo>
                    <a:pt x="1142" y="785"/>
                  </a:lnTo>
                  <a:lnTo>
                    <a:pt x="1147" y="782"/>
                  </a:lnTo>
                  <a:lnTo>
                    <a:pt x="1154" y="779"/>
                  </a:lnTo>
                  <a:lnTo>
                    <a:pt x="1172" y="776"/>
                  </a:lnTo>
                  <a:lnTo>
                    <a:pt x="1172" y="776"/>
                  </a:lnTo>
                  <a:lnTo>
                    <a:pt x="1173" y="776"/>
                  </a:lnTo>
                  <a:lnTo>
                    <a:pt x="1175" y="775"/>
                  </a:lnTo>
                  <a:lnTo>
                    <a:pt x="1176" y="770"/>
                  </a:lnTo>
                  <a:lnTo>
                    <a:pt x="1176" y="763"/>
                  </a:lnTo>
                  <a:lnTo>
                    <a:pt x="1176" y="754"/>
                  </a:lnTo>
                  <a:lnTo>
                    <a:pt x="1173" y="729"/>
                  </a:lnTo>
                  <a:lnTo>
                    <a:pt x="1173" y="729"/>
                  </a:lnTo>
                  <a:lnTo>
                    <a:pt x="1173" y="726"/>
                  </a:lnTo>
                  <a:lnTo>
                    <a:pt x="1176" y="724"/>
                  </a:lnTo>
                  <a:lnTo>
                    <a:pt x="1184" y="721"/>
                  </a:lnTo>
                  <a:lnTo>
                    <a:pt x="1203" y="720"/>
                  </a:lnTo>
                  <a:lnTo>
                    <a:pt x="1203" y="720"/>
                  </a:lnTo>
                  <a:lnTo>
                    <a:pt x="1210" y="717"/>
                  </a:lnTo>
                  <a:lnTo>
                    <a:pt x="1218" y="711"/>
                  </a:lnTo>
                  <a:lnTo>
                    <a:pt x="1234" y="698"/>
                  </a:lnTo>
                  <a:lnTo>
                    <a:pt x="1234" y="698"/>
                  </a:lnTo>
                  <a:lnTo>
                    <a:pt x="1238" y="696"/>
                  </a:lnTo>
                  <a:lnTo>
                    <a:pt x="1241" y="696"/>
                  </a:lnTo>
                  <a:lnTo>
                    <a:pt x="1243" y="696"/>
                  </a:lnTo>
                  <a:lnTo>
                    <a:pt x="1244" y="698"/>
                  </a:lnTo>
                  <a:lnTo>
                    <a:pt x="1246" y="702"/>
                  </a:lnTo>
                  <a:lnTo>
                    <a:pt x="1243" y="706"/>
                  </a:lnTo>
                  <a:lnTo>
                    <a:pt x="1243" y="706"/>
                  </a:lnTo>
                  <a:lnTo>
                    <a:pt x="1232" y="724"/>
                  </a:lnTo>
                  <a:lnTo>
                    <a:pt x="1229" y="730"/>
                  </a:lnTo>
                  <a:lnTo>
                    <a:pt x="1229" y="730"/>
                  </a:lnTo>
                  <a:lnTo>
                    <a:pt x="1255" y="733"/>
                  </a:lnTo>
                  <a:lnTo>
                    <a:pt x="1255" y="733"/>
                  </a:lnTo>
                  <a:lnTo>
                    <a:pt x="1272" y="735"/>
                  </a:lnTo>
                  <a:lnTo>
                    <a:pt x="1289" y="733"/>
                  </a:lnTo>
                  <a:lnTo>
                    <a:pt x="1289" y="733"/>
                  </a:lnTo>
                  <a:lnTo>
                    <a:pt x="1295" y="732"/>
                  </a:lnTo>
                  <a:lnTo>
                    <a:pt x="1302" y="727"/>
                  </a:lnTo>
                  <a:lnTo>
                    <a:pt x="1306" y="723"/>
                  </a:lnTo>
                  <a:lnTo>
                    <a:pt x="1311" y="718"/>
                  </a:lnTo>
                  <a:lnTo>
                    <a:pt x="1311" y="718"/>
                  </a:lnTo>
                  <a:lnTo>
                    <a:pt x="1312" y="714"/>
                  </a:lnTo>
                  <a:lnTo>
                    <a:pt x="1315" y="712"/>
                  </a:lnTo>
                  <a:lnTo>
                    <a:pt x="1318" y="712"/>
                  </a:lnTo>
                  <a:lnTo>
                    <a:pt x="1323" y="714"/>
                  </a:lnTo>
                  <a:lnTo>
                    <a:pt x="1323" y="714"/>
                  </a:lnTo>
                  <a:lnTo>
                    <a:pt x="1329" y="714"/>
                  </a:lnTo>
                  <a:lnTo>
                    <a:pt x="1332" y="714"/>
                  </a:lnTo>
                  <a:lnTo>
                    <a:pt x="1336" y="711"/>
                  </a:lnTo>
                  <a:lnTo>
                    <a:pt x="1338" y="708"/>
                  </a:lnTo>
                  <a:lnTo>
                    <a:pt x="1338" y="708"/>
                  </a:lnTo>
                  <a:lnTo>
                    <a:pt x="1339" y="702"/>
                  </a:lnTo>
                  <a:lnTo>
                    <a:pt x="1338" y="695"/>
                  </a:lnTo>
                  <a:lnTo>
                    <a:pt x="1333" y="681"/>
                  </a:lnTo>
                  <a:lnTo>
                    <a:pt x="1333" y="681"/>
                  </a:lnTo>
                  <a:lnTo>
                    <a:pt x="1330" y="675"/>
                  </a:lnTo>
                  <a:lnTo>
                    <a:pt x="1330" y="672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3" y="662"/>
                  </a:lnTo>
                  <a:lnTo>
                    <a:pt x="1333" y="659"/>
                  </a:lnTo>
                  <a:lnTo>
                    <a:pt x="1333" y="656"/>
                  </a:lnTo>
                  <a:lnTo>
                    <a:pt x="1333" y="656"/>
                  </a:lnTo>
                  <a:lnTo>
                    <a:pt x="1330" y="655"/>
                  </a:lnTo>
                  <a:lnTo>
                    <a:pt x="1327" y="655"/>
                  </a:lnTo>
                  <a:lnTo>
                    <a:pt x="1324" y="658"/>
                  </a:lnTo>
                  <a:lnTo>
                    <a:pt x="1321" y="659"/>
                  </a:lnTo>
                  <a:lnTo>
                    <a:pt x="1321" y="659"/>
                  </a:lnTo>
                  <a:lnTo>
                    <a:pt x="1320" y="662"/>
                  </a:lnTo>
                  <a:lnTo>
                    <a:pt x="1318" y="663"/>
                  </a:lnTo>
                  <a:lnTo>
                    <a:pt x="1315" y="663"/>
                  </a:lnTo>
                  <a:lnTo>
                    <a:pt x="1314" y="662"/>
                  </a:lnTo>
                  <a:lnTo>
                    <a:pt x="1314" y="662"/>
                  </a:lnTo>
                  <a:lnTo>
                    <a:pt x="1311" y="659"/>
                  </a:lnTo>
                  <a:lnTo>
                    <a:pt x="1309" y="656"/>
                  </a:lnTo>
                  <a:lnTo>
                    <a:pt x="1308" y="653"/>
                  </a:lnTo>
                  <a:lnTo>
                    <a:pt x="1306" y="650"/>
                  </a:lnTo>
                  <a:lnTo>
                    <a:pt x="1306" y="650"/>
                  </a:lnTo>
                  <a:lnTo>
                    <a:pt x="1304" y="647"/>
                  </a:lnTo>
                  <a:lnTo>
                    <a:pt x="1304" y="644"/>
                  </a:lnTo>
                  <a:lnTo>
                    <a:pt x="1302" y="640"/>
                  </a:lnTo>
                  <a:lnTo>
                    <a:pt x="1301" y="635"/>
                  </a:lnTo>
                  <a:lnTo>
                    <a:pt x="1301" y="635"/>
                  </a:lnTo>
                  <a:lnTo>
                    <a:pt x="1298" y="634"/>
                  </a:lnTo>
                  <a:lnTo>
                    <a:pt x="1295" y="634"/>
                  </a:lnTo>
                  <a:lnTo>
                    <a:pt x="1292" y="634"/>
                  </a:lnTo>
                  <a:lnTo>
                    <a:pt x="1289" y="632"/>
                  </a:lnTo>
                  <a:lnTo>
                    <a:pt x="1289" y="632"/>
                  </a:lnTo>
                  <a:lnTo>
                    <a:pt x="1286" y="628"/>
                  </a:lnTo>
                  <a:lnTo>
                    <a:pt x="1286" y="623"/>
                  </a:lnTo>
                  <a:lnTo>
                    <a:pt x="1286" y="613"/>
                  </a:lnTo>
                  <a:lnTo>
                    <a:pt x="1286" y="613"/>
                  </a:lnTo>
                  <a:lnTo>
                    <a:pt x="1287" y="610"/>
                  </a:lnTo>
                  <a:lnTo>
                    <a:pt x="1290" y="609"/>
                  </a:lnTo>
                  <a:lnTo>
                    <a:pt x="1295" y="607"/>
                  </a:lnTo>
                  <a:lnTo>
                    <a:pt x="1298" y="606"/>
                  </a:lnTo>
                  <a:lnTo>
                    <a:pt x="1298" y="606"/>
                  </a:lnTo>
                  <a:lnTo>
                    <a:pt x="1299" y="603"/>
                  </a:lnTo>
                  <a:lnTo>
                    <a:pt x="1299" y="600"/>
                  </a:lnTo>
                  <a:lnTo>
                    <a:pt x="1295" y="592"/>
                  </a:lnTo>
                  <a:lnTo>
                    <a:pt x="1295" y="592"/>
                  </a:lnTo>
                  <a:lnTo>
                    <a:pt x="1290" y="582"/>
                  </a:lnTo>
                  <a:lnTo>
                    <a:pt x="1292" y="572"/>
                  </a:lnTo>
                  <a:lnTo>
                    <a:pt x="1292" y="572"/>
                  </a:lnTo>
                  <a:lnTo>
                    <a:pt x="1293" y="567"/>
                  </a:lnTo>
                  <a:lnTo>
                    <a:pt x="1295" y="567"/>
                  </a:lnTo>
                  <a:lnTo>
                    <a:pt x="1298" y="566"/>
                  </a:lnTo>
                  <a:lnTo>
                    <a:pt x="1298" y="564"/>
                  </a:lnTo>
                  <a:lnTo>
                    <a:pt x="1298" y="564"/>
                  </a:lnTo>
                  <a:lnTo>
                    <a:pt x="1298" y="561"/>
                  </a:lnTo>
                  <a:lnTo>
                    <a:pt x="1295" y="558"/>
                  </a:lnTo>
                  <a:lnTo>
                    <a:pt x="1287" y="555"/>
                  </a:lnTo>
                  <a:lnTo>
                    <a:pt x="1287" y="555"/>
                  </a:lnTo>
                  <a:lnTo>
                    <a:pt x="1286" y="554"/>
                  </a:lnTo>
                  <a:lnTo>
                    <a:pt x="1287" y="552"/>
                  </a:lnTo>
                  <a:lnTo>
                    <a:pt x="1295" y="546"/>
                  </a:lnTo>
                  <a:lnTo>
                    <a:pt x="1295" y="546"/>
                  </a:lnTo>
                  <a:lnTo>
                    <a:pt x="1306" y="541"/>
                  </a:lnTo>
                  <a:lnTo>
                    <a:pt x="1314" y="538"/>
                  </a:lnTo>
                  <a:lnTo>
                    <a:pt x="1320" y="533"/>
                  </a:lnTo>
                  <a:lnTo>
                    <a:pt x="1320" y="533"/>
                  </a:lnTo>
                  <a:lnTo>
                    <a:pt x="1324" y="530"/>
                  </a:lnTo>
                  <a:lnTo>
                    <a:pt x="1327" y="532"/>
                  </a:lnTo>
                  <a:lnTo>
                    <a:pt x="1329" y="533"/>
                  </a:lnTo>
                  <a:lnTo>
                    <a:pt x="1332" y="538"/>
                  </a:lnTo>
                  <a:lnTo>
                    <a:pt x="1332" y="538"/>
                  </a:lnTo>
                  <a:lnTo>
                    <a:pt x="1339" y="544"/>
                  </a:lnTo>
                  <a:lnTo>
                    <a:pt x="1342" y="545"/>
                  </a:lnTo>
                  <a:lnTo>
                    <a:pt x="1346" y="545"/>
                  </a:lnTo>
                  <a:lnTo>
                    <a:pt x="1346" y="545"/>
                  </a:lnTo>
                  <a:lnTo>
                    <a:pt x="1361" y="545"/>
                  </a:lnTo>
                  <a:lnTo>
                    <a:pt x="1376" y="542"/>
                  </a:lnTo>
                  <a:lnTo>
                    <a:pt x="1376" y="542"/>
                  </a:lnTo>
                  <a:lnTo>
                    <a:pt x="1383" y="539"/>
                  </a:lnTo>
                  <a:lnTo>
                    <a:pt x="1383" y="539"/>
                  </a:lnTo>
                  <a:lnTo>
                    <a:pt x="1383" y="536"/>
                  </a:lnTo>
                  <a:lnTo>
                    <a:pt x="1383" y="532"/>
                  </a:lnTo>
                  <a:lnTo>
                    <a:pt x="1383" y="532"/>
                  </a:lnTo>
                  <a:lnTo>
                    <a:pt x="1382" y="527"/>
                  </a:lnTo>
                  <a:lnTo>
                    <a:pt x="1381" y="523"/>
                  </a:lnTo>
                  <a:lnTo>
                    <a:pt x="1370" y="511"/>
                  </a:lnTo>
                  <a:lnTo>
                    <a:pt x="1370" y="511"/>
                  </a:lnTo>
                  <a:lnTo>
                    <a:pt x="1364" y="505"/>
                  </a:lnTo>
                  <a:lnTo>
                    <a:pt x="1361" y="504"/>
                  </a:lnTo>
                  <a:lnTo>
                    <a:pt x="1360" y="505"/>
                  </a:lnTo>
                  <a:lnTo>
                    <a:pt x="1357" y="506"/>
                  </a:lnTo>
                  <a:lnTo>
                    <a:pt x="1355" y="505"/>
                  </a:lnTo>
                  <a:lnTo>
                    <a:pt x="1352" y="505"/>
                  </a:lnTo>
                  <a:lnTo>
                    <a:pt x="1352" y="505"/>
                  </a:lnTo>
                  <a:lnTo>
                    <a:pt x="1349" y="502"/>
                  </a:lnTo>
                  <a:lnTo>
                    <a:pt x="1348" y="501"/>
                  </a:lnTo>
                  <a:lnTo>
                    <a:pt x="1348" y="496"/>
                  </a:lnTo>
                  <a:lnTo>
                    <a:pt x="1348" y="492"/>
                  </a:lnTo>
                  <a:lnTo>
                    <a:pt x="1346" y="487"/>
                  </a:lnTo>
                  <a:lnTo>
                    <a:pt x="1346" y="487"/>
                  </a:lnTo>
                  <a:lnTo>
                    <a:pt x="1342" y="483"/>
                  </a:lnTo>
                  <a:lnTo>
                    <a:pt x="1339" y="475"/>
                  </a:lnTo>
                  <a:lnTo>
                    <a:pt x="1339" y="475"/>
                  </a:lnTo>
                  <a:lnTo>
                    <a:pt x="1335" y="466"/>
                  </a:lnTo>
                  <a:lnTo>
                    <a:pt x="1330" y="458"/>
                  </a:lnTo>
                  <a:lnTo>
                    <a:pt x="1330" y="458"/>
                  </a:lnTo>
                  <a:lnTo>
                    <a:pt x="1330" y="450"/>
                  </a:lnTo>
                  <a:lnTo>
                    <a:pt x="1329" y="440"/>
                  </a:lnTo>
                  <a:lnTo>
                    <a:pt x="1329" y="431"/>
                  </a:lnTo>
                  <a:lnTo>
                    <a:pt x="1329" y="425"/>
                  </a:lnTo>
                  <a:lnTo>
                    <a:pt x="1329" y="425"/>
                  </a:lnTo>
                  <a:lnTo>
                    <a:pt x="1326" y="422"/>
                  </a:lnTo>
                  <a:lnTo>
                    <a:pt x="1321" y="419"/>
                  </a:lnTo>
                  <a:lnTo>
                    <a:pt x="1315" y="418"/>
                  </a:lnTo>
                  <a:lnTo>
                    <a:pt x="1308" y="416"/>
                  </a:lnTo>
                  <a:lnTo>
                    <a:pt x="1308" y="416"/>
                  </a:lnTo>
                  <a:lnTo>
                    <a:pt x="1304" y="416"/>
                  </a:lnTo>
                  <a:lnTo>
                    <a:pt x="1302" y="413"/>
                  </a:lnTo>
                  <a:lnTo>
                    <a:pt x="1301" y="410"/>
                  </a:lnTo>
                  <a:lnTo>
                    <a:pt x="1298" y="407"/>
                  </a:lnTo>
                  <a:lnTo>
                    <a:pt x="1298" y="407"/>
                  </a:lnTo>
                  <a:lnTo>
                    <a:pt x="1295" y="407"/>
                  </a:lnTo>
                  <a:lnTo>
                    <a:pt x="1289" y="407"/>
                  </a:lnTo>
                  <a:lnTo>
                    <a:pt x="1284" y="410"/>
                  </a:lnTo>
                  <a:lnTo>
                    <a:pt x="1283" y="412"/>
                  </a:lnTo>
                  <a:lnTo>
                    <a:pt x="1283" y="413"/>
                  </a:lnTo>
                  <a:lnTo>
                    <a:pt x="1283" y="413"/>
                  </a:lnTo>
                  <a:lnTo>
                    <a:pt x="1281" y="418"/>
                  </a:lnTo>
                  <a:lnTo>
                    <a:pt x="1280" y="422"/>
                  </a:lnTo>
                  <a:lnTo>
                    <a:pt x="1277" y="425"/>
                  </a:lnTo>
                  <a:lnTo>
                    <a:pt x="1275" y="427"/>
                  </a:lnTo>
                  <a:lnTo>
                    <a:pt x="1275" y="427"/>
                  </a:lnTo>
                  <a:lnTo>
                    <a:pt x="1272" y="427"/>
                  </a:lnTo>
                  <a:lnTo>
                    <a:pt x="1269" y="425"/>
                  </a:lnTo>
                  <a:lnTo>
                    <a:pt x="1266" y="424"/>
                  </a:lnTo>
                  <a:lnTo>
                    <a:pt x="1261" y="424"/>
                  </a:lnTo>
                  <a:lnTo>
                    <a:pt x="1261" y="424"/>
                  </a:lnTo>
                  <a:lnTo>
                    <a:pt x="1255" y="425"/>
                  </a:lnTo>
                  <a:lnTo>
                    <a:pt x="1252" y="427"/>
                  </a:lnTo>
                  <a:lnTo>
                    <a:pt x="1247" y="429"/>
                  </a:lnTo>
                  <a:lnTo>
                    <a:pt x="1244" y="431"/>
                  </a:lnTo>
                  <a:lnTo>
                    <a:pt x="1244" y="431"/>
                  </a:lnTo>
                  <a:lnTo>
                    <a:pt x="1240" y="431"/>
                  </a:lnTo>
                  <a:lnTo>
                    <a:pt x="1234" y="428"/>
                  </a:lnTo>
                  <a:lnTo>
                    <a:pt x="1231" y="424"/>
                  </a:lnTo>
                  <a:lnTo>
                    <a:pt x="1229" y="418"/>
                  </a:lnTo>
                  <a:lnTo>
                    <a:pt x="1229" y="418"/>
                  </a:lnTo>
                  <a:lnTo>
                    <a:pt x="1228" y="410"/>
                  </a:lnTo>
                  <a:lnTo>
                    <a:pt x="1227" y="403"/>
                  </a:lnTo>
                  <a:lnTo>
                    <a:pt x="1225" y="397"/>
                  </a:lnTo>
                  <a:lnTo>
                    <a:pt x="1221" y="394"/>
                  </a:lnTo>
                  <a:lnTo>
                    <a:pt x="1221" y="394"/>
                  </a:lnTo>
                  <a:lnTo>
                    <a:pt x="1219" y="391"/>
                  </a:lnTo>
                  <a:lnTo>
                    <a:pt x="1221" y="389"/>
                  </a:lnTo>
                  <a:lnTo>
                    <a:pt x="1224" y="387"/>
                  </a:lnTo>
                  <a:lnTo>
                    <a:pt x="1227" y="384"/>
                  </a:lnTo>
                  <a:lnTo>
                    <a:pt x="1227" y="384"/>
                  </a:lnTo>
                  <a:lnTo>
                    <a:pt x="1227" y="382"/>
                  </a:lnTo>
                  <a:lnTo>
                    <a:pt x="1227" y="379"/>
                  </a:lnTo>
                  <a:lnTo>
                    <a:pt x="1224" y="375"/>
                  </a:lnTo>
                  <a:lnTo>
                    <a:pt x="1219" y="370"/>
                  </a:lnTo>
                  <a:lnTo>
                    <a:pt x="1213" y="369"/>
                  </a:lnTo>
                  <a:lnTo>
                    <a:pt x="1213" y="369"/>
                  </a:lnTo>
                  <a:lnTo>
                    <a:pt x="1201" y="366"/>
                  </a:lnTo>
                  <a:lnTo>
                    <a:pt x="1194" y="363"/>
                  </a:lnTo>
                  <a:lnTo>
                    <a:pt x="1188" y="358"/>
                  </a:lnTo>
                  <a:lnTo>
                    <a:pt x="1188" y="358"/>
                  </a:lnTo>
                  <a:lnTo>
                    <a:pt x="1179" y="352"/>
                  </a:lnTo>
                  <a:lnTo>
                    <a:pt x="1176" y="351"/>
                  </a:lnTo>
                  <a:lnTo>
                    <a:pt x="1172" y="351"/>
                  </a:lnTo>
                  <a:lnTo>
                    <a:pt x="1172" y="351"/>
                  </a:lnTo>
                  <a:lnTo>
                    <a:pt x="1157" y="351"/>
                  </a:lnTo>
                  <a:lnTo>
                    <a:pt x="1136" y="349"/>
                  </a:lnTo>
                  <a:lnTo>
                    <a:pt x="1136" y="349"/>
                  </a:lnTo>
                  <a:lnTo>
                    <a:pt x="1129" y="347"/>
                  </a:lnTo>
                  <a:lnTo>
                    <a:pt x="1126" y="345"/>
                  </a:lnTo>
                  <a:lnTo>
                    <a:pt x="1123" y="344"/>
                  </a:lnTo>
                  <a:lnTo>
                    <a:pt x="1118" y="344"/>
                  </a:lnTo>
                  <a:lnTo>
                    <a:pt x="1118" y="344"/>
                  </a:lnTo>
                  <a:lnTo>
                    <a:pt x="1111" y="347"/>
                  </a:lnTo>
                  <a:lnTo>
                    <a:pt x="1104" y="351"/>
                  </a:lnTo>
                  <a:lnTo>
                    <a:pt x="1098" y="357"/>
                  </a:lnTo>
                  <a:lnTo>
                    <a:pt x="1096" y="361"/>
                  </a:lnTo>
                  <a:lnTo>
                    <a:pt x="1096" y="361"/>
                  </a:lnTo>
                  <a:lnTo>
                    <a:pt x="1096" y="364"/>
                  </a:lnTo>
                  <a:lnTo>
                    <a:pt x="1096" y="370"/>
                  </a:lnTo>
                  <a:lnTo>
                    <a:pt x="1098" y="375"/>
                  </a:lnTo>
                  <a:lnTo>
                    <a:pt x="1098" y="381"/>
                  </a:lnTo>
                  <a:lnTo>
                    <a:pt x="1098" y="381"/>
                  </a:lnTo>
                  <a:lnTo>
                    <a:pt x="1096" y="389"/>
                  </a:lnTo>
                  <a:lnTo>
                    <a:pt x="1093" y="392"/>
                  </a:lnTo>
                  <a:lnTo>
                    <a:pt x="1089" y="394"/>
                  </a:lnTo>
                  <a:lnTo>
                    <a:pt x="1089" y="394"/>
                  </a:lnTo>
                  <a:lnTo>
                    <a:pt x="1083" y="394"/>
                  </a:lnTo>
                  <a:lnTo>
                    <a:pt x="1080" y="397"/>
                  </a:lnTo>
                  <a:lnTo>
                    <a:pt x="1074" y="403"/>
                  </a:lnTo>
                  <a:lnTo>
                    <a:pt x="1074" y="403"/>
                  </a:lnTo>
                  <a:lnTo>
                    <a:pt x="1073" y="407"/>
                  </a:lnTo>
                  <a:lnTo>
                    <a:pt x="1070" y="413"/>
                  </a:lnTo>
                  <a:lnTo>
                    <a:pt x="1065" y="431"/>
                  </a:lnTo>
                  <a:lnTo>
                    <a:pt x="1065" y="431"/>
                  </a:lnTo>
                  <a:lnTo>
                    <a:pt x="1064" y="438"/>
                  </a:lnTo>
                  <a:lnTo>
                    <a:pt x="1062" y="441"/>
                  </a:lnTo>
                  <a:lnTo>
                    <a:pt x="1059" y="443"/>
                  </a:lnTo>
                  <a:lnTo>
                    <a:pt x="1058" y="443"/>
                  </a:lnTo>
                  <a:lnTo>
                    <a:pt x="1058" y="443"/>
                  </a:lnTo>
                  <a:lnTo>
                    <a:pt x="1055" y="444"/>
                  </a:lnTo>
                  <a:lnTo>
                    <a:pt x="1053" y="447"/>
                  </a:lnTo>
                  <a:lnTo>
                    <a:pt x="1047" y="458"/>
                  </a:lnTo>
                  <a:lnTo>
                    <a:pt x="1047" y="458"/>
                  </a:lnTo>
                  <a:lnTo>
                    <a:pt x="1044" y="464"/>
                  </a:lnTo>
                  <a:lnTo>
                    <a:pt x="1043" y="466"/>
                  </a:lnTo>
                  <a:lnTo>
                    <a:pt x="1036" y="468"/>
                  </a:lnTo>
                  <a:lnTo>
                    <a:pt x="1036" y="468"/>
                  </a:lnTo>
                  <a:lnTo>
                    <a:pt x="1033" y="468"/>
                  </a:lnTo>
                  <a:lnTo>
                    <a:pt x="1031" y="469"/>
                  </a:lnTo>
                  <a:lnTo>
                    <a:pt x="1031" y="474"/>
                  </a:lnTo>
                  <a:lnTo>
                    <a:pt x="1034" y="483"/>
                  </a:lnTo>
                  <a:lnTo>
                    <a:pt x="1034" y="483"/>
                  </a:lnTo>
                  <a:lnTo>
                    <a:pt x="1034" y="486"/>
                  </a:lnTo>
                  <a:lnTo>
                    <a:pt x="1033" y="490"/>
                  </a:lnTo>
                  <a:lnTo>
                    <a:pt x="1031" y="496"/>
                  </a:lnTo>
                  <a:lnTo>
                    <a:pt x="1031" y="496"/>
                  </a:lnTo>
                  <a:lnTo>
                    <a:pt x="1030" y="499"/>
                  </a:lnTo>
                  <a:lnTo>
                    <a:pt x="1031" y="501"/>
                  </a:lnTo>
                  <a:lnTo>
                    <a:pt x="1036" y="506"/>
                  </a:lnTo>
                  <a:lnTo>
                    <a:pt x="1036" y="506"/>
                  </a:lnTo>
                  <a:lnTo>
                    <a:pt x="1037" y="509"/>
                  </a:lnTo>
                  <a:lnTo>
                    <a:pt x="1036" y="514"/>
                  </a:lnTo>
                  <a:lnTo>
                    <a:pt x="1033" y="521"/>
                  </a:lnTo>
                  <a:lnTo>
                    <a:pt x="1033" y="521"/>
                  </a:lnTo>
                  <a:lnTo>
                    <a:pt x="1033" y="523"/>
                  </a:lnTo>
                  <a:lnTo>
                    <a:pt x="1030" y="524"/>
                  </a:lnTo>
                  <a:lnTo>
                    <a:pt x="1025" y="526"/>
                  </a:lnTo>
                  <a:lnTo>
                    <a:pt x="1021" y="529"/>
                  </a:lnTo>
                  <a:lnTo>
                    <a:pt x="1021" y="529"/>
                  </a:lnTo>
                  <a:lnTo>
                    <a:pt x="1012" y="536"/>
                  </a:lnTo>
                  <a:lnTo>
                    <a:pt x="1009" y="538"/>
                  </a:lnTo>
                  <a:lnTo>
                    <a:pt x="1003" y="536"/>
                  </a:lnTo>
                  <a:lnTo>
                    <a:pt x="1003" y="536"/>
                  </a:lnTo>
                  <a:lnTo>
                    <a:pt x="997" y="536"/>
                  </a:lnTo>
                  <a:lnTo>
                    <a:pt x="994" y="535"/>
                  </a:lnTo>
                  <a:lnTo>
                    <a:pt x="991" y="532"/>
                  </a:lnTo>
                  <a:lnTo>
                    <a:pt x="987" y="527"/>
                  </a:lnTo>
                  <a:lnTo>
                    <a:pt x="987" y="527"/>
                  </a:lnTo>
                  <a:lnTo>
                    <a:pt x="985" y="524"/>
                  </a:lnTo>
                  <a:lnTo>
                    <a:pt x="982" y="523"/>
                  </a:lnTo>
                  <a:lnTo>
                    <a:pt x="978" y="521"/>
                  </a:lnTo>
                  <a:lnTo>
                    <a:pt x="973" y="520"/>
                  </a:lnTo>
                  <a:lnTo>
                    <a:pt x="970" y="518"/>
                  </a:lnTo>
                  <a:lnTo>
                    <a:pt x="969" y="515"/>
                  </a:lnTo>
                  <a:lnTo>
                    <a:pt x="969" y="515"/>
                  </a:lnTo>
                  <a:lnTo>
                    <a:pt x="966" y="509"/>
                  </a:lnTo>
                  <a:lnTo>
                    <a:pt x="963" y="508"/>
                  </a:lnTo>
                  <a:lnTo>
                    <a:pt x="963" y="508"/>
                  </a:lnTo>
                  <a:lnTo>
                    <a:pt x="960" y="508"/>
                  </a:lnTo>
                  <a:lnTo>
                    <a:pt x="957" y="511"/>
                  </a:lnTo>
                  <a:lnTo>
                    <a:pt x="953" y="520"/>
                  </a:lnTo>
                  <a:lnTo>
                    <a:pt x="953" y="520"/>
                  </a:lnTo>
                  <a:lnTo>
                    <a:pt x="951" y="523"/>
                  </a:lnTo>
                  <a:lnTo>
                    <a:pt x="948" y="523"/>
                  </a:lnTo>
                  <a:lnTo>
                    <a:pt x="944" y="524"/>
                  </a:lnTo>
                  <a:lnTo>
                    <a:pt x="942" y="526"/>
                  </a:lnTo>
                  <a:lnTo>
                    <a:pt x="942" y="526"/>
                  </a:lnTo>
                  <a:lnTo>
                    <a:pt x="941" y="527"/>
                  </a:lnTo>
                  <a:lnTo>
                    <a:pt x="936" y="529"/>
                  </a:lnTo>
                  <a:lnTo>
                    <a:pt x="932" y="530"/>
                  </a:lnTo>
                  <a:lnTo>
                    <a:pt x="927" y="529"/>
                  </a:lnTo>
                  <a:lnTo>
                    <a:pt x="927" y="529"/>
                  </a:lnTo>
                  <a:lnTo>
                    <a:pt x="923" y="529"/>
                  </a:lnTo>
                  <a:lnTo>
                    <a:pt x="921" y="530"/>
                  </a:lnTo>
                  <a:lnTo>
                    <a:pt x="920" y="533"/>
                  </a:lnTo>
                  <a:lnTo>
                    <a:pt x="919" y="535"/>
                  </a:lnTo>
                  <a:lnTo>
                    <a:pt x="919" y="535"/>
                  </a:lnTo>
                  <a:lnTo>
                    <a:pt x="914" y="536"/>
                  </a:lnTo>
                  <a:lnTo>
                    <a:pt x="905" y="542"/>
                  </a:lnTo>
                  <a:lnTo>
                    <a:pt x="905" y="542"/>
                  </a:lnTo>
                  <a:lnTo>
                    <a:pt x="901" y="544"/>
                  </a:lnTo>
                  <a:lnTo>
                    <a:pt x="895" y="545"/>
                  </a:lnTo>
                  <a:lnTo>
                    <a:pt x="882" y="544"/>
                  </a:lnTo>
                  <a:lnTo>
                    <a:pt x="882" y="544"/>
                  </a:lnTo>
                  <a:lnTo>
                    <a:pt x="879" y="545"/>
                  </a:lnTo>
                  <a:lnTo>
                    <a:pt x="877" y="545"/>
                  </a:lnTo>
                  <a:lnTo>
                    <a:pt x="877" y="551"/>
                  </a:lnTo>
                  <a:lnTo>
                    <a:pt x="879" y="557"/>
                  </a:lnTo>
                  <a:lnTo>
                    <a:pt x="879" y="563"/>
                  </a:lnTo>
                  <a:lnTo>
                    <a:pt x="879" y="563"/>
                  </a:lnTo>
                  <a:lnTo>
                    <a:pt x="877" y="567"/>
                  </a:lnTo>
                  <a:lnTo>
                    <a:pt x="876" y="570"/>
                  </a:lnTo>
                  <a:lnTo>
                    <a:pt x="874" y="573"/>
                  </a:lnTo>
                  <a:lnTo>
                    <a:pt x="870" y="573"/>
                  </a:lnTo>
                  <a:lnTo>
                    <a:pt x="870" y="573"/>
                  </a:lnTo>
                  <a:lnTo>
                    <a:pt x="867" y="576"/>
                  </a:lnTo>
                  <a:lnTo>
                    <a:pt x="865" y="579"/>
                  </a:lnTo>
                  <a:lnTo>
                    <a:pt x="864" y="582"/>
                  </a:lnTo>
                  <a:lnTo>
                    <a:pt x="862" y="583"/>
                  </a:lnTo>
                  <a:lnTo>
                    <a:pt x="862" y="583"/>
                  </a:lnTo>
                  <a:lnTo>
                    <a:pt x="853" y="585"/>
                  </a:lnTo>
                  <a:lnTo>
                    <a:pt x="844" y="585"/>
                  </a:lnTo>
                  <a:lnTo>
                    <a:pt x="834" y="582"/>
                  </a:lnTo>
                  <a:lnTo>
                    <a:pt x="834" y="582"/>
                  </a:lnTo>
                  <a:lnTo>
                    <a:pt x="830" y="579"/>
                  </a:lnTo>
                  <a:lnTo>
                    <a:pt x="827" y="578"/>
                  </a:lnTo>
                  <a:lnTo>
                    <a:pt x="824" y="573"/>
                  </a:lnTo>
                  <a:lnTo>
                    <a:pt x="822" y="567"/>
                  </a:lnTo>
                  <a:lnTo>
                    <a:pt x="818" y="561"/>
                  </a:lnTo>
                  <a:lnTo>
                    <a:pt x="818" y="561"/>
                  </a:lnTo>
                  <a:lnTo>
                    <a:pt x="812" y="555"/>
                  </a:lnTo>
                  <a:lnTo>
                    <a:pt x="805" y="552"/>
                  </a:lnTo>
                  <a:lnTo>
                    <a:pt x="799" y="552"/>
                  </a:lnTo>
                  <a:lnTo>
                    <a:pt x="799" y="552"/>
                  </a:lnTo>
                  <a:lnTo>
                    <a:pt x="800" y="542"/>
                  </a:lnTo>
                  <a:lnTo>
                    <a:pt x="802" y="533"/>
                  </a:lnTo>
                  <a:lnTo>
                    <a:pt x="806" y="526"/>
                  </a:lnTo>
                  <a:lnTo>
                    <a:pt x="806" y="526"/>
                  </a:lnTo>
                  <a:lnTo>
                    <a:pt x="810" y="518"/>
                  </a:lnTo>
                  <a:lnTo>
                    <a:pt x="812" y="514"/>
                  </a:lnTo>
                  <a:lnTo>
                    <a:pt x="810" y="505"/>
                  </a:lnTo>
                  <a:lnTo>
                    <a:pt x="810" y="505"/>
                  </a:lnTo>
                  <a:lnTo>
                    <a:pt x="810" y="499"/>
                  </a:lnTo>
                  <a:lnTo>
                    <a:pt x="810" y="496"/>
                  </a:lnTo>
                  <a:lnTo>
                    <a:pt x="815" y="489"/>
                  </a:lnTo>
                  <a:lnTo>
                    <a:pt x="815" y="489"/>
                  </a:lnTo>
                  <a:lnTo>
                    <a:pt x="815" y="483"/>
                  </a:lnTo>
                  <a:lnTo>
                    <a:pt x="816" y="477"/>
                  </a:lnTo>
                  <a:lnTo>
                    <a:pt x="815" y="471"/>
                  </a:lnTo>
                  <a:lnTo>
                    <a:pt x="813" y="468"/>
                  </a:lnTo>
                  <a:lnTo>
                    <a:pt x="813" y="468"/>
                  </a:lnTo>
                  <a:lnTo>
                    <a:pt x="810" y="464"/>
                  </a:lnTo>
                  <a:lnTo>
                    <a:pt x="809" y="459"/>
                  </a:lnTo>
                  <a:lnTo>
                    <a:pt x="809" y="455"/>
                  </a:lnTo>
                  <a:lnTo>
                    <a:pt x="809" y="455"/>
                  </a:lnTo>
                  <a:lnTo>
                    <a:pt x="812" y="447"/>
                  </a:lnTo>
                  <a:lnTo>
                    <a:pt x="815" y="437"/>
                  </a:lnTo>
                  <a:lnTo>
                    <a:pt x="818" y="427"/>
                  </a:lnTo>
                  <a:lnTo>
                    <a:pt x="822" y="419"/>
                  </a:lnTo>
                  <a:lnTo>
                    <a:pt x="822" y="419"/>
                  </a:lnTo>
                  <a:lnTo>
                    <a:pt x="828" y="410"/>
                  </a:lnTo>
                  <a:lnTo>
                    <a:pt x="830" y="404"/>
                  </a:lnTo>
                  <a:lnTo>
                    <a:pt x="830" y="404"/>
                  </a:lnTo>
                  <a:lnTo>
                    <a:pt x="833" y="398"/>
                  </a:lnTo>
                  <a:lnTo>
                    <a:pt x="837" y="392"/>
                  </a:lnTo>
                  <a:lnTo>
                    <a:pt x="837" y="392"/>
                  </a:lnTo>
                  <a:lnTo>
                    <a:pt x="839" y="389"/>
                  </a:lnTo>
                  <a:lnTo>
                    <a:pt x="840" y="385"/>
                  </a:lnTo>
                  <a:lnTo>
                    <a:pt x="839" y="381"/>
                  </a:lnTo>
                  <a:lnTo>
                    <a:pt x="837" y="376"/>
                  </a:lnTo>
                  <a:lnTo>
                    <a:pt x="837" y="376"/>
                  </a:lnTo>
                  <a:lnTo>
                    <a:pt x="834" y="372"/>
                  </a:lnTo>
                  <a:lnTo>
                    <a:pt x="834" y="367"/>
                  </a:lnTo>
                  <a:lnTo>
                    <a:pt x="837" y="360"/>
                  </a:lnTo>
                  <a:lnTo>
                    <a:pt x="837" y="360"/>
                  </a:lnTo>
                  <a:lnTo>
                    <a:pt x="840" y="347"/>
                  </a:lnTo>
                  <a:lnTo>
                    <a:pt x="840" y="339"/>
                  </a:lnTo>
                  <a:lnTo>
                    <a:pt x="839" y="333"/>
                  </a:lnTo>
                  <a:lnTo>
                    <a:pt x="839" y="333"/>
                  </a:lnTo>
                  <a:lnTo>
                    <a:pt x="837" y="332"/>
                  </a:lnTo>
                  <a:lnTo>
                    <a:pt x="836" y="332"/>
                  </a:lnTo>
                  <a:lnTo>
                    <a:pt x="830" y="332"/>
                  </a:lnTo>
                  <a:lnTo>
                    <a:pt x="825" y="335"/>
                  </a:lnTo>
                  <a:lnTo>
                    <a:pt x="822" y="336"/>
                  </a:lnTo>
                  <a:lnTo>
                    <a:pt x="822" y="336"/>
                  </a:lnTo>
                  <a:lnTo>
                    <a:pt x="821" y="336"/>
                  </a:lnTo>
                  <a:lnTo>
                    <a:pt x="819" y="336"/>
                  </a:lnTo>
                  <a:lnTo>
                    <a:pt x="812" y="329"/>
                  </a:lnTo>
                  <a:lnTo>
                    <a:pt x="812" y="329"/>
                  </a:lnTo>
                  <a:lnTo>
                    <a:pt x="807" y="326"/>
                  </a:lnTo>
                  <a:lnTo>
                    <a:pt x="803" y="326"/>
                  </a:lnTo>
                  <a:lnTo>
                    <a:pt x="799" y="324"/>
                  </a:lnTo>
                  <a:lnTo>
                    <a:pt x="794" y="323"/>
                  </a:lnTo>
                  <a:lnTo>
                    <a:pt x="794" y="323"/>
                  </a:lnTo>
                  <a:lnTo>
                    <a:pt x="791" y="321"/>
                  </a:lnTo>
                  <a:lnTo>
                    <a:pt x="790" y="318"/>
                  </a:lnTo>
                  <a:lnTo>
                    <a:pt x="790" y="312"/>
                  </a:lnTo>
                  <a:lnTo>
                    <a:pt x="788" y="307"/>
                  </a:lnTo>
                  <a:lnTo>
                    <a:pt x="787" y="299"/>
                  </a:lnTo>
                  <a:lnTo>
                    <a:pt x="787" y="299"/>
                  </a:lnTo>
                  <a:lnTo>
                    <a:pt x="784" y="296"/>
                  </a:lnTo>
                  <a:lnTo>
                    <a:pt x="781" y="295"/>
                  </a:lnTo>
                  <a:lnTo>
                    <a:pt x="776" y="295"/>
                  </a:lnTo>
                  <a:lnTo>
                    <a:pt x="769" y="295"/>
                  </a:lnTo>
                  <a:lnTo>
                    <a:pt x="769" y="295"/>
                  </a:lnTo>
                  <a:lnTo>
                    <a:pt x="767" y="290"/>
                  </a:lnTo>
                  <a:lnTo>
                    <a:pt x="767" y="281"/>
                  </a:lnTo>
                  <a:lnTo>
                    <a:pt x="770" y="27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6" y="256"/>
                  </a:lnTo>
                  <a:lnTo>
                    <a:pt x="781" y="252"/>
                  </a:lnTo>
                  <a:lnTo>
                    <a:pt x="785" y="249"/>
                  </a:lnTo>
                  <a:lnTo>
                    <a:pt x="788" y="244"/>
                  </a:lnTo>
                  <a:lnTo>
                    <a:pt x="788" y="244"/>
                  </a:lnTo>
                  <a:lnTo>
                    <a:pt x="788" y="237"/>
                  </a:lnTo>
                  <a:lnTo>
                    <a:pt x="787" y="225"/>
                  </a:lnTo>
                  <a:lnTo>
                    <a:pt x="782" y="213"/>
                  </a:lnTo>
                  <a:lnTo>
                    <a:pt x="779" y="206"/>
                  </a:lnTo>
                  <a:lnTo>
                    <a:pt x="779" y="206"/>
                  </a:lnTo>
                  <a:lnTo>
                    <a:pt x="776" y="204"/>
                  </a:lnTo>
                  <a:lnTo>
                    <a:pt x="769" y="204"/>
                  </a:lnTo>
                  <a:lnTo>
                    <a:pt x="762" y="203"/>
                  </a:lnTo>
                  <a:lnTo>
                    <a:pt x="753" y="201"/>
                  </a:lnTo>
                  <a:lnTo>
                    <a:pt x="753" y="201"/>
                  </a:lnTo>
                  <a:lnTo>
                    <a:pt x="750" y="200"/>
                  </a:lnTo>
                  <a:lnTo>
                    <a:pt x="748" y="197"/>
                  </a:lnTo>
                  <a:lnTo>
                    <a:pt x="747" y="193"/>
                  </a:lnTo>
                  <a:lnTo>
                    <a:pt x="748" y="190"/>
                  </a:lnTo>
                  <a:lnTo>
                    <a:pt x="751" y="181"/>
                  </a:lnTo>
                  <a:lnTo>
                    <a:pt x="753" y="173"/>
                  </a:lnTo>
                  <a:lnTo>
                    <a:pt x="753" y="173"/>
                  </a:lnTo>
                  <a:lnTo>
                    <a:pt x="754" y="166"/>
                  </a:lnTo>
                  <a:lnTo>
                    <a:pt x="757" y="158"/>
                  </a:lnTo>
                  <a:lnTo>
                    <a:pt x="760" y="153"/>
                  </a:lnTo>
                  <a:lnTo>
                    <a:pt x="760" y="148"/>
                  </a:lnTo>
                  <a:lnTo>
                    <a:pt x="760" y="148"/>
                  </a:lnTo>
                  <a:lnTo>
                    <a:pt x="753" y="138"/>
                  </a:lnTo>
                  <a:lnTo>
                    <a:pt x="750" y="130"/>
                  </a:lnTo>
                  <a:lnTo>
                    <a:pt x="748" y="124"/>
                  </a:lnTo>
                  <a:lnTo>
                    <a:pt x="748" y="124"/>
                  </a:lnTo>
                  <a:lnTo>
                    <a:pt x="745" y="113"/>
                  </a:lnTo>
                  <a:lnTo>
                    <a:pt x="744" y="108"/>
                  </a:lnTo>
                  <a:lnTo>
                    <a:pt x="741" y="105"/>
                  </a:lnTo>
                  <a:lnTo>
                    <a:pt x="741" y="105"/>
                  </a:lnTo>
                  <a:lnTo>
                    <a:pt x="733" y="98"/>
                  </a:lnTo>
                  <a:lnTo>
                    <a:pt x="728" y="93"/>
                  </a:lnTo>
                  <a:lnTo>
                    <a:pt x="720" y="89"/>
                  </a:lnTo>
                  <a:lnTo>
                    <a:pt x="720" y="89"/>
                  </a:lnTo>
                  <a:lnTo>
                    <a:pt x="710" y="84"/>
                  </a:lnTo>
                  <a:lnTo>
                    <a:pt x="699" y="81"/>
                  </a:lnTo>
                  <a:lnTo>
                    <a:pt x="699" y="81"/>
                  </a:lnTo>
                  <a:lnTo>
                    <a:pt x="692" y="80"/>
                  </a:lnTo>
                  <a:lnTo>
                    <a:pt x="686" y="80"/>
                  </a:lnTo>
                  <a:lnTo>
                    <a:pt x="682" y="78"/>
                  </a:lnTo>
                  <a:lnTo>
                    <a:pt x="679" y="77"/>
                  </a:lnTo>
                  <a:lnTo>
                    <a:pt x="679" y="77"/>
                  </a:lnTo>
                  <a:lnTo>
                    <a:pt x="677" y="77"/>
                  </a:lnTo>
                  <a:lnTo>
                    <a:pt x="676" y="76"/>
                  </a:lnTo>
                  <a:lnTo>
                    <a:pt x="677" y="73"/>
                  </a:lnTo>
                  <a:lnTo>
                    <a:pt x="683" y="68"/>
                  </a:lnTo>
                  <a:lnTo>
                    <a:pt x="683" y="68"/>
                  </a:lnTo>
                  <a:lnTo>
                    <a:pt x="683" y="65"/>
                  </a:lnTo>
                  <a:lnTo>
                    <a:pt x="683" y="61"/>
                  </a:lnTo>
                  <a:lnTo>
                    <a:pt x="683" y="58"/>
                  </a:lnTo>
                  <a:lnTo>
                    <a:pt x="685" y="55"/>
                  </a:lnTo>
                  <a:lnTo>
                    <a:pt x="685" y="55"/>
                  </a:lnTo>
                  <a:lnTo>
                    <a:pt x="688" y="53"/>
                  </a:lnTo>
                  <a:lnTo>
                    <a:pt x="693" y="52"/>
                  </a:lnTo>
                  <a:lnTo>
                    <a:pt x="698" y="50"/>
                  </a:lnTo>
                  <a:lnTo>
                    <a:pt x="701" y="49"/>
                  </a:lnTo>
                  <a:lnTo>
                    <a:pt x="701" y="49"/>
                  </a:lnTo>
                  <a:lnTo>
                    <a:pt x="701" y="47"/>
                  </a:lnTo>
                  <a:lnTo>
                    <a:pt x="698" y="44"/>
                  </a:lnTo>
                  <a:lnTo>
                    <a:pt x="696" y="40"/>
                  </a:lnTo>
                  <a:lnTo>
                    <a:pt x="693" y="36"/>
                  </a:lnTo>
                  <a:lnTo>
                    <a:pt x="693" y="36"/>
                  </a:lnTo>
                  <a:lnTo>
                    <a:pt x="690" y="30"/>
                  </a:lnTo>
                  <a:lnTo>
                    <a:pt x="688" y="25"/>
                  </a:lnTo>
                  <a:lnTo>
                    <a:pt x="685" y="18"/>
                  </a:lnTo>
                  <a:lnTo>
                    <a:pt x="685" y="18"/>
                  </a:lnTo>
                  <a:lnTo>
                    <a:pt x="685" y="15"/>
                  </a:lnTo>
                  <a:lnTo>
                    <a:pt x="685" y="10"/>
                  </a:lnTo>
                  <a:lnTo>
                    <a:pt x="686" y="6"/>
                  </a:lnTo>
                  <a:lnTo>
                    <a:pt x="686" y="3"/>
                  </a:lnTo>
                  <a:lnTo>
                    <a:pt x="686" y="3"/>
                  </a:lnTo>
                  <a:lnTo>
                    <a:pt x="683" y="1"/>
                  </a:lnTo>
                  <a:lnTo>
                    <a:pt x="679" y="0"/>
                  </a:lnTo>
                  <a:lnTo>
                    <a:pt x="674" y="0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0" y="4"/>
                  </a:lnTo>
                  <a:lnTo>
                    <a:pt x="668" y="9"/>
                  </a:lnTo>
                  <a:lnTo>
                    <a:pt x="667" y="15"/>
                  </a:lnTo>
                  <a:lnTo>
                    <a:pt x="667" y="15"/>
                  </a:lnTo>
                  <a:lnTo>
                    <a:pt x="670" y="15"/>
                  </a:lnTo>
                  <a:lnTo>
                    <a:pt x="674" y="18"/>
                  </a:lnTo>
                  <a:lnTo>
                    <a:pt x="679" y="22"/>
                  </a:lnTo>
                  <a:lnTo>
                    <a:pt x="680" y="25"/>
                  </a:lnTo>
                  <a:lnTo>
                    <a:pt x="680" y="28"/>
                  </a:lnTo>
                  <a:lnTo>
                    <a:pt x="680" y="28"/>
                  </a:lnTo>
                  <a:lnTo>
                    <a:pt x="680" y="34"/>
                  </a:lnTo>
                  <a:lnTo>
                    <a:pt x="680" y="38"/>
                  </a:lnTo>
                  <a:lnTo>
                    <a:pt x="679" y="41"/>
                  </a:lnTo>
                  <a:lnTo>
                    <a:pt x="677" y="43"/>
                  </a:lnTo>
                  <a:lnTo>
                    <a:pt x="674" y="44"/>
                  </a:lnTo>
                  <a:lnTo>
                    <a:pt x="670" y="44"/>
                  </a:lnTo>
                  <a:lnTo>
                    <a:pt x="670" y="44"/>
                  </a:lnTo>
                  <a:lnTo>
                    <a:pt x="662" y="46"/>
                  </a:lnTo>
                  <a:lnTo>
                    <a:pt x="656" y="47"/>
                  </a:lnTo>
                  <a:lnTo>
                    <a:pt x="653" y="49"/>
                  </a:lnTo>
                  <a:lnTo>
                    <a:pt x="651" y="53"/>
                  </a:lnTo>
                  <a:lnTo>
                    <a:pt x="651" y="53"/>
                  </a:lnTo>
                  <a:lnTo>
                    <a:pt x="646" y="58"/>
                  </a:lnTo>
                  <a:lnTo>
                    <a:pt x="642" y="61"/>
                  </a:lnTo>
                  <a:lnTo>
                    <a:pt x="637" y="62"/>
                  </a:lnTo>
                  <a:lnTo>
                    <a:pt x="631" y="61"/>
                  </a:lnTo>
                  <a:lnTo>
                    <a:pt x="631" y="61"/>
                  </a:lnTo>
                  <a:lnTo>
                    <a:pt x="618" y="52"/>
                  </a:lnTo>
                  <a:lnTo>
                    <a:pt x="613" y="50"/>
                  </a:lnTo>
                  <a:lnTo>
                    <a:pt x="611" y="50"/>
                  </a:lnTo>
                  <a:lnTo>
                    <a:pt x="608" y="52"/>
                  </a:lnTo>
                  <a:lnTo>
                    <a:pt x="605" y="53"/>
                  </a:lnTo>
                  <a:lnTo>
                    <a:pt x="605" y="53"/>
                  </a:lnTo>
                  <a:lnTo>
                    <a:pt x="600" y="61"/>
                  </a:lnTo>
                  <a:lnTo>
                    <a:pt x="599" y="67"/>
                  </a:lnTo>
                  <a:lnTo>
                    <a:pt x="597" y="81"/>
                  </a:lnTo>
                  <a:lnTo>
                    <a:pt x="597" y="81"/>
                  </a:lnTo>
                  <a:lnTo>
                    <a:pt x="596" y="89"/>
                  </a:lnTo>
                  <a:lnTo>
                    <a:pt x="593" y="95"/>
                  </a:lnTo>
                  <a:lnTo>
                    <a:pt x="593" y="99"/>
                  </a:lnTo>
                  <a:lnTo>
                    <a:pt x="593" y="101"/>
                  </a:lnTo>
                  <a:lnTo>
                    <a:pt x="594" y="102"/>
                  </a:lnTo>
                  <a:lnTo>
                    <a:pt x="594" y="102"/>
                  </a:lnTo>
                  <a:lnTo>
                    <a:pt x="599" y="105"/>
                  </a:lnTo>
                  <a:lnTo>
                    <a:pt x="603" y="105"/>
                  </a:lnTo>
                  <a:lnTo>
                    <a:pt x="606" y="108"/>
                  </a:lnTo>
                  <a:lnTo>
                    <a:pt x="606" y="110"/>
                  </a:lnTo>
                  <a:lnTo>
                    <a:pt x="605" y="111"/>
                  </a:lnTo>
                  <a:lnTo>
                    <a:pt x="605" y="111"/>
                  </a:lnTo>
                  <a:lnTo>
                    <a:pt x="602" y="115"/>
                  </a:lnTo>
                  <a:lnTo>
                    <a:pt x="597" y="117"/>
                  </a:lnTo>
                  <a:lnTo>
                    <a:pt x="593" y="118"/>
                  </a:lnTo>
                  <a:lnTo>
                    <a:pt x="591" y="120"/>
                  </a:lnTo>
                  <a:lnTo>
                    <a:pt x="591" y="121"/>
                  </a:lnTo>
                  <a:lnTo>
                    <a:pt x="591" y="121"/>
                  </a:lnTo>
                  <a:lnTo>
                    <a:pt x="591" y="126"/>
                  </a:lnTo>
                  <a:lnTo>
                    <a:pt x="593" y="129"/>
                  </a:lnTo>
                  <a:lnTo>
                    <a:pt x="596" y="133"/>
                  </a:lnTo>
                  <a:lnTo>
                    <a:pt x="596" y="133"/>
                  </a:lnTo>
                  <a:lnTo>
                    <a:pt x="596" y="135"/>
                  </a:lnTo>
                  <a:lnTo>
                    <a:pt x="593" y="136"/>
                  </a:lnTo>
                  <a:lnTo>
                    <a:pt x="588" y="139"/>
                  </a:lnTo>
                  <a:lnTo>
                    <a:pt x="587" y="142"/>
                  </a:lnTo>
                  <a:lnTo>
                    <a:pt x="587" y="142"/>
                  </a:lnTo>
                  <a:lnTo>
                    <a:pt x="584" y="151"/>
                  </a:lnTo>
                  <a:lnTo>
                    <a:pt x="585" y="155"/>
                  </a:lnTo>
                  <a:lnTo>
                    <a:pt x="587" y="161"/>
                  </a:lnTo>
                  <a:lnTo>
                    <a:pt x="587" y="161"/>
                  </a:lnTo>
                  <a:lnTo>
                    <a:pt x="590" y="167"/>
                  </a:lnTo>
                  <a:lnTo>
                    <a:pt x="593" y="172"/>
                  </a:lnTo>
                  <a:lnTo>
                    <a:pt x="596" y="176"/>
                  </a:lnTo>
                  <a:lnTo>
                    <a:pt x="597" y="178"/>
                  </a:lnTo>
                  <a:lnTo>
                    <a:pt x="597" y="178"/>
                  </a:lnTo>
                  <a:lnTo>
                    <a:pt x="597" y="185"/>
                  </a:lnTo>
                  <a:lnTo>
                    <a:pt x="600" y="188"/>
                  </a:lnTo>
                  <a:lnTo>
                    <a:pt x="603" y="190"/>
                  </a:lnTo>
                  <a:lnTo>
                    <a:pt x="603" y="190"/>
                  </a:lnTo>
                  <a:lnTo>
                    <a:pt x="613" y="193"/>
                  </a:lnTo>
                  <a:lnTo>
                    <a:pt x="618" y="194"/>
                  </a:lnTo>
                  <a:lnTo>
                    <a:pt x="619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19" y="198"/>
                  </a:lnTo>
                  <a:lnTo>
                    <a:pt x="616" y="201"/>
                  </a:lnTo>
                  <a:lnTo>
                    <a:pt x="615" y="206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5" y="216"/>
                  </a:lnTo>
                  <a:lnTo>
                    <a:pt x="615" y="219"/>
                  </a:lnTo>
                  <a:lnTo>
                    <a:pt x="613" y="221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06" y="224"/>
                  </a:lnTo>
                  <a:lnTo>
                    <a:pt x="603" y="228"/>
                  </a:lnTo>
                  <a:lnTo>
                    <a:pt x="602" y="232"/>
                  </a:lnTo>
                  <a:lnTo>
                    <a:pt x="602" y="237"/>
                  </a:lnTo>
                  <a:lnTo>
                    <a:pt x="602" y="237"/>
                  </a:lnTo>
                  <a:lnTo>
                    <a:pt x="603" y="243"/>
                  </a:lnTo>
                  <a:lnTo>
                    <a:pt x="603" y="252"/>
                  </a:lnTo>
                  <a:lnTo>
                    <a:pt x="603" y="268"/>
                  </a:lnTo>
                  <a:lnTo>
                    <a:pt x="603" y="268"/>
                  </a:lnTo>
                  <a:lnTo>
                    <a:pt x="602" y="270"/>
                  </a:lnTo>
                  <a:lnTo>
                    <a:pt x="600" y="272"/>
                  </a:lnTo>
                  <a:lnTo>
                    <a:pt x="594" y="275"/>
                  </a:lnTo>
                  <a:lnTo>
                    <a:pt x="587" y="281"/>
                  </a:lnTo>
                  <a:lnTo>
                    <a:pt x="585" y="283"/>
                  </a:lnTo>
                  <a:lnTo>
                    <a:pt x="584" y="286"/>
                  </a:lnTo>
                  <a:lnTo>
                    <a:pt x="584" y="286"/>
                  </a:lnTo>
                  <a:lnTo>
                    <a:pt x="585" y="292"/>
                  </a:lnTo>
                  <a:lnTo>
                    <a:pt x="588" y="296"/>
                  </a:lnTo>
                  <a:lnTo>
                    <a:pt x="590" y="301"/>
                  </a:lnTo>
                  <a:lnTo>
                    <a:pt x="590" y="304"/>
                  </a:lnTo>
                  <a:lnTo>
                    <a:pt x="590" y="304"/>
                  </a:lnTo>
                  <a:lnTo>
                    <a:pt x="585" y="310"/>
                  </a:lnTo>
                  <a:lnTo>
                    <a:pt x="581" y="314"/>
                  </a:lnTo>
                  <a:lnTo>
                    <a:pt x="575" y="318"/>
                  </a:lnTo>
                  <a:lnTo>
                    <a:pt x="569" y="321"/>
                  </a:lnTo>
                  <a:lnTo>
                    <a:pt x="569" y="321"/>
                  </a:lnTo>
                  <a:lnTo>
                    <a:pt x="560" y="326"/>
                  </a:lnTo>
                  <a:lnTo>
                    <a:pt x="556" y="330"/>
                  </a:lnTo>
                  <a:lnTo>
                    <a:pt x="554" y="333"/>
                  </a:lnTo>
                  <a:lnTo>
                    <a:pt x="554" y="333"/>
                  </a:lnTo>
                  <a:lnTo>
                    <a:pt x="554" y="338"/>
                  </a:lnTo>
                  <a:lnTo>
                    <a:pt x="551" y="341"/>
                  </a:lnTo>
                  <a:lnTo>
                    <a:pt x="548" y="344"/>
                  </a:lnTo>
                  <a:lnTo>
                    <a:pt x="544" y="345"/>
                  </a:lnTo>
                  <a:lnTo>
                    <a:pt x="544" y="345"/>
                  </a:lnTo>
                  <a:lnTo>
                    <a:pt x="535" y="348"/>
                  </a:lnTo>
                  <a:lnTo>
                    <a:pt x="532" y="351"/>
                  </a:lnTo>
                  <a:lnTo>
                    <a:pt x="535" y="354"/>
                  </a:lnTo>
                  <a:lnTo>
                    <a:pt x="535" y="354"/>
                  </a:lnTo>
                  <a:lnTo>
                    <a:pt x="544" y="360"/>
                  </a:lnTo>
                  <a:lnTo>
                    <a:pt x="547" y="364"/>
                  </a:lnTo>
                  <a:lnTo>
                    <a:pt x="547" y="366"/>
                  </a:lnTo>
                  <a:lnTo>
                    <a:pt x="545" y="367"/>
                  </a:lnTo>
                  <a:lnTo>
                    <a:pt x="545" y="367"/>
                  </a:lnTo>
                  <a:lnTo>
                    <a:pt x="541" y="369"/>
                  </a:lnTo>
                  <a:lnTo>
                    <a:pt x="536" y="372"/>
                  </a:lnTo>
                  <a:lnTo>
                    <a:pt x="532" y="373"/>
                  </a:lnTo>
                  <a:lnTo>
                    <a:pt x="529" y="376"/>
                  </a:lnTo>
                  <a:lnTo>
                    <a:pt x="529" y="376"/>
                  </a:lnTo>
                  <a:lnTo>
                    <a:pt x="526" y="387"/>
                  </a:lnTo>
                  <a:lnTo>
                    <a:pt x="525" y="394"/>
                  </a:lnTo>
                  <a:lnTo>
                    <a:pt x="523" y="403"/>
                  </a:lnTo>
                  <a:lnTo>
                    <a:pt x="523" y="403"/>
                  </a:lnTo>
                  <a:lnTo>
                    <a:pt x="523" y="425"/>
                  </a:lnTo>
                  <a:lnTo>
                    <a:pt x="525" y="437"/>
                  </a:lnTo>
                  <a:lnTo>
                    <a:pt x="528" y="443"/>
                  </a:lnTo>
                  <a:lnTo>
                    <a:pt x="529" y="447"/>
                  </a:lnTo>
                  <a:lnTo>
                    <a:pt x="529" y="447"/>
                  </a:lnTo>
                  <a:lnTo>
                    <a:pt x="536" y="455"/>
                  </a:lnTo>
                  <a:lnTo>
                    <a:pt x="545" y="459"/>
                  </a:lnTo>
                  <a:lnTo>
                    <a:pt x="554" y="462"/>
                  </a:lnTo>
                  <a:lnTo>
                    <a:pt x="562" y="465"/>
                  </a:lnTo>
                  <a:lnTo>
                    <a:pt x="562" y="465"/>
                  </a:lnTo>
                  <a:lnTo>
                    <a:pt x="566" y="466"/>
                  </a:lnTo>
                  <a:lnTo>
                    <a:pt x="571" y="472"/>
                  </a:lnTo>
                  <a:lnTo>
                    <a:pt x="572" y="478"/>
                  </a:lnTo>
                  <a:lnTo>
                    <a:pt x="574" y="484"/>
                  </a:lnTo>
                  <a:lnTo>
                    <a:pt x="574" y="484"/>
                  </a:lnTo>
                  <a:lnTo>
                    <a:pt x="575" y="490"/>
                  </a:lnTo>
                  <a:lnTo>
                    <a:pt x="578" y="496"/>
                  </a:lnTo>
                  <a:lnTo>
                    <a:pt x="579" y="501"/>
                  </a:lnTo>
                  <a:lnTo>
                    <a:pt x="579" y="505"/>
                  </a:lnTo>
                  <a:lnTo>
                    <a:pt x="579" y="505"/>
                  </a:lnTo>
                  <a:lnTo>
                    <a:pt x="576" y="515"/>
                  </a:lnTo>
                  <a:lnTo>
                    <a:pt x="575" y="517"/>
                  </a:lnTo>
                  <a:lnTo>
                    <a:pt x="574" y="518"/>
                  </a:lnTo>
                  <a:lnTo>
                    <a:pt x="574" y="518"/>
                  </a:lnTo>
                  <a:lnTo>
                    <a:pt x="568" y="514"/>
                  </a:lnTo>
                  <a:lnTo>
                    <a:pt x="563" y="512"/>
                  </a:lnTo>
                  <a:lnTo>
                    <a:pt x="559" y="514"/>
                  </a:lnTo>
                  <a:lnTo>
                    <a:pt x="559" y="514"/>
                  </a:lnTo>
                  <a:lnTo>
                    <a:pt x="556" y="517"/>
                  </a:lnTo>
                  <a:lnTo>
                    <a:pt x="553" y="520"/>
                  </a:lnTo>
                  <a:lnTo>
                    <a:pt x="550" y="527"/>
                  </a:lnTo>
                  <a:lnTo>
                    <a:pt x="550" y="527"/>
                  </a:lnTo>
                  <a:lnTo>
                    <a:pt x="545" y="535"/>
                  </a:lnTo>
                  <a:lnTo>
                    <a:pt x="544" y="539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8" y="549"/>
                  </a:lnTo>
                  <a:lnTo>
                    <a:pt x="554" y="554"/>
                  </a:lnTo>
                  <a:lnTo>
                    <a:pt x="559" y="558"/>
                  </a:lnTo>
                  <a:lnTo>
                    <a:pt x="563" y="560"/>
                  </a:lnTo>
                  <a:lnTo>
                    <a:pt x="563" y="560"/>
                  </a:lnTo>
                  <a:lnTo>
                    <a:pt x="571" y="561"/>
                  </a:lnTo>
                  <a:lnTo>
                    <a:pt x="574" y="563"/>
                  </a:lnTo>
                  <a:lnTo>
                    <a:pt x="574" y="567"/>
                  </a:lnTo>
                  <a:lnTo>
                    <a:pt x="574" y="567"/>
                  </a:lnTo>
                  <a:lnTo>
                    <a:pt x="572" y="576"/>
                  </a:lnTo>
                  <a:lnTo>
                    <a:pt x="572" y="581"/>
                  </a:lnTo>
                  <a:lnTo>
                    <a:pt x="574" y="585"/>
                  </a:lnTo>
                  <a:lnTo>
                    <a:pt x="574" y="585"/>
                  </a:lnTo>
                  <a:lnTo>
                    <a:pt x="578" y="588"/>
                  </a:lnTo>
                  <a:lnTo>
                    <a:pt x="581" y="592"/>
                  </a:lnTo>
                  <a:lnTo>
                    <a:pt x="582" y="597"/>
                  </a:lnTo>
                  <a:lnTo>
                    <a:pt x="582" y="598"/>
                  </a:lnTo>
                  <a:lnTo>
                    <a:pt x="581" y="600"/>
                  </a:lnTo>
                  <a:lnTo>
                    <a:pt x="581" y="600"/>
                  </a:lnTo>
                  <a:lnTo>
                    <a:pt x="574" y="603"/>
                  </a:lnTo>
                  <a:lnTo>
                    <a:pt x="566" y="607"/>
                  </a:lnTo>
                  <a:lnTo>
                    <a:pt x="559" y="610"/>
                  </a:lnTo>
                  <a:lnTo>
                    <a:pt x="556" y="613"/>
                  </a:lnTo>
                  <a:lnTo>
                    <a:pt x="554" y="616"/>
                  </a:lnTo>
                  <a:lnTo>
                    <a:pt x="554" y="616"/>
                  </a:lnTo>
                  <a:lnTo>
                    <a:pt x="551" y="622"/>
                  </a:lnTo>
                  <a:lnTo>
                    <a:pt x="550" y="628"/>
                  </a:lnTo>
                  <a:lnTo>
                    <a:pt x="551" y="631"/>
                  </a:lnTo>
                  <a:lnTo>
                    <a:pt x="553" y="635"/>
                  </a:lnTo>
                  <a:lnTo>
                    <a:pt x="553" y="635"/>
                  </a:lnTo>
                  <a:lnTo>
                    <a:pt x="553" y="640"/>
                  </a:lnTo>
                  <a:lnTo>
                    <a:pt x="551" y="643"/>
                  </a:lnTo>
                  <a:lnTo>
                    <a:pt x="545" y="649"/>
                  </a:lnTo>
                  <a:lnTo>
                    <a:pt x="545" y="649"/>
                  </a:lnTo>
                  <a:lnTo>
                    <a:pt x="541" y="653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2" y="656"/>
                  </a:lnTo>
                  <a:lnTo>
                    <a:pt x="531" y="655"/>
                  </a:lnTo>
                  <a:lnTo>
                    <a:pt x="531" y="655"/>
                  </a:lnTo>
                  <a:lnTo>
                    <a:pt x="531" y="650"/>
                  </a:lnTo>
                  <a:lnTo>
                    <a:pt x="529" y="644"/>
                  </a:lnTo>
                  <a:lnTo>
                    <a:pt x="528" y="641"/>
                  </a:lnTo>
                  <a:lnTo>
                    <a:pt x="525" y="640"/>
                  </a:lnTo>
                  <a:lnTo>
                    <a:pt x="522" y="638"/>
                  </a:lnTo>
                  <a:lnTo>
                    <a:pt x="519" y="640"/>
                  </a:lnTo>
                  <a:lnTo>
                    <a:pt x="519" y="640"/>
                  </a:lnTo>
                  <a:lnTo>
                    <a:pt x="511" y="641"/>
                  </a:lnTo>
                  <a:lnTo>
                    <a:pt x="507" y="646"/>
                  </a:lnTo>
                  <a:lnTo>
                    <a:pt x="504" y="647"/>
                  </a:lnTo>
                  <a:lnTo>
                    <a:pt x="502" y="646"/>
                  </a:lnTo>
                  <a:lnTo>
                    <a:pt x="502" y="644"/>
                  </a:lnTo>
                  <a:lnTo>
                    <a:pt x="502" y="644"/>
                  </a:lnTo>
                  <a:lnTo>
                    <a:pt x="501" y="638"/>
                  </a:lnTo>
                  <a:lnTo>
                    <a:pt x="501" y="632"/>
                  </a:lnTo>
                  <a:lnTo>
                    <a:pt x="501" y="625"/>
                  </a:lnTo>
                  <a:lnTo>
                    <a:pt x="501" y="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0" name="Freeform 79">
              <a:extLst>
                <a:ext uri="{FF2B5EF4-FFF2-40B4-BE49-F238E27FC236}">
                  <a16:creationId xmlns:a16="http://schemas.microsoft.com/office/drawing/2014/main" id="{696FA537-F7EF-924F-947E-68E25BA82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425" y="4660900"/>
              <a:ext cx="339725" cy="315912"/>
            </a:xfrm>
            <a:custGeom>
              <a:avLst/>
              <a:gdLst>
                <a:gd name="T0" fmla="*/ 5 w 214"/>
                <a:gd name="T1" fmla="*/ 46 h 199"/>
                <a:gd name="T2" fmla="*/ 3 w 214"/>
                <a:gd name="T3" fmla="*/ 67 h 199"/>
                <a:gd name="T4" fmla="*/ 8 w 214"/>
                <a:gd name="T5" fmla="*/ 74 h 199"/>
                <a:gd name="T6" fmla="*/ 24 w 214"/>
                <a:gd name="T7" fmla="*/ 77 h 199"/>
                <a:gd name="T8" fmla="*/ 32 w 214"/>
                <a:gd name="T9" fmla="*/ 88 h 199"/>
                <a:gd name="T10" fmla="*/ 45 w 214"/>
                <a:gd name="T11" fmla="*/ 108 h 199"/>
                <a:gd name="T12" fmla="*/ 57 w 214"/>
                <a:gd name="T13" fmla="*/ 126 h 199"/>
                <a:gd name="T14" fmla="*/ 58 w 214"/>
                <a:gd name="T15" fmla="*/ 147 h 199"/>
                <a:gd name="T16" fmla="*/ 64 w 214"/>
                <a:gd name="T17" fmla="*/ 159 h 199"/>
                <a:gd name="T18" fmla="*/ 79 w 214"/>
                <a:gd name="T19" fmla="*/ 177 h 199"/>
                <a:gd name="T20" fmla="*/ 88 w 214"/>
                <a:gd name="T21" fmla="*/ 190 h 199"/>
                <a:gd name="T22" fmla="*/ 97 w 214"/>
                <a:gd name="T23" fmla="*/ 194 h 199"/>
                <a:gd name="T24" fmla="*/ 110 w 214"/>
                <a:gd name="T25" fmla="*/ 199 h 199"/>
                <a:gd name="T26" fmla="*/ 119 w 214"/>
                <a:gd name="T27" fmla="*/ 194 h 199"/>
                <a:gd name="T28" fmla="*/ 140 w 214"/>
                <a:gd name="T29" fmla="*/ 178 h 199"/>
                <a:gd name="T30" fmla="*/ 147 w 214"/>
                <a:gd name="T31" fmla="*/ 181 h 199"/>
                <a:gd name="T32" fmla="*/ 151 w 214"/>
                <a:gd name="T33" fmla="*/ 182 h 199"/>
                <a:gd name="T34" fmla="*/ 169 w 214"/>
                <a:gd name="T35" fmla="*/ 159 h 199"/>
                <a:gd name="T36" fmla="*/ 177 w 214"/>
                <a:gd name="T37" fmla="*/ 154 h 199"/>
                <a:gd name="T38" fmla="*/ 186 w 214"/>
                <a:gd name="T39" fmla="*/ 145 h 199"/>
                <a:gd name="T40" fmla="*/ 199 w 214"/>
                <a:gd name="T41" fmla="*/ 138 h 199"/>
                <a:gd name="T42" fmla="*/ 190 w 214"/>
                <a:gd name="T43" fmla="*/ 126 h 199"/>
                <a:gd name="T44" fmla="*/ 208 w 214"/>
                <a:gd name="T45" fmla="*/ 116 h 199"/>
                <a:gd name="T46" fmla="*/ 214 w 214"/>
                <a:gd name="T47" fmla="*/ 111 h 199"/>
                <a:gd name="T48" fmla="*/ 208 w 214"/>
                <a:gd name="T49" fmla="*/ 105 h 199"/>
                <a:gd name="T50" fmla="*/ 175 w 214"/>
                <a:gd name="T51" fmla="*/ 97 h 199"/>
                <a:gd name="T52" fmla="*/ 172 w 214"/>
                <a:gd name="T53" fmla="*/ 91 h 199"/>
                <a:gd name="T54" fmla="*/ 175 w 214"/>
                <a:gd name="T55" fmla="*/ 46 h 199"/>
                <a:gd name="T56" fmla="*/ 174 w 214"/>
                <a:gd name="T57" fmla="*/ 39 h 199"/>
                <a:gd name="T58" fmla="*/ 162 w 214"/>
                <a:gd name="T59" fmla="*/ 52 h 199"/>
                <a:gd name="T60" fmla="*/ 151 w 214"/>
                <a:gd name="T61" fmla="*/ 65 h 199"/>
                <a:gd name="T62" fmla="*/ 141 w 214"/>
                <a:gd name="T63" fmla="*/ 68 h 199"/>
                <a:gd name="T64" fmla="*/ 125 w 214"/>
                <a:gd name="T65" fmla="*/ 62 h 199"/>
                <a:gd name="T66" fmla="*/ 101 w 214"/>
                <a:gd name="T67" fmla="*/ 42 h 199"/>
                <a:gd name="T68" fmla="*/ 88 w 214"/>
                <a:gd name="T69" fmla="*/ 21 h 199"/>
                <a:gd name="T70" fmla="*/ 66 w 214"/>
                <a:gd name="T71" fmla="*/ 18 h 199"/>
                <a:gd name="T72" fmla="*/ 42 w 214"/>
                <a:gd name="T73" fmla="*/ 2 h 199"/>
                <a:gd name="T74" fmla="*/ 29 w 214"/>
                <a:gd name="T75" fmla="*/ 0 h 199"/>
                <a:gd name="T76" fmla="*/ 21 w 214"/>
                <a:gd name="T77" fmla="*/ 8 h 199"/>
                <a:gd name="T78" fmla="*/ 12 w 214"/>
                <a:gd name="T79" fmla="*/ 11 h 199"/>
                <a:gd name="T80" fmla="*/ 0 w 214"/>
                <a:gd name="T81" fmla="*/ 11 h 199"/>
                <a:gd name="T82" fmla="*/ 17 w 214"/>
                <a:gd name="T83" fmla="*/ 27 h 199"/>
                <a:gd name="T84" fmla="*/ 12 w 214"/>
                <a:gd name="T85" fmla="*/ 33 h 199"/>
                <a:gd name="T86" fmla="*/ 8 w 214"/>
                <a:gd name="T87" fmla="*/ 3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4" h="199">
                  <a:moveTo>
                    <a:pt x="8" y="39"/>
                  </a:moveTo>
                  <a:lnTo>
                    <a:pt x="8" y="39"/>
                  </a:lnTo>
                  <a:lnTo>
                    <a:pt x="5" y="46"/>
                  </a:lnTo>
                  <a:lnTo>
                    <a:pt x="3" y="57"/>
                  </a:lnTo>
                  <a:lnTo>
                    <a:pt x="3" y="62"/>
                  </a:lnTo>
                  <a:lnTo>
                    <a:pt x="3" y="67"/>
                  </a:lnTo>
                  <a:lnTo>
                    <a:pt x="5" y="71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15" y="76"/>
                  </a:lnTo>
                  <a:lnTo>
                    <a:pt x="21" y="76"/>
                  </a:lnTo>
                  <a:lnTo>
                    <a:pt x="24" y="77"/>
                  </a:lnTo>
                  <a:lnTo>
                    <a:pt x="26" y="79"/>
                  </a:lnTo>
                  <a:lnTo>
                    <a:pt x="29" y="8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7" y="98"/>
                  </a:lnTo>
                  <a:lnTo>
                    <a:pt x="45" y="108"/>
                  </a:lnTo>
                  <a:lnTo>
                    <a:pt x="52" y="119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8" y="134"/>
                  </a:lnTo>
                  <a:lnTo>
                    <a:pt x="58" y="141"/>
                  </a:lnTo>
                  <a:lnTo>
                    <a:pt x="58" y="147"/>
                  </a:lnTo>
                  <a:lnTo>
                    <a:pt x="60" y="153"/>
                  </a:lnTo>
                  <a:lnTo>
                    <a:pt x="60" y="153"/>
                  </a:lnTo>
                  <a:lnTo>
                    <a:pt x="64" y="159"/>
                  </a:lnTo>
                  <a:lnTo>
                    <a:pt x="69" y="166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2" y="181"/>
                  </a:lnTo>
                  <a:lnTo>
                    <a:pt x="85" y="185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104" y="197"/>
                  </a:lnTo>
                  <a:lnTo>
                    <a:pt x="110" y="199"/>
                  </a:lnTo>
                  <a:lnTo>
                    <a:pt x="114" y="197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29" y="182"/>
                  </a:lnTo>
                  <a:lnTo>
                    <a:pt x="137" y="178"/>
                  </a:lnTo>
                  <a:lnTo>
                    <a:pt x="140" y="178"/>
                  </a:lnTo>
                  <a:lnTo>
                    <a:pt x="143" y="178"/>
                  </a:lnTo>
                  <a:lnTo>
                    <a:pt x="143" y="178"/>
                  </a:lnTo>
                  <a:lnTo>
                    <a:pt x="147" y="181"/>
                  </a:lnTo>
                  <a:lnTo>
                    <a:pt x="149" y="184"/>
                  </a:lnTo>
                  <a:lnTo>
                    <a:pt x="150" y="185"/>
                  </a:lnTo>
                  <a:lnTo>
                    <a:pt x="151" y="182"/>
                  </a:lnTo>
                  <a:lnTo>
                    <a:pt x="151" y="182"/>
                  </a:lnTo>
                  <a:lnTo>
                    <a:pt x="162" y="166"/>
                  </a:lnTo>
                  <a:lnTo>
                    <a:pt x="169" y="159"/>
                  </a:lnTo>
                  <a:lnTo>
                    <a:pt x="174" y="156"/>
                  </a:lnTo>
                  <a:lnTo>
                    <a:pt x="174" y="156"/>
                  </a:lnTo>
                  <a:lnTo>
                    <a:pt x="177" y="154"/>
                  </a:lnTo>
                  <a:lnTo>
                    <a:pt x="181" y="151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93" y="141"/>
                  </a:lnTo>
                  <a:lnTo>
                    <a:pt x="199" y="138"/>
                  </a:lnTo>
                  <a:lnTo>
                    <a:pt x="199" y="13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0" y="126"/>
                  </a:lnTo>
                  <a:lnTo>
                    <a:pt x="191" y="125"/>
                  </a:lnTo>
                  <a:lnTo>
                    <a:pt x="194" y="122"/>
                  </a:lnTo>
                  <a:lnTo>
                    <a:pt x="208" y="116"/>
                  </a:lnTo>
                  <a:lnTo>
                    <a:pt x="208" y="116"/>
                  </a:lnTo>
                  <a:lnTo>
                    <a:pt x="212" y="113"/>
                  </a:lnTo>
                  <a:lnTo>
                    <a:pt x="214" y="111"/>
                  </a:lnTo>
                  <a:lnTo>
                    <a:pt x="214" y="110"/>
                  </a:lnTo>
                  <a:lnTo>
                    <a:pt x="212" y="108"/>
                  </a:lnTo>
                  <a:lnTo>
                    <a:pt x="208" y="105"/>
                  </a:lnTo>
                  <a:lnTo>
                    <a:pt x="203" y="104"/>
                  </a:lnTo>
                  <a:lnTo>
                    <a:pt x="203" y="104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2" y="95"/>
                  </a:lnTo>
                  <a:lnTo>
                    <a:pt x="172" y="91"/>
                  </a:lnTo>
                  <a:lnTo>
                    <a:pt x="172" y="79"/>
                  </a:lnTo>
                  <a:lnTo>
                    <a:pt x="175" y="46"/>
                  </a:lnTo>
                  <a:lnTo>
                    <a:pt x="175" y="46"/>
                  </a:lnTo>
                  <a:lnTo>
                    <a:pt x="175" y="40"/>
                  </a:lnTo>
                  <a:lnTo>
                    <a:pt x="175" y="39"/>
                  </a:lnTo>
                  <a:lnTo>
                    <a:pt x="174" y="39"/>
                  </a:lnTo>
                  <a:lnTo>
                    <a:pt x="172" y="40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59" y="57"/>
                  </a:lnTo>
                  <a:lnTo>
                    <a:pt x="154" y="64"/>
                  </a:lnTo>
                  <a:lnTo>
                    <a:pt x="151" y="65"/>
                  </a:lnTo>
                  <a:lnTo>
                    <a:pt x="149" y="68"/>
                  </a:lnTo>
                  <a:lnTo>
                    <a:pt x="146" y="70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1" y="42"/>
                  </a:lnTo>
                  <a:lnTo>
                    <a:pt x="95" y="33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79" y="21"/>
                  </a:lnTo>
                  <a:lnTo>
                    <a:pt x="72" y="20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54" y="9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12" y="11"/>
                  </a:lnTo>
                  <a:lnTo>
                    <a:pt x="5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9" y="18"/>
                  </a:lnTo>
                  <a:lnTo>
                    <a:pt x="14" y="23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5" y="30"/>
                  </a:lnTo>
                  <a:lnTo>
                    <a:pt x="12" y="33"/>
                  </a:lnTo>
                  <a:lnTo>
                    <a:pt x="9" y="34"/>
                  </a:lnTo>
                  <a:lnTo>
                    <a:pt x="8" y="39"/>
                  </a:lnTo>
                  <a:lnTo>
                    <a:pt x="8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1" name="Freeform 80">
              <a:extLst>
                <a:ext uri="{FF2B5EF4-FFF2-40B4-BE49-F238E27FC236}">
                  <a16:creationId xmlns:a16="http://schemas.microsoft.com/office/drawing/2014/main" id="{93EC724C-66E5-E24E-8A2E-B0CD9F593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2450" y="6718300"/>
              <a:ext cx="1419225" cy="1801812"/>
            </a:xfrm>
            <a:custGeom>
              <a:avLst/>
              <a:gdLst>
                <a:gd name="T0" fmla="*/ 506 w 894"/>
                <a:gd name="T1" fmla="*/ 15 h 1135"/>
                <a:gd name="T2" fmla="*/ 455 w 894"/>
                <a:gd name="T3" fmla="*/ 16 h 1135"/>
                <a:gd name="T4" fmla="*/ 453 w 894"/>
                <a:gd name="T5" fmla="*/ 37 h 1135"/>
                <a:gd name="T6" fmla="*/ 447 w 894"/>
                <a:gd name="T7" fmla="*/ 80 h 1135"/>
                <a:gd name="T8" fmla="*/ 462 w 894"/>
                <a:gd name="T9" fmla="*/ 110 h 1135"/>
                <a:gd name="T10" fmla="*/ 480 w 894"/>
                <a:gd name="T11" fmla="*/ 132 h 1135"/>
                <a:gd name="T12" fmla="*/ 490 w 894"/>
                <a:gd name="T13" fmla="*/ 142 h 1135"/>
                <a:gd name="T14" fmla="*/ 483 w 894"/>
                <a:gd name="T15" fmla="*/ 184 h 1135"/>
                <a:gd name="T16" fmla="*/ 415 w 894"/>
                <a:gd name="T17" fmla="*/ 205 h 1135"/>
                <a:gd name="T18" fmla="*/ 382 w 894"/>
                <a:gd name="T19" fmla="*/ 222 h 1135"/>
                <a:gd name="T20" fmla="*/ 404 w 894"/>
                <a:gd name="T21" fmla="*/ 253 h 1135"/>
                <a:gd name="T22" fmla="*/ 413 w 894"/>
                <a:gd name="T23" fmla="*/ 289 h 1135"/>
                <a:gd name="T24" fmla="*/ 424 w 894"/>
                <a:gd name="T25" fmla="*/ 327 h 1135"/>
                <a:gd name="T26" fmla="*/ 462 w 894"/>
                <a:gd name="T27" fmla="*/ 362 h 1135"/>
                <a:gd name="T28" fmla="*/ 495 w 894"/>
                <a:gd name="T29" fmla="*/ 375 h 1135"/>
                <a:gd name="T30" fmla="*/ 502 w 894"/>
                <a:gd name="T31" fmla="*/ 461 h 1135"/>
                <a:gd name="T32" fmla="*/ 432 w 894"/>
                <a:gd name="T33" fmla="*/ 513 h 1135"/>
                <a:gd name="T34" fmla="*/ 373 w 894"/>
                <a:gd name="T35" fmla="*/ 575 h 1135"/>
                <a:gd name="T36" fmla="*/ 348 w 894"/>
                <a:gd name="T37" fmla="*/ 599 h 1135"/>
                <a:gd name="T38" fmla="*/ 379 w 894"/>
                <a:gd name="T39" fmla="*/ 627 h 1135"/>
                <a:gd name="T40" fmla="*/ 397 w 894"/>
                <a:gd name="T41" fmla="*/ 671 h 1135"/>
                <a:gd name="T42" fmla="*/ 357 w 894"/>
                <a:gd name="T43" fmla="*/ 721 h 1135"/>
                <a:gd name="T44" fmla="*/ 312 w 894"/>
                <a:gd name="T45" fmla="*/ 742 h 1135"/>
                <a:gd name="T46" fmla="*/ 270 w 894"/>
                <a:gd name="T47" fmla="*/ 760 h 1135"/>
                <a:gd name="T48" fmla="*/ 247 w 894"/>
                <a:gd name="T49" fmla="*/ 800 h 1135"/>
                <a:gd name="T50" fmla="*/ 194 w 894"/>
                <a:gd name="T51" fmla="*/ 856 h 1135"/>
                <a:gd name="T52" fmla="*/ 114 w 894"/>
                <a:gd name="T53" fmla="*/ 878 h 1135"/>
                <a:gd name="T54" fmla="*/ 39 w 894"/>
                <a:gd name="T55" fmla="*/ 889 h 1135"/>
                <a:gd name="T56" fmla="*/ 34 w 894"/>
                <a:gd name="T57" fmla="*/ 929 h 1135"/>
                <a:gd name="T58" fmla="*/ 27 w 894"/>
                <a:gd name="T59" fmla="*/ 981 h 1135"/>
                <a:gd name="T60" fmla="*/ 25 w 894"/>
                <a:gd name="T61" fmla="*/ 1012 h 1135"/>
                <a:gd name="T62" fmla="*/ 2 w 894"/>
                <a:gd name="T63" fmla="*/ 1075 h 1135"/>
                <a:gd name="T64" fmla="*/ 56 w 894"/>
                <a:gd name="T65" fmla="*/ 1114 h 1135"/>
                <a:gd name="T66" fmla="*/ 90 w 894"/>
                <a:gd name="T67" fmla="*/ 1132 h 1135"/>
                <a:gd name="T68" fmla="*/ 191 w 894"/>
                <a:gd name="T69" fmla="*/ 1132 h 1135"/>
                <a:gd name="T70" fmla="*/ 243 w 894"/>
                <a:gd name="T71" fmla="*/ 1124 h 1135"/>
                <a:gd name="T72" fmla="*/ 327 w 894"/>
                <a:gd name="T73" fmla="*/ 1078 h 1135"/>
                <a:gd name="T74" fmla="*/ 409 w 894"/>
                <a:gd name="T75" fmla="*/ 1034 h 1135"/>
                <a:gd name="T76" fmla="*/ 501 w 894"/>
                <a:gd name="T77" fmla="*/ 954 h 1135"/>
                <a:gd name="T78" fmla="*/ 588 w 894"/>
                <a:gd name="T79" fmla="*/ 964 h 1135"/>
                <a:gd name="T80" fmla="*/ 693 w 894"/>
                <a:gd name="T81" fmla="*/ 972 h 1135"/>
                <a:gd name="T82" fmla="*/ 774 w 894"/>
                <a:gd name="T83" fmla="*/ 941 h 1135"/>
                <a:gd name="T84" fmla="*/ 835 w 894"/>
                <a:gd name="T85" fmla="*/ 859 h 1135"/>
                <a:gd name="T86" fmla="*/ 844 w 894"/>
                <a:gd name="T87" fmla="*/ 671 h 1135"/>
                <a:gd name="T88" fmla="*/ 860 w 894"/>
                <a:gd name="T89" fmla="*/ 615 h 1135"/>
                <a:gd name="T90" fmla="*/ 822 w 894"/>
                <a:gd name="T91" fmla="*/ 567 h 1135"/>
                <a:gd name="T92" fmla="*/ 828 w 894"/>
                <a:gd name="T93" fmla="*/ 502 h 1135"/>
                <a:gd name="T94" fmla="*/ 868 w 894"/>
                <a:gd name="T95" fmla="*/ 439 h 1135"/>
                <a:gd name="T96" fmla="*/ 837 w 894"/>
                <a:gd name="T97" fmla="*/ 407 h 1135"/>
                <a:gd name="T98" fmla="*/ 829 w 894"/>
                <a:gd name="T99" fmla="*/ 363 h 1135"/>
                <a:gd name="T100" fmla="*/ 832 w 894"/>
                <a:gd name="T101" fmla="*/ 338 h 1135"/>
                <a:gd name="T102" fmla="*/ 810 w 894"/>
                <a:gd name="T103" fmla="*/ 320 h 1135"/>
                <a:gd name="T104" fmla="*/ 801 w 894"/>
                <a:gd name="T105" fmla="*/ 243 h 1135"/>
                <a:gd name="T106" fmla="*/ 774 w 894"/>
                <a:gd name="T107" fmla="*/ 250 h 1135"/>
                <a:gd name="T108" fmla="*/ 748 w 894"/>
                <a:gd name="T109" fmla="*/ 208 h 1135"/>
                <a:gd name="T110" fmla="*/ 717 w 894"/>
                <a:gd name="T111" fmla="*/ 216 h 1135"/>
                <a:gd name="T112" fmla="*/ 678 w 894"/>
                <a:gd name="T113" fmla="*/ 224 h 1135"/>
                <a:gd name="T114" fmla="*/ 687 w 894"/>
                <a:gd name="T115" fmla="*/ 191 h 1135"/>
                <a:gd name="T116" fmla="*/ 646 w 894"/>
                <a:gd name="T117" fmla="*/ 176 h 1135"/>
                <a:gd name="T118" fmla="*/ 620 w 894"/>
                <a:gd name="T119" fmla="*/ 154 h 1135"/>
                <a:gd name="T120" fmla="*/ 613 w 894"/>
                <a:gd name="T121" fmla="*/ 126 h 1135"/>
                <a:gd name="T122" fmla="*/ 582 w 894"/>
                <a:gd name="T123" fmla="*/ 71 h 1135"/>
                <a:gd name="T124" fmla="*/ 566 w 894"/>
                <a:gd name="T125" fmla="*/ 71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4" h="1135">
                  <a:moveTo>
                    <a:pt x="554" y="40"/>
                  </a:moveTo>
                  <a:lnTo>
                    <a:pt x="554" y="40"/>
                  </a:lnTo>
                  <a:lnTo>
                    <a:pt x="554" y="33"/>
                  </a:lnTo>
                  <a:lnTo>
                    <a:pt x="552" y="27"/>
                  </a:lnTo>
                  <a:lnTo>
                    <a:pt x="549" y="18"/>
                  </a:lnTo>
                  <a:lnTo>
                    <a:pt x="543" y="9"/>
                  </a:lnTo>
                  <a:lnTo>
                    <a:pt x="543" y="9"/>
                  </a:lnTo>
                  <a:lnTo>
                    <a:pt x="536" y="12"/>
                  </a:lnTo>
                  <a:lnTo>
                    <a:pt x="536" y="12"/>
                  </a:lnTo>
                  <a:lnTo>
                    <a:pt x="521" y="15"/>
                  </a:lnTo>
                  <a:lnTo>
                    <a:pt x="506" y="15"/>
                  </a:lnTo>
                  <a:lnTo>
                    <a:pt x="506" y="15"/>
                  </a:lnTo>
                  <a:lnTo>
                    <a:pt x="502" y="15"/>
                  </a:lnTo>
                  <a:lnTo>
                    <a:pt x="499" y="14"/>
                  </a:lnTo>
                  <a:lnTo>
                    <a:pt x="492" y="8"/>
                  </a:lnTo>
                  <a:lnTo>
                    <a:pt x="492" y="8"/>
                  </a:lnTo>
                  <a:lnTo>
                    <a:pt x="489" y="3"/>
                  </a:lnTo>
                  <a:lnTo>
                    <a:pt x="487" y="2"/>
                  </a:lnTo>
                  <a:lnTo>
                    <a:pt x="484" y="0"/>
                  </a:lnTo>
                  <a:lnTo>
                    <a:pt x="480" y="3"/>
                  </a:lnTo>
                  <a:lnTo>
                    <a:pt x="480" y="3"/>
                  </a:lnTo>
                  <a:lnTo>
                    <a:pt x="474" y="8"/>
                  </a:lnTo>
                  <a:lnTo>
                    <a:pt x="466" y="11"/>
                  </a:lnTo>
                  <a:lnTo>
                    <a:pt x="455" y="16"/>
                  </a:lnTo>
                  <a:lnTo>
                    <a:pt x="455" y="16"/>
                  </a:lnTo>
                  <a:lnTo>
                    <a:pt x="447" y="22"/>
                  </a:lnTo>
                  <a:lnTo>
                    <a:pt x="446" y="24"/>
                  </a:lnTo>
                  <a:lnTo>
                    <a:pt x="447" y="25"/>
                  </a:lnTo>
                  <a:lnTo>
                    <a:pt x="447" y="25"/>
                  </a:lnTo>
                  <a:lnTo>
                    <a:pt x="455" y="28"/>
                  </a:lnTo>
                  <a:lnTo>
                    <a:pt x="458" y="31"/>
                  </a:lnTo>
                  <a:lnTo>
                    <a:pt x="458" y="34"/>
                  </a:lnTo>
                  <a:lnTo>
                    <a:pt x="458" y="34"/>
                  </a:lnTo>
                  <a:lnTo>
                    <a:pt x="458" y="36"/>
                  </a:lnTo>
                  <a:lnTo>
                    <a:pt x="455" y="37"/>
                  </a:lnTo>
                  <a:lnTo>
                    <a:pt x="453" y="37"/>
                  </a:lnTo>
                  <a:lnTo>
                    <a:pt x="452" y="42"/>
                  </a:lnTo>
                  <a:lnTo>
                    <a:pt x="452" y="42"/>
                  </a:lnTo>
                  <a:lnTo>
                    <a:pt x="450" y="52"/>
                  </a:lnTo>
                  <a:lnTo>
                    <a:pt x="455" y="62"/>
                  </a:lnTo>
                  <a:lnTo>
                    <a:pt x="455" y="62"/>
                  </a:lnTo>
                  <a:lnTo>
                    <a:pt x="459" y="70"/>
                  </a:lnTo>
                  <a:lnTo>
                    <a:pt x="459" y="73"/>
                  </a:lnTo>
                  <a:lnTo>
                    <a:pt x="458" y="76"/>
                  </a:lnTo>
                  <a:lnTo>
                    <a:pt x="458" y="76"/>
                  </a:lnTo>
                  <a:lnTo>
                    <a:pt x="455" y="77"/>
                  </a:lnTo>
                  <a:lnTo>
                    <a:pt x="450" y="79"/>
                  </a:lnTo>
                  <a:lnTo>
                    <a:pt x="447" y="80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93"/>
                  </a:lnTo>
                  <a:lnTo>
                    <a:pt x="446" y="98"/>
                  </a:lnTo>
                  <a:lnTo>
                    <a:pt x="449" y="102"/>
                  </a:lnTo>
                  <a:lnTo>
                    <a:pt x="449" y="102"/>
                  </a:lnTo>
                  <a:lnTo>
                    <a:pt x="452" y="104"/>
                  </a:lnTo>
                  <a:lnTo>
                    <a:pt x="455" y="104"/>
                  </a:lnTo>
                  <a:lnTo>
                    <a:pt x="458" y="104"/>
                  </a:lnTo>
                  <a:lnTo>
                    <a:pt x="461" y="105"/>
                  </a:lnTo>
                  <a:lnTo>
                    <a:pt x="461" y="105"/>
                  </a:lnTo>
                  <a:lnTo>
                    <a:pt x="462" y="110"/>
                  </a:lnTo>
                  <a:lnTo>
                    <a:pt x="464" y="114"/>
                  </a:lnTo>
                  <a:lnTo>
                    <a:pt x="464" y="117"/>
                  </a:lnTo>
                  <a:lnTo>
                    <a:pt x="466" y="120"/>
                  </a:lnTo>
                  <a:lnTo>
                    <a:pt x="466" y="120"/>
                  </a:lnTo>
                  <a:lnTo>
                    <a:pt x="468" y="123"/>
                  </a:lnTo>
                  <a:lnTo>
                    <a:pt x="469" y="126"/>
                  </a:lnTo>
                  <a:lnTo>
                    <a:pt x="471" y="129"/>
                  </a:lnTo>
                  <a:lnTo>
                    <a:pt x="474" y="132"/>
                  </a:lnTo>
                  <a:lnTo>
                    <a:pt x="474" y="132"/>
                  </a:lnTo>
                  <a:lnTo>
                    <a:pt x="475" y="133"/>
                  </a:lnTo>
                  <a:lnTo>
                    <a:pt x="478" y="133"/>
                  </a:lnTo>
                  <a:lnTo>
                    <a:pt x="480" y="132"/>
                  </a:lnTo>
                  <a:lnTo>
                    <a:pt x="481" y="129"/>
                  </a:lnTo>
                  <a:lnTo>
                    <a:pt x="481" y="129"/>
                  </a:lnTo>
                  <a:lnTo>
                    <a:pt x="484" y="128"/>
                  </a:lnTo>
                  <a:lnTo>
                    <a:pt x="487" y="125"/>
                  </a:lnTo>
                  <a:lnTo>
                    <a:pt x="490" y="125"/>
                  </a:lnTo>
                  <a:lnTo>
                    <a:pt x="493" y="126"/>
                  </a:lnTo>
                  <a:lnTo>
                    <a:pt x="493" y="126"/>
                  </a:lnTo>
                  <a:lnTo>
                    <a:pt x="493" y="129"/>
                  </a:lnTo>
                  <a:lnTo>
                    <a:pt x="493" y="132"/>
                  </a:lnTo>
                  <a:lnTo>
                    <a:pt x="490" y="138"/>
                  </a:lnTo>
                  <a:lnTo>
                    <a:pt x="490" y="138"/>
                  </a:lnTo>
                  <a:lnTo>
                    <a:pt x="490" y="142"/>
                  </a:lnTo>
                  <a:lnTo>
                    <a:pt x="490" y="145"/>
                  </a:lnTo>
                  <a:lnTo>
                    <a:pt x="493" y="151"/>
                  </a:lnTo>
                  <a:lnTo>
                    <a:pt x="493" y="151"/>
                  </a:lnTo>
                  <a:lnTo>
                    <a:pt x="498" y="165"/>
                  </a:lnTo>
                  <a:lnTo>
                    <a:pt x="499" y="172"/>
                  </a:lnTo>
                  <a:lnTo>
                    <a:pt x="498" y="178"/>
                  </a:lnTo>
                  <a:lnTo>
                    <a:pt x="498" y="178"/>
                  </a:lnTo>
                  <a:lnTo>
                    <a:pt x="496" y="181"/>
                  </a:lnTo>
                  <a:lnTo>
                    <a:pt x="492" y="184"/>
                  </a:lnTo>
                  <a:lnTo>
                    <a:pt x="489" y="184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78" y="182"/>
                  </a:lnTo>
                  <a:lnTo>
                    <a:pt x="475" y="182"/>
                  </a:lnTo>
                  <a:lnTo>
                    <a:pt x="472" y="184"/>
                  </a:lnTo>
                  <a:lnTo>
                    <a:pt x="471" y="188"/>
                  </a:lnTo>
                  <a:lnTo>
                    <a:pt x="471" y="188"/>
                  </a:lnTo>
                  <a:lnTo>
                    <a:pt x="466" y="193"/>
                  </a:lnTo>
                  <a:lnTo>
                    <a:pt x="462" y="197"/>
                  </a:lnTo>
                  <a:lnTo>
                    <a:pt x="455" y="202"/>
                  </a:lnTo>
                  <a:lnTo>
                    <a:pt x="449" y="203"/>
                  </a:lnTo>
                  <a:lnTo>
                    <a:pt x="449" y="203"/>
                  </a:lnTo>
                  <a:lnTo>
                    <a:pt x="432" y="205"/>
                  </a:lnTo>
                  <a:lnTo>
                    <a:pt x="415" y="205"/>
                  </a:lnTo>
                  <a:lnTo>
                    <a:pt x="415" y="205"/>
                  </a:lnTo>
                  <a:lnTo>
                    <a:pt x="389" y="200"/>
                  </a:lnTo>
                  <a:lnTo>
                    <a:pt x="389" y="200"/>
                  </a:lnTo>
                  <a:lnTo>
                    <a:pt x="388" y="202"/>
                  </a:lnTo>
                  <a:lnTo>
                    <a:pt x="385" y="202"/>
                  </a:lnTo>
                  <a:lnTo>
                    <a:pt x="384" y="203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15"/>
                  </a:lnTo>
                  <a:lnTo>
                    <a:pt x="384" y="218"/>
                  </a:lnTo>
                  <a:lnTo>
                    <a:pt x="382" y="222"/>
                  </a:lnTo>
                  <a:lnTo>
                    <a:pt x="382" y="222"/>
                  </a:lnTo>
                  <a:lnTo>
                    <a:pt x="378" y="227"/>
                  </a:lnTo>
                  <a:lnTo>
                    <a:pt x="375" y="230"/>
                  </a:lnTo>
                  <a:lnTo>
                    <a:pt x="373" y="233"/>
                  </a:lnTo>
                  <a:lnTo>
                    <a:pt x="375" y="236"/>
                  </a:lnTo>
                  <a:lnTo>
                    <a:pt x="375" y="236"/>
                  </a:lnTo>
                  <a:lnTo>
                    <a:pt x="378" y="240"/>
                  </a:lnTo>
                  <a:lnTo>
                    <a:pt x="384" y="242"/>
                  </a:lnTo>
                  <a:lnTo>
                    <a:pt x="395" y="245"/>
                  </a:lnTo>
                  <a:lnTo>
                    <a:pt x="395" y="245"/>
                  </a:lnTo>
                  <a:lnTo>
                    <a:pt x="401" y="248"/>
                  </a:lnTo>
                  <a:lnTo>
                    <a:pt x="403" y="249"/>
                  </a:lnTo>
                  <a:lnTo>
                    <a:pt x="404" y="253"/>
                  </a:lnTo>
                  <a:lnTo>
                    <a:pt x="404" y="253"/>
                  </a:lnTo>
                  <a:lnTo>
                    <a:pt x="400" y="261"/>
                  </a:lnTo>
                  <a:lnTo>
                    <a:pt x="398" y="265"/>
                  </a:lnTo>
                  <a:lnTo>
                    <a:pt x="398" y="270"/>
                  </a:lnTo>
                  <a:lnTo>
                    <a:pt x="398" y="270"/>
                  </a:lnTo>
                  <a:lnTo>
                    <a:pt x="401" y="274"/>
                  </a:lnTo>
                  <a:lnTo>
                    <a:pt x="404" y="277"/>
                  </a:lnTo>
                  <a:lnTo>
                    <a:pt x="409" y="279"/>
                  </a:lnTo>
                  <a:lnTo>
                    <a:pt x="409" y="279"/>
                  </a:lnTo>
                  <a:lnTo>
                    <a:pt x="413" y="285"/>
                  </a:lnTo>
                  <a:lnTo>
                    <a:pt x="413" y="286"/>
                  </a:lnTo>
                  <a:lnTo>
                    <a:pt x="413" y="289"/>
                  </a:lnTo>
                  <a:lnTo>
                    <a:pt x="413" y="289"/>
                  </a:lnTo>
                  <a:lnTo>
                    <a:pt x="407" y="290"/>
                  </a:lnTo>
                  <a:lnTo>
                    <a:pt x="407" y="292"/>
                  </a:lnTo>
                  <a:lnTo>
                    <a:pt x="409" y="295"/>
                  </a:lnTo>
                  <a:lnTo>
                    <a:pt x="409" y="295"/>
                  </a:lnTo>
                  <a:lnTo>
                    <a:pt x="413" y="298"/>
                  </a:lnTo>
                  <a:lnTo>
                    <a:pt x="418" y="301"/>
                  </a:lnTo>
                  <a:lnTo>
                    <a:pt x="419" y="304"/>
                  </a:lnTo>
                  <a:lnTo>
                    <a:pt x="421" y="308"/>
                  </a:lnTo>
                  <a:lnTo>
                    <a:pt x="421" y="308"/>
                  </a:lnTo>
                  <a:lnTo>
                    <a:pt x="421" y="320"/>
                  </a:lnTo>
                  <a:lnTo>
                    <a:pt x="424" y="327"/>
                  </a:lnTo>
                  <a:lnTo>
                    <a:pt x="426" y="335"/>
                  </a:lnTo>
                  <a:lnTo>
                    <a:pt x="426" y="335"/>
                  </a:lnTo>
                  <a:lnTo>
                    <a:pt x="429" y="342"/>
                  </a:lnTo>
                  <a:lnTo>
                    <a:pt x="431" y="348"/>
                  </a:lnTo>
                  <a:lnTo>
                    <a:pt x="432" y="351"/>
                  </a:lnTo>
                  <a:lnTo>
                    <a:pt x="434" y="354"/>
                  </a:lnTo>
                  <a:lnTo>
                    <a:pt x="437" y="356"/>
                  </a:lnTo>
                  <a:lnTo>
                    <a:pt x="443" y="359"/>
                  </a:lnTo>
                  <a:lnTo>
                    <a:pt x="443" y="359"/>
                  </a:lnTo>
                  <a:lnTo>
                    <a:pt x="452" y="362"/>
                  </a:lnTo>
                  <a:lnTo>
                    <a:pt x="458" y="363"/>
                  </a:lnTo>
                  <a:lnTo>
                    <a:pt x="462" y="362"/>
                  </a:lnTo>
                  <a:lnTo>
                    <a:pt x="465" y="362"/>
                  </a:lnTo>
                  <a:lnTo>
                    <a:pt x="465" y="362"/>
                  </a:lnTo>
                  <a:lnTo>
                    <a:pt x="472" y="359"/>
                  </a:lnTo>
                  <a:lnTo>
                    <a:pt x="477" y="359"/>
                  </a:lnTo>
                  <a:lnTo>
                    <a:pt x="480" y="362"/>
                  </a:lnTo>
                  <a:lnTo>
                    <a:pt x="480" y="362"/>
                  </a:lnTo>
                  <a:lnTo>
                    <a:pt x="481" y="365"/>
                  </a:lnTo>
                  <a:lnTo>
                    <a:pt x="481" y="367"/>
                  </a:lnTo>
                  <a:lnTo>
                    <a:pt x="483" y="369"/>
                  </a:lnTo>
                  <a:lnTo>
                    <a:pt x="487" y="372"/>
                  </a:lnTo>
                  <a:lnTo>
                    <a:pt x="487" y="372"/>
                  </a:lnTo>
                  <a:lnTo>
                    <a:pt x="495" y="375"/>
                  </a:lnTo>
                  <a:lnTo>
                    <a:pt x="502" y="376"/>
                  </a:lnTo>
                  <a:lnTo>
                    <a:pt x="502" y="376"/>
                  </a:lnTo>
                  <a:lnTo>
                    <a:pt x="505" y="378"/>
                  </a:lnTo>
                  <a:lnTo>
                    <a:pt x="508" y="381"/>
                  </a:lnTo>
                  <a:lnTo>
                    <a:pt x="514" y="388"/>
                  </a:lnTo>
                  <a:lnTo>
                    <a:pt x="523" y="402"/>
                  </a:lnTo>
                  <a:lnTo>
                    <a:pt x="523" y="402"/>
                  </a:lnTo>
                  <a:lnTo>
                    <a:pt x="521" y="406"/>
                  </a:lnTo>
                  <a:lnTo>
                    <a:pt x="520" y="413"/>
                  </a:lnTo>
                  <a:lnTo>
                    <a:pt x="512" y="433"/>
                  </a:lnTo>
                  <a:lnTo>
                    <a:pt x="502" y="461"/>
                  </a:lnTo>
                  <a:lnTo>
                    <a:pt x="502" y="461"/>
                  </a:lnTo>
                  <a:lnTo>
                    <a:pt x="501" y="462"/>
                  </a:lnTo>
                  <a:lnTo>
                    <a:pt x="496" y="462"/>
                  </a:lnTo>
                  <a:lnTo>
                    <a:pt x="483" y="464"/>
                  </a:lnTo>
                  <a:lnTo>
                    <a:pt x="483" y="464"/>
                  </a:lnTo>
                  <a:lnTo>
                    <a:pt x="478" y="464"/>
                  </a:lnTo>
                  <a:lnTo>
                    <a:pt x="474" y="465"/>
                  </a:lnTo>
                  <a:lnTo>
                    <a:pt x="461" y="473"/>
                  </a:lnTo>
                  <a:lnTo>
                    <a:pt x="449" y="480"/>
                  </a:lnTo>
                  <a:lnTo>
                    <a:pt x="441" y="487"/>
                  </a:lnTo>
                  <a:lnTo>
                    <a:pt x="441" y="487"/>
                  </a:lnTo>
                  <a:lnTo>
                    <a:pt x="437" y="498"/>
                  </a:lnTo>
                  <a:lnTo>
                    <a:pt x="432" y="513"/>
                  </a:lnTo>
                  <a:lnTo>
                    <a:pt x="428" y="526"/>
                  </a:lnTo>
                  <a:lnTo>
                    <a:pt x="426" y="532"/>
                  </a:lnTo>
                  <a:lnTo>
                    <a:pt x="424" y="535"/>
                  </a:lnTo>
                  <a:lnTo>
                    <a:pt x="424" y="535"/>
                  </a:lnTo>
                  <a:lnTo>
                    <a:pt x="415" y="545"/>
                  </a:lnTo>
                  <a:lnTo>
                    <a:pt x="404" y="557"/>
                  </a:lnTo>
                  <a:lnTo>
                    <a:pt x="404" y="557"/>
                  </a:lnTo>
                  <a:lnTo>
                    <a:pt x="397" y="561"/>
                  </a:lnTo>
                  <a:lnTo>
                    <a:pt x="389" y="566"/>
                  </a:lnTo>
                  <a:lnTo>
                    <a:pt x="376" y="572"/>
                  </a:lnTo>
                  <a:lnTo>
                    <a:pt x="376" y="572"/>
                  </a:lnTo>
                  <a:lnTo>
                    <a:pt x="373" y="575"/>
                  </a:lnTo>
                  <a:lnTo>
                    <a:pt x="370" y="579"/>
                  </a:lnTo>
                  <a:lnTo>
                    <a:pt x="366" y="584"/>
                  </a:lnTo>
                  <a:lnTo>
                    <a:pt x="363" y="585"/>
                  </a:lnTo>
                  <a:lnTo>
                    <a:pt x="360" y="585"/>
                  </a:lnTo>
                  <a:lnTo>
                    <a:pt x="360" y="585"/>
                  </a:lnTo>
                  <a:lnTo>
                    <a:pt x="351" y="588"/>
                  </a:lnTo>
                  <a:lnTo>
                    <a:pt x="347" y="591"/>
                  </a:lnTo>
                  <a:lnTo>
                    <a:pt x="345" y="593"/>
                  </a:lnTo>
                  <a:lnTo>
                    <a:pt x="344" y="594"/>
                  </a:lnTo>
                  <a:lnTo>
                    <a:pt x="345" y="597"/>
                  </a:lnTo>
                  <a:lnTo>
                    <a:pt x="348" y="599"/>
                  </a:lnTo>
                  <a:lnTo>
                    <a:pt x="348" y="599"/>
                  </a:lnTo>
                  <a:lnTo>
                    <a:pt x="352" y="601"/>
                  </a:lnTo>
                  <a:lnTo>
                    <a:pt x="357" y="604"/>
                  </a:lnTo>
                  <a:lnTo>
                    <a:pt x="358" y="607"/>
                  </a:lnTo>
                  <a:lnTo>
                    <a:pt x="358" y="612"/>
                  </a:lnTo>
                  <a:lnTo>
                    <a:pt x="358" y="612"/>
                  </a:lnTo>
                  <a:lnTo>
                    <a:pt x="358" y="618"/>
                  </a:lnTo>
                  <a:lnTo>
                    <a:pt x="361" y="622"/>
                  </a:lnTo>
                  <a:lnTo>
                    <a:pt x="366" y="625"/>
                  </a:lnTo>
                  <a:lnTo>
                    <a:pt x="370" y="627"/>
                  </a:lnTo>
                  <a:lnTo>
                    <a:pt x="370" y="627"/>
                  </a:lnTo>
                  <a:lnTo>
                    <a:pt x="375" y="627"/>
                  </a:lnTo>
                  <a:lnTo>
                    <a:pt x="379" y="627"/>
                  </a:lnTo>
                  <a:lnTo>
                    <a:pt x="381" y="628"/>
                  </a:lnTo>
                  <a:lnTo>
                    <a:pt x="382" y="630"/>
                  </a:lnTo>
                  <a:lnTo>
                    <a:pt x="387" y="640"/>
                  </a:lnTo>
                  <a:lnTo>
                    <a:pt x="387" y="640"/>
                  </a:lnTo>
                  <a:lnTo>
                    <a:pt x="389" y="646"/>
                  </a:lnTo>
                  <a:lnTo>
                    <a:pt x="391" y="649"/>
                  </a:lnTo>
                  <a:lnTo>
                    <a:pt x="394" y="650"/>
                  </a:lnTo>
                  <a:lnTo>
                    <a:pt x="395" y="650"/>
                  </a:lnTo>
                  <a:lnTo>
                    <a:pt x="397" y="652"/>
                  </a:lnTo>
                  <a:lnTo>
                    <a:pt x="397" y="655"/>
                  </a:lnTo>
                  <a:lnTo>
                    <a:pt x="397" y="655"/>
                  </a:lnTo>
                  <a:lnTo>
                    <a:pt x="397" y="671"/>
                  </a:lnTo>
                  <a:lnTo>
                    <a:pt x="395" y="686"/>
                  </a:lnTo>
                  <a:lnTo>
                    <a:pt x="395" y="686"/>
                  </a:lnTo>
                  <a:lnTo>
                    <a:pt x="392" y="689"/>
                  </a:lnTo>
                  <a:lnTo>
                    <a:pt x="389" y="690"/>
                  </a:lnTo>
                  <a:lnTo>
                    <a:pt x="387" y="693"/>
                  </a:lnTo>
                  <a:lnTo>
                    <a:pt x="384" y="696"/>
                  </a:lnTo>
                  <a:lnTo>
                    <a:pt x="384" y="696"/>
                  </a:lnTo>
                  <a:lnTo>
                    <a:pt x="375" y="708"/>
                  </a:lnTo>
                  <a:lnTo>
                    <a:pt x="370" y="714"/>
                  </a:lnTo>
                  <a:lnTo>
                    <a:pt x="366" y="717"/>
                  </a:lnTo>
                  <a:lnTo>
                    <a:pt x="366" y="717"/>
                  </a:lnTo>
                  <a:lnTo>
                    <a:pt x="357" y="721"/>
                  </a:lnTo>
                  <a:lnTo>
                    <a:pt x="347" y="723"/>
                  </a:lnTo>
                  <a:lnTo>
                    <a:pt x="347" y="723"/>
                  </a:lnTo>
                  <a:lnTo>
                    <a:pt x="342" y="723"/>
                  </a:lnTo>
                  <a:lnTo>
                    <a:pt x="338" y="726"/>
                  </a:lnTo>
                  <a:lnTo>
                    <a:pt x="333" y="729"/>
                  </a:lnTo>
                  <a:lnTo>
                    <a:pt x="332" y="732"/>
                  </a:lnTo>
                  <a:lnTo>
                    <a:pt x="332" y="732"/>
                  </a:lnTo>
                  <a:lnTo>
                    <a:pt x="330" y="735"/>
                  </a:lnTo>
                  <a:lnTo>
                    <a:pt x="326" y="738"/>
                  </a:lnTo>
                  <a:lnTo>
                    <a:pt x="320" y="741"/>
                  </a:lnTo>
                  <a:lnTo>
                    <a:pt x="312" y="742"/>
                  </a:lnTo>
                  <a:lnTo>
                    <a:pt x="312" y="742"/>
                  </a:lnTo>
                  <a:lnTo>
                    <a:pt x="308" y="744"/>
                  </a:lnTo>
                  <a:lnTo>
                    <a:pt x="304" y="747"/>
                  </a:lnTo>
                  <a:lnTo>
                    <a:pt x="296" y="756"/>
                  </a:lnTo>
                  <a:lnTo>
                    <a:pt x="296" y="756"/>
                  </a:lnTo>
                  <a:lnTo>
                    <a:pt x="293" y="760"/>
                  </a:lnTo>
                  <a:lnTo>
                    <a:pt x="290" y="763"/>
                  </a:lnTo>
                  <a:lnTo>
                    <a:pt x="287" y="764"/>
                  </a:lnTo>
                  <a:lnTo>
                    <a:pt x="284" y="763"/>
                  </a:lnTo>
                  <a:lnTo>
                    <a:pt x="284" y="763"/>
                  </a:lnTo>
                  <a:lnTo>
                    <a:pt x="280" y="761"/>
                  </a:lnTo>
                  <a:lnTo>
                    <a:pt x="275" y="760"/>
                  </a:lnTo>
                  <a:lnTo>
                    <a:pt x="270" y="760"/>
                  </a:lnTo>
                  <a:lnTo>
                    <a:pt x="268" y="760"/>
                  </a:lnTo>
                  <a:lnTo>
                    <a:pt x="268" y="761"/>
                  </a:lnTo>
                  <a:lnTo>
                    <a:pt x="268" y="761"/>
                  </a:lnTo>
                  <a:lnTo>
                    <a:pt x="262" y="775"/>
                  </a:lnTo>
                  <a:lnTo>
                    <a:pt x="262" y="775"/>
                  </a:lnTo>
                  <a:lnTo>
                    <a:pt x="258" y="778"/>
                  </a:lnTo>
                  <a:lnTo>
                    <a:pt x="253" y="781"/>
                  </a:lnTo>
                  <a:lnTo>
                    <a:pt x="252" y="782"/>
                  </a:lnTo>
                  <a:lnTo>
                    <a:pt x="252" y="782"/>
                  </a:lnTo>
                  <a:lnTo>
                    <a:pt x="250" y="791"/>
                  </a:lnTo>
                  <a:lnTo>
                    <a:pt x="250" y="795"/>
                  </a:lnTo>
                  <a:lnTo>
                    <a:pt x="247" y="800"/>
                  </a:lnTo>
                  <a:lnTo>
                    <a:pt x="247" y="800"/>
                  </a:lnTo>
                  <a:lnTo>
                    <a:pt x="237" y="810"/>
                  </a:lnTo>
                  <a:lnTo>
                    <a:pt x="224" y="819"/>
                  </a:lnTo>
                  <a:lnTo>
                    <a:pt x="224" y="819"/>
                  </a:lnTo>
                  <a:lnTo>
                    <a:pt x="212" y="828"/>
                  </a:lnTo>
                  <a:lnTo>
                    <a:pt x="203" y="837"/>
                  </a:lnTo>
                  <a:lnTo>
                    <a:pt x="203" y="837"/>
                  </a:lnTo>
                  <a:lnTo>
                    <a:pt x="200" y="847"/>
                  </a:lnTo>
                  <a:lnTo>
                    <a:pt x="197" y="852"/>
                  </a:lnTo>
                  <a:lnTo>
                    <a:pt x="196" y="855"/>
                  </a:lnTo>
                  <a:lnTo>
                    <a:pt x="194" y="856"/>
                  </a:lnTo>
                  <a:lnTo>
                    <a:pt x="194" y="856"/>
                  </a:lnTo>
                  <a:lnTo>
                    <a:pt x="187" y="858"/>
                  </a:lnTo>
                  <a:lnTo>
                    <a:pt x="181" y="859"/>
                  </a:lnTo>
                  <a:lnTo>
                    <a:pt x="173" y="858"/>
                  </a:lnTo>
                  <a:lnTo>
                    <a:pt x="173" y="858"/>
                  </a:lnTo>
                  <a:lnTo>
                    <a:pt x="156" y="856"/>
                  </a:lnTo>
                  <a:lnTo>
                    <a:pt x="144" y="856"/>
                  </a:lnTo>
                  <a:lnTo>
                    <a:pt x="144" y="856"/>
                  </a:lnTo>
                  <a:lnTo>
                    <a:pt x="136" y="864"/>
                  </a:lnTo>
                  <a:lnTo>
                    <a:pt x="130" y="868"/>
                  </a:lnTo>
                  <a:lnTo>
                    <a:pt x="121" y="874"/>
                  </a:lnTo>
                  <a:lnTo>
                    <a:pt x="121" y="874"/>
                  </a:lnTo>
                  <a:lnTo>
                    <a:pt x="114" y="878"/>
                  </a:lnTo>
                  <a:lnTo>
                    <a:pt x="105" y="884"/>
                  </a:lnTo>
                  <a:lnTo>
                    <a:pt x="98" y="889"/>
                  </a:lnTo>
                  <a:lnTo>
                    <a:pt x="95" y="890"/>
                  </a:lnTo>
                  <a:lnTo>
                    <a:pt x="92" y="890"/>
                  </a:lnTo>
                  <a:lnTo>
                    <a:pt x="92" y="890"/>
                  </a:lnTo>
                  <a:lnTo>
                    <a:pt x="84" y="889"/>
                  </a:lnTo>
                  <a:lnTo>
                    <a:pt x="76" y="886"/>
                  </a:lnTo>
                  <a:lnTo>
                    <a:pt x="67" y="884"/>
                  </a:lnTo>
                  <a:lnTo>
                    <a:pt x="59" y="883"/>
                  </a:lnTo>
                  <a:lnTo>
                    <a:pt x="59" y="883"/>
                  </a:lnTo>
                  <a:lnTo>
                    <a:pt x="46" y="886"/>
                  </a:lnTo>
                  <a:lnTo>
                    <a:pt x="39" y="889"/>
                  </a:lnTo>
                  <a:lnTo>
                    <a:pt x="37" y="890"/>
                  </a:lnTo>
                  <a:lnTo>
                    <a:pt x="36" y="893"/>
                  </a:lnTo>
                  <a:lnTo>
                    <a:pt x="36" y="893"/>
                  </a:lnTo>
                  <a:lnTo>
                    <a:pt x="34" y="902"/>
                  </a:lnTo>
                  <a:lnTo>
                    <a:pt x="34" y="907"/>
                  </a:lnTo>
                  <a:lnTo>
                    <a:pt x="36" y="911"/>
                  </a:lnTo>
                  <a:lnTo>
                    <a:pt x="36" y="911"/>
                  </a:lnTo>
                  <a:lnTo>
                    <a:pt x="40" y="917"/>
                  </a:lnTo>
                  <a:lnTo>
                    <a:pt x="42" y="918"/>
                  </a:lnTo>
                  <a:lnTo>
                    <a:pt x="40" y="920"/>
                  </a:lnTo>
                  <a:lnTo>
                    <a:pt x="40" y="920"/>
                  </a:lnTo>
                  <a:lnTo>
                    <a:pt x="34" y="929"/>
                  </a:lnTo>
                  <a:lnTo>
                    <a:pt x="27" y="938"/>
                  </a:lnTo>
                  <a:lnTo>
                    <a:pt x="27" y="938"/>
                  </a:lnTo>
                  <a:lnTo>
                    <a:pt x="24" y="948"/>
                  </a:lnTo>
                  <a:lnTo>
                    <a:pt x="22" y="954"/>
                  </a:lnTo>
                  <a:lnTo>
                    <a:pt x="24" y="958"/>
                  </a:lnTo>
                  <a:lnTo>
                    <a:pt x="24" y="958"/>
                  </a:lnTo>
                  <a:lnTo>
                    <a:pt x="24" y="963"/>
                  </a:lnTo>
                  <a:lnTo>
                    <a:pt x="24" y="969"/>
                  </a:lnTo>
                  <a:lnTo>
                    <a:pt x="24" y="976"/>
                  </a:lnTo>
                  <a:lnTo>
                    <a:pt x="24" y="976"/>
                  </a:lnTo>
                  <a:lnTo>
                    <a:pt x="24" y="979"/>
                  </a:lnTo>
                  <a:lnTo>
                    <a:pt x="27" y="981"/>
                  </a:lnTo>
                  <a:lnTo>
                    <a:pt x="34" y="985"/>
                  </a:lnTo>
                  <a:lnTo>
                    <a:pt x="34" y="985"/>
                  </a:lnTo>
                  <a:lnTo>
                    <a:pt x="46" y="988"/>
                  </a:lnTo>
                  <a:lnTo>
                    <a:pt x="50" y="991"/>
                  </a:lnTo>
                  <a:lnTo>
                    <a:pt x="50" y="992"/>
                  </a:lnTo>
                  <a:lnTo>
                    <a:pt x="50" y="995"/>
                  </a:lnTo>
                  <a:lnTo>
                    <a:pt x="50" y="995"/>
                  </a:lnTo>
                  <a:lnTo>
                    <a:pt x="47" y="1000"/>
                  </a:lnTo>
                  <a:lnTo>
                    <a:pt x="43" y="1004"/>
                  </a:lnTo>
                  <a:lnTo>
                    <a:pt x="33" y="1009"/>
                  </a:lnTo>
                  <a:lnTo>
                    <a:pt x="33" y="1009"/>
                  </a:lnTo>
                  <a:lnTo>
                    <a:pt x="25" y="1012"/>
                  </a:lnTo>
                  <a:lnTo>
                    <a:pt x="18" y="1015"/>
                  </a:lnTo>
                  <a:lnTo>
                    <a:pt x="18" y="1015"/>
                  </a:lnTo>
                  <a:lnTo>
                    <a:pt x="16" y="1019"/>
                  </a:lnTo>
                  <a:lnTo>
                    <a:pt x="13" y="1024"/>
                  </a:lnTo>
                  <a:lnTo>
                    <a:pt x="10" y="1027"/>
                  </a:lnTo>
                  <a:lnTo>
                    <a:pt x="10" y="1027"/>
                  </a:lnTo>
                  <a:lnTo>
                    <a:pt x="3" y="1032"/>
                  </a:lnTo>
                  <a:lnTo>
                    <a:pt x="0" y="1037"/>
                  </a:lnTo>
                  <a:lnTo>
                    <a:pt x="0" y="1044"/>
                  </a:lnTo>
                  <a:lnTo>
                    <a:pt x="0" y="1044"/>
                  </a:lnTo>
                  <a:lnTo>
                    <a:pt x="2" y="1075"/>
                  </a:lnTo>
                  <a:lnTo>
                    <a:pt x="2" y="1075"/>
                  </a:lnTo>
                  <a:lnTo>
                    <a:pt x="9" y="1077"/>
                  </a:lnTo>
                  <a:lnTo>
                    <a:pt x="9" y="1077"/>
                  </a:lnTo>
                  <a:lnTo>
                    <a:pt x="12" y="1078"/>
                  </a:lnTo>
                  <a:lnTo>
                    <a:pt x="13" y="1081"/>
                  </a:lnTo>
                  <a:lnTo>
                    <a:pt x="16" y="1089"/>
                  </a:lnTo>
                  <a:lnTo>
                    <a:pt x="21" y="1096"/>
                  </a:lnTo>
                  <a:lnTo>
                    <a:pt x="24" y="1101"/>
                  </a:lnTo>
                  <a:lnTo>
                    <a:pt x="27" y="1104"/>
                  </a:lnTo>
                  <a:lnTo>
                    <a:pt x="27" y="1104"/>
                  </a:lnTo>
                  <a:lnTo>
                    <a:pt x="37" y="1108"/>
                  </a:lnTo>
                  <a:lnTo>
                    <a:pt x="46" y="1112"/>
                  </a:lnTo>
                  <a:lnTo>
                    <a:pt x="56" y="1114"/>
                  </a:lnTo>
                  <a:lnTo>
                    <a:pt x="64" y="1115"/>
                  </a:lnTo>
                  <a:lnTo>
                    <a:pt x="64" y="1115"/>
                  </a:lnTo>
                  <a:lnTo>
                    <a:pt x="65" y="1115"/>
                  </a:lnTo>
                  <a:lnTo>
                    <a:pt x="67" y="1117"/>
                  </a:lnTo>
                  <a:lnTo>
                    <a:pt x="67" y="1120"/>
                  </a:lnTo>
                  <a:lnTo>
                    <a:pt x="67" y="1123"/>
                  </a:lnTo>
                  <a:lnTo>
                    <a:pt x="67" y="1126"/>
                  </a:lnTo>
                  <a:lnTo>
                    <a:pt x="70" y="1127"/>
                  </a:lnTo>
                  <a:lnTo>
                    <a:pt x="76" y="1130"/>
                  </a:lnTo>
                  <a:lnTo>
                    <a:pt x="76" y="1130"/>
                  </a:lnTo>
                  <a:lnTo>
                    <a:pt x="81" y="1132"/>
                  </a:lnTo>
                  <a:lnTo>
                    <a:pt x="90" y="1132"/>
                  </a:lnTo>
                  <a:lnTo>
                    <a:pt x="108" y="1130"/>
                  </a:lnTo>
                  <a:lnTo>
                    <a:pt x="136" y="1124"/>
                  </a:lnTo>
                  <a:lnTo>
                    <a:pt x="136" y="1124"/>
                  </a:lnTo>
                  <a:lnTo>
                    <a:pt x="141" y="1124"/>
                  </a:lnTo>
                  <a:lnTo>
                    <a:pt x="145" y="1126"/>
                  </a:lnTo>
                  <a:lnTo>
                    <a:pt x="157" y="1129"/>
                  </a:lnTo>
                  <a:lnTo>
                    <a:pt x="169" y="1133"/>
                  </a:lnTo>
                  <a:lnTo>
                    <a:pt x="175" y="1135"/>
                  </a:lnTo>
                  <a:lnTo>
                    <a:pt x="181" y="1135"/>
                  </a:lnTo>
                  <a:lnTo>
                    <a:pt x="181" y="1135"/>
                  </a:lnTo>
                  <a:lnTo>
                    <a:pt x="187" y="1133"/>
                  </a:lnTo>
                  <a:lnTo>
                    <a:pt x="191" y="1132"/>
                  </a:lnTo>
                  <a:lnTo>
                    <a:pt x="200" y="1126"/>
                  </a:lnTo>
                  <a:lnTo>
                    <a:pt x="209" y="1120"/>
                  </a:lnTo>
                  <a:lnTo>
                    <a:pt x="213" y="1118"/>
                  </a:lnTo>
                  <a:lnTo>
                    <a:pt x="218" y="1117"/>
                  </a:lnTo>
                  <a:lnTo>
                    <a:pt x="218" y="1117"/>
                  </a:lnTo>
                  <a:lnTo>
                    <a:pt x="222" y="1117"/>
                  </a:lnTo>
                  <a:lnTo>
                    <a:pt x="225" y="1117"/>
                  </a:lnTo>
                  <a:lnTo>
                    <a:pt x="231" y="1121"/>
                  </a:lnTo>
                  <a:lnTo>
                    <a:pt x="237" y="1124"/>
                  </a:lnTo>
                  <a:lnTo>
                    <a:pt x="240" y="1124"/>
                  </a:lnTo>
                  <a:lnTo>
                    <a:pt x="243" y="1124"/>
                  </a:lnTo>
                  <a:lnTo>
                    <a:pt x="243" y="1124"/>
                  </a:lnTo>
                  <a:lnTo>
                    <a:pt x="247" y="1123"/>
                  </a:lnTo>
                  <a:lnTo>
                    <a:pt x="252" y="1118"/>
                  </a:lnTo>
                  <a:lnTo>
                    <a:pt x="264" y="1107"/>
                  </a:lnTo>
                  <a:lnTo>
                    <a:pt x="277" y="1095"/>
                  </a:lnTo>
                  <a:lnTo>
                    <a:pt x="281" y="1092"/>
                  </a:lnTo>
                  <a:lnTo>
                    <a:pt x="287" y="1090"/>
                  </a:lnTo>
                  <a:lnTo>
                    <a:pt x="287" y="1090"/>
                  </a:lnTo>
                  <a:lnTo>
                    <a:pt x="296" y="1089"/>
                  </a:lnTo>
                  <a:lnTo>
                    <a:pt x="307" y="1087"/>
                  </a:lnTo>
                  <a:lnTo>
                    <a:pt x="317" y="1084"/>
                  </a:lnTo>
                  <a:lnTo>
                    <a:pt x="327" y="1078"/>
                  </a:lnTo>
                  <a:lnTo>
                    <a:pt x="327" y="1078"/>
                  </a:lnTo>
                  <a:lnTo>
                    <a:pt x="338" y="1071"/>
                  </a:lnTo>
                  <a:lnTo>
                    <a:pt x="348" y="1065"/>
                  </a:lnTo>
                  <a:lnTo>
                    <a:pt x="358" y="1062"/>
                  </a:lnTo>
                  <a:lnTo>
                    <a:pt x="372" y="1061"/>
                  </a:lnTo>
                  <a:lnTo>
                    <a:pt x="372" y="1061"/>
                  </a:lnTo>
                  <a:lnTo>
                    <a:pt x="379" y="1059"/>
                  </a:lnTo>
                  <a:lnTo>
                    <a:pt x="385" y="1058"/>
                  </a:lnTo>
                  <a:lnTo>
                    <a:pt x="392" y="1055"/>
                  </a:lnTo>
                  <a:lnTo>
                    <a:pt x="397" y="1050"/>
                  </a:lnTo>
                  <a:lnTo>
                    <a:pt x="401" y="1046"/>
                  </a:lnTo>
                  <a:lnTo>
                    <a:pt x="406" y="1041"/>
                  </a:lnTo>
                  <a:lnTo>
                    <a:pt x="409" y="1034"/>
                  </a:lnTo>
                  <a:lnTo>
                    <a:pt x="410" y="1028"/>
                  </a:lnTo>
                  <a:lnTo>
                    <a:pt x="410" y="1028"/>
                  </a:lnTo>
                  <a:lnTo>
                    <a:pt x="415" y="1019"/>
                  </a:lnTo>
                  <a:lnTo>
                    <a:pt x="421" y="1009"/>
                  </a:lnTo>
                  <a:lnTo>
                    <a:pt x="431" y="997"/>
                  </a:lnTo>
                  <a:lnTo>
                    <a:pt x="441" y="985"/>
                  </a:lnTo>
                  <a:lnTo>
                    <a:pt x="464" y="964"/>
                  </a:lnTo>
                  <a:lnTo>
                    <a:pt x="472" y="958"/>
                  </a:lnTo>
                  <a:lnTo>
                    <a:pt x="480" y="954"/>
                  </a:lnTo>
                  <a:lnTo>
                    <a:pt x="480" y="954"/>
                  </a:lnTo>
                  <a:lnTo>
                    <a:pt x="490" y="952"/>
                  </a:lnTo>
                  <a:lnTo>
                    <a:pt x="501" y="954"/>
                  </a:lnTo>
                  <a:lnTo>
                    <a:pt x="511" y="958"/>
                  </a:lnTo>
                  <a:lnTo>
                    <a:pt x="520" y="966"/>
                  </a:lnTo>
                  <a:lnTo>
                    <a:pt x="520" y="966"/>
                  </a:lnTo>
                  <a:lnTo>
                    <a:pt x="524" y="969"/>
                  </a:lnTo>
                  <a:lnTo>
                    <a:pt x="530" y="972"/>
                  </a:lnTo>
                  <a:lnTo>
                    <a:pt x="545" y="976"/>
                  </a:lnTo>
                  <a:lnTo>
                    <a:pt x="558" y="978"/>
                  </a:lnTo>
                  <a:lnTo>
                    <a:pt x="569" y="978"/>
                  </a:lnTo>
                  <a:lnTo>
                    <a:pt x="569" y="978"/>
                  </a:lnTo>
                  <a:lnTo>
                    <a:pt x="572" y="976"/>
                  </a:lnTo>
                  <a:lnTo>
                    <a:pt x="578" y="973"/>
                  </a:lnTo>
                  <a:lnTo>
                    <a:pt x="588" y="964"/>
                  </a:lnTo>
                  <a:lnTo>
                    <a:pt x="600" y="955"/>
                  </a:lnTo>
                  <a:lnTo>
                    <a:pt x="609" y="950"/>
                  </a:lnTo>
                  <a:lnTo>
                    <a:pt x="609" y="950"/>
                  </a:lnTo>
                  <a:lnTo>
                    <a:pt x="618" y="948"/>
                  </a:lnTo>
                  <a:lnTo>
                    <a:pt x="628" y="948"/>
                  </a:lnTo>
                  <a:lnTo>
                    <a:pt x="637" y="951"/>
                  </a:lnTo>
                  <a:lnTo>
                    <a:pt x="647" y="957"/>
                  </a:lnTo>
                  <a:lnTo>
                    <a:pt x="647" y="957"/>
                  </a:lnTo>
                  <a:lnTo>
                    <a:pt x="652" y="961"/>
                  </a:lnTo>
                  <a:lnTo>
                    <a:pt x="659" y="964"/>
                  </a:lnTo>
                  <a:lnTo>
                    <a:pt x="675" y="969"/>
                  </a:lnTo>
                  <a:lnTo>
                    <a:pt x="693" y="972"/>
                  </a:lnTo>
                  <a:lnTo>
                    <a:pt x="709" y="972"/>
                  </a:lnTo>
                  <a:lnTo>
                    <a:pt x="709" y="972"/>
                  </a:lnTo>
                  <a:lnTo>
                    <a:pt x="723" y="972"/>
                  </a:lnTo>
                  <a:lnTo>
                    <a:pt x="734" y="972"/>
                  </a:lnTo>
                  <a:lnTo>
                    <a:pt x="751" y="976"/>
                  </a:lnTo>
                  <a:lnTo>
                    <a:pt x="751" y="976"/>
                  </a:lnTo>
                  <a:lnTo>
                    <a:pt x="754" y="976"/>
                  </a:lnTo>
                  <a:lnTo>
                    <a:pt x="757" y="973"/>
                  </a:lnTo>
                  <a:lnTo>
                    <a:pt x="761" y="964"/>
                  </a:lnTo>
                  <a:lnTo>
                    <a:pt x="767" y="952"/>
                  </a:lnTo>
                  <a:lnTo>
                    <a:pt x="774" y="941"/>
                  </a:lnTo>
                  <a:lnTo>
                    <a:pt x="774" y="941"/>
                  </a:lnTo>
                  <a:lnTo>
                    <a:pt x="782" y="930"/>
                  </a:lnTo>
                  <a:lnTo>
                    <a:pt x="789" y="918"/>
                  </a:lnTo>
                  <a:lnTo>
                    <a:pt x="800" y="910"/>
                  </a:lnTo>
                  <a:lnTo>
                    <a:pt x="811" y="901"/>
                  </a:lnTo>
                  <a:lnTo>
                    <a:pt x="811" y="901"/>
                  </a:lnTo>
                  <a:lnTo>
                    <a:pt x="816" y="896"/>
                  </a:lnTo>
                  <a:lnTo>
                    <a:pt x="822" y="892"/>
                  </a:lnTo>
                  <a:lnTo>
                    <a:pt x="825" y="886"/>
                  </a:lnTo>
                  <a:lnTo>
                    <a:pt x="829" y="880"/>
                  </a:lnTo>
                  <a:lnTo>
                    <a:pt x="834" y="868"/>
                  </a:lnTo>
                  <a:lnTo>
                    <a:pt x="835" y="859"/>
                  </a:lnTo>
                  <a:lnTo>
                    <a:pt x="835" y="859"/>
                  </a:lnTo>
                  <a:lnTo>
                    <a:pt x="834" y="849"/>
                  </a:lnTo>
                  <a:lnTo>
                    <a:pt x="831" y="831"/>
                  </a:lnTo>
                  <a:lnTo>
                    <a:pt x="828" y="813"/>
                  </a:lnTo>
                  <a:lnTo>
                    <a:pt x="826" y="798"/>
                  </a:lnTo>
                  <a:lnTo>
                    <a:pt x="826" y="798"/>
                  </a:lnTo>
                  <a:lnTo>
                    <a:pt x="834" y="726"/>
                  </a:lnTo>
                  <a:lnTo>
                    <a:pt x="834" y="726"/>
                  </a:lnTo>
                  <a:lnTo>
                    <a:pt x="835" y="702"/>
                  </a:lnTo>
                  <a:lnTo>
                    <a:pt x="838" y="689"/>
                  </a:lnTo>
                  <a:lnTo>
                    <a:pt x="841" y="678"/>
                  </a:lnTo>
                  <a:lnTo>
                    <a:pt x="841" y="678"/>
                  </a:lnTo>
                  <a:lnTo>
                    <a:pt x="844" y="671"/>
                  </a:lnTo>
                  <a:lnTo>
                    <a:pt x="846" y="665"/>
                  </a:lnTo>
                  <a:lnTo>
                    <a:pt x="849" y="655"/>
                  </a:lnTo>
                  <a:lnTo>
                    <a:pt x="849" y="655"/>
                  </a:lnTo>
                  <a:lnTo>
                    <a:pt x="851" y="650"/>
                  </a:lnTo>
                  <a:lnTo>
                    <a:pt x="853" y="649"/>
                  </a:lnTo>
                  <a:lnTo>
                    <a:pt x="854" y="646"/>
                  </a:lnTo>
                  <a:lnTo>
                    <a:pt x="856" y="641"/>
                  </a:lnTo>
                  <a:lnTo>
                    <a:pt x="856" y="641"/>
                  </a:lnTo>
                  <a:lnTo>
                    <a:pt x="862" y="628"/>
                  </a:lnTo>
                  <a:lnTo>
                    <a:pt x="862" y="624"/>
                  </a:lnTo>
                  <a:lnTo>
                    <a:pt x="862" y="619"/>
                  </a:lnTo>
                  <a:lnTo>
                    <a:pt x="860" y="615"/>
                  </a:lnTo>
                  <a:lnTo>
                    <a:pt x="857" y="612"/>
                  </a:lnTo>
                  <a:lnTo>
                    <a:pt x="857" y="612"/>
                  </a:lnTo>
                  <a:lnTo>
                    <a:pt x="850" y="604"/>
                  </a:lnTo>
                  <a:lnTo>
                    <a:pt x="846" y="597"/>
                  </a:lnTo>
                  <a:lnTo>
                    <a:pt x="844" y="591"/>
                  </a:lnTo>
                  <a:lnTo>
                    <a:pt x="843" y="585"/>
                  </a:lnTo>
                  <a:lnTo>
                    <a:pt x="843" y="585"/>
                  </a:lnTo>
                  <a:lnTo>
                    <a:pt x="843" y="581"/>
                  </a:lnTo>
                  <a:lnTo>
                    <a:pt x="841" y="578"/>
                  </a:lnTo>
                  <a:lnTo>
                    <a:pt x="837" y="573"/>
                  </a:lnTo>
                  <a:lnTo>
                    <a:pt x="829" y="569"/>
                  </a:lnTo>
                  <a:lnTo>
                    <a:pt x="822" y="567"/>
                  </a:lnTo>
                  <a:lnTo>
                    <a:pt x="822" y="567"/>
                  </a:lnTo>
                  <a:lnTo>
                    <a:pt x="798" y="569"/>
                  </a:lnTo>
                  <a:lnTo>
                    <a:pt x="798" y="569"/>
                  </a:lnTo>
                  <a:lnTo>
                    <a:pt x="800" y="560"/>
                  </a:lnTo>
                  <a:lnTo>
                    <a:pt x="803" y="550"/>
                  </a:lnTo>
                  <a:lnTo>
                    <a:pt x="810" y="539"/>
                  </a:lnTo>
                  <a:lnTo>
                    <a:pt x="810" y="539"/>
                  </a:lnTo>
                  <a:lnTo>
                    <a:pt x="813" y="533"/>
                  </a:lnTo>
                  <a:lnTo>
                    <a:pt x="816" y="527"/>
                  </a:lnTo>
                  <a:lnTo>
                    <a:pt x="820" y="516"/>
                  </a:lnTo>
                  <a:lnTo>
                    <a:pt x="825" y="505"/>
                  </a:lnTo>
                  <a:lnTo>
                    <a:pt x="828" y="502"/>
                  </a:lnTo>
                  <a:lnTo>
                    <a:pt x="831" y="501"/>
                  </a:lnTo>
                  <a:lnTo>
                    <a:pt x="831" y="501"/>
                  </a:lnTo>
                  <a:lnTo>
                    <a:pt x="843" y="496"/>
                  </a:lnTo>
                  <a:lnTo>
                    <a:pt x="851" y="493"/>
                  </a:lnTo>
                  <a:lnTo>
                    <a:pt x="860" y="486"/>
                  </a:lnTo>
                  <a:lnTo>
                    <a:pt x="860" y="486"/>
                  </a:lnTo>
                  <a:lnTo>
                    <a:pt x="894" y="465"/>
                  </a:lnTo>
                  <a:lnTo>
                    <a:pt x="894" y="465"/>
                  </a:lnTo>
                  <a:lnTo>
                    <a:pt x="881" y="453"/>
                  </a:lnTo>
                  <a:lnTo>
                    <a:pt x="871" y="443"/>
                  </a:lnTo>
                  <a:lnTo>
                    <a:pt x="871" y="443"/>
                  </a:lnTo>
                  <a:lnTo>
                    <a:pt x="868" y="439"/>
                  </a:lnTo>
                  <a:lnTo>
                    <a:pt x="866" y="436"/>
                  </a:lnTo>
                  <a:lnTo>
                    <a:pt x="866" y="428"/>
                  </a:lnTo>
                  <a:lnTo>
                    <a:pt x="866" y="428"/>
                  </a:lnTo>
                  <a:lnTo>
                    <a:pt x="866" y="424"/>
                  </a:lnTo>
                  <a:lnTo>
                    <a:pt x="865" y="421"/>
                  </a:lnTo>
                  <a:lnTo>
                    <a:pt x="856" y="413"/>
                  </a:lnTo>
                  <a:lnTo>
                    <a:pt x="856" y="413"/>
                  </a:lnTo>
                  <a:lnTo>
                    <a:pt x="850" y="410"/>
                  </a:lnTo>
                  <a:lnTo>
                    <a:pt x="846" y="410"/>
                  </a:lnTo>
                  <a:lnTo>
                    <a:pt x="841" y="409"/>
                  </a:lnTo>
                  <a:lnTo>
                    <a:pt x="837" y="407"/>
                  </a:lnTo>
                  <a:lnTo>
                    <a:pt x="837" y="407"/>
                  </a:lnTo>
                  <a:lnTo>
                    <a:pt x="835" y="405"/>
                  </a:lnTo>
                  <a:lnTo>
                    <a:pt x="834" y="403"/>
                  </a:lnTo>
                  <a:lnTo>
                    <a:pt x="834" y="397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7" y="375"/>
                  </a:lnTo>
                  <a:lnTo>
                    <a:pt x="834" y="372"/>
                  </a:lnTo>
                  <a:lnTo>
                    <a:pt x="832" y="370"/>
                  </a:lnTo>
                  <a:lnTo>
                    <a:pt x="829" y="367"/>
                  </a:lnTo>
                  <a:lnTo>
                    <a:pt x="829" y="367"/>
                  </a:lnTo>
                  <a:lnTo>
                    <a:pt x="829" y="366"/>
                  </a:lnTo>
                  <a:lnTo>
                    <a:pt x="829" y="363"/>
                  </a:lnTo>
                  <a:lnTo>
                    <a:pt x="832" y="362"/>
                  </a:lnTo>
                  <a:lnTo>
                    <a:pt x="837" y="360"/>
                  </a:lnTo>
                  <a:lnTo>
                    <a:pt x="840" y="359"/>
                  </a:lnTo>
                  <a:lnTo>
                    <a:pt x="840" y="359"/>
                  </a:lnTo>
                  <a:lnTo>
                    <a:pt x="844" y="357"/>
                  </a:lnTo>
                  <a:lnTo>
                    <a:pt x="846" y="356"/>
                  </a:lnTo>
                  <a:lnTo>
                    <a:pt x="847" y="353"/>
                  </a:lnTo>
                  <a:lnTo>
                    <a:pt x="847" y="350"/>
                  </a:lnTo>
                  <a:lnTo>
                    <a:pt x="847" y="350"/>
                  </a:lnTo>
                  <a:lnTo>
                    <a:pt x="841" y="345"/>
                  </a:lnTo>
                  <a:lnTo>
                    <a:pt x="832" y="338"/>
                  </a:lnTo>
                  <a:lnTo>
                    <a:pt x="832" y="338"/>
                  </a:lnTo>
                  <a:lnTo>
                    <a:pt x="829" y="333"/>
                  </a:lnTo>
                  <a:lnTo>
                    <a:pt x="828" y="329"/>
                  </a:lnTo>
                  <a:lnTo>
                    <a:pt x="828" y="325"/>
                  </a:lnTo>
                  <a:lnTo>
                    <a:pt x="826" y="322"/>
                  </a:lnTo>
                  <a:lnTo>
                    <a:pt x="826" y="322"/>
                  </a:lnTo>
                  <a:lnTo>
                    <a:pt x="825" y="320"/>
                  </a:lnTo>
                  <a:lnTo>
                    <a:pt x="822" y="320"/>
                  </a:lnTo>
                  <a:lnTo>
                    <a:pt x="817" y="320"/>
                  </a:lnTo>
                  <a:lnTo>
                    <a:pt x="813" y="322"/>
                  </a:lnTo>
                  <a:lnTo>
                    <a:pt x="811" y="322"/>
                  </a:lnTo>
                  <a:lnTo>
                    <a:pt x="810" y="320"/>
                  </a:lnTo>
                  <a:lnTo>
                    <a:pt x="810" y="320"/>
                  </a:lnTo>
                  <a:lnTo>
                    <a:pt x="809" y="317"/>
                  </a:lnTo>
                  <a:lnTo>
                    <a:pt x="810" y="313"/>
                  </a:lnTo>
                  <a:lnTo>
                    <a:pt x="813" y="299"/>
                  </a:lnTo>
                  <a:lnTo>
                    <a:pt x="813" y="299"/>
                  </a:lnTo>
                  <a:lnTo>
                    <a:pt x="813" y="292"/>
                  </a:lnTo>
                  <a:lnTo>
                    <a:pt x="813" y="288"/>
                  </a:lnTo>
                  <a:lnTo>
                    <a:pt x="810" y="282"/>
                  </a:lnTo>
                  <a:lnTo>
                    <a:pt x="809" y="279"/>
                  </a:lnTo>
                  <a:lnTo>
                    <a:pt x="809" y="279"/>
                  </a:lnTo>
                  <a:lnTo>
                    <a:pt x="806" y="271"/>
                  </a:lnTo>
                  <a:lnTo>
                    <a:pt x="804" y="262"/>
                  </a:lnTo>
                  <a:lnTo>
                    <a:pt x="801" y="243"/>
                  </a:lnTo>
                  <a:lnTo>
                    <a:pt x="801" y="243"/>
                  </a:lnTo>
                  <a:lnTo>
                    <a:pt x="798" y="237"/>
                  </a:lnTo>
                  <a:lnTo>
                    <a:pt x="794" y="231"/>
                  </a:lnTo>
                  <a:lnTo>
                    <a:pt x="788" y="228"/>
                  </a:lnTo>
                  <a:lnTo>
                    <a:pt x="782" y="228"/>
                  </a:lnTo>
                  <a:lnTo>
                    <a:pt x="782" y="228"/>
                  </a:lnTo>
                  <a:lnTo>
                    <a:pt x="779" y="230"/>
                  </a:lnTo>
                  <a:lnTo>
                    <a:pt x="779" y="231"/>
                  </a:lnTo>
                  <a:lnTo>
                    <a:pt x="777" y="237"/>
                  </a:lnTo>
                  <a:lnTo>
                    <a:pt x="776" y="248"/>
                  </a:lnTo>
                  <a:lnTo>
                    <a:pt x="776" y="248"/>
                  </a:lnTo>
                  <a:lnTo>
                    <a:pt x="774" y="250"/>
                  </a:lnTo>
                  <a:lnTo>
                    <a:pt x="773" y="250"/>
                  </a:lnTo>
                  <a:lnTo>
                    <a:pt x="766" y="249"/>
                  </a:lnTo>
                  <a:lnTo>
                    <a:pt x="766" y="249"/>
                  </a:lnTo>
                  <a:lnTo>
                    <a:pt x="761" y="246"/>
                  </a:lnTo>
                  <a:lnTo>
                    <a:pt x="760" y="242"/>
                  </a:lnTo>
                  <a:lnTo>
                    <a:pt x="757" y="236"/>
                  </a:lnTo>
                  <a:lnTo>
                    <a:pt x="754" y="231"/>
                  </a:lnTo>
                  <a:lnTo>
                    <a:pt x="754" y="231"/>
                  </a:lnTo>
                  <a:lnTo>
                    <a:pt x="751" y="227"/>
                  </a:lnTo>
                  <a:lnTo>
                    <a:pt x="748" y="222"/>
                  </a:lnTo>
                  <a:lnTo>
                    <a:pt x="748" y="216"/>
                  </a:lnTo>
                  <a:lnTo>
                    <a:pt x="748" y="208"/>
                  </a:lnTo>
                  <a:lnTo>
                    <a:pt x="748" y="208"/>
                  </a:lnTo>
                  <a:lnTo>
                    <a:pt x="746" y="202"/>
                  </a:lnTo>
                  <a:lnTo>
                    <a:pt x="745" y="202"/>
                  </a:lnTo>
                  <a:lnTo>
                    <a:pt x="743" y="202"/>
                  </a:lnTo>
                  <a:lnTo>
                    <a:pt x="739" y="202"/>
                  </a:lnTo>
                  <a:lnTo>
                    <a:pt x="732" y="203"/>
                  </a:lnTo>
                  <a:lnTo>
                    <a:pt x="732" y="203"/>
                  </a:lnTo>
                  <a:lnTo>
                    <a:pt x="729" y="203"/>
                  </a:lnTo>
                  <a:lnTo>
                    <a:pt x="726" y="203"/>
                  </a:lnTo>
                  <a:lnTo>
                    <a:pt x="723" y="208"/>
                  </a:lnTo>
                  <a:lnTo>
                    <a:pt x="717" y="216"/>
                  </a:lnTo>
                  <a:lnTo>
                    <a:pt x="717" y="216"/>
                  </a:lnTo>
                  <a:lnTo>
                    <a:pt x="714" y="221"/>
                  </a:lnTo>
                  <a:lnTo>
                    <a:pt x="708" y="225"/>
                  </a:lnTo>
                  <a:lnTo>
                    <a:pt x="703" y="227"/>
                  </a:lnTo>
                  <a:lnTo>
                    <a:pt x="699" y="228"/>
                  </a:lnTo>
                  <a:lnTo>
                    <a:pt x="699" y="228"/>
                  </a:lnTo>
                  <a:lnTo>
                    <a:pt x="695" y="228"/>
                  </a:lnTo>
                  <a:lnTo>
                    <a:pt x="689" y="233"/>
                  </a:lnTo>
                  <a:lnTo>
                    <a:pt x="689" y="233"/>
                  </a:lnTo>
                  <a:lnTo>
                    <a:pt x="687" y="234"/>
                  </a:lnTo>
                  <a:lnTo>
                    <a:pt x="684" y="233"/>
                  </a:lnTo>
                  <a:lnTo>
                    <a:pt x="681" y="230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75" y="219"/>
                  </a:lnTo>
                  <a:lnTo>
                    <a:pt x="671" y="216"/>
                  </a:lnTo>
                  <a:lnTo>
                    <a:pt x="668" y="213"/>
                  </a:lnTo>
                  <a:lnTo>
                    <a:pt x="665" y="210"/>
                  </a:lnTo>
                  <a:lnTo>
                    <a:pt x="665" y="210"/>
                  </a:lnTo>
                  <a:lnTo>
                    <a:pt x="665" y="209"/>
                  </a:lnTo>
                  <a:lnTo>
                    <a:pt x="668" y="206"/>
                  </a:lnTo>
                  <a:lnTo>
                    <a:pt x="675" y="202"/>
                  </a:lnTo>
                  <a:lnTo>
                    <a:pt x="683" y="197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9" y="190"/>
                  </a:lnTo>
                  <a:lnTo>
                    <a:pt x="689" y="188"/>
                  </a:lnTo>
                  <a:lnTo>
                    <a:pt x="686" y="185"/>
                  </a:lnTo>
                  <a:lnTo>
                    <a:pt x="681" y="182"/>
                  </a:lnTo>
                  <a:lnTo>
                    <a:pt x="677" y="182"/>
                  </a:lnTo>
                  <a:lnTo>
                    <a:pt x="677" y="182"/>
                  </a:lnTo>
                  <a:lnTo>
                    <a:pt x="669" y="181"/>
                  </a:lnTo>
                  <a:lnTo>
                    <a:pt x="656" y="176"/>
                  </a:lnTo>
                  <a:lnTo>
                    <a:pt x="656" y="176"/>
                  </a:lnTo>
                  <a:lnTo>
                    <a:pt x="650" y="173"/>
                  </a:lnTo>
                  <a:lnTo>
                    <a:pt x="647" y="175"/>
                  </a:lnTo>
                  <a:lnTo>
                    <a:pt x="646" y="176"/>
                  </a:lnTo>
                  <a:lnTo>
                    <a:pt x="644" y="178"/>
                  </a:lnTo>
                  <a:lnTo>
                    <a:pt x="644" y="178"/>
                  </a:lnTo>
                  <a:lnTo>
                    <a:pt x="641" y="178"/>
                  </a:lnTo>
                  <a:lnTo>
                    <a:pt x="638" y="175"/>
                  </a:lnTo>
                  <a:lnTo>
                    <a:pt x="635" y="170"/>
                  </a:lnTo>
                  <a:lnTo>
                    <a:pt x="634" y="166"/>
                  </a:lnTo>
                  <a:lnTo>
                    <a:pt x="634" y="166"/>
                  </a:lnTo>
                  <a:lnTo>
                    <a:pt x="632" y="163"/>
                  </a:lnTo>
                  <a:lnTo>
                    <a:pt x="629" y="160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0" y="154"/>
                  </a:lnTo>
                  <a:lnTo>
                    <a:pt x="620" y="151"/>
                  </a:lnTo>
                  <a:lnTo>
                    <a:pt x="622" y="147"/>
                  </a:lnTo>
                  <a:lnTo>
                    <a:pt x="623" y="142"/>
                  </a:lnTo>
                  <a:lnTo>
                    <a:pt x="623" y="142"/>
                  </a:lnTo>
                  <a:lnTo>
                    <a:pt x="626" y="138"/>
                  </a:lnTo>
                  <a:lnTo>
                    <a:pt x="626" y="136"/>
                  </a:lnTo>
                  <a:lnTo>
                    <a:pt x="626" y="135"/>
                  </a:lnTo>
                  <a:lnTo>
                    <a:pt x="626" y="135"/>
                  </a:lnTo>
                  <a:lnTo>
                    <a:pt x="623" y="132"/>
                  </a:lnTo>
                  <a:lnTo>
                    <a:pt x="620" y="131"/>
                  </a:lnTo>
                  <a:lnTo>
                    <a:pt x="616" y="129"/>
                  </a:lnTo>
                  <a:lnTo>
                    <a:pt x="613" y="126"/>
                  </a:lnTo>
                  <a:lnTo>
                    <a:pt x="613" y="126"/>
                  </a:lnTo>
                  <a:lnTo>
                    <a:pt x="612" y="123"/>
                  </a:lnTo>
                  <a:lnTo>
                    <a:pt x="610" y="120"/>
                  </a:lnTo>
                  <a:lnTo>
                    <a:pt x="607" y="116"/>
                  </a:lnTo>
                  <a:lnTo>
                    <a:pt x="601" y="107"/>
                  </a:lnTo>
                  <a:lnTo>
                    <a:pt x="601" y="107"/>
                  </a:lnTo>
                  <a:lnTo>
                    <a:pt x="592" y="98"/>
                  </a:lnTo>
                  <a:lnTo>
                    <a:pt x="588" y="88"/>
                  </a:lnTo>
                  <a:lnTo>
                    <a:pt x="588" y="88"/>
                  </a:lnTo>
                  <a:lnTo>
                    <a:pt x="585" y="80"/>
                  </a:lnTo>
                  <a:lnTo>
                    <a:pt x="583" y="74"/>
                  </a:lnTo>
                  <a:lnTo>
                    <a:pt x="582" y="71"/>
                  </a:lnTo>
                  <a:lnTo>
                    <a:pt x="579" y="70"/>
                  </a:lnTo>
                  <a:lnTo>
                    <a:pt x="579" y="70"/>
                  </a:lnTo>
                  <a:lnTo>
                    <a:pt x="578" y="68"/>
                  </a:lnTo>
                  <a:lnTo>
                    <a:pt x="576" y="70"/>
                  </a:lnTo>
                  <a:lnTo>
                    <a:pt x="576" y="73"/>
                  </a:lnTo>
                  <a:lnTo>
                    <a:pt x="575" y="77"/>
                  </a:lnTo>
                  <a:lnTo>
                    <a:pt x="575" y="82"/>
                  </a:lnTo>
                  <a:lnTo>
                    <a:pt x="575" y="82"/>
                  </a:lnTo>
                  <a:lnTo>
                    <a:pt x="573" y="83"/>
                  </a:lnTo>
                  <a:lnTo>
                    <a:pt x="572" y="82"/>
                  </a:lnTo>
                  <a:lnTo>
                    <a:pt x="566" y="71"/>
                  </a:lnTo>
                  <a:lnTo>
                    <a:pt x="566" y="71"/>
                  </a:lnTo>
                  <a:lnTo>
                    <a:pt x="558" y="58"/>
                  </a:lnTo>
                  <a:lnTo>
                    <a:pt x="555" y="51"/>
                  </a:lnTo>
                  <a:lnTo>
                    <a:pt x="554" y="40"/>
                  </a:lnTo>
                  <a:lnTo>
                    <a:pt x="55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2" name="Freeform 81">
              <a:extLst>
                <a:ext uri="{FF2B5EF4-FFF2-40B4-BE49-F238E27FC236}">
                  <a16:creationId xmlns:a16="http://schemas.microsoft.com/office/drawing/2014/main" id="{1FCC7813-4433-2540-BAFE-965715BBC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50" y="7559675"/>
              <a:ext cx="514350" cy="395287"/>
            </a:xfrm>
            <a:custGeom>
              <a:avLst/>
              <a:gdLst>
                <a:gd name="T0" fmla="*/ 34 w 324"/>
                <a:gd name="T1" fmla="*/ 79 h 249"/>
                <a:gd name="T2" fmla="*/ 26 w 324"/>
                <a:gd name="T3" fmla="*/ 94 h 249"/>
                <a:gd name="T4" fmla="*/ 25 w 324"/>
                <a:gd name="T5" fmla="*/ 103 h 249"/>
                <a:gd name="T6" fmla="*/ 26 w 324"/>
                <a:gd name="T7" fmla="*/ 123 h 249"/>
                <a:gd name="T8" fmla="*/ 18 w 324"/>
                <a:gd name="T9" fmla="*/ 140 h 249"/>
                <a:gd name="T10" fmla="*/ 10 w 324"/>
                <a:gd name="T11" fmla="*/ 147 h 249"/>
                <a:gd name="T12" fmla="*/ 0 w 324"/>
                <a:gd name="T13" fmla="*/ 159 h 249"/>
                <a:gd name="T14" fmla="*/ 3 w 324"/>
                <a:gd name="T15" fmla="*/ 168 h 249"/>
                <a:gd name="T16" fmla="*/ 9 w 324"/>
                <a:gd name="T17" fmla="*/ 178 h 249"/>
                <a:gd name="T18" fmla="*/ 25 w 324"/>
                <a:gd name="T19" fmla="*/ 184 h 249"/>
                <a:gd name="T20" fmla="*/ 40 w 324"/>
                <a:gd name="T21" fmla="*/ 190 h 249"/>
                <a:gd name="T22" fmla="*/ 40 w 324"/>
                <a:gd name="T23" fmla="*/ 197 h 249"/>
                <a:gd name="T24" fmla="*/ 40 w 324"/>
                <a:gd name="T25" fmla="*/ 220 h 249"/>
                <a:gd name="T26" fmla="*/ 50 w 324"/>
                <a:gd name="T27" fmla="*/ 228 h 249"/>
                <a:gd name="T28" fmla="*/ 71 w 324"/>
                <a:gd name="T29" fmla="*/ 237 h 249"/>
                <a:gd name="T30" fmla="*/ 95 w 324"/>
                <a:gd name="T31" fmla="*/ 248 h 249"/>
                <a:gd name="T32" fmla="*/ 121 w 324"/>
                <a:gd name="T33" fmla="*/ 243 h 249"/>
                <a:gd name="T34" fmla="*/ 133 w 324"/>
                <a:gd name="T35" fmla="*/ 234 h 249"/>
                <a:gd name="T36" fmla="*/ 152 w 324"/>
                <a:gd name="T37" fmla="*/ 227 h 249"/>
                <a:gd name="T38" fmla="*/ 178 w 324"/>
                <a:gd name="T39" fmla="*/ 205 h 249"/>
                <a:gd name="T40" fmla="*/ 186 w 324"/>
                <a:gd name="T41" fmla="*/ 200 h 249"/>
                <a:gd name="T42" fmla="*/ 206 w 324"/>
                <a:gd name="T43" fmla="*/ 193 h 249"/>
                <a:gd name="T44" fmla="*/ 213 w 324"/>
                <a:gd name="T45" fmla="*/ 181 h 249"/>
                <a:gd name="T46" fmla="*/ 226 w 324"/>
                <a:gd name="T47" fmla="*/ 143 h 249"/>
                <a:gd name="T48" fmla="*/ 234 w 324"/>
                <a:gd name="T49" fmla="*/ 131 h 249"/>
                <a:gd name="T50" fmla="*/ 249 w 324"/>
                <a:gd name="T51" fmla="*/ 117 h 249"/>
                <a:gd name="T52" fmla="*/ 268 w 324"/>
                <a:gd name="T53" fmla="*/ 86 h 249"/>
                <a:gd name="T54" fmla="*/ 280 w 324"/>
                <a:gd name="T55" fmla="*/ 69 h 249"/>
                <a:gd name="T56" fmla="*/ 295 w 324"/>
                <a:gd name="T57" fmla="*/ 60 h 249"/>
                <a:gd name="T58" fmla="*/ 300 w 324"/>
                <a:gd name="T59" fmla="*/ 63 h 249"/>
                <a:gd name="T60" fmla="*/ 308 w 324"/>
                <a:gd name="T61" fmla="*/ 51 h 249"/>
                <a:gd name="T62" fmla="*/ 324 w 324"/>
                <a:gd name="T63" fmla="*/ 27 h 249"/>
                <a:gd name="T64" fmla="*/ 321 w 324"/>
                <a:gd name="T65" fmla="*/ 11 h 249"/>
                <a:gd name="T66" fmla="*/ 311 w 324"/>
                <a:gd name="T67" fmla="*/ 2 h 249"/>
                <a:gd name="T68" fmla="*/ 303 w 324"/>
                <a:gd name="T69" fmla="*/ 2 h 249"/>
                <a:gd name="T70" fmla="*/ 296 w 324"/>
                <a:gd name="T71" fmla="*/ 9 h 249"/>
                <a:gd name="T72" fmla="*/ 289 w 324"/>
                <a:gd name="T73" fmla="*/ 21 h 249"/>
                <a:gd name="T74" fmla="*/ 277 w 324"/>
                <a:gd name="T75" fmla="*/ 21 h 249"/>
                <a:gd name="T76" fmla="*/ 269 w 324"/>
                <a:gd name="T77" fmla="*/ 18 h 249"/>
                <a:gd name="T78" fmla="*/ 256 w 324"/>
                <a:gd name="T79" fmla="*/ 24 h 249"/>
                <a:gd name="T80" fmla="*/ 244 w 324"/>
                <a:gd name="T81" fmla="*/ 36 h 249"/>
                <a:gd name="T82" fmla="*/ 229 w 324"/>
                <a:gd name="T83" fmla="*/ 46 h 249"/>
                <a:gd name="T84" fmla="*/ 204 w 324"/>
                <a:gd name="T85" fmla="*/ 48 h 249"/>
                <a:gd name="T86" fmla="*/ 192 w 324"/>
                <a:gd name="T87" fmla="*/ 49 h 249"/>
                <a:gd name="T88" fmla="*/ 180 w 324"/>
                <a:gd name="T89" fmla="*/ 40 h 249"/>
                <a:gd name="T90" fmla="*/ 173 w 324"/>
                <a:gd name="T91" fmla="*/ 24 h 249"/>
                <a:gd name="T92" fmla="*/ 166 w 324"/>
                <a:gd name="T93" fmla="*/ 17 h 249"/>
                <a:gd name="T94" fmla="*/ 155 w 324"/>
                <a:gd name="T95" fmla="*/ 17 h 249"/>
                <a:gd name="T96" fmla="*/ 132 w 324"/>
                <a:gd name="T97" fmla="*/ 24 h 249"/>
                <a:gd name="T98" fmla="*/ 124 w 324"/>
                <a:gd name="T99" fmla="*/ 24 h 249"/>
                <a:gd name="T100" fmla="*/ 118 w 324"/>
                <a:gd name="T101" fmla="*/ 31 h 249"/>
                <a:gd name="T102" fmla="*/ 106 w 324"/>
                <a:gd name="T103" fmla="*/ 36 h 249"/>
                <a:gd name="T104" fmla="*/ 96 w 324"/>
                <a:gd name="T105" fmla="*/ 33 h 249"/>
                <a:gd name="T106" fmla="*/ 77 w 324"/>
                <a:gd name="T107" fmla="*/ 26 h 249"/>
                <a:gd name="T108" fmla="*/ 74 w 324"/>
                <a:gd name="T109" fmla="*/ 29 h 249"/>
                <a:gd name="T110" fmla="*/ 75 w 324"/>
                <a:gd name="T111" fmla="*/ 45 h 249"/>
                <a:gd name="T112" fmla="*/ 69 w 324"/>
                <a:gd name="T113" fmla="*/ 52 h 249"/>
                <a:gd name="T114" fmla="*/ 62 w 324"/>
                <a:gd name="T115" fmla="*/ 55 h 249"/>
                <a:gd name="T116" fmla="*/ 59 w 324"/>
                <a:gd name="T117" fmla="*/ 64 h 249"/>
                <a:gd name="T118" fmla="*/ 44 w 324"/>
                <a:gd name="T119" fmla="*/ 7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" h="249">
                  <a:moveTo>
                    <a:pt x="40" y="70"/>
                  </a:moveTo>
                  <a:lnTo>
                    <a:pt x="40" y="70"/>
                  </a:lnTo>
                  <a:lnTo>
                    <a:pt x="34" y="79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6" y="94"/>
                  </a:lnTo>
                  <a:lnTo>
                    <a:pt x="25" y="98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8" y="111"/>
                  </a:lnTo>
                  <a:lnTo>
                    <a:pt x="28" y="117"/>
                  </a:lnTo>
                  <a:lnTo>
                    <a:pt x="26" y="123"/>
                  </a:lnTo>
                  <a:lnTo>
                    <a:pt x="26" y="123"/>
                  </a:lnTo>
                  <a:lnTo>
                    <a:pt x="21" y="135"/>
                  </a:lnTo>
                  <a:lnTo>
                    <a:pt x="18" y="140"/>
                  </a:lnTo>
                  <a:lnTo>
                    <a:pt x="15" y="143"/>
                  </a:lnTo>
                  <a:lnTo>
                    <a:pt x="15" y="143"/>
                  </a:lnTo>
                  <a:lnTo>
                    <a:pt x="10" y="147"/>
                  </a:lnTo>
                  <a:lnTo>
                    <a:pt x="6" y="151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1" y="160"/>
                  </a:lnTo>
                  <a:lnTo>
                    <a:pt x="3" y="162"/>
                  </a:lnTo>
                  <a:lnTo>
                    <a:pt x="3" y="168"/>
                  </a:lnTo>
                  <a:lnTo>
                    <a:pt x="4" y="171"/>
                  </a:lnTo>
                  <a:lnTo>
                    <a:pt x="6" y="174"/>
                  </a:lnTo>
                  <a:lnTo>
                    <a:pt x="9" y="178"/>
                  </a:lnTo>
                  <a:lnTo>
                    <a:pt x="13" y="181"/>
                  </a:lnTo>
                  <a:lnTo>
                    <a:pt x="13" y="181"/>
                  </a:lnTo>
                  <a:lnTo>
                    <a:pt x="25" y="184"/>
                  </a:lnTo>
                  <a:lnTo>
                    <a:pt x="34" y="187"/>
                  </a:lnTo>
                  <a:lnTo>
                    <a:pt x="37" y="188"/>
                  </a:lnTo>
                  <a:lnTo>
                    <a:pt x="40" y="190"/>
                  </a:lnTo>
                  <a:lnTo>
                    <a:pt x="40" y="193"/>
                  </a:lnTo>
                  <a:lnTo>
                    <a:pt x="40" y="197"/>
                  </a:lnTo>
                  <a:lnTo>
                    <a:pt x="40" y="197"/>
                  </a:lnTo>
                  <a:lnTo>
                    <a:pt x="38" y="208"/>
                  </a:lnTo>
                  <a:lnTo>
                    <a:pt x="38" y="217"/>
                  </a:lnTo>
                  <a:lnTo>
                    <a:pt x="40" y="220"/>
                  </a:lnTo>
                  <a:lnTo>
                    <a:pt x="41" y="224"/>
                  </a:lnTo>
                  <a:lnTo>
                    <a:pt x="46" y="226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62" y="231"/>
                  </a:lnTo>
                  <a:lnTo>
                    <a:pt x="71" y="237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95" y="248"/>
                  </a:lnTo>
                  <a:lnTo>
                    <a:pt x="106" y="249"/>
                  </a:lnTo>
                  <a:lnTo>
                    <a:pt x="117" y="246"/>
                  </a:lnTo>
                  <a:lnTo>
                    <a:pt x="121" y="243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33" y="234"/>
                  </a:lnTo>
                  <a:lnTo>
                    <a:pt x="139" y="231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61" y="221"/>
                  </a:lnTo>
                  <a:lnTo>
                    <a:pt x="170" y="212"/>
                  </a:lnTo>
                  <a:lnTo>
                    <a:pt x="178" y="205"/>
                  </a:lnTo>
                  <a:lnTo>
                    <a:pt x="182" y="202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94" y="199"/>
                  </a:lnTo>
                  <a:lnTo>
                    <a:pt x="201" y="196"/>
                  </a:lnTo>
                  <a:lnTo>
                    <a:pt x="206" y="193"/>
                  </a:lnTo>
                  <a:lnTo>
                    <a:pt x="209" y="190"/>
                  </a:lnTo>
                  <a:lnTo>
                    <a:pt x="212" y="187"/>
                  </a:lnTo>
                  <a:lnTo>
                    <a:pt x="213" y="181"/>
                  </a:lnTo>
                  <a:lnTo>
                    <a:pt x="213" y="181"/>
                  </a:lnTo>
                  <a:lnTo>
                    <a:pt x="220" y="160"/>
                  </a:lnTo>
                  <a:lnTo>
                    <a:pt x="226" y="143"/>
                  </a:lnTo>
                  <a:lnTo>
                    <a:pt x="226" y="143"/>
                  </a:lnTo>
                  <a:lnTo>
                    <a:pt x="229" y="137"/>
                  </a:lnTo>
                  <a:lnTo>
                    <a:pt x="234" y="131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9" y="117"/>
                  </a:lnTo>
                  <a:lnTo>
                    <a:pt x="256" y="109"/>
                  </a:lnTo>
                  <a:lnTo>
                    <a:pt x="262" y="97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74" y="76"/>
                  </a:lnTo>
                  <a:lnTo>
                    <a:pt x="280" y="69"/>
                  </a:lnTo>
                  <a:lnTo>
                    <a:pt x="287" y="63"/>
                  </a:lnTo>
                  <a:lnTo>
                    <a:pt x="290" y="61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7" y="61"/>
                  </a:lnTo>
                  <a:lnTo>
                    <a:pt x="300" y="63"/>
                  </a:lnTo>
                  <a:lnTo>
                    <a:pt x="300" y="63"/>
                  </a:lnTo>
                  <a:lnTo>
                    <a:pt x="308" y="51"/>
                  </a:lnTo>
                  <a:lnTo>
                    <a:pt x="308" y="51"/>
                  </a:lnTo>
                  <a:lnTo>
                    <a:pt x="317" y="39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4" y="23"/>
                  </a:lnTo>
                  <a:lnTo>
                    <a:pt x="323" y="17"/>
                  </a:lnTo>
                  <a:lnTo>
                    <a:pt x="321" y="11"/>
                  </a:lnTo>
                  <a:lnTo>
                    <a:pt x="317" y="6"/>
                  </a:lnTo>
                  <a:lnTo>
                    <a:pt x="317" y="6"/>
                  </a:lnTo>
                  <a:lnTo>
                    <a:pt x="311" y="2"/>
                  </a:lnTo>
                  <a:lnTo>
                    <a:pt x="308" y="0"/>
                  </a:lnTo>
                  <a:lnTo>
                    <a:pt x="303" y="2"/>
                  </a:lnTo>
                  <a:lnTo>
                    <a:pt x="303" y="2"/>
                  </a:lnTo>
                  <a:lnTo>
                    <a:pt x="300" y="2"/>
                  </a:lnTo>
                  <a:lnTo>
                    <a:pt x="299" y="3"/>
                  </a:lnTo>
                  <a:lnTo>
                    <a:pt x="296" y="9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89" y="21"/>
                  </a:lnTo>
                  <a:lnTo>
                    <a:pt x="287" y="23"/>
                  </a:lnTo>
                  <a:lnTo>
                    <a:pt x="281" y="23"/>
                  </a:lnTo>
                  <a:lnTo>
                    <a:pt x="277" y="21"/>
                  </a:lnTo>
                  <a:lnTo>
                    <a:pt x="272" y="20"/>
                  </a:lnTo>
                  <a:lnTo>
                    <a:pt x="272" y="20"/>
                  </a:lnTo>
                  <a:lnTo>
                    <a:pt x="269" y="18"/>
                  </a:lnTo>
                  <a:lnTo>
                    <a:pt x="263" y="20"/>
                  </a:lnTo>
                  <a:lnTo>
                    <a:pt x="259" y="21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2" y="30"/>
                  </a:lnTo>
                  <a:lnTo>
                    <a:pt x="244" y="36"/>
                  </a:lnTo>
                  <a:lnTo>
                    <a:pt x="237" y="42"/>
                  </a:lnTo>
                  <a:lnTo>
                    <a:pt x="229" y="46"/>
                  </a:lnTo>
                  <a:lnTo>
                    <a:pt x="229" y="46"/>
                  </a:lnTo>
                  <a:lnTo>
                    <a:pt x="222" y="48"/>
                  </a:lnTo>
                  <a:lnTo>
                    <a:pt x="213" y="48"/>
                  </a:lnTo>
                  <a:lnTo>
                    <a:pt x="204" y="48"/>
                  </a:lnTo>
                  <a:lnTo>
                    <a:pt x="195" y="49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8" y="48"/>
                  </a:lnTo>
                  <a:lnTo>
                    <a:pt x="185" y="45"/>
                  </a:lnTo>
                  <a:lnTo>
                    <a:pt x="180" y="40"/>
                  </a:lnTo>
                  <a:lnTo>
                    <a:pt x="176" y="3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2" y="20"/>
                  </a:lnTo>
                  <a:lnTo>
                    <a:pt x="170" y="18"/>
                  </a:lnTo>
                  <a:lnTo>
                    <a:pt x="166" y="17"/>
                  </a:lnTo>
                  <a:lnTo>
                    <a:pt x="160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43" y="21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24"/>
                  </a:lnTo>
                  <a:lnTo>
                    <a:pt x="127" y="23"/>
                  </a:lnTo>
                  <a:lnTo>
                    <a:pt x="124" y="24"/>
                  </a:lnTo>
                  <a:lnTo>
                    <a:pt x="120" y="26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7" y="33"/>
                  </a:lnTo>
                  <a:lnTo>
                    <a:pt x="114" y="34"/>
                  </a:lnTo>
                  <a:lnTo>
                    <a:pt x="106" y="36"/>
                  </a:lnTo>
                  <a:lnTo>
                    <a:pt x="101" y="34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89" y="29"/>
                  </a:lnTo>
                  <a:lnTo>
                    <a:pt x="83" y="27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5" y="27"/>
                  </a:lnTo>
                  <a:lnTo>
                    <a:pt x="74" y="29"/>
                  </a:lnTo>
                  <a:lnTo>
                    <a:pt x="72" y="33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9"/>
                  </a:lnTo>
                  <a:lnTo>
                    <a:pt x="72" y="51"/>
                  </a:lnTo>
                  <a:lnTo>
                    <a:pt x="69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5"/>
                  </a:lnTo>
                  <a:lnTo>
                    <a:pt x="61" y="58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6" y="67"/>
                  </a:lnTo>
                  <a:lnTo>
                    <a:pt x="50" y="70"/>
                  </a:lnTo>
                  <a:lnTo>
                    <a:pt x="44" y="70"/>
                  </a:lnTo>
                  <a:lnTo>
                    <a:pt x="40" y="70"/>
                  </a:lnTo>
                  <a:lnTo>
                    <a:pt x="4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3" name="Freeform 82">
              <a:extLst>
                <a:ext uri="{FF2B5EF4-FFF2-40B4-BE49-F238E27FC236}">
                  <a16:creationId xmlns:a16="http://schemas.microsoft.com/office/drawing/2014/main" id="{80A2213C-ED34-DE4B-BCF7-03E5118B0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300" y="5362575"/>
              <a:ext cx="84138" cy="84137"/>
            </a:xfrm>
            <a:custGeom>
              <a:avLst/>
              <a:gdLst>
                <a:gd name="T0" fmla="*/ 53 w 53"/>
                <a:gd name="T1" fmla="*/ 26 h 53"/>
                <a:gd name="T2" fmla="*/ 53 w 53"/>
                <a:gd name="T3" fmla="*/ 26 h 53"/>
                <a:gd name="T4" fmla="*/ 53 w 53"/>
                <a:gd name="T5" fmla="*/ 32 h 53"/>
                <a:gd name="T6" fmla="*/ 52 w 53"/>
                <a:gd name="T7" fmla="*/ 37 h 53"/>
                <a:gd name="T8" fmla="*/ 49 w 53"/>
                <a:gd name="T9" fmla="*/ 41 h 53"/>
                <a:gd name="T10" fmla="*/ 46 w 53"/>
                <a:gd name="T11" fmla="*/ 46 h 53"/>
                <a:gd name="T12" fmla="*/ 41 w 53"/>
                <a:gd name="T13" fmla="*/ 49 h 53"/>
                <a:gd name="T14" fmla="*/ 37 w 53"/>
                <a:gd name="T15" fmla="*/ 51 h 53"/>
                <a:gd name="T16" fmla="*/ 33 w 53"/>
                <a:gd name="T17" fmla="*/ 53 h 53"/>
                <a:gd name="T18" fmla="*/ 27 w 53"/>
                <a:gd name="T19" fmla="*/ 53 h 53"/>
                <a:gd name="T20" fmla="*/ 27 w 53"/>
                <a:gd name="T21" fmla="*/ 53 h 53"/>
                <a:gd name="T22" fmla="*/ 22 w 53"/>
                <a:gd name="T23" fmla="*/ 53 h 53"/>
                <a:gd name="T24" fmla="*/ 16 w 53"/>
                <a:gd name="T25" fmla="*/ 51 h 53"/>
                <a:gd name="T26" fmla="*/ 12 w 53"/>
                <a:gd name="T27" fmla="*/ 49 h 53"/>
                <a:gd name="T28" fmla="*/ 7 w 53"/>
                <a:gd name="T29" fmla="*/ 46 h 53"/>
                <a:gd name="T30" fmla="*/ 4 w 53"/>
                <a:gd name="T31" fmla="*/ 41 h 53"/>
                <a:gd name="T32" fmla="*/ 3 w 53"/>
                <a:gd name="T33" fmla="*/ 37 h 53"/>
                <a:gd name="T34" fmla="*/ 0 w 53"/>
                <a:gd name="T35" fmla="*/ 32 h 53"/>
                <a:gd name="T36" fmla="*/ 0 w 53"/>
                <a:gd name="T37" fmla="*/ 26 h 53"/>
                <a:gd name="T38" fmla="*/ 0 w 53"/>
                <a:gd name="T39" fmla="*/ 26 h 53"/>
                <a:gd name="T40" fmla="*/ 0 w 53"/>
                <a:gd name="T41" fmla="*/ 22 h 53"/>
                <a:gd name="T42" fmla="*/ 3 w 53"/>
                <a:gd name="T43" fmla="*/ 16 h 53"/>
                <a:gd name="T44" fmla="*/ 4 w 53"/>
                <a:gd name="T45" fmla="*/ 11 h 53"/>
                <a:gd name="T46" fmla="*/ 7 w 53"/>
                <a:gd name="T47" fmla="*/ 7 h 53"/>
                <a:gd name="T48" fmla="*/ 12 w 53"/>
                <a:gd name="T49" fmla="*/ 4 h 53"/>
                <a:gd name="T50" fmla="*/ 16 w 53"/>
                <a:gd name="T51" fmla="*/ 3 h 53"/>
                <a:gd name="T52" fmla="*/ 22 w 53"/>
                <a:gd name="T53" fmla="*/ 1 h 53"/>
                <a:gd name="T54" fmla="*/ 27 w 53"/>
                <a:gd name="T55" fmla="*/ 0 h 53"/>
                <a:gd name="T56" fmla="*/ 27 w 53"/>
                <a:gd name="T57" fmla="*/ 0 h 53"/>
                <a:gd name="T58" fmla="*/ 33 w 53"/>
                <a:gd name="T59" fmla="*/ 1 h 53"/>
                <a:gd name="T60" fmla="*/ 37 w 53"/>
                <a:gd name="T61" fmla="*/ 3 h 53"/>
                <a:gd name="T62" fmla="*/ 41 w 53"/>
                <a:gd name="T63" fmla="*/ 4 h 53"/>
                <a:gd name="T64" fmla="*/ 46 w 53"/>
                <a:gd name="T65" fmla="*/ 7 h 53"/>
                <a:gd name="T66" fmla="*/ 49 w 53"/>
                <a:gd name="T67" fmla="*/ 11 h 53"/>
                <a:gd name="T68" fmla="*/ 52 w 53"/>
                <a:gd name="T69" fmla="*/ 16 h 53"/>
                <a:gd name="T70" fmla="*/ 53 w 53"/>
                <a:gd name="T71" fmla="*/ 22 h 53"/>
                <a:gd name="T72" fmla="*/ 53 w 53"/>
                <a:gd name="T73" fmla="*/ 26 h 53"/>
                <a:gd name="T74" fmla="*/ 53 w 53"/>
                <a:gd name="T75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53">
                  <a:moveTo>
                    <a:pt x="53" y="26"/>
                  </a:moveTo>
                  <a:lnTo>
                    <a:pt x="53" y="26"/>
                  </a:lnTo>
                  <a:lnTo>
                    <a:pt x="53" y="32"/>
                  </a:lnTo>
                  <a:lnTo>
                    <a:pt x="52" y="37"/>
                  </a:lnTo>
                  <a:lnTo>
                    <a:pt x="49" y="41"/>
                  </a:lnTo>
                  <a:lnTo>
                    <a:pt x="46" y="46"/>
                  </a:lnTo>
                  <a:lnTo>
                    <a:pt x="41" y="49"/>
                  </a:lnTo>
                  <a:lnTo>
                    <a:pt x="37" y="51"/>
                  </a:lnTo>
                  <a:lnTo>
                    <a:pt x="33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2" y="53"/>
                  </a:lnTo>
                  <a:lnTo>
                    <a:pt x="16" y="51"/>
                  </a:lnTo>
                  <a:lnTo>
                    <a:pt x="12" y="49"/>
                  </a:lnTo>
                  <a:lnTo>
                    <a:pt x="7" y="46"/>
                  </a:lnTo>
                  <a:lnTo>
                    <a:pt x="4" y="4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2" y="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3" y="1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6" y="7"/>
                  </a:lnTo>
                  <a:lnTo>
                    <a:pt x="49" y="11"/>
                  </a:lnTo>
                  <a:lnTo>
                    <a:pt x="52" y="16"/>
                  </a:lnTo>
                  <a:lnTo>
                    <a:pt x="53" y="22"/>
                  </a:lnTo>
                  <a:lnTo>
                    <a:pt x="53" y="26"/>
                  </a:lnTo>
                  <a:lnTo>
                    <a:pt x="53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4" name="Freeform 83">
              <a:extLst>
                <a:ext uri="{FF2B5EF4-FFF2-40B4-BE49-F238E27FC236}">
                  <a16:creationId xmlns:a16="http://schemas.microsoft.com/office/drawing/2014/main" id="{809D3C33-7C5D-7C47-AD35-E8705099E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6825" y="5100638"/>
              <a:ext cx="490538" cy="496887"/>
            </a:xfrm>
            <a:custGeom>
              <a:avLst/>
              <a:gdLst>
                <a:gd name="T0" fmla="*/ 108 w 309"/>
                <a:gd name="T1" fmla="*/ 298 h 313"/>
                <a:gd name="T2" fmla="*/ 122 w 309"/>
                <a:gd name="T3" fmla="*/ 295 h 313"/>
                <a:gd name="T4" fmla="*/ 137 w 309"/>
                <a:gd name="T5" fmla="*/ 292 h 313"/>
                <a:gd name="T6" fmla="*/ 155 w 309"/>
                <a:gd name="T7" fmla="*/ 283 h 313"/>
                <a:gd name="T8" fmla="*/ 161 w 309"/>
                <a:gd name="T9" fmla="*/ 276 h 313"/>
                <a:gd name="T10" fmla="*/ 170 w 309"/>
                <a:gd name="T11" fmla="*/ 264 h 313"/>
                <a:gd name="T12" fmla="*/ 171 w 309"/>
                <a:gd name="T13" fmla="*/ 249 h 313"/>
                <a:gd name="T14" fmla="*/ 198 w 309"/>
                <a:gd name="T15" fmla="*/ 251 h 313"/>
                <a:gd name="T16" fmla="*/ 220 w 309"/>
                <a:gd name="T17" fmla="*/ 256 h 313"/>
                <a:gd name="T18" fmla="*/ 242 w 309"/>
                <a:gd name="T19" fmla="*/ 264 h 313"/>
                <a:gd name="T20" fmla="*/ 262 w 309"/>
                <a:gd name="T21" fmla="*/ 286 h 313"/>
                <a:gd name="T22" fmla="*/ 281 w 309"/>
                <a:gd name="T23" fmla="*/ 305 h 313"/>
                <a:gd name="T24" fmla="*/ 299 w 309"/>
                <a:gd name="T25" fmla="*/ 311 h 313"/>
                <a:gd name="T26" fmla="*/ 309 w 309"/>
                <a:gd name="T27" fmla="*/ 289 h 313"/>
                <a:gd name="T28" fmla="*/ 309 w 309"/>
                <a:gd name="T29" fmla="*/ 271 h 313"/>
                <a:gd name="T30" fmla="*/ 305 w 309"/>
                <a:gd name="T31" fmla="*/ 255 h 313"/>
                <a:gd name="T32" fmla="*/ 296 w 309"/>
                <a:gd name="T33" fmla="*/ 245 h 313"/>
                <a:gd name="T34" fmla="*/ 299 w 309"/>
                <a:gd name="T35" fmla="*/ 236 h 313"/>
                <a:gd name="T36" fmla="*/ 284 w 309"/>
                <a:gd name="T37" fmla="*/ 221 h 313"/>
                <a:gd name="T38" fmla="*/ 276 w 309"/>
                <a:gd name="T39" fmla="*/ 202 h 313"/>
                <a:gd name="T40" fmla="*/ 271 w 309"/>
                <a:gd name="T41" fmla="*/ 188 h 313"/>
                <a:gd name="T42" fmla="*/ 266 w 309"/>
                <a:gd name="T43" fmla="*/ 178 h 313"/>
                <a:gd name="T44" fmla="*/ 248 w 309"/>
                <a:gd name="T45" fmla="*/ 162 h 313"/>
                <a:gd name="T46" fmla="*/ 259 w 309"/>
                <a:gd name="T47" fmla="*/ 150 h 313"/>
                <a:gd name="T48" fmla="*/ 260 w 309"/>
                <a:gd name="T49" fmla="*/ 134 h 313"/>
                <a:gd name="T50" fmla="*/ 247 w 309"/>
                <a:gd name="T51" fmla="*/ 123 h 313"/>
                <a:gd name="T52" fmla="*/ 234 w 309"/>
                <a:gd name="T53" fmla="*/ 111 h 313"/>
                <a:gd name="T54" fmla="*/ 228 w 309"/>
                <a:gd name="T55" fmla="*/ 97 h 313"/>
                <a:gd name="T56" fmla="*/ 216 w 309"/>
                <a:gd name="T57" fmla="*/ 83 h 313"/>
                <a:gd name="T58" fmla="*/ 205 w 309"/>
                <a:gd name="T59" fmla="*/ 68 h 313"/>
                <a:gd name="T60" fmla="*/ 211 w 309"/>
                <a:gd name="T61" fmla="*/ 54 h 313"/>
                <a:gd name="T62" fmla="*/ 202 w 309"/>
                <a:gd name="T63" fmla="*/ 40 h 313"/>
                <a:gd name="T64" fmla="*/ 191 w 309"/>
                <a:gd name="T65" fmla="*/ 45 h 313"/>
                <a:gd name="T66" fmla="*/ 182 w 309"/>
                <a:gd name="T67" fmla="*/ 39 h 313"/>
                <a:gd name="T68" fmla="*/ 182 w 309"/>
                <a:gd name="T69" fmla="*/ 9 h 313"/>
                <a:gd name="T70" fmla="*/ 171 w 309"/>
                <a:gd name="T71" fmla="*/ 0 h 313"/>
                <a:gd name="T72" fmla="*/ 148 w 309"/>
                <a:gd name="T73" fmla="*/ 11 h 313"/>
                <a:gd name="T74" fmla="*/ 118 w 309"/>
                <a:gd name="T75" fmla="*/ 22 h 313"/>
                <a:gd name="T76" fmla="*/ 103 w 309"/>
                <a:gd name="T77" fmla="*/ 28 h 313"/>
                <a:gd name="T78" fmla="*/ 99 w 309"/>
                <a:gd name="T79" fmla="*/ 52 h 313"/>
                <a:gd name="T80" fmla="*/ 87 w 309"/>
                <a:gd name="T81" fmla="*/ 62 h 313"/>
                <a:gd name="T82" fmla="*/ 78 w 309"/>
                <a:gd name="T83" fmla="*/ 67 h 313"/>
                <a:gd name="T84" fmla="*/ 93 w 309"/>
                <a:gd name="T85" fmla="*/ 86 h 313"/>
                <a:gd name="T86" fmla="*/ 88 w 309"/>
                <a:gd name="T87" fmla="*/ 97 h 313"/>
                <a:gd name="T88" fmla="*/ 75 w 309"/>
                <a:gd name="T89" fmla="*/ 99 h 313"/>
                <a:gd name="T90" fmla="*/ 71 w 309"/>
                <a:gd name="T91" fmla="*/ 97 h 313"/>
                <a:gd name="T92" fmla="*/ 60 w 309"/>
                <a:gd name="T93" fmla="*/ 116 h 313"/>
                <a:gd name="T94" fmla="*/ 53 w 309"/>
                <a:gd name="T95" fmla="*/ 135 h 313"/>
                <a:gd name="T96" fmla="*/ 43 w 309"/>
                <a:gd name="T97" fmla="*/ 141 h 313"/>
                <a:gd name="T98" fmla="*/ 40 w 309"/>
                <a:gd name="T99" fmla="*/ 154 h 313"/>
                <a:gd name="T100" fmla="*/ 35 w 309"/>
                <a:gd name="T101" fmla="*/ 163 h 313"/>
                <a:gd name="T102" fmla="*/ 20 w 309"/>
                <a:gd name="T103" fmla="*/ 174 h 313"/>
                <a:gd name="T104" fmla="*/ 13 w 309"/>
                <a:gd name="T105" fmla="*/ 191 h 313"/>
                <a:gd name="T106" fmla="*/ 1 w 309"/>
                <a:gd name="T107" fmla="*/ 211 h 313"/>
                <a:gd name="T108" fmla="*/ 11 w 309"/>
                <a:gd name="T109" fmla="*/ 251 h 313"/>
                <a:gd name="T110" fmla="*/ 35 w 309"/>
                <a:gd name="T111" fmla="*/ 276 h 313"/>
                <a:gd name="T112" fmla="*/ 53 w 309"/>
                <a:gd name="T113" fmla="*/ 299 h 313"/>
                <a:gd name="T114" fmla="*/ 85 w 309"/>
                <a:gd name="T115" fmla="*/ 310 h 313"/>
                <a:gd name="T116" fmla="*/ 91 w 309"/>
                <a:gd name="T117" fmla="*/ 301 h 313"/>
                <a:gd name="T118" fmla="*/ 97 w 309"/>
                <a:gd name="T119" fmla="*/ 29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9" h="313">
                  <a:moveTo>
                    <a:pt x="97" y="295"/>
                  </a:moveTo>
                  <a:lnTo>
                    <a:pt x="97" y="295"/>
                  </a:lnTo>
                  <a:lnTo>
                    <a:pt x="103" y="296"/>
                  </a:lnTo>
                  <a:lnTo>
                    <a:pt x="108" y="298"/>
                  </a:lnTo>
                  <a:lnTo>
                    <a:pt x="114" y="298"/>
                  </a:lnTo>
                  <a:lnTo>
                    <a:pt x="117" y="298"/>
                  </a:lnTo>
                  <a:lnTo>
                    <a:pt x="117" y="298"/>
                  </a:lnTo>
                  <a:lnTo>
                    <a:pt x="122" y="295"/>
                  </a:lnTo>
                  <a:lnTo>
                    <a:pt x="127" y="293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37" y="292"/>
                  </a:lnTo>
                  <a:lnTo>
                    <a:pt x="137" y="292"/>
                  </a:lnTo>
                  <a:lnTo>
                    <a:pt x="146" y="291"/>
                  </a:lnTo>
                  <a:lnTo>
                    <a:pt x="152" y="286"/>
                  </a:lnTo>
                  <a:lnTo>
                    <a:pt x="155" y="283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8" y="277"/>
                  </a:lnTo>
                  <a:lnTo>
                    <a:pt x="161" y="276"/>
                  </a:lnTo>
                  <a:lnTo>
                    <a:pt x="167" y="273"/>
                  </a:lnTo>
                  <a:lnTo>
                    <a:pt x="167" y="273"/>
                  </a:lnTo>
                  <a:lnTo>
                    <a:pt x="168" y="270"/>
                  </a:lnTo>
                  <a:lnTo>
                    <a:pt x="170" y="264"/>
                  </a:lnTo>
                  <a:lnTo>
                    <a:pt x="170" y="252"/>
                  </a:lnTo>
                  <a:lnTo>
                    <a:pt x="170" y="252"/>
                  </a:lnTo>
                  <a:lnTo>
                    <a:pt x="170" y="251"/>
                  </a:lnTo>
                  <a:lnTo>
                    <a:pt x="171" y="249"/>
                  </a:lnTo>
                  <a:lnTo>
                    <a:pt x="176" y="249"/>
                  </a:lnTo>
                  <a:lnTo>
                    <a:pt x="186" y="249"/>
                  </a:lnTo>
                  <a:lnTo>
                    <a:pt x="186" y="249"/>
                  </a:lnTo>
                  <a:lnTo>
                    <a:pt x="198" y="251"/>
                  </a:lnTo>
                  <a:lnTo>
                    <a:pt x="205" y="252"/>
                  </a:lnTo>
                  <a:lnTo>
                    <a:pt x="213" y="255"/>
                  </a:lnTo>
                  <a:lnTo>
                    <a:pt x="213" y="255"/>
                  </a:lnTo>
                  <a:lnTo>
                    <a:pt x="220" y="256"/>
                  </a:lnTo>
                  <a:lnTo>
                    <a:pt x="228" y="258"/>
                  </a:lnTo>
                  <a:lnTo>
                    <a:pt x="238" y="259"/>
                  </a:lnTo>
                  <a:lnTo>
                    <a:pt x="238" y="259"/>
                  </a:lnTo>
                  <a:lnTo>
                    <a:pt x="242" y="264"/>
                  </a:lnTo>
                  <a:lnTo>
                    <a:pt x="253" y="276"/>
                  </a:lnTo>
                  <a:lnTo>
                    <a:pt x="253" y="276"/>
                  </a:lnTo>
                  <a:lnTo>
                    <a:pt x="257" y="282"/>
                  </a:lnTo>
                  <a:lnTo>
                    <a:pt x="262" y="286"/>
                  </a:lnTo>
                  <a:lnTo>
                    <a:pt x="265" y="292"/>
                  </a:lnTo>
                  <a:lnTo>
                    <a:pt x="272" y="296"/>
                  </a:lnTo>
                  <a:lnTo>
                    <a:pt x="272" y="296"/>
                  </a:lnTo>
                  <a:lnTo>
                    <a:pt x="281" y="305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6" y="313"/>
                  </a:lnTo>
                  <a:lnTo>
                    <a:pt x="299" y="311"/>
                  </a:lnTo>
                  <a:lnTo>
                    <a:pt x="299" y="311"/>
                  </a:lnTo>
                  <a:lnTo>
                    <a:pt x="303" y="305"/>
                  </a:lnTo>
                  <a:lnTo>
                    <a:pt x="308" y="298"/>
                  </a:lnTo>
                  <a:lnTo>
                    <a:pt x="309" y="289"/>
                  </a:lnTo>
                  <a:lnTo>
                    <a:pt x="309" y="282"/>
                  </a:lnTo>
                  <a:lnTo>
                    <a:pt x="309" y="282"/>
                  </a:lnTo>
                  <a:lnTo>
                    <a:pt x="308" y="276"/>
                  </a:lnTo>
                  <a:lnTo>
                    <a:pt x="309" y="271"/>
                  </a:lnTo>
                  <a:lnTo>
                    <a:pt x="309" y="265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05" y="255"/>
                  </a:lnTo>
                  <a:lnTo>
                    <a:pt x="302" y="251"/>
                  </a:lnTo>
                  <a:lnTo>
                    <a:pt x="299" y="248"/>
                  </a:lnTo>
                  <a:lnTo>
                    <a:pt x="296" y="245"/>
                  </a:lnTo>
                  <a:lnTo>
                    <a:pt x="296" y="245"/>
                  </a:lnTo>
                  <a:lnTo>
                    <a:pt x="296" y="242"/>
                  </a:lnTo>
                  <a:lnTo>
                    <a:pt x="296" y="242"/>
                  </a:lnTo>
                  <a:lnTo>
                    <a:pt x="297" y="239"/>
                  </a:lnTo>
                  <a:lnTo>
                    <a:pt x="299" y="236"/>
                  </a:lnTo>
                  <a:lnTo>
                    <a:pt x="296" y="233"/>
                  </a:lnTo>
                  <a:lnTo>
                    <a:pt x="296" y="233"/>
                  </a:lnTo>
                  <a:lnTo>
                    <a:pt x="290" y="228"/>
                  </a:lnTo>
                  <a:lnTo>
                    <a:pt x="284" y="221"/>
                  </a:lnTo>
                  <a:lnTo>
                    <a:pt x="279" y="214"/>
                  </a:lnTo>
                  <a:lnTo>
                    <a:pt x="278" y="209"/>
                  </a:lnTo>
                  <a:lnTo>
                    <a:pt x="278" y="209"/>
                  </a:lnTo>
                  <a:lnTo>
                    <a:pt x="276" y="202"/>
                  </a:lnTo>
                  <a:lnTo>
                    <a:pt x="275" y="196"/>
                  </a:lnTo>
                  <a:lnTo>
                    <a:pt x="272" y="191"/>
                  </a:lnTo>
                  <a:lnTo>
                    <a:pt x="272" y="191"/>
                  </a:lnTo>
                  <a:lnTo>
                    <a:pt x="271" y="188"/>
                  </a:lnTo>
                  <a:lnTo>
                    <a:pt x="271" y="184"/>
                  </a:lnTo>
                  <a:lnTo>
                    <a:pt x="271" y="181"/>
                  </a:lnTo>
                  <a:lnTo>
                    <a:pt x="266" y="178"/>
                  </a:lnTo>
                  <a:lnTo>
                    <a:pt x="266" y="178"/>
                  </a:lnTo>
                  <a:lnTo>
                    <a:pt x="254" y="169"/>
                  </a:lnTo>
                  <a:lnTo>
                    <a:pt x="250" y="165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50" y="159"/>
                  </a:lnTo>
                  <a:lnTo>
                    <a:pt x="253" y="157"/>
                  </a:lnTo>
                  <a:lnTo>
                    <a:pt x="257" y="153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62" y="139"/>
                  </a:lnTo>
                  <a:lnTo>
                    <a:pt x="262" y="136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2" y="120"/>
                  </a:lnTo>
                  <a:lnTo>
                    <a:pt x="238" y="117"/>
                  </a:lnTo>
                  <a:lnTo>
                    <a:pt x="234" y="111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1"/>
                  </a:lnTo>
                  <a:lnTo>
                    <a:pt x="228" y="97"/>
                  </a:lnTo>
                  <a:lnTo>
                    <a:pt x="223" y="89"/>
                  </a:lnTo>
                  <a:lnTo>
                    <a:pt x="223" y="89"/>
                  </a:lnTo>
                  <a:lnTo>
                    <a:pt x="220" y="86"/>
                  </a:lnTo>
                  <a:lnTo>
                    <a:pt x="216" y="83"/>
                  </a:lnTo>
                  <a:lnTo>
                    <a:pt x="210" y="79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5" y="68"/>
                  </a:lnTo>
                  <a:lnTo>
                    <a:pt x="205" y="64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11" y="54"/>
                  </a:lnTo>
                  <a:lnTo>
                    <a:pt x="211" y="52"/>
                  </a:lnTo>
                  <a:lnTo>
                    <a:pt x="210" y="46"/>
                  </a:lnTo>
                  <a:lnTo>
                    <a:pt x="207" y="43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199" y="42"/>
                  </a:lnTo>
                  <a:lnTo>
                    <a:pt x="197" y="43"/>
                  </a:lnTo>
                  <a:lnTo>
                    <a:pt x="191" y="45"/>
                  </a:lnTo>
                  <a:lnTo>
                    <a:pt x="186" y="43"/>
                  </a:lnTo>
                  <a:lnTo>
                    <a:pt x="186" y="43"/>
                  </a:lnTo>
                  <a:lnTo>
                    <a:pt x="183" y="42"/>
                  </a:lnTo>
                  <a:lnTo>
                    <a:pt x="182" y="39"/>
                  </a:lnTo>
                  <a:lnTo>
                    <a:pt x="182" y="33"/>
                  </a:lnTo>
                  <a:lnTo>
                    <a:pt x="183" y="17"/>
                  </a:lnTo>
                  <a:lnTo>
                    <a:pt x="183" y="17"/>
                  </a:lnTo>
                  <a:lnTo>
                    <a:pt x="182" y="9"/>
                  </a:lnTo>
                  <a:lnTo>
                    <a:pt x="180" y="5"/>
                  </a:lnTo>
                  <a:lnTo>
                    <a:pt x="176" y="2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5" y="2"/>
                  </a:lnTo>
                  <a:lnTo>
                    <a:pt x="158" y="5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3" y="14"/>
                  </a:lnTo>
                  <a:lnTo>
                    <a:pt x="134" y="18"/>
                  </a:lnTo>
                  <a:lnTo>
                    <a:pt x="125" y="21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3" y="28"/>
                  </a:lnTo>
                  <a:lnTo>
                    <a:pt x="103" y="36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99" y="52"/>
                  </a:lnTo>
                  <a:lnTo>
                    <a:pt x="96" y="58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87" y="62"/>
                  </a:lnTo>
                  <a:lnTo>
                    <a:pt x="81" y="64"/>
                  </a:lnTo>
                  <a:lnTo>
                    <a:pt x="78" y="64"/>
                  </a:lnTo>
                  <a:lnTo>
                    <a:pt x="78" y="65"/>
                  </a:lnTo>
                  <a:lnTo>
                    <a:pt x="78" y="67"/>
                  </a:lnTo>
                  <a:lnTo>
                    <a:pt x="78" y="67"/>
                  </a:lnTo>
                  <a:lnTo>
                    <a:pt x="80" y="71"/>
                  </a:lnTo>
                  <a:lnTo>
                    <a:pt x="84" y="76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4" y="88"/>
                  </a:lnTo>
                  <a:lnTo>
                    <a:pt x="93" y="91"/>
                  </a:lnTo>
                  <a:lnTo>
                    <a:pt x="88" y="97"/>
                  </a:lnTo>
                  <a:lnTo>
                    <a:pt x="82" y="99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5" y="99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68" y="99"/>
                  </a:lnTo>
                  <a:lnTo>
                    <a:pt x="65" y="102"/>
                  </a:lnTo>
                  <a:lnTo>
                    <a:pt x="62" y="108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59" y="125"/>
                  </a:lnTo>
                  <a:lnTo>
                    <a:pt x="56" y="131"/>
                  </a:lnTo>
                  <a:lnTo>
                    <a:pt x="53" y="135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1" y="142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4"/>
                  </a:lnTo>
                  <a:lnTo>
                    <a:pt x="40" y="159"/>
                  </a:lnTo>
                  <a:lnTo>
                    <a:pt x="38" y="162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29" y="165"/>
                  </a:lnTo>
                  <a:lnTo>
                    <a:pt x="25" y="166"/>
                  </a:lnTo>
                  <a:lnTo>
                    <a:pt x="22" y="169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9"/>
                  </a:lnTo>
                  <a:lnTo>
                    <a:pt x="19" y="184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11"/>
                  </a:lnTo>
                  <a:lnTo>
                    <a:pt x="1" y="219"/>
                  </a:lnTo>
                  <a:lnTo>
                    <a:pt x="1" y="243"/>
                  </a:lnTo>
                  <a:lnTo>
                    <a:pt x="1" y="243"/>
                  </a:lnTo>
                  <a:lnTo>
                    <a:pt x="11" y="251"/>
                  </a:lnTo>
                  <a:lnTo>
                    <a:pt x="20" y="258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35" y="276"/>
                  </a:lnTo>
                  <a:lnTo>
                    <a:pt x="41" y="285"/>
                  </a:lnTo>
                  <a:lnTo>
                    <a:pt x="47" y="293"/>
                  </a:lnTo>
                  <a:lnTo>
                    <a:pt x="53" y="299"/>
                  </a:lnTo>
                  <a:lnTo>
                    <a:pt x="53" y="299"/>
                  </a:lnTo>
                  <a:lnTo>
                    <a:pt x="63" y="305"/>
                  </a:lnTo>
                  <a:lnTo>
                    <a:pt x="74" y="308"/>
                  </a:lnTo>
                  <a:lnTo>
                    <a:pt x="82" y="310"/>
                  </a:lnTo>
                  <a:lnTo>
                    <a:pt x="85" y="310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90" y="305"/>
                  </a:lnTo>
                  <a:lnTo>
                    <a:pt x="91" y="301"/>
                  </a:lnTo>
                  <a:lnTo>
                    <a:pt x="94" y="296"/>
                  </a:lnTo>
                  <a:lnTo>
                    <a:pt x="96" y="296"/>
                  </a:lnTo>
                  <a:lnTo>
                    <a:pt x="97" y="295"/>
                  </a:lnTo>
                  <a:lnTo>
                    <a:pt x="97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5" name="Freeform 84">
              <a:extLst>
                <a:ext uri="{FF2B5EF4-FFF2-40B4-BE49-F238E27FC236}">
                  <a16:creationId xmlns:a16="http://schemas.microsoft.com/office/drawing/2014/main" id="{48B24116-147B-C246-8AC1-25E73A356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3951288"/>
              <a:ext cx="931863" cy="952500"/>
            </a:xfrm>
            <a:custGeom>
              <a:avLst/>
              <a:gdLst>
                <a:gd name="T0" fmla="*/ 147 w 587"/>
                <a:gd name="T1" fmla="*/ 326 h 600"/>
                <a:gd name="T2" fmla="*/ 160 w 587"/>
                <a:gd name="T3" fmla="*/ 391 h 600"/>
                <a:gd name="T4" fmla="*/ 183 w 587"/>
                <a:gd name="T5" fmla="*/ 413 h 600"/>
                <a:gd name="T6" fmla="*/ 209 w 587"/>
                <a:gd name="T7" fmla="*/ 400 h 600"/>
                <a:gd name="T8" fmla="*/ 248 w 587"/>
                <a:gd name="T9" fmla="*/ 410 h 600"/>
                <a:gd name="T10" fmla="*/ 283 w 587"/>
                <a:gd name="T11" fmla="*/ 400 h 600"/>
                <a:gd name="T12" fmla="*/ 283 w 587"/>
                <a:gd name="T13" fmla="*/ 422 h 600"/>
                <a:gd name="T14" fmla="*/ 286 w 587"/>
                <a:gd name="T15" fmla="*/ 447 h 600"/>
                <a:gd name="T16" fmla="*/ 310 w 587"/>
                <a:gd name="T17" fmla="*/ 459 h 600"/>
                <a:gd name="T18" fmla="*/ 314 w 587"/>
                <a:gd name="T19" fmla="*/ 478 h 600"/>
                <a:gd name="T20" fmla="*/ 338 w 587"/>
                <a:gd name="T21" fmla="*/ 520 h 600"/>
                <a:gd name="T22" fmla="*/ 377 w 587"/>
                <a:gd name="T23" fmla="*/ 558 h 600"/>
                <a:gd name="T24" fmla="*/ 406 w 587"/>
                <a:gd name="T25" fmla="*/ 585 h 600"/>
                <a:gd name="T26" fmla="*/ 437 w 587"/>
                <a:gd name="T27" fmla="*/ 591 h 600"/>
                <a:gd name="T28" fmla="*/ 456 w 587"/>
                <a:gd name="T29" fmla="*/ 575 h 600"/>
                <a:gd name="T30" fmla="*/ 486 w 587"/>
                <a:gd name="T31" fmla="*/ 600 h 600"/>
                <a:gd name="T32" fmla="*/ 495 w 587"/>
                <a:gd name="T33" fmla="*/ 584 h 600"/>
                <a:gd name="T34" fmla="*/ 513 w 587"/>
                <a:gd name="T35" fmla="*/ 570 h 600"/>
                <a:gd name="T36" fmla="*/ 502 w 587"/>
                <a:gd name="T37" fmla="*/ 526 h 600"/>
                <a:gd name="T38" fmla="*/ 526 w 587"/>
                <a:gd name="T39" fmla="*/ 533 h 600"/>
                <a:gd name="T40" fmla="*/ 544 w 587"/>
                <a:gd name="T41" fmla="*/ 526 h 600"/>
                <a:gd name="T42" fmla="*/ 573 w 587"/>
                <a:gd name="T43" fmla="*/ 512 h 600"/>
                <a:gd name="T44" fmla="*/ 578 w 587"/>
                <a:gd name="T45" fmla="*/ 502 h 600"/>
                <a:gd name="T46" fmla="*/ 581 w 587"/>
                <a:gd name="T47" fmla="*/ 486 h 600"/>
                <a:gd name="T48" fmla="*/ 569 w 587"/>
                <a:gd name="T49" fmla="*/ 465 h 600"/>
                <a:gd name="T50" fmla="*/ 550 w 587"/>
                <a:gd name="T51" fmla="*/ 443 h 600"/>
                <a:gd name="T52" fmla="*/ 563 w 587"/>
                <a:gd name="T53" fmla="*/ 430 h 600"/>
                <a:gd name="T54" fmla="*/ 538 w 587"/>
                <a:gd name="T55" fmla="*/ 424 h 600"/>
                <a:gd name="T56" fmla="*/ 505 w 587"/>
                <a:gd name="T57" fmla="*/ 416 h 600"/>
                <a:gd name="T58" fmla="*/ 489 w 587"/>
                <a:gd name="T59" fmla="*/ 375 h 600"/>
                <a:gd name="T60" fmla="*/ 467 w 587"/>
                <a:gd name="T61" fmla="*/ 366 h 600"/>
                <a:gd name="T62" fmla="*/ 428 w 587"/>
                <a:gd name="T63" fmla="*/ 354 h 600"/>
                <a:gd name="T64" fmla="*/ 422 w 587"/>
                <a:gd name="T65" fmla="*/ 326 h 600"/>
                <a:gd name="T66" fmla="*/ 399 w 587"/>
                <a:gd name="T67" fmla="*/ 318 h 600"/>
                <a:gd name="T68" fmla="*/ 400 w 587"/>
                <a:gd name="T69" fmla="*/ 292 h 600"/>
                <a:gd name="T70" fmla="*/ 387 w 587"/>
                <a:gd name="T71" fmla="*/ 277 h 600"/>
                <a:gd name="T72" fmla="*/ 360 w 587"/>
                <a:gd name="T73" fmla="*/ 273 h 600"/>
                <a:gd name="T74" fmla="*/ 350 w 587"/>
                <a:gd name="T75" fmla="*/ 246 h 600"/>
                <a:gd name="T76" fmla="*/ 325 w 587"/>
                <a:gd name="T77" fmla="*/ 231 h 600"/>
                <a:gd name="T78" fmla="*/ 304 w 587"/>
                <a:gd name="T79" fmla="*/ 191 h 600"/>
                <a:gd name="T80" fmla="*/ 280 w 587"/>
                <a:gd name="T81" fmla="*/ 176 h 600"/>
                <a:gd name="T82" fmla="*/ 283 w 587"/>
                <a:gd name="T83" fmla="*/ 136 h 600"/>
                <a:gd name="T84" fmla="*/ 301 w 587"/>
                <a:gd name="T85" fmla="*/ 113 h 600"/>
                <a:gd name="T86" fmla="*/ 314 w 587"/>
                <a:gd name="T87" fmla="*/ 71 h 600"/>
                <a:gd name="T88" fmla="*/ 297 w 587"/>
                <a:gd name="T89" fmla="*/ 22 h 600"/>
                <a:gd name="T90" fmla="*/ 218 w 587"/>
                <a:gd name="T91" fmla="*/ 7 h 600"/>
                <a:gd name="T92" fmla="*/ 202 w 587"/>
                <a:gd name="T93" fmla="*/ 4 h 600"/>
                <a:gd name="T94" fmla="*/ 175 w 587"/>
                <a:gd name="T95" fmla="*/ 4 h 600"/>
                <a:gd name="T96" fmla="*/ 151 w 587"/>
                <a:gd name="T97" fmla="*/ 24 h 600"/>
                <a:gd name="T98" fmla="*/ 108 w 587"/>
                <a:gd name="T99" fmla="*/ 52 h 600"/>
                <a:gd name="T100" fmla="*/ 79 w 587"/>
                <a:gd name="T101" fmla="*/ 83 h 600"/>
                <a:gd name="T102" fmla="*/ 58 w 587"/>
                <a:gd name="T103" fmla="*/ 98 h 600"/>
                <a:gd name="T104" fmla="*/ 27 w 587"/>
                <a:gd name="T105" fmla="*/ 83 h 600"/>
                <a:gd name="T106" fmla="*/ 6 w 587"/>
                <a:gd name="T107" fmla="*/ 113 h 600"/>
                <a:gd name="T108" fmla="*/ 14 w 587"/>
                <a:gd name="T109" fmla="*/ 150 h 600"/>
                <a:gd name="T110" fmla="*/ 0 w 587"/>
                <a:gd name="T111" fmla="*/ 181 h 600"/>
                <a:gd name="T112" fmla="*/ 24 w 587"/>
                <a:gd name="T113" fmla="*/ 196 h 600"/>
                <a:gd name="T114" fmla="*/ 52 w 587"/>
                <a:gd name="T115" fmla="*/ 222 h 600"/>
                <a:gd name="T116" fmla="*/ 45 w 587"/>
                <a:gd name="T117" fmla="*/ 256 h 600"/>
                <a:gd name="T118" fmla="*/ 88 w 587"/>
                <a:gd name="T119" fmla="*/ 268 h 600"/>
                <a:gd name="T120" fmla="*/ 111 w 587"/>
                <a:gd name="T121" fmla="*/ 307 h 600"/>
                <a:gd name="T122" fmla="*/ 129 w 587"/>
                <a:gd name="T123" fmla="*/ 296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7" h="600">
                  <a:moveTo>
                    <a:pt x="129" y="296"/>
                  </a:moveTo>
                  <a:lnTo>
                    <a:pt x="129" y="296"/>
                  </a:lnTo>
                  <a:lnTo>
                    <a:pt x="131" y="296"/>
                  </a:lnTo>
                  <a:lnTo>
                    <a:pt x="134" y="299"/>
                  </a:lnTo>
                  <a:lnTo>
                    <a:pt x="140" y="308"/>
                  </a:lnTo>
                  <a:lnTo>
                    <a:pt x="146" y="320"/>
                  </a:lnTo>
                  <a:lnTo>
                    <a:pt x="147" y="326"/>
                  </a:lnTo>
                  <a:lnTo>
                    <a:pt x="148" y="333"/>
                  </a:lnTo>
                  <a:lnTo>
                    <a:pt x="148" y="333"/>
                  </a:lnTo>
                  <a:lnTo>
                    <a:pt x="148" y="358"/>
                  </a:lnTo>
                  <a:lnTo>
                    <a:pt x="150" y="369"/>
                  </a:lnTo>
                  <a:lnTo>
                    <a:pt x="153" y="378"/>
                  </a:lnTo>
                  <a:lnTo>
                    <a:pt x="153" y="378"/>
                  </a:lnTo>
                  <a:lnTo>
                    <a:pt x="160" y="391"/>
                  </a:lnTo>
                  <a:lnTo>
                    <a:pt x="166" y="401"/>
                  </a:lnTo>
                  <a:lnTo>
                    <a:pt x="166" y="401"/>
                  </a:lnTo>
                  <a:lnTo>
                    <a:pt x="169" y="406"/>
                  </a:lnTo>
                  <a:lnTo>
                    <a:pt x="174" y="409"/>
                  </a:lnTo>
                  <a:lnTo>
                    <a:pt x="174" y="409"/>
                  </a:lnTo>
                  <a:lnTo>
                    <a:pt x="177" y="412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5" y="413"/>
                  </a:lnTo>
                  <a:lnTo>
                    <a:pt x="190" y="413"/>
                  </a:lnTo>
                  <a:lnTo>
                    <a:pt x="196" y="410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9" y="400"/>
                  </a:lnTo>
                  <a:lnTo>
                    <a:pt x="214" y="398"/>
                  </a:lnTo>
                  <a:lnTo>
                    <a:pt x="220" y="401"/>
                  </a:lnTo>
                  <a:lnTo>
                    <a:pt x="220" y="401"/>
                  </a:lnTo>
                  <a:lnTo>
                    <a:pt x="234" y="407"/>
                  </a:lnTo>
                  <a:lnTo>
                    <a:pt x="243" y="412"/>
                  </a:lnTo>
                  <a:lnTo>
                    <a:pt x="243" y="412"/>
                  </a:lnTo>
                  <a:lnTo>
                    <a:pt x="248" y="410"/>
                  </a:lnTo>
                  <a:lnTo>
                    <a:pt x="254" y="407"/>
                  </a:lnTo>
                  <a:lnTo>
                    <a:pt x="267" y="400"/>
                  </a:lnTo>
                  <a:lnTo>
                    <a:pt x="267" y="400"/>
                  </a:lnTo>
                  <a:lnTo>
                    <a:pt x="274" y="398"/>
                  </a:lnTo>
                  <a:lnTo>
                    <a:pt x="279" y="397"/>
                  </a:lnTo>
                  <a:lnTo>
                    <a:pt x="283" y="398"/>
                  </a:lnTo>
                  <a:lnTo>
                    <a:pt x="283" y="400"/>
                  </a:lnTo>
                  <a:lnTo>
                    <a:pt x="283" y="400"/>
                  </a:lnTo>
                  <a:lnTo>
                    <a:pt x="279" y="409"/>
                  </a:lnTo>
                  <a:lnTo>
                    <a:pt x="277" y="415"/>
                  </a:lnTo>
                  <a:lnTo>
                    <a:pt x="277" y="419"/>
                  </a:lnTo>
                  <a:lnTo>
                    <a:pt x="277" y="419"/>
                  </a:lnTo>
                  <a:lnTo>
                    <a:pt x="280" y="421"/>
                  </a:lnTo>
                  <a:lnTo>
                    <a:pt x="283" y="422"/>
                  </a:lnTo>
                  <a:lnTo>
                    <a:pt x="286" y="424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34"/>
                  </a:lnTo>
                  <a:lnTo>
                    <a:pt x="286" y="438"/>
                  </a:lnTo>
                  <a:lnTo>
                    <a:pt x="286" y="444"/>
                  </a:lnTo>
                  <a:lnTo>
                    <a:pt x="286" y="447"/>
                  </a:lnTo>
                  <a:lnTo>
                    <a:pt x="288" y="449"/>
                  </a:lnTo>
                  <a:lnTo>
                    <a:pt x="288" y="449"/>
                  </a:lnTo>
                  <a:lnTo>
                    <a:pt x="297" y="456"/>
                  </a:lnTo>
                  <a:lnTo>
                    <a:pt x="300" y="458"/>
                  </a:lnTo>
                  <a:lnTo>
                    <a:pt x="304" y="459"/>
                  </a:lnTo>
                  <a:lnTo>
                    <a:pt x="304" y="459"/>
                  </a:lnTo>
                  <a:lnTo>
                    <a:pt x="310" y="459"/>
                  </a:lnTo>
                  <a:lnTo>
                    <a:pt x="316" y="459"/>
                  </a:lnTo>
                  <a:lnTo>
                    <a:pt x="319" y="461"/>
                  </a:lnTo>
                  <a:lnTo>
                    <a:pt x="320" y="464"/>
                  </a:lnTo>
                  <a:lnTo>
                    <a:pt x="320" y="464"/>
                  </a:lnTo>
                  <a:lnTo>
                    <a:pt x="319" y="468"/>
                  </a:lnTo>
                  <a:lnTo>
                    <a:pt x="316" y="475"/>
                  </a:lnTo>
                  <a:lnTo>
                    <a:pt x="314" y="478"/>
                  </a:lnTo>
                  <a:lnTo>
                    <a:pt x="314" y="481"/>
                  </a:lnTo>
                  <a:lnTo>
                    <a:pt x="316" y="486"/>
                  </a:lnTo>
                  <a:lnTo>
                    <a:pt x="319" y="489"/>
                  </a:lnTo>
                  <a:lnTo>
                    <a:pt x="319" y="489"/>
                  </a:lnTo>
                  <a:lnTo>
                    <a:pt x="326" y="496"/>
                  </a:lnTo>
                  <a:lnTo>
                    <a:pt x="331" y="504"/>
                  </a:lnTo>
                  <a:lnTo>
                    <a:pt x="338" y="520"/>
                  </a:lnTo>
                  <a:lnTo>
                    <a:pt x="338" y="520"/>
                  </a:lnTo>
                  <a:lnTo>
                    <a:pt x="347" y="539"/>
                  </a:lnTo>
                  <a:lnTo>
                    <a:pt x="351" y="545"/>
                  </a:lnTo>
                  <a:lnTo>
                    <a:pt x="357" y="551"/>
                  </a:lnTo>
                  <a:lnTo>
                    <a:pt x="357" y="551"/>
                  </a:lnTo>
                  <a:lnTo>
                    <a:pt x="365" y="555"/>
                  </a:lnTo>
                  <a:lnTo>
                    <a:pt x="377" y="558"/>
                  </a:lnTo>
                  <a:lnTo>
                    <a:pt x="377" y="558"/>
                  </a:lnTo>
                  <a:lnTo>
                    <a:pt x="384" y="560"/>
                  </a:lnTo>
                  <a:lnTo>
                    <a:pt x="388" y="563"/>
                  </a:lnTo>
                  <a:lnTo>
                    <a:pt x="394" y="567"/>
                  </a:lnTo>
                  <a:lnTo>
                    <a:pt x="394" y="567"/>
                  </a:lnTo>
                  <a:lnTo>
                    <a:pt x="402" y="578"/>
                  </a:lnTo>
                  <a:lnTo>
                    <a:pt x="406" y="585"/>
                  </a:lnTo>
                  <a:lnTo>
                    <a:pt x="411" y="591"/>
                  </a:lnTo>
                  <a:lnTo>
                    <a:pt x="411" y="591"/>
                  </a:lnTo>
                  <a:lnTo>
                    <a:pt x="415" y="592"/>
                  </a:lnTo>
                  <a:lnTo>
                    <a:pt x="422" y="594"/>
                  </a:lnTo>
                  <a:lnTo>
                    <a:pt x="431" y="594"/>
                  </a:lnTo>
                  <a:lnTo>
                    <a:pt x="434" y="592"/>
                  </a:lnTo>
                  <a:lnTo>
                    <a:pt x="437" y="591"/>
                  </a:lnTo>
                  <a:lnTo>
                    <a:pt x="437" y="591"/>
                  </a:lnTo>
                  <a:lnTo>
                    <a:pt x="442" y="585"/>
                  </a:lnTo>
                  <a:lnTo>
                    <a:pt x="448" y="578"/>
                  </a:lnTo>
                  <a:lnTo>
                    <a:pt x="452" y="573"/>
                  </a:lnTo>
                  <a:lnTo>
                    <a:pt x="455" y="573"/>
                  </a:lnTo>
                  <a:lnTo>
                    <a:pt x="456" y="575"/>
                  </a:lnTo>
                  <a:lnTo>
                    <a:pt x="456" y="575"/>
                  </a:lnTo>
                  <a:lnTo>
                    <a:pt x="465" y="587"/>
                  </a:lnTo>
                  <a:lnTo>
                    <a:pt x="470" y="591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9" y="595"/>
                  </a:lnTo>
                  <a:lnTo>
                    <a:pt x="482" y="598"/>
                  </a:lnTo>
                  <a:lnTo>
                    <a:pt x="486" y="600"/>
                  </a:lnTo>
                  <a:lnTo>
                    <a:pt x="488" y="600"/>
                  </a:lnTo>
                  <a:lnTo>
                    <a:pt x="491" y="598"/>
                  </a:lnTo>
                  <a:lnTo>
                    <a:pt x="491" y="598"/>
                  </a:lnTo>
                  <a:lnTo>
                    <a:pt x="493" y="595"/>
                  </a:lnTo>
                  <a:lnTo>
                    <a:pt x="493" y="591"/>
                  </a:lnTo>
                  <a:lnTo>
                    <a:pt x="493" y="587"/>
                  </a:lnTo>
                  <a:lnTo>
                    <a:pt x="495" y="584"/>
                  </a:lnTo>
                  <a:lnTo>
                    <a:pt x="495" y="584"/>
                  </a:lnTo>
                  <a:lnTo>
                    <a:pt x="501" y="579"/>
                  </a:lnTo>
                  <a:lnTo>
                    <a:pt x="505" y="576"/>
                  </a:lnTo>
                  <a:lnTo>
                    <a:pt x="511" y="575"/>
                  </a:lnTo>
                  <a:lnTo>
                    <a:pt x="513" y="573"/>
                  </a:lnTo>
                  <a:lnTo>
                    <a:pt x="513" y="570"/>
                  </a:lnTo>
                  <a:lnTo>
                    <a:pt x="513" y="570"/>
                  </a:lnTo>
                  <a:lnTo>
                    <a:pt x="513" y="567"/>
                  </a:lnTo>
                  <a:lnTo>
                    <a:pt x="511" y="564"/>
                  </a:lnTo>
                  <a:lnTo>
                    <a:pt x="508" y="560"/>
                  </a:lnTo>
                  <a:lnTo>
                    <a:pt x="505" y="554"/>
                  </a:lnTo>
                  <a:lnTo>
                    <a:pt x="505" y="554"/>
                  </a:lnTo>
                  <a:lnTo>
                    <a:pt x="502" y="535"/>
                  </a:lnTo>
                  <a:lnTo>
                    <a:pt x="502" y="526"/>
                  </a:lnTo>
                  <a:lnTo>
                    <a:pt x="504" y="523"/>
                  </a:lnTo>
                  <a:lnTo>
                    <a:pt x="505" y="523"/>
                  </a:lnTo>
                  <a:lnTo>
                    <a:pt x="505" y="523"/>
                  </a:lnTo>
                  <a:lnTo>
                    <a:pt x="510" y="524"/>
                  </a:lnTo>
                  <a:lnTo>
                    <a:pt x="514" y="527"/>
                  </a:lnTo>
                  <a:lnTo>
                    <a:pt x="520" y="532"/>
                  </a:lnTo>
                  <a:lnTo>
                    <a:pt x="526" y="533"/>
                  </a:lnTo>
                  <a:lnTo>
                    <a:pt x="526" y="533"/>
                  </a:lnTo>
                  <a:lnTo>
                    <a:pt x="532" y="533"/>
                  </a:lnTo>
                  <a:lnTo>
                    <a:pt x="536" y="533"/>
                  </a:lnTo>
                  <a:lnTo>
                    <a:pt x="541" y="532"/>
                  </a:lnTo>
                  <a:lnTo>
                    <a:pt x="542" y="529"/>
                  </a:lnTo>
                  <a:lnTo>
                    <a:pt x="542" y="529"/>
                  </a:lnTo>
                  <a:lnTo>
                    <a:pt x="544" y="526"/>
                  </a:lnTo>
                  <a:lnTo>
                    <a:pt x="548" y="524"/>
                  </a:lnTo>
                  <a:lnTo>
                    <a:pt x="557" y="523"/>
                  </a:lnTo>
                  <a:lnTo>
                    <a:pt x="557" y="523"/>
                  </a:lnTo>
                  <a:lnTo>
                    <a:pt x="562" y="521"/>
                  </a:lnTo>
                  <a:lnTo>
                    <a:pt x="566" y="518"/>
                  </a:lnTo>
                  <a:lnTo>
                    <a:pt x="570" y="515"/>
                  </a:lnTo>
                  <a:lnTo>
                    <a:pt x="573" y="512"/>
                  </a:lnTo>
                  <a:lnTo>
                    <a:pt x="573" y="512"/>
                  </a:lnTo>
                  <a:lnTo>
                    <a:pt x="581" y="505"/>
                  </a:lnTo>
                  <a:lnTo>
                    <a:pt x="587" y="499"/>
                  </a:lnTo>
                  <a:lnTo>
                    <a:pt x="587" y="499"/>
                  </a:lnTo>
                  <a:lnTo>
                    <a:pt x="582" y="501"/>
                  </a:lnTo>
                  <a:lnTo>
                    <a:pt x="581" y="502"/>
                  </a:lnTo>
                  <a:lnTo>
                    <a:pt x="578" y="502"/>
                  </a:lnTo>
                  <a:lnTo>
                    <a:pt x="573" y="501"/>
                  </a:lnTo>
                  <a:lnTo>
                    <a:pt x="573" y="501"/>
                  </a:lnTo>
                  <a:lnTo>
                    <a:pt x="572" y="499"/>
                  </a:lnTo>
                  <a:lnTo>
                    <a:pt x="572" y="498"/>
                  </a:lnTo>
                  <a:lnTo>
                    <a:pt x="573" y="495"/>
                  </a:lnTo>
                  <a:lnTo>
                    <a:pt x="578" y="490"/>
                  </a:lnTo>
                  <a:lnTo>
                    <a:pt x="581" y="486"/>
                  </a:lnTo>
                  <a:lnTo>
                    <a:pt x="581" y="486"/>
                  </a:lnTo>
                  <a:lnTo>
                    <a:pt x="582" y="483"/>
                  </a:lnTo>
                  <a:lnTo>
                    <a:pt x="582" y="480"/>
                  </a:lnTo>
                  <a:lnTo>
                    <a:pt x="579" y="474"/>
                  </a:lnTo>
                  <a:lnTo>
                    <a:pt x="575" y="468"/>
                  </a:lnTo>
                  <a:lnTo>
                    <a:pt x="569" y="465"/>
                  </a:lnTo>
                  <a:lnTo>
                    <a:pt x="569" y="465"/>
                  </a:lnTo>
                  <a:lnTo>
                    <a:pt x="560" y="459"/>
                  </a:lnTo>
                  <a:lnTo>
                    <a:pt x="553" y="453"/>
                  </a:lnTo>
                  <a:lnTo>
                    <a:pt x="553" y="453"/>
                  </a:lnTo>
                  <a:lnTo>
                    <a:pt x="550" y="452"/>
                  </a:lnTo>
                  <a:lnTo>
                    <a:pt x="548" y="449"/>
                  </a:lnTo>
                  <a:lnTo>
                    <a:pt x="550" y="443"/>
                  </a:lnTo>
                  <a:lnTo>
                    <a:pt x="550" y="443"/>
                  </a:lnTo>
                  <a:lnTo>
                    <a:pt x="550" y="441"/>
                  </a:lnTo>
                  <a:lnTo>
                    <a:pt x="553" y="440"/>
                  </a:lnTo>
                  <a:lnTo>
                    <a:pt x="562" y="435"/>
                  </a:lnTo>
                  <a:lnTo>
                    <a:pt x="562" y="435"/>
                  </a:lnTo>
                  <a:lnTo>
                    <a:pt x="563" y="434"/>
                  </a:lnTo>
                  <a:lnTo>
                    <a:pt x="565" y="432"/>
                  </a:lnTo>
                  <a:lnTo>
                    <a:pt x="563" y="430"/>
                  </a:lnTo>
                  <a:lnTo>
                    <a:pt x="553" y="422"/>
                  </a:lnTo>
                  <a:lnTo>
                    <a:pt x="553" y="422"/>
                  </a:lnTo>
                  <a:lnTo>
                    <a:pt x="548" y="419"/>
                  </a:lnTo>
                  <a:lnTo>
                    <a:pt x="544" y="419"/>
                  </a:lnTo>
                  <a:lnTo>
                    <a:pt x="541" y="421"/>
                  </a:lnTo>
                  <a:lnTo>
                    <a:pt x="538" y="424"/>
                  </a:lnTo>
                  <a:lnTo>
                    <a:pt x="538" y="424"/>
                  </a:lnTo>
                  <a:lnTo>
                    <a:pt x="535" y="425"/>
                  </a:lnTo>
                  <a:lnTo>
                    <a:pt x="531" y="425"/>
                  </a:lnTo>
                  <a:lnTo>
                    <a:pt x="517" y="425"/>
                  </a:lnTo>
                  <a:lnTo>
                    <a:pt x="517" y="425"/>
                  </a:lnTo>
                  <a:lnTo>
                    <a:pt x="514" y="424"/>
                  </a:lnTo>
                  <a:lnTo>
                    <a:pt x="511" y="422"/>
                  </a:lnTo>
                  <a:lnTo>
                    <a:pt x="505" y="416"/>
                  </a:lnTo>
                  <a:lnTo>
                    <a:pt x="495" y="401"/>
                  </a:lnTo>
                  <a:lnTo>
                    <a:pt x="495" y="401"/>
                  </a:lnTo>
                  <a:lnTo>
                    <a:pt x="491" y="395"/>
                  </a:lnTo>
                  <a:lnTo>
                    <a:pt x="491" y="390"/>
                  </a:lnTo>
                  <a:lnTo>
                    <a:pt x="491" y="379"/>
                  </a:lnTo>
                  <a:lnTo>
                    <a:pt x="491" y="379"/>
                  </a:lnTo>
                  <a:lnTo>
                    <a:pt x="489" y="375"/>
                  </a:lnTo>
                  <a:lnTo>
                    <a:pt x="486" y="373"/>
                  </a:lnTo>
                  <a:lnTo>
                    <a:pt x="483" y="372"/>
                  </a:lnTo>
                  <a:lnTo>
                    <a:pt x="479" y="367"/>
                  </a:lnTo>
                  <a:lnTo>
                    <a:pt x="479" y="367"/>
                  </a:lnTo>
                  <a:lnTo>
                    <a:pt x="476" y="364"/>
                  </a:lnTo>
                  <a:lnTo>
                    <a:pt x="471" y="363"/>
                  </a:lnTo>
                  <a:lnTo>
                    <a:pt x="467" y="366"/>
                  </a:lnTo>
                  <a:lnTo>
                    <a:pt x="467" y="366"/>
                  </a:lnTo>
                  <a:lnTo>
                    <a:pt x="459" y="366"/>
                  </a:lnTo>
                  <a:lnTo>
                    <a:pt x="449" y="364"/>
                  </a:lnTo>
                  <a:lnTo>
                    <a:pt x="449" y="364"/>
                  </a:lnTo>
                  <a:lnTo>
                    <a:pt x="443" y="363"/>
                  </a:lnTo>
                  <a:lnTo>
                    <a:pt x="439" y="361"/>
                  </a:lnTo>
                  <a:lnTo>
                    <a:pt x="428" y="354"/>
                  </a:lnTo>
                  <a:lnTo>
                    <a:pt x="428" y="354"/>
                  </a:lnTo>
                  <a:lnTo>
                    <a:pt x="427" y="351"/>
                  </a:lnTo>
                  <a:lnTo>
                    <a:pt x="425" y="348"/>
                  </a:lnTo>
                  <a:lnTo>
                    <a:pt x="424" y="342"/>
                  </a:lnTo>
                  <a:lnTo>
                    <a:pt x="422" y="327"/>
                  </a:lnTo>
                  <a:lnTo>
                    <a:pt x="422" y="327"/>
                  </a:lnTo>
                  <a:lnTo>
                    <a:pt x="422" y="326"/>
                  </a:lnTo>
                  <a:lnTo>
                    <a:pt x="421" y="324"/>
                  </a:lnTo>
                  <a:lnTo>
                    <a:pt x="416" y="323"/>
                  </a:lnTo>
                  <a:lnTo>
                    <a:pt x="411" y="323"/>
                  </a:lnTo>
                  <a:lnTo>
                    <a:pt x="403" y="321"/>
                  </a:lnTo>
                  <a:lnTo>
                    <a:pt x="403" y="321"/>
                  </a:lnTo>
                  <a:lnTo>
                    <a:pt x="400" y="320"/>
                  </a:lnTo>
                  <a:lnTo>
                    <a:pt x="399" y="318"/>
                  </a:lnTo>
                  <a:lnTo>
                    <a:pt x="396" y="314"/>
                  </a:lnTo>
                  <a:lnTo>
                    <a:pt x="396" y="308"/>
                  </a:lnTo>
                  <a:lnTo>
                    <a:pt x="394" y="304"/>
                  </a:lnTo>
                  <a:lnTo>
                    <a:pt x="394" y="304"/>
                  </a:lnTo>
                  <a:lnTo>
                    <a:pt x="394" y="301"/>
                  </a:lnTo>
                  <a:lnTo>
                    <a:pt x="396" y="298"/>
                  </a:lnTo>
                  <a:lnTo>
                    <a:pt x="400" y="292"/>
                  </a:lnTo>
                  <a:lnTo>
                    <a:pt x="400" y="292"/>
                  </a:lnTo>
                  <a:lnTo>
                    <a:pt x="400" y="290"/>
                  </a:lnTo>
                  <a:lnTo>
                    <a:pt x="399" y="289"/>
                  </a:lnTo>
                  <a:lnTo>
                    <a:pt x="393" y="286"/>
                  </a:lnTo>
                  <a:lnTo>
                    <a:pt x="393" y="286"/>
                  </a:lnTo>
                  <a:lnTo>
                    <a:pt x="390" y="281"/>
                  </a:lnTo>
                  <a:lnTo>
                    <a:pt x="387" y="277"/>
                  </a:lnTo>
                  <a:lnTo>
                    <a:pt x="382" y="274"/>
                  </a:lnTo>
                  <a:lnTo>
                    <a:pt x="381" y="273"/>
                  </a:lnTo>
                  <a:lnTo>
                    <a:pt x="378" y="271"/>
                  </a:lnTo>
                  <a:lnTo>
                    <a:pt x="378" y="271"/>
                  </a:lnTo>
                  <a:lnTo>
                    <a:pt x="372" y="271"/>
                  </a:lnTo>
                  <a:lnTo>
                    <a:pt x="366" y="273"/>
                  </a:lnTo>
                  <a:lnTo>
                    <a:pt x="360" y="273"/>
                  </a:lnTo>
                  <a:lnTo>
                    <a:pt x="356" y="271"/>
                  </a:lnTo>
                  <a:lnTo>
                    <a:pt x="356" y="271"/>
                  </a:lnTo>
                  <a:lnTo>
                    <a:pt x="353" y="268"/>
                  </a:lnTo>
                  <a:lnTo>
                    <a:pt x="353" y="267"/>
                  </a:lnTo>
                  <a:lnTo>
                    <a:pt x="351" y="259"/>
                  </a:lnTo>
                  <a:lnTo>
                    <a:pt x="351" y="252"/>
                  </a:lnTo>
                  <a:lnTo>
                    <a:pt x="350" y="246"/>
                  </a:lnTo>
                  <a:lnTo>
                    <a:pt x="350" y="246"/>
                  </a:lnTo>
                  <a:lnTo>
                    <a:pt x="348" y="243"/>
                  </a:lnTo>
                  <a:lnTo>
                    <a:pt x="347" y="240"/>
                  </a:lnTo>
                  <a:lnTo>
                    <a:pt x="339" y="237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5" y="231"/>
                  </a:lnTo>
                  <a:lnTo>
                    <a:pt x="323" y="228"/>
                  </a:lnTo>
                  <a:lnTo>
                    <a:pt x="319" y="216"/>
                  </a:lnTo>
                  <a:lnTo>
                    <a:pt x="316" y="198"/>
                  </a:lnTo>
                  <a:lnTo>
                    <a:pt x="316" y="198"/>
                  </a:lnTo>
                  <a:lnTo>
                    <a:pt x="314" y="196"/>
                  </a:lnTo>
                  <a:lnTo>
                    <a:pt x="311" y="193"/>
                  </a:lnTo>
                  <a:lnTo>
                    <a:pt x="304" y="191"/>
                  </a:lnTo>
                  <a:lnTo>
                    <a:pt x="297" y="190"/>
                  </a:lnTo>
                  <a:lnTo>
                    <a:pt x="297" y="190"/>
                  </a:lnTo>
                  <a:lnTo>
                    <a:pt x="291" y="188"/>
                  </a:lnTo>
                  <a:lnTo>
                    <a:pt x="288" y="187"/>
                  </a:lnTo>
                  <a:lnTo>
                    <a:pt x="283" y="182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79" y="173"/>
                  </a:lnTo>
                  <a:lnTo>
                    <a:pt x="279" y="167"/>
                  </a:lnTo>
                  <a:lnTo>
                    <a:pt x="280" y="158"/>
                  </a:lnTo>
                  <a:lnTo>
                    <a:pt x="280" y="153"/>
                  </a:lnTo>
                  <a:lnTo>
                    <a:pt x="280" y="153"/>
                  </a:lnTo>
                  <a:lnTo>
                    <a:pt x="280" y="145"/>
                  </a:lnTo>
                  <a:lnTo>
                    <a:pt x="283" y="136"/>
                  </a:lnTo>
                  <a:lnTo>
                    <a:pt x="286" y="129"/>
                  </a:lnTo>
                  <a:lnTo>
                    <a:pt x="289" y="124"/>
                  </a:lnTo>
                  <a:lnTo>
                    <a:pt x="289" y="124"/>
                  </a:lnTo>
                  <a:lnTo>
                    <a:pt x="297" y="120"/>
                  </a:lnTo>
                  <a:lnTo>
                    <a:pt x="301" y="116"/>
                  </a:lnTo>
                  <a:lnTo>
                    <a:pt x="301" y="114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04"/>
                  </a:lnTo>
                  <a:lnTo>
                    <a:pt x="302" y="95"/>
                  </a:lnTo>
                  <a:lnTo>
                    <a:pt x="302" y="95"/>
                  </a:lnTo>
                  <a:lnTo>
                    <a:pt x="308" y="80"/>
                  </a:lnTo>
                  <a:lnTo>
                    <a:pt x="314" y="71"/>
                  </a:lnTo>
                  <a:lnTo>
                    <a:pt x="314" y="71"/>
                  </a:lnTo>
                  <a:lnTo>
                    <a:pt x="311" y="64"/>
                  </a:lnTo>
                  <a:lnTo>
                    <a:pt x="308" y="49"/>
                  </a:lnTo>
                  <a:lnTo>
                    <a:pt x="308" y="49"/>
                  </a:lnTo>
                  <a:lnTo>
                    <a:pt x="307" y="39"/>
                  </a:lnTo>
                  <a:lnTo>
                    <a:pt x="304" y="31"/>
                  </a:lnTo>
                  <a:lnTo>
                    <a:pt x="304" y="31"/>
                  </a:lnTo>
                  <a:lnTo>
                    <a:pt x="297" y="22"/>
                  </a:lnTo>
                  <a:lnTo>
                    <a:pt x="289" y="15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28" y="4"/>
                  </a:lnTo>
                  <a:lnTo>
                    <a:pt x="223" y="7"/>
                  </a:lnTo>
                  <a:lnTo>
                    <a:pt x="221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4" y="3"/>
                  </a:lnTo>
                  <a:lnTo>
                    <a:pt x="211" y="3"/>
                  </a:lnTo>
                  <a:lnTo>
                    <a:pt x="206" y="2"/>
                  </a:lnTo>
                  <a:lnTo>
                    <a:pt x="206" y="2"/>
                  </a:lnTo>
                  <a:lnTo>
                    <a:pt x="203" y="3"/>
                  </a:lnTo>
                  <a:lnTo>
                    <a:pt x="202" y="4"/>
                  </a:lnTo>
                  <a:lnTo>
                    <a:pt x="199" y="7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1" y="9"/>
                  </a:lnTo>
                  <a:lnTo>
                    <a:pt x="187" y="7"/>
                  </a:lnTo>
                  <a:lnTo>
                    <a:pt x="183" y="6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72" y="4"/>
                  </a:lnTo>
                  <a:lnTo>
                    <a:pt x="169" y="6"/>
                  </a:lnTo>
                  <a:lnTo>
                    <a:pt x="165" y="10"/>
                  </a:lnTo>
                  <a:lnTo>
                    <a:pt x="159" y="16"/>
                  </a:lnTo>
                  <a:lnTo>
                    <a:pt x="151" y="24"/>
                  </a:lnTo>
                  <a:lnTo>
                    <a:pt x="151" y="24"/>
                  </a:lnTo>
                  <a:lnTo>
                    <a:pt x="143" y="31"/>
                  </a:lnTo>
                  <a:lnTo>
                    <a:pt x="131" y="36"/>
                  </a:lnTo>
                  <a:lnTo>
                    <a:pt x="120" y="4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1" y="47"/>
                  </a:lnTo>
                  <a:lnTo>
                    <a:pt x="108" y="52"/>
                  </a:lnTo>
                  <a:lnTo>
                    <a:pt x="107" y="58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1" y="71"/>
                  </a:lnTo>
                  <a:lnTo>
                    <a:pt x="94" y="76"/>
                  </a:lnTo>
                  <a:lnTo>
                    <a:pt x="86" y="80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6" y="84"/>
                  </a:lnTo>
                  <a:lnTo>
                    <a:pt x="74" y="86"/>
                  </a:lnTo>
                  <a:lnTo>
                    <a:pt x="70" y="92"/>
                  </a:lnTo>
                  <a:lnTo>
                    <a:pt x="66" y="96"/>
                  </a:lnTo>
                  <a:lnTo>
                    <a:pt x="63" y="98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49" y="96"/>
                  </a:lnTo>
                  <a:lnTo>
                    <a:pt x="45" y="93"/>
                  </a:lnTo>
                  <a:lnTo>
                    <a:pt x="39" y="90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8" y="102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8" y="119"/>
                  </a:lnTo>
                  <a:lnTo>
                    <a:pt x="9" y="123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9"/>
                  </a:lnTo>
                  <a:lnTo>
                    <a:pt x="14" y="150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9" y="176"/>
                  </a:lnTo>
                  <a:lnTo>
                    <a:pt x="6" y="178"/>
                  </a:lnTo>
                  <a:lnTo>
                    <a:pt x="5" y="17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5" y="188"/>
                  </a:lnTo>
                  <a:lnTo>
                    <a:pt x="8" y="193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5" y="196"/>
                  </a:lnTo>
                  <a:lnTo>
                    <a:pt x="20" y="196"/>
                  </a:lnTo>
                  <a:lnTo>
                    <a:pt x="24" y="196"/>
                  </a:lnTo>
                  <a:lnTo>
                    <a:pt x="29" y="197"/>
                  </a:lnTo>
                  <a:lnTo>
                    <a:pt x="29" y="197"/>
                  </a:lnTo>
                  <a:lnTo>
                    <a:pt x="52" y="210"/>
                  </a:lnTo>
                  <a:lnTo>
                    <a:pt x="52" y="210"/>
                  </a:lnTo>
                  <a:lnTo>
                    <a:pt x="54" y="212"/>
                  </a:lnTo>
                  <a:lnTo>
                    <a:pt x="54" y="216"/>
                  </a:lnTo>
                  <a:lnTo>
                    <a:pt x="52" y="222"/>
                  </a:lnTo>
                  <a:lnTo>
                    <a:pt x="51" y="230"/>
                  </a:lnTo>
                  <a:lnTo>
                    <a:pt x="51" y="230"/>
                  </a:lnTo>
                  <a:lnTo>
                    <a:pt x="43" y="246"/>
                  </a:lnTo>
                  <a:lnTo>
                    <a:pt x="43" y="253"/>
                  </a:lnTo>
                  <a:lnTo>
                    <a:pt x="43" y="255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79" y="262"/>
                  </a:lnTo>
                  <a:lnTo>
                    <a:pt x="85" y="265"/>
                  </a:lnTo>
                  <a:lnTo>
                    <a:pt x="88" y="268"/>
                  </a:lnTo>
                  <a:lnTo>
                    <a:pt x="91" y="273"/>
                  </a:lnTo>
                  <a:lnTo>
                    <a:pt x="91" y="273"/>
                  </a:lnTo>
                  <a:lnTo>
                    <a:pt x="101" y="287"/>
                  </a:lnTo>
                  <a:lnTo>
                    <a:pt x="106" y="295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11" y="307"/>
                  </a:lnTo>
                  <a:lnTo>
                    <a:pt x="113" y="310"/>
                  </a:lnTo>
                  <a:lnTo>
                    <a:pt x="116" y="310"/>
                  </a:lnTo>
                  <a:lnTo>
                    <a:pt x="119" y="308"/>
                  </a:lnTo>
                  <a:lnTo>
                    <a:pt x="119" y="308"/>
                  </a:lnTo>
                  <a:lnTo>
                    <a:pt x="123" y="301"/>
                  </a:lnTo>
                  <a:lnTo>
                    <a:pt x="126" y="298"/>
                  </a:lnTo>
                  <a:lnTo>
                    <a:pt x="129" y="296"/>
                  </a:lnTo>
                  <a:lnTo>
                    <a:pt x="129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6" name="Freeform 85">
              <a:extLst>
                <a:ext uri="{FF2B5EF4-FFF2-40B4-BE49-F238E27FC236}">
                  <a16:creationId xmlns:a16="http://schemas.microsoft.com/office/drawing/2014/main" id="{9FBF1BA3-2634-D949-B7FE-6C31099DE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5495925"/>
              <a:ext cx="706438" cy="723900"/>
            </a:xfrm>
            <a:custGeom>
              <a:avLst/>
              <a:gdLst>
                <a:gd name="T0" fmla="*/ 398 w 445"/>
                <a:gd name="T1" fmla="*/ 283 h 456"/>
                <a:gd name="T2" fmla="*/ 413 w 445"/>
                <a:gd name="T3" fmla="*/ 267 h 456"/>
                <a:gd name="T4" fmla="*/ 404 w 445"/>
                <a:gd name="T5" fmla="*/ 252 h 456"/>
                <a:gd name="T6" fmla="*/ 388 w 445"/>
                <a:gd name="T7" fmla="*/ 267 h 456"/>
                <a:gd name="T8" fmla="*/ 360 w 445"/>
                <a:gd name="T9" fmla="*/ 246 h 456"/>
                <a:gd name="T10" fmla="*/ 370 w 445"/>
                <a:gd name="T11" fmla="*/ 227 h 456"/>
                <a:gd name="T12" fmla="*/ 394 w 445"/>
                <a:gd name="T13" fmla="*/ 197 h 456"/>
                <a:gd name="T14" fmla="*/ 389 w 445"/>
                <a:gd name="T15" fmla="*/ 156 h 456"/>
                <a:gd name="T16" fmla="*/ 358 w 445"/>
                <a:gd name="T17" fmla="*/ 129 h 456"/>
                <a:gd name="T18" fmla="*/ 342 w 445"/>
                <a:gd name="T19" fmla="*/ 114 h 456"/>
                <a:gd name="T20" fmla="*/ 311 w 445"/>
                <a:gd name="T21" fmla="*/ 101 h 456"/>
                <a:gd name="T22" fmla="*/ 287 w 445"/>
                <a:gd name="T23" fmla="*/ 47 h 456"/>
                <a:gd name="T24" fmla="*/ 257 w 445"/>
                <a:gd name="T25" fmla="*/ 15 h 456"/>
                <a:gd name="T26" fmla="*/ 228 w 445"/>
                <a:gd name="T27" fmla="*/ 6 h 456"/>
                <a:gd name="T28" fmla="*/ 186 w 445"/>
                <a:gd name="T29" fmla="*/ 0 h 456"/>
                <a:gd name="T30" fmla="*/ 182 w 445"/>
                <a:gd name="T31" fmla="*/ 24 h 456"/>
                <a:gd name="T32" fmla="*/ 170 w 445"/>
                <a:gd name="T33" fmla="*/ 34 h 456"/>
                <a:gd name="T34" fmla="*/ 146 w 445"/>
                <a:gd name="T35" fmla="*/ 43 h 456"/>
                <a:gd name="T36" fmla="*/ 145 w 445"/>
                <a:gd name="T37" fmla="*/ 71 h 456"/>
                <a:gd name="T38" fmla="*/ 139 w 445"/>
                <a:gd name="T39" fmla="*/ 92 h 456"/>
                <a:gd name="T40" fmla="*/ 142 w 445"/>
                <a:gd name="T41" fmla="*/ 124 h 456"/>
                <a:gd name="T42" fmla="*/ 109 w 445"/>
                <a:gd name="T43" fmla="*/ 148 h 456"/>
                <a:gd name="T44" fmla="*/ 97 w 445"/>
                <a:gd name="T45" fmla="*/ 169 h 456"/>
                <a:gd name="T46" fmla="*/ 99 w 445"/>
                <a:gd name="T47" fmla="*/ 194 h 456"/>
                <a:gd name="T48" fmla="*/ 81 w 445"/>
                <a:gd name="T49" fmla="*/ 230 h 456"/>
                <a:gd name="T50" fmla="*/ 55 w 445"/>
                <a:gd name="T51" fmla="*/ 224 h 456"/>
                <a:gd name="T52" fmla="*/ 26 w 445"/>
                <a:gd name="T53" fmla="*/ 219 h 456"/>
                <a:gd name="T54" fmla="*/ 0 w 445"/>
                <a:gd name="T55" fmla="*/ 236 h 456"/>
                <a:gd name="T56" fmla="*/ 13 w 445"/>
                <a:gd name="T57" fmla="*/ 261 h 456"/>
                <a:gd name="T58" fmla="*/ 6 w 445"/>
                <a:gd name="T59" fmla="*/ 286 h 456"/>
                <a:gd name="T60" fmla="*/ 1 w 445"/>
                <a:gd name="T61" fmla="*/ 323 h 456"/>
                <a:gd name="T62" fmla="*/ 4 w 445"/>
                <a:gd name="T63" fmla="*/ 353 h 456"/>
                <a:gd name="T64" fmla="*/ 23 w 445"/>
                <a:gd name="T65" fmla="*/ 370 h 456"/>
                <a:gd name="T66" fmla="*/ 58 w 445"/>
                <a:gd name="T67" fmla="*/ 358 h 456"/>
                <a:gd name="T68" fmla="*/ 80 w 445"/>
                <a:gd name="T69" fmla="*/ 364 h 456"/>
                <a:gd name="T70" fmla="*/ 93 w 445"/>
                <a:gd name="T71" fmla="*/ 367 h 456"/>
                <a:gd name="T72" fmla="*/ 97 w 445"/>
                <a:gd name="T73" fmla="*/ 384 h 456"/>
                <a:gd name="T74" fmla="*/ 121 w 445"/>
                <a:gd name="T75" fmla="*/ 372 h 456"/>
                <a:gd name="T76" fmla="*/ 132 w 445"/>
                <a:gd name="T77" fmla="*/ 361 h 456"/>
                <a:gd name="T78" fmla="*/ 135 w 445"/>
                <a:gd name="T79" fmla="*/ 387 h 456"/>
                <a:gd name="T80" fmla="*/ 149 w 445"/>
                <a:gd name="T81" fmla="*/ 397 h 456"/>
                <a:gd name="T82" fmla="*/ 174 w 445"/>
                <a:gd name="T83" fmla="*/ 379 h 456"/>
                <a:gd name="T84" fmla="*/ 191 w 445"/>
                <a:gd name="T85" fmla="*/ 390 h 456"/>
                <a:gd name="T86" fmla="*/ 203 w 445"/>
                <a:gd name="T87" fmla="*/ 384 h 456"/>
                <a:gd name="T88" fmla="*/ 220 w 445"/>
                <a:gd name="T89" fmla="*/ 397 h 456"/>
                <a:gd name="T90" fmla="*/ 269 w 445"/>
                <a:gd name="T91" fmla="*/ 456 h 456"/>
                <a:gd name="T92" fmla="*/ 320 w 445"/>
                <a:gd name="T93" fmla="*/ 450 h 456"/>
                <a:gd name="T94" fmla="*/ 345 w 445"/>
                <a:gd name="T95" fmla="*/ 428 h 456"/>
                <a:gd name="T96" fmla="*/ 349 w 445"/>
                <a:gd name="T97" fmla="*/ 400 h 456"/>
                <a:gd name="T98" fmla="*/ 411 w 445"/>
                <a:gd name="T99" fmla="*/ 376 h 456"/>
                <a:gd name="T100" fmla="*/ 440 w 445"/>
                <a:gd name="T101" fmla="*/ 351 h 456"/>
                <a:gd name="T102" fmla="*/ 445 w 445"/>
                <a:gd name="T103" fmla="*/ 336 h 456"/>
                <a:gd name="T104" fmla="*/ 432 w 445"/>
                <a:gd name="T105" fmla="*/ 327 h 456"/>
                <a:gd name="T106" fmla="*/ 437 w 445"/>
                <a:gd name="T107" fmla="*/ 298 h 456"/>
                <a:gd name="T108" fmla="*/ 419 w 445"/>
                <a:gd name="T109" fmla="*/ 299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5" h="456">
                  <a:moveTo>
                    <a:pt x="410" y="295"/>
                  </a:moveTo>
                  <a:lnTo>
                    <a:pt x="410" y="295"/>
                  </a:lnTo>
                  <a:lnTo>
                    <a:pt x="405" y="292"/>
                  </a:lnTo>
                  <a:lnTo>
                    <a:pt x="403" y="289"/>
                  </a:lnTo>
                  <a:lnTo>
                    <a:pt x="400" y="286"/>
                  </a:lnTo>
                  <a:lnTo>
                    <a:pt x="398" y="283"/>
                  </a:lnTo>
                  <a:lnTo>
                    <a:pt x="398" y="283"/>
                  </a:lnTo>
                  <a:lnTo>
                    <a:pt x="398" y="280"/>
                  </a:lnTo>
                  <a:lnTo>
                    <a:pt x="400" y="277"/>
                  </a:lnTo>
                  <a:lnTo>
                    <a:pt x="403" y="273"/>
                  </a:lnTo>
                  <a:lnTo>
                    <a:pt x="413" y="267"/>
                  </a:lnTo>
                  <a:lnTo>
                    <a:pt x="413" y="267"/>
                  </a:lnTo>
                  <a:lnTo>
                    <a:pt x="414" y="262"/>
                  </a:lnTo>
                  <a:lnTo>
                    <a:pt x="414" y="259"/>
                  </a:lnTo>
                  <a:lnTo>
                    <a:pt x="411" y="256"/>
                  </a:lnTo>
                  <a:lnTo>
                    <a:pt x="405" y="253"/>
                  </a:lnTo>
                  <a:lnTo>
                    <a:pt x="405" y="253"/>
                  </a:lnTo>
                  <a:lnTo>
                    <a:pt x="404" y="252"/>
                  </a:lnTo>
                  <a:lnTo>
                    <a:pt x="401" y="252"/>
                  </a:lnTo>
                  <a:lnTo>
                    <a:pt x="398" y="253"/>
                  </a:lnTo>
                  <a:lnTo>
                    <a:pt x="395" y="258"/>
                  </a:lnTo>
                  <a:lnTo>
                    <a:pt x="391" y="264"/>
                  </a:lnTo>
                  <a:lnTo>
                    <a:pt x="391" y="264"/>
                  </a:lnTo>
                  <a:lnTo>
                    <a:pt x="388" y="267"/>
                  </a:lnTo>
                  <a:lnTo>
                    <a:pt x="385" y="267"/>
                  </a:lnTo>
                  <a:lnTo>
                    <a:pt x="380" y="262"/>
                  </a:lnTo>
                  <a:lnTo>
                    <a:pt x="380" y="262"/>
                  </a:lnTo>
                  <a:lnTo>
                    <a:pt x="367" y="252"/>
                  </a:lnTo>
                  <a:lnTo>
                    <a:pt x="367" y="252"/>
                  </a:lnTo>
                  <a:lnTo>
                    <a:pt x="360" y="246"/>
                  </a:lnTo>
                  <a:lnTo>
                    <a:pt x="357" y="243"/>
                  </a:lnTo>
                  <a:lnTo>
                    <a:pt x="357" y="237"/>
                  </a:lnTo>
                  <a:lnTo>
                    <a:pt x="357" y="237"/>
                  </a:lnTo>
                  <a:lnTo>
                    <a:pt x="358" y="233"/>
                  </a:lnTo>
                  <a:lnTo>
                    <a:pt x="363" y="230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9" y="221"/>
                  </a:lnTo>
                  <a:lnTo>
                    <a:pt x="383" y="218"/>
                  </a:lnTo>
                  <a:lnTo>
                    <a:pt x="386" y="215"/>
                  </a:lnTo>
                  <a:lnTo>
                    <a:pt x="386" y="215"/>
                  </a:lnTo>
                  <a:lnTo>
                    <a:pt x="394" y="197"/>
                  </a:lnTo>
                  <a:lnTo>
                    <a:pt x="397" y="185"/>
                  </a:lnTo>
                  <a:lnTo>
                    <a:pt x="398" y="179"/>
                  </a:lnTo>
                  <a:lnTo>
                    <a:pt x="398" y="175"/>
                  </a:lnTo>
                  <a:lnTo>
                    <a:pt x="398" y="175"/>
                  </a:lnTo>
                  <a:lnTo>
                    <a:pt x="395" y="164"/>
                  </a:lnTo>
                  <a:lnTo>
                    <a:pt x="389" y="156"/>
                  </a:lnTo>
                  <a:lnTo>
                    <a:pt x="380" y="144"/>
                  </a:lnTo>
                  <a:lnTo>
                    <a:pt x="380" y="144"/>
                  </a:lnTo>
                  <a:lnTo>
                    <a:pt x="374" y="138"/>
                  </a:lnTo>
                  <a:lnTo>
                    <a:pt x="364" y="132"/>
                  </a:lnTo>
                  <a:lnTo>
                    <a:pt x="364" y="132"/>
                  </a:lnTo>
                  <a:lnTo>
                    <a:pt x="358" y="129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49" y="119"/>
                  </a:lnTo>
                  <a:lnTo>
                    <a:pt x="346" y="116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33" y="113"/>
                  </a:lnTo>
                  <a:lnTo>
                    <a:pt x="328" y="110"/>
                  </a:lnTo>
                  <a:lnTo>
                    <a:pt x="323" y="107"/>
                  </a:lnTo>
                  <a:lnTo>
                    <a:pt x="323" y="107"/>
                  </a:lnTo>
                  <a:lnTo>
                    <a:pt x="317" y="102"/>
                  </a:lnTo>
                  <a:lnTo>
                    <a:pt x="311" y="101"/>
                  </a:lnTo>
                  <a:lnTo>
                    <a:pt x="305" y="102"/>
                  </a:lnTo>
                  <a:lnTo>
                    <a:pt x="305" y="62"/>
                  </a:lnTo>
                  <a:lnTo>
                    <a:pt x="305" y="62"/>
                  </a:lnTo>
                  <a:lnTo>
                    <a:pt x="296" y="56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80" y="43"/>
                  </a:lnTo>
                  <a:lnTo>
                    <a:pt x="277" y="37"/>
                  </a:lnTo>
                  <a:lnTo>
                    <a:pt x="272" y="33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57" y="15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43" y="9"/>
                  </a:lnTo>
                  <a:lnTo>
                    <a:pt x="235" y="7"/>
                  </a:lnTo>
                  <a:lnTo>
                    <a:pt x="228" y="6"/>
                  </a:lnTo>
                  <a:lnTo>
                    <a:pt x="228" y="6"/>
                  </a:lnTo>
                  <a:lnTo>
                    <a:pt x="220" y="3"/>
                  </a:lnTo>
                  <a:lnTo>
                    <a:pt x="213" y="2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191" y="0"/>
                  </a:lnTo>
                  <a:lnTo>
                    <a:pt x="186" y="0"/>
                  </a:lnTo>
                  <a:lnTo>
                    <a:pt x="185" y="2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85" y="15"/>
                  </a:lnTo>
                  <a:lnTo>
                    <a:pt x="183" y="21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6" y="27"/>
                  </a:lnTo>
                  <a:lnTo>
                    <a:pt x="173" y="28"/>
                  </a:lnTo>
                  <a:lnTo>
                    <a:pt x="172" y="31"/>
                  </a:lnTo>
                  <a:lnTo>
                    <a:pt x="172" y="31"/>
                  </a:lnTo>
                  <a:lnTo>
                    <a:pt x="170" y="34"/>
                  </a:lnTo>
                  <a:lnTo>
                    <a:pt x="167" y="37"/>
                  </a:lnTo>
                  <a:lnTo>
                    <a:pt x="161" y="42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45" y="50"/>
                  </a:lnTo>
                  <a:lnTo>
                    <a:pt x="143" y="56"/>
                  </a:lnTo>
                  <a:lnTo>
                    <a:pt x="143" y="62"/>
                  </a:lnTo>
                  <a:lnTo>
                    <a:pt x="143" y="62"/>
                  </a:lnTo>
                  <a:lnTo>
                    <a:pt x="145" y="67"/>
                  </a:lnTo>
                  <a:lnTo>
                    <a:pt x="145" y="71"/>
                  </a:lnTo>
                  <a:lnTo>
                    <a:pt x="145" y="76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40" y="84"/>
                  </a:lnTo>
                  <a:lnTo>
                    <a:pt x="139" y="87"/>
                  </a:lnTo>
                  <a:lnTo>
                    <a:pt x="139" y="92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3" y="108"/>
                  </a:lnTo>
                  <a:lnTo>
                    <a:pt x="145" y="117"/>
                  </a:lnTo>
                  <a:lnTo>
                    <a:pt x="145" y="121"/>
                  </a:lnTo>
                  <a:lnTo>
                    <a:pt x="142" y="124"/>
                  </a:lnTo>
                  <a:lnTo>
                    <a:pt x="140" y="127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26" y="135"/>
                  </a:lnTo>
                  <a:lnTo>
                    <a:pt x="117" y="141"/>
                  </a:lnTo>
                  <a:lnTo>
                    <a:pt x="109" y="148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3" y="157"/>
                  </a:lnTo>
                  <a:lnTo>
                    <a:pt x="100" y="161"/>
                  </a:lnTo>
                  <a:lnTo>
                    <a:pt x="99" y="166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100" y="175"/>
                  </a:lnTo>
                  <a:lnTo>
                    <a:pt x="102" y="178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99" y="194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5" y="215"/>
                  </a:lnTo>
                  <a:lnTo>
                    <a:pt x="89" y="224"/>
                  </a:lnTo>
                  <a:lnTo>
                    <a:pt x="86" y="228"/>
                  </a:lnTo>
                  <a:lnTo>
                    <a:pt x="81" y="230"/>
                  </a:lnTo>
                  <a:lnTo>
                    <a:pt x="77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65" y="230"/>
                  </a:lnTo>
                  <a:lnTo>
                    <a:pt x="59" y="227"/>
                  </a:lnTo>
                  <a:lnTo>
                    <a:pt x="55" y="224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44" y="218"/>
                  </a:lnTo>
                  <a:lnTo>
                    <a:pt x="40" y="216"/>
                  </a:lnTo>
                  <a:lnTo>
                    <a:pt x="34" y="216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10" y="225"/>
                  </a:lnTo>
                  <a:lnTo>
                    <a:pt x="4" y="227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0" y="236"/>
                  </a:lnTo>
                  <a:lnTo>
                    <a:pt x="0" y="243"/>
                  </a:lnTo>
                  <a:lnTo>
                    <a:pt x="1" y="247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9" y="256"/>
                  </a:lnTo>
                  <a:lnTo>
                    <a:pt x="13" y="261"/>
                  </a:lnTo>
                  <a:lnTo>
                    <a:pt x="15" y="265"/>
                  </a:lnTo>
                  <a:lnTo>
                    <a:pt x="15" y="268"/>
                  </a:lnTo>
                  <a:lnTo>
                    <a:pt x="13" y="271"/>
                  </a:lnTo>
                  <a:lnTo>
                    <a:pt x="13" y="271"/>
                  </a:lnTo>
                  <a:lnTo>
                    <a:pt x="7" y="280"/>
                  </a:lnTo>
                  <a:lnTo>
                    <a:pt x="6" y="286"/>
                  </a:lnTo>
                  <a:lnTo>
                    <a:pt x="6" y="286"/>
                  </a:lnTo>
                  <a:lnTo>
                    <a:pt x="3" y="298"/>
                  </a:lnTo>
                  <a:lnTo>
                    <a:pt x="1" y="307"/>
                  </a:lnTo>
                  <a:lnTo>
                    <a:pt x="1" y="316"/>
                  </a:lnTo>
                  <a:lnTo>
                    <a:pt x="1" y="316"/>
                  </a:lnTo>
                  <a:lnTo>
                    <a:pt x="1" y="323"/>
                  </a:lnTo>
                  <a:lnTo>
                    <a:pt x="3" y="330"/>
                  </a:lnTo>
                  <a:lnTo>
                    <a:pt x="3" y="336"/>
                  </a:lnTo>
                  <a:lnTo>
                    <a:pt x="3" y="342"/>
                  </a:lnTo>
                  <a:lnTo>
                    <a:pt x="3" y="342"/>
                  </a:lnTo>
                  <a:lnTo>
                    <a:pt x="3" y="347"/>
                  </a:lnTo>
                  <a:lnTo>
                    <a:pt x="4" y="353"/>
                  </a:lnTo>
                  <a:lnTo>
                    <a:pt x="9" y="357"/>
                  </a:lnTo>
                  <a:lnTo>
                    <a:pt x="15" y="361"/>
                  </a:lnTo>
                  <a:lnTo>
                    <a:pt x="15" y="361"/>
                  </a:lnTo>
                  <a:lnTo>
                    <a:pt x="20" y="366"/>
                  </a:lnTo>
                  <a:lnTo>
                    <a:pt x="23" y="370"/>
                  </a:lnTo>
                  <a:lnTo>
                    <a:pt x="23" y="370"/>
                  </a:lnTo>
                  <a:lnTo>
                    <a:pt x="32" y="366"/>
                  </a:lnTo>
                  <a:lnTo>
                    <a:pt x="40" y="363"/>
                  </a:lnTo>
                  <a:lnTo>
                    <a:pt x="46" y="361"/>
                  </a:lnTo>
                  <a:lnTo>
                    <a:pt x="46" y="361"/>
                  </a:lnTo>
                  <a:lnTo>
                    <a:pt x="52" y="360"/>
                  </a:lnTo>
                  <a:lnTo>
                    <a:pt x="58" y="358"/>
                  </a:lnTo>
                  <a:lnTo>
                    <a:pt x="62" y="358"/>
                  </a:lnTo>
                  <a:lnTo>
                    <a:pt x="66" y="360"/>
                  </a:lnTo>
                  <a:lnTo>
                    <a:pt x="66" y="360"/>
                  </a:lnTo>
                  <a:lnTo>
                    <a:pt x="74" y="363"/>
                  </a:lnTo>
                  <a:lnTo>
                    <a:pt x="77" y="364"/>
                  </a:lnTo>
                  <a:lnTo>
                    <a:pt x="80" y="364"/>
                  </a:lnTo>
                  <a:lnTo>
                    <a:pt x="80" y="364"/>
                  </a:lnTo>
                  <a:lnTo>
                    <a:pt x="86" y="361"/>
                  </a:lnTo>
                  <a:lnTo>
                    <a:pt x="87" y="361"/>
                  </a:lnTo>
                  <a:lnTo>
                    <a:pt x="90" y="363"/>
                  </a:lnTo>
                  <a:lnTo>
                    <a:pt x="90" y="363"/>
                  </a:lnTo>
                  <a:lnTo>
                    <a:pt x="93" y="367"/>
                  </a:lnTo>
                  <a:lnTo>
                    <a:pt x="93" y="373"/>
                  </a:lnTo>
                  <a:lnTo>
                    <a:pt x="93" y="378"/>
                  </a:lnTo>
                  <a:lnTo>
                    <a:pt x="95" y="382"/>
                  </a:lnTo>
                  <a:lnTo>
                    <a:pt x="95" y="382"/>
                  </a:lnTo>
                  <a:lnTo>
                    <a:pt x="96" y="384"/>
                  </a:lnTo>
                  <a:lnTo>
                    <a:pt x="97" y="384"/>
                  </a:lnTo>
                  <a:lnTo>
                    <a:pt x="102" y="384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20" y="378"/>
                  </a:lnTo>
                  <a:lnTo>
                    <a:pt x="121" y="375"/>
                  </a:lnTo>
                  <a:lnTo>
                    <a:pt x="121" y="372"/>
                  </a:lnTo>
                  <a:lnTo>
                    <a:pt x="121" y="372"/>
                  </a:lnTo>
                  <a:lnTo>
                    <a:pt x="123" y="367"/>
                  </a:lnTo>
                  <a:lnTo>
                    <a:pt x="126" y="364"/>
                  </a:lnTo>
                  <a:lnTo>
                    <a:pt x="129" y="361"/>
                  </a:lnTo>
                  <a:lnTo>
                    <a:pt x="132" y="361"/>
                  </a:lnTo>
                  <a:lnTo>
                    <a:pt x="132" y="361"/>
                  </a:lnTo>
                  <a:lnTo>
                    <a:pt x="135" y="364"/>
                  </a:lnTo>
                  <a:lnTo>
                    <a:pt x="136" y="369"/>
                  </a:lnTo>
                  <a:lnTo>
                    <a:pt x="136" y="373"/>
                  </a:lnTo>
                  <a:lnTo>
                    <a:pt x="135" y="379"/>
                  </a:lnTo>
                  <a:lnTo>
                    <a:pt x="135" y="379"/>
                  </a:lnTo>
                  <a:lnTo>
                    <a:pt x="135" y="387"/>
                  </a:lnTo>
                  <a:lnTo>
                    <a:pt x="136" y="391"/>
                  </a:lnTo>
                  <a:lnTo>
                    <a:pt x="139" y="395"/>
                  </a:lnTo>
                  <a:lnTo>
                    <a:pt x="142" y="397"/>
                  </a:lnTo>
                  <a:lnTo>
                    <a:pt x="142" y="397"/>
                  </a:lnTo>
                  <a:lnTo>
                    <a:pt x="146" y="397"/>
                  </a:lnTo>
                  <a:lnTo>
                    <a:pt x="149" y="397"/>
                  </a:lnTo>
                  <a:lnTo>
                    <a:pt x="154" y="397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69" y="385"/>
                  </a:lnTo>
                  <a:lnTo>
                    <a:pt x="169" y="385"/>
                  </a:lnTo>
                  <a:lnTo>
                    <a:pt x="174" y="379"/>
                  </a:lnTo>
                  <a:lnTo>
                    <a:pt x="177" y="378"/>
                  </a:lnTo>
                  <a:lnTo>
                    <a:pt x="180" y="378"/>
                  </a:lnTo>
                  <a:lnTo>
                    <a:pt x="182" y="381"/>
                  </a:lnTo>
                  <a:lnTo>
                    <a:pt x="182" y="381"/>
                  </a:lnTo>
                  <a:lnTo>
                    <a:pt x="189" y="388"/>
                  </a:lnTo>
                  <a:lnTo>
                    <a:pt x="191" y="390"/>
                  </a:lnTo>
                  <a:lnTo>
                    <a:pt x="194" y="390"/>
                  </a:lnTo>
                  <a:lnTo>
                    <a:pt x="194" y="390"/>
                  </a:lnTo>
                  <a:lnTo>
                    <a:pt x="197" y="387"/>
                  </a:lnTo>
                  <a:lnTo>
                    <a:pt x="198" y="385"/>
                  </a:lnTo>
                  <a:lnTo>
                    <a:pt x="200" y="384"/>
                  </a:lnTo>
                  <a:lnTo>
                    <a:pt x="203" y="384"/>
                  </a:lnTo>
                  <a:lnTo>
                    <a:pt x="203" y="384"/>
                  </a:lnTo>
                  <a:lnTo>
                    <a:pt x="207" y="387"/>
                  </a:lnTo>
                  <a:lnTo>
                    <a:pt x="212" y="391"/>
                  </a:lnTo>
                  <a:lnTo>
                    <a:pt x="214" y="394"/>
                  </a:lnTo>
                  <a:lnTo>
                    <a:pt x="220" y="397"/>
                  </a:lnTo>
                  <a:lnTo>
                    <a:pt x="220" y="397"/>
                  </a:lnTo>
                  <a:lnTo>
                    <a:pt x="238" y="397"/>
                  </a:lnTo>
                  <a:lnTo>
                    <a:pt x="251" y="397"/>
                  </a:lnTo>
                  <a:lnTo>
                    <a:pt x="251" y="397"/>
                  </a:lnTo>
                  <a:lnTo>
                    <a:pt x="254" y="406"/>
                  </a:lnTo>
                  <a:lnTo>
                    <a:pt x="260" y="427"/>
                  </a:lnTo>
                  <a:lnTo>
                    <a:pt x="269" y="456"/>
                  </a:lnTo>
                  <a:lnTo>
                    <a:pt x="269" y="456"/>
                  </a:lnTo>
                  <a:lnTo>
                    <a:pt x="280" y="455"/>
                  </a:lnTo>
                  <a:lnTo>
                    <a:pt x="291" y="453"/>
                  </a:lnTo>
                  <a:lnTo>
                    <a:pt x="314" y="452"/>
                  </a:lnTo>
                  <a:lnTo>
                    <a:pt x="314" y="452"/>
                  </a:lnTo>
                  <a:lnTo>
                    <a:pt x="320" y="450"/>
                  </a:lnTo>
                  <a:lnTo>
                    <a:pt x="326" y="447"/>
                  </a:lnTo>
                  <a:lnTo>
                    <a:pt x="331" y="444"/>
                  </a:lnTo>
                  <a:lnTo>
                    <a:pt x="336" y="440"/>
                  </a:lnTo>
                  <a:lnTo>
                    <a:pt x="340" y="437"/>
                  </a:lnTo>
                  <a:lnTo>
                    <a:pt x="343" y="433"/>
                  </a:lnTo>
                  <a:lnTo>
                    <a:pt x="345" y="428"/>
                  </a:lnTo>
                  <a:lnTo>
                    <a:pt x="345" y="425"/>
                  </a:lnTo>
                  <a:lnTo>
                    <a:pt x="345" y="425"/>
                  </a:lnTo>
                  <a:lnTo>
                    <a:pt x="343" y="418"/>
                  </a:lnTo>
                  <a:lnTo>
                    <a:pt x="343" y="409"/>
                  </a:lnTo>
                  <a:lnTo>
                    <a:pt x="346" y="404"/>
                  </a:lnTo>
                  <a:lnTo>
                    <a:pt x="349" y="400"/>
                  </a:lnTo>
                  <a:lnTo>
                    <a:pt x="354" y="397"/>
                  </a:lnTo>
                  <a:lnTo>
                    <a:pt x="360" y="394"/>
                  </a:lnTo>
                  <a:lnTo>
                    <a:pt x="360" y="394"/>
                  </a:lnTo>
                  <a:lnTo>
                    <a:pt x="386" y="387"/>
                  </a:lnTo>
                  <a:lnTo>
                    <a:pt x="411" y="376"/>
                  </a:lnTo>
                  <a:lnTo>
                    <a:pt x="411" y="376"/>
                  </a:lnTo>
                  <a:lnTo>
                    <a:pt x="428" y="367"/>
                  </a:lnTo>
                  <a:lnTo>
                    <a:pt x="434" y="364"/>
                  </a:lnTo>
                  <a:lnTo>
                    <a:pt x="438" y="364"/>
                  </a:lnTo>
                  <a:lnTo>
                    <a:pt x="438" y="364"/>
                  </a:lnTo>
                  <a:lnTo>
                    <a:pt x="440" y="357"/>
                  </a:lnTo>
                  <a:lnTo>
                    <a:pt x="440" y="351"/>
                  </a:lnTo>
                  <a:lnTo>
                    <a:pt x="441" y="347"/>
                  </a:lnTo>
                  <a:lnTo>
                    <a:pt x="441" y="347"/>
                  </a:lnTo>
                  <a:lnTo>
                    <a:pt x="445" y="341"/>
                  </a:lnTo>
                  <a:lnTo>
                    <a:pt x="445" y="339"/>
                  </a:lnTo>
                  <a:lnTo>
                    <a:pt x="445" y="336"/>
                  </a:lnTo>
                  <a:lnTo>
                    <a:pt x="445" y="336"/>
                  </a:lnTo>
                  <a:lnTo>
                    <a:pt x="444" y="335"/>
                  </a:lnTo>
                  <a:lnTo>
                    <a:pt x="440" y="333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27"/>
                  </a:lnTo>
                  <a:lnTo>
                    <a:pt x="434" y="323"/>
                  </a:lnTo>
                  <a:lnTo>
                    <a:pt x="443" y="314"/>
                  </a:lnTo>
                  <a:lnTo>
                    <a:pt x="443" y="314"/>
                  </a:lnTo>
                  <a:lnTo>
                    <a:pt x="444" y="310"/>
                  </a:lnTo>
                  <a:lnTo>
                    <a:pt x="443" y="307"/>
                  </a:lnTo>
                  <a:lnTo>
                    <a:pt x="437" y="298"/>
                  </a:lnTo>
                  <a:lnTo>
                    <a:pt x="437" y="298"/>
                  </a:lnTo>
                  <a:lnTo>
                    <a:pt x="432" y="295"/>
                  </a:lnTo>
                  <a:lnTo>
                    <a:pt x="429" y="295"/>
                  </a:lnTo>
                  <a:lnTo>
                    <a:pt x="422" y="299"/>
                  </a:lnTo>
                  <a:lnTo>
                    <a:pt x="422" y="299"/>
                  </a:lnTo>
                  <a:lnTo>
                    <a:pt x="419" y="299"/>
                  </a:lnTo>
                  <a:lnTo>
                    <a:pt x="416" y="299"/>
                  </a:lnTo>
                  <a:lnTo>
                    <a:pt x="413" y="298"/>
                  </a:lnTo>
                  <a:lnTo>
                    <a:pt x="410" y="295"/>
                  </a:lnTo>
                  <a:lnTo>
                    <a:pt x="41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7" name="Freeform 86">
              <a:extLst>
                <a:ext uri="{FF2B5EF4-FFF2-40B4-BE49-F238E27FC236}">
                  <a16:creationId xmlns:a16="http://schemas.microsoft.com/office/drawing/2014/main" id="{95E192C7-1B66-EC4D-8CA0-7B4D7CD82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913" y="4600575"/>
              <a:ext cx="312738" cy="439737"/>
            </a:xfrm>
            <a:custGeom>
              <a:avLst/>
              <a:gdLst>
                <a:gd name="T0" fmla="*/ 160 w 197"/>
                <a:gd name="T1" fmla="*/ 256 h 277"/>
                <a:gd name="T2" fmla="*/ 167 w 197"/>
                <a:gd name="T3" fmla="*/ 252 h 277"/>
                <a:gd name="T4" fmla="*/ 183 w 197"/>
                <a:gd name="T5" fmla="*/ 256 h 277"/>
                <a:gd name="T6" fmla="*/ 191 w 197"/>
                <a:gd name="T7" fmla="*/ 228 h 277"/>
                <a:gd name="T8" fmla="*/ 182 w 197"/>
                <a:gd name="T9" fmla="*/ 215 h 277"/>
                <a:gd name="T10" fmla="*/ 167 w 197"/>
                <a:gd name="T11" fmla="*/ 197 h 277"/>
                <a:gd name="T12" fmla="*/ 161 w 197"/>
                <a:gd name="T13" fmla="*/ 185 h 277"/>
                <a:gd name="T14" fmla="*/ 160 w 197"/>
                <a:gd name="T15" fmla="*/ 164 h 277"/>
                <a:gd name="T16" fmla="*/ 148 w 197"/>
                <a:gd name="T17" fmla="*/ 146 h 277"/>
                <a:gd name="T18" fmla="*/ 135 w 197"/>
                <a:gd name="T19" fmla="*/ 126 h 277"/>
                <a:gd name="T20" fmla="*/ 127 w 197"/>
                <a:gd name="T21" fmla="*/ 115 h 277"/>
                <a:gd name="T22" fmla="*/ 111 w 197"/>
                <a:gd name="T23" fmla="*/ 112 h 277"/>
                <a:gd name="T24" fmla="*/ 106 w 197"/>
                <a:gd name="T25" fmla="*/ 105 h 277"/>
                <a:gd name="T26" fmla="*/ 108 w 197"/>
                <a:gd name="T27" fmla="*/ 84 h 277"/>
                <a:gd name="T28" fmla="*/ 112 w 197"/>
                <a:gd name="T29" fmla="*/ 72 h 277"/>
                <a:gd name="T30" fmla="*/ 120 w 197"/>
                <a:gd name="T31" fmla="*/ 65 h 277"/>
                <a:gd name="T32" fmla="*/ 112 w 197"/>
                <a:gd name="T33" fmla="*/ 56 h 277"/>
                <a:gd name="T34" fmla="*/ 96 w 197"/>
                <a:gd name="T35" fmla="*/ 53 h 277"/>
                <a:gd name="T36" fmla="*/ 84 w 197"/>
                <a:gd name="T37" fmla="*/ 53 h 277"/>
                <a:gd name="T38" fmla="*/ 66 w 197"/>
                <a:gd name="T39" fmla="*/ 46 h 277"/>
                <a:gd name="T40" fmla="*/ 65 w 197"/>
                <a:gd name="T41" fmla="*/ 43 h 277"/>
                <a:gd name="T42" fmla="*/ 72 w 197"/>
                <a:gd name="T43" fmla="*/ 28 h 277"/>
                <a:gd name="T44" fmla="*/ 66 w 197"/>
                <a:gd name="T45" fmla="*/ 18 h 277"/>
                <a:gd name="T46" fmla="*/ 61 w 197"/>
                <a:gd name="T47" fmla="*/ 6 h 277"/>
                <a:gd name="T48" fmla="*/ 62 w 197"/>
                <a:gd name="T49" fmla="*/ 0 h 277"/>
                <a:gd name="T50" fmla="*/ 55 w 197"/>
                <a:gd name="T51" fmla="*/ 3 h 277"/>
                <a:gd name="T52" fmla="*/ 38 w 197"/>
                <a:gd name="T53" fmla="*/ 7 h 277"/>
                <a:gd name="T54" fmla="*/ 35 w 197"/>
                <a:gd name="T55" fmla="*/ 12 h 277"/>
                <a:gd name="T56" fmla="*/ 29 w 197"/>
                <a:gd name="T57" fmla="*/ 26 h 277"/>
                <a:gd name="T58" fmla="*/ 19 w 197"/>
                <a:gd name="T59" fmla="*/ 31 h 277"/>
                <a:gd name="T60" fmla="*/ 15 w 197"/>
                <a:gd name="T61" fmla="*/ 38 h 277"/>
                <a:gd name="T62" fmla="*/ 9 w 197"/>
                <a:gd name="T63" fmla="*/ 56 h 277"/>
                <a:gd name="T64" fmla="*/ 1 w 197"/>
                <a:gd name="T65" fmla="*/ 62 h 277"/>
                <a:gd name="T66" fmla="*/ 3 w 197"/>
                <a:gd name="T67" fmla="*/ 68 h 277"/>
                <a:gd name="T68" fmla="*/ 13 w 197"/>
                <a:gd name="T69" fmla="*/ 75 h 277"/>
                <a:gd name="T70" fmla="*/ 16 w 197"/>
                <a:gd name="T71" fmla="*/ 83 h 277"/>
                <a:gd name="T72" fmla="*/ 10 w 197"/>
                <a:gd name="T73" fmla="*/ 92 h 277"/>
                <a:gd name="T74" fmla="*/ 3 w 197"/>
                <a:gd name="T75" fmla="*/ 99 h 277"/>
                <a:gd name="T76" fmla="*/ 7 w 197"/>
                <a:gd name="T77" fmla="*/ 105 h 277"/>
                <a:gd name="T78" fmla="*/ 19 w 197"/>
                <a:gd name="T79" fmla="*/ 123 h 277"/>
                <a:gd name="T80" fmla="*/ 28 w 197"/>
                <a:gd name="T81" fmla="*/ 127 h 277"/>
                <a:gd name="T82" fmla="*/ 37 w 197"/>
                <a:gd name="T83" fmla="*/ 132 h 277"/>
                <a:gd name="T84" fmla="*/ 31 w 197"/>
                <a:gd name="T85" fmla="*/ 146 h 277"/>
                <a:gd name="T86" fmla="*/ 23 w 197"/>
                <a:gd name="T87" fmla="*/ 164 h 277"/>
                <a:gd name="T88" fmla="*/ 13 w 197"/>
                <a:gd name="T89" fmla="*/ 176 h 277"/>
                <a:gd name="T90" fmla="*/ 10 w 197"/>
                <a:gd name="T91" fmla="*/ 176 h 277"/>
                <a:gd name="T92" fmla="*/ 21 w 197"/>
                <a:gd name="T93" fmla="*/ 200 h 277"/>
                <a:gd name="T94" fmla="*/ 21 w 197"/>
                <a:gd name="T95" fmla="*/ 210 h 277"/>
                <a:gd name="T96" fmla="*/ 22 w 197"/>
                <a:gd name="T97" fmla="*/ 222 h 277"/>
                <a:gd name="T98" fmla="*/ 29 w 197"/>
                <a:gd name="T99" fmla="*/ 228 h 277"/>
                <a:gd name="T100" fmla="*/ 37 w 197"/>
                <a:gd name="T101" fmla="*/ 234 h 277"/>
                <a:gd name="T102" fmla="*/ 46 w 197"/>
                <a:gd name="T103" fmla="*/ 253 h 277"/>
                <a:gd name="T104" fmla="*/ 55 w 197"/>
                <a:gd name="T105" fmla="*/ 275 h 277"/>
                <a:gd name="T106" fmla="*/ 63 w 197"/>
                <a:gd name="T107" fmla="*/ 277 h 277"/>
                <a:gd name="T108" fmla="*/ 87 w 197"/>
                <a:gd name="T109" fmla="*/ 274 h 277"/>
                <a:gd name="T110" fmla="*/ 100 w 197"/>
                <a:gd name="T111" fmla="*/ 266 h 277"/>
                <a:gd name="T112" fmla="*/ 114 w 197"/>
                <a:gd name="T113" fmla="*/ 262 h 277"/>
                <a:gd name="T114" fmla="*/ 130 w 197"/>
                <a:gd name="T115" fmla="*/ 263 h 277"/>
                <a:gd name="T116" fmla="*/ 149 w 197"/>
                <a:gd name="T117" fmla="*/ 26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7" h="277">
                  <a:moveTo>
                    <a:pt x="154" y="262"/>
                  </a:moveTo>
                  <a:lnTo>
                    <a:pt x="154" y="262"/>
                  </a:lnTo>
                  <a:lnTo>
                    <a:pt x="160" y="256"/>
                  </a:lnTo>
                  <a:lnTo>
                    <a:pt x="163" y="253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72" y="252"/>
                  </a:lnTo>
                  <a:lnTo>
                    <a:pt x="177" y="253"/>
                  </a:lnTo>
                  <a:lnTo>
                    <a:pt x="183" y="256"/>
                  </a:lnTo>
                  <a:lnTo>
                    <a:pt x="197" y="231"/>
                  </a:lnTo>
                  <a:lnTo>
                    <a:pt x="197" y="231"/>
                  </a:lnTo>
                  <a:lnTo>
                    <a:pt x="191" y="228"/>
                  </a:lnTo>
                  <a:lnTo>
                    <a:pt x="188" y="223"/>
                  </a:lnTo>
                  <a:lnTo>
                    <a:pt x="185" y="219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72" y="204"/>
                  </a:lnTo>
                  <a:lnTo>
                    <a:pt x="167" y="197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1" y="185"/>
                  </a:lnTo>
                  <a:lnTo>
                    <a:pt x="161" y="179"/>
                  </a:lnTo>
                  <a:lnTo>
                    <a:pt x="161" y="172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5" y="157"/>
                  </a:lnTo>
                  <a:lnTo>
                    <a:pt x="148" y="146"/>
                  </a:lnTo>
                  <a:lnTo>
                    <a:pt x="140" y="136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2" y="120"/>
                  </a:lnTo>
                  <a:lnTo>
                    <a:pt x="129" y="117"/>
                  </a:lnTo>
                  <a:lnTo>
                    <a:pt x="127" y="115"/>
                  </a:lnTo>
                  <a:lnTo>
                    <a:pt x="124" y="114"/>
                  </a:lnTo>
                  <a:lnTo>
                    <a:pt x="118" y="114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08" y="109"/>
                  </a:lnTo>
                  <a:lnTo>
                    <a:pt x="106" y="105"/>
                  </a:lnTo>
                  <a:lnTo>
                    <a:pt x="106" y="100"/>
                  </a:lnTo>
                  <a:lnTo>
                    <a:pt x="106" y="95"/>
                  </a:lnTo>
                  <a:lnTo>
                    <a:pt x="108" y="84"/>
                  </a:lnTo>
                  <a:lnTo>
                    <a:pt x="111" y="77"/>
                  </a:lnTo>
                  <a:lnTo>
                    <a:pt x="111" y="77"/>
                  </a:lnTo>
                  <a:lnTo>
                    <a:pt x="112" y="72"/>
                  </a:lnTo>
                  <a:lnTo>
                    <a:pt x="115" y="71"/>
                  </a:lnTo>
                  <a:lnTo>
                    <a:pt x="118" y="68"/>
                  </a:lnTo>
                  <a:lnTo>
                    <a:pt x="120" y="65"/>
                  </a:lnTo>
                  <a:lnTo>
                    <a:pt x="120" y="65"/>
                  </a:lnTo>
                  <a:lnTo>
                    <a:pt x="117" y="61"/>
                  </a:lnTo>
                  <a:lnTo>
                    <a:pt x="112" y="56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96" y="53"/>
                  </a:lnTo>
                  <a:lnTo>
                    <a:pt x="92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77" y="52"/>
                  </a:lnTo>
                  <a:lnTo>
                    <a:pt x="72" y="50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5" y="44"/>
                  </a:lnTo>
                  <a:lnTo>
                    <a:pt x="65" y="43"/>
                  </a:lnTo>
                  <a:lnTo>
                    <a:pt x="68" y="37"/>
                  </a:lnTo>
                  <a:lnTo>
                    <a:pt x="71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1" y="23"/>
                  </a:lnTo>
                  <a:lnTo>
                    <a:pt x="66" y="18"/>
                  </a:lnTo>
                  <a:lnTo>
                    <a:pt x="63" y="10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3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55" y="3"/>
                  </a:lnTo>
                  <a:lnTo>
                    <a:pt x="47" y="4"/>
                  </a:lnTo>
                  <a:lnTo>
                    <a:pt x="41" y="6"/>
                  </a:lnTo>
                  <a:lnTo>
                    <a:pt x="38" y="7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5" y="12"/>
                  </a:lnTo>
                  <a:lnTo>
                    <a:pt x="35" y="16"/>
                  </a:lnTo>
                  <a:lnTo>
                    <a:pt x="34" y="22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3" y="29"/>
                  </a:lnTo>
                  <a:lnTo>
                    <a:pt x="19" y="31"/>
                  </a:lnTo>
                  <a:lnTo>
                    <a:pt x="16" y="32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3" y="50"/>
                  </a:lnTo>
                  <a:lnTo>
                    <a:pt x="12" y="53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4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1" y="66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7" y="71"/>
                  </a:lnTo>
                  <a:lnTo>
                    <a:pt x="13" y="75"/>
                  </a:lnTo>
                  <a:lnTo>
                    <a:pt x="16" y="77"/>
                  </a:lnTo>
                  <a:lnTo>
                    <a:pt x="16" y="80"/>
                  </a:lnTo>
                  <a:lnTo>
                    <a:pt x="16" y="83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0" y="92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3" y="99"/>
                  </a:lnTo>
                  <a:lnTo>
                    <a:pt x="4" y="102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13" y="111"/>
                  </a:lnTo>
                  <a:lnTo>
                    <a:pt x="16" y="115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23" y="124"/>
                  </a:lnTo>
                  <a:lnTo>
                    <a:pt x="28" y="127"/>
                  </a:lnTo>
                  <a:lnTo>
                    <a:pt x="35" y="129"/>
                  </a:lnTo>
                  <a:lnTo>
                    <a:pt x="35" y="129"/>
                  </a:lnTo>
                  <a:lnTo>
                    <a:pt x="37" y="132"/>
                  </a:lnTo>
                  <a:lnTo>
                    <a:pt x="37" y="135"/>
                  </a:lnTo>
                  <a:lnTo>
                    <a:pt x="35" y="140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26" y="154"/>
                  </a:lnTo>
                  <a:lnTo>
                    <a:pt x="23" y="164"/>
                  </a:lnTo>
                  <a:lnTo>
                    <a:pt x="19" y="173"/>
                  </a:lnTo>
                  <a:lnTo>
                    <a:pt x="16" y="175"/>
                  </a:lnTo>
                  <a:lnTo>
                    <a:pt x="13" y="176"/>
                  </a:lnTo>
                  <a:lnTo>
                    <a:pt x="13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1" y="204"/>
                  </a:lnTo>
                  <a:lnTo>
                    <a:pt x="21" y="210"/>
                  </a:lnTo>
                  <a:lnTo>
                    <a:pt x="21" y="216"/>
                  </a:lnTo>
                  <a:lnTo>
                    <a:pt x="21" y="219"/>
                  </a:lnTo>
                  <a:lnTo>
                    <a:pt x="22" y="222"/>
                  </a:lnTo>
                  <a:lnTo>
                    <a:pt x="22" y="222"/>
                  </a:lnTo>
                  <a:lnTo>
                    <a:pt x="26" y="225"/>
                  </a:lnTo>
                  <a:lnTo>
                    <a:pt x="29" y="228"/>
                  </a:lnTo>
                  <a:lnTo>
                    <a:pt x="32" y="229"/>
                  </a:lnTo>
                  <a:lnTo>
                    <a:pt x="37" y="234"/>
                  </a:lnTo>
                  <a:lnTo>
                    <a:pt x="37" y="234"/>
                  </a:lnTo>
                  <a:lnTo>
                    <a:pt x="43" y="244"/>
                  </a:lnTo>
                  <a:lnTo>
                    <a:pt x="46" y="253"/>
                  </a:lnTo>
                  <a:lnTo>
                    <a:pt x="46" y="253"/>
                  </a:lnTo>
                  <a:lnTo>
                    <a:pt x="49" y="265"/>
                  </a:lnTo>
                  <a:lnTo>
                    <a:pt x="52" y="271"/>
                  </a:lnTo>
                  <a:lnTo>
                    <a:pt x="55" y="275"/>
                  </a:lnTo>
                  <a:lnTo>
                    <a:pt x="55" y="275"/>
                  </a:lnTo>
                  <a:lnTo>
                    <a:pt x="58" y="277"/>
                  </a:lnTo>
                  <a:lnTo>
                    <a:pt x="63" y="277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87" y="274"/>
                  </a:lnTo>
                  <a:lnTo>
                    <a:pt x="93" y="272"/>
                  </a:lnTo>
                  <a:lnTo>
                    <a:pt x="98" y="269"/>
                  </a:lnTo>
                  <a:lnTo>
                    <a:pt x="100" y="266"/>
                  </a:lnTo>
                  <a:lnTo>
                    <a:pt x="100" y="266"/>
                  </a:lnTo>
                  <a:lnTo>
                    <a:pt x="106" y="263"/>
                  </a:lnTo>
                  <a:lnTo>
                    <a:pt x="114" y="262"/>
                  </a:lnTo>
                  <a:lnTo>
                    <a:pt x="123" y="262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8" y="265"/>
                  </a:lnTo>
                  <a:lnTo>
                    <a:pt x="143" y="265"/>
                  </a:lnTo>
                  <a:lnTo>
                    <a:pt x="149" y="265"/>
                  </a:lnTo>
                  <a:lnTo>
                    <a:pt x="154" y="262"/>
                  </a:lnTo>
                  <a:lnTo>
                    <a:pt x="154" y="2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8" name="Freeform 87">
              <a:extLst>
                <a:ext uri="{FF2B5EF4-FFF2-40B4-BE49-F238E27FC236}">
                  <a16:creationId xmlns:a16="http://schemas.microsoft.com/office/drawing/2014/main" id="{CBE43368-EEB3-D548-AEED-A86D597E2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0300" y="4360863"/>
              <a:ext cx="406400" cy="417512"/>
            </a:xfrm>
            <a:custGeom>
              <a:avLst/>
              <a:gdLst>
                <a:gd name="T0" fmla="*/ 151 w 256"/>
                <a:gd name="T1" fmla="*/ 247 h 263"/>
                <a:gd name="T2" fmla="*/ 163 w 256"/>
                <a:gd name="T3" fmla="*/ 244 h 263"/>
                <a:gd name="T4" fmla="*/ 185 w 256"/>
                <a:gd name="T5" fmla="*/ 241 h 263"/>
                <a:gd name="T6" fmla="*/ 192 w 256"/>
                <a:gd name="T7" fmla="*/ 229 h 263"/>
                <a:gd name="T8" fmla="*/ 197 w 256"/>
                <a:gd name="T9" fmla="*/ 226 h 263"/>
                <a:gd name="T10" fmla="*/ 207 w 256"/>
                <a:gd name="T11" fmla="*/ 229 h 263"/>
                <a:gd name="T12" fmla="*/ 217 w 256"/>
                <a:gd name="T13" fmla="*/ 240 h 263"/>
                <a:gd name="T14" fmla="*/ 220 w 256"/>
                <a:gd name="T15" fmla="*/ 225 h 263"/>
                <a:gd name="T16" fmla="*/ 225 w 256"/>
                <a:gd name="T17" fmla="*/ 219 h 263"/>
                <a:gd name="T18" fmla="*/ 235 w 256"/>
                <a:gd name="T19" fmla="*/ 210 h 263"/>
                <a:gd name="T20" fmla="*/ 238 w 256"/>
                <a:gd name="T21" fmla="*/ 203 h 263"/>
                <a:gd name="T22" fmla="*/ 231 w 256"/>
                <a:gd name="T23" fmla="*/ 186 h 263"/>
                <a:gd name="T24" fmla="*/ 226 w 256"/>
                <a:gd name="T25" fmla="*/ 180 h 263"/>
                <a:gd name="T26" fmla="*/ 228 w 256"/>
                <a:gd name="T27" fmla="*/ 163 h 263"/>
                <a:gd name="T28" fmla="*/ 238 w 256"/>
                <a:gd name="T29" fmla="*/ 151 h 263"/>
                <a:gd name="T30" fmla="*/ 253 w 256"/>
                <a:gd name="T31" fmla="*/ 133 h 263"/>
                <a:gd name="T32" fmla="*/ 253 w 256"/>
                <a:gd name="T33" fmla="*/ 115 h 263"/>
                <a:gd name="T34" fmla="*/ 244 w 256"/>
                <a:gd name="T35" fmla="*/ 100 h 263"/>
                <a:gd name="T36" fmla="*/ 256 w 256"/>
                <a:gd name="T37" fmla="*/ 77 h 263"/>
                <a:gd name="T38" fmla="*/ 234 w 256"/>
                <a:gd name="T39" fmla="*/ 68 h 263"/>
                <a:gd name="T40" fmla="*/ 226 w 256"/>
                <a:gd name="T41" fmla="*/ 66 h 263"/>
                <a:gd name="T42" fmla="*/ 210 w 256"/>
                <a:gd name="T43" fmla="*/ 78 h 263"/>
                <a:gd name="T44" fmla="*/ 203 w 256"/>
                <a:gd name="T45" fmla="*/ 78 h 263"/>
                <a:gd name="T46" fmla="*/ 197 w 256"/>
                <a:gd name="T47" fmla="*/ 71 h 263"/>
                <a:gd name="T48" fmla="*/ 185 w 256"/>
                <a:gd name="T49" fmla="*/ 66 h 263"/>
                <a:gd name="T50" fmla="*/ 173 w 256"/>
                <a:gd name="T51" fmla="*/ 71 h 263"/>
                <a:gd name="T52" fmla="*/ 164 w 256"/>
                <a:gd name="T53" fmla="*/ 74 h 263"/>
                <a:gd name="T54" fmla="*/ 151 w 256"/>
                <a:gd name="T55" fmla="*/ 53 h 263"/>
                <a:gd name="T56" fmla="*/ 131 w 256"/>
                <a:gd name="T57" fmla="*/ 55 h 263"/>
                <a:gd name="T58" fmla="*/ 115 w 256"/>
                <a:gd name="T59" fmla="*/ 52 h 263"/>
                <a:gd name="T60" fmla="*/ 111 w 256"/>
                <a:gd name="T61" fmla="*/ 29 h 263"/>
                <a:gd name="T62" fmla="*/ 103 w 256"/>
                <a:gd name="T63" fmla="*/ 12 h 263"/>
                <a:gd name="T64" fmla="*/ 86 w 256"/>
                <a:gd name="T65" fmla="*/ 0 h 263"/>
                <a:gd name="T66" fmla="*/ 77 w 256"/>
                <a:gd name="T67" fmla="*/ 3 h 263"/>
                <a:gd name="T68" fmla="*/ 57 w 256"/>
                <a:gd name="T69" fmla="*/ 23 h 263"/>
                <a:gd name="T70" fmla="*/ 43 w 256"/>
                <a:gd name="T71" fmla="*/ 38 h 263"/>
                <a:gd name="T72" fmla="*/ 16 w 256"/>
                <a:gd name="T73" fmla="*/ 56 h 263"/>
                <a:gd name="T74" fmla="*/ 7 w 256"/>
                <a:gd name="T75" fmla="*/ 74 h 263"/>
                <a:gd name="T76" fmla="*/ 6 w 256"/>
                <a:gd name="T77" fmla="*/ 77 h 263"/>
                <a:gd name="T78" fmla="*/ 1 w 256"/>
                <a:gd name="T79" fmla="*/ 103 h 263"/>
                <a:gd name="T80" fmla="*/ 6 w 256"/>
                <a:gd name="T81" fmla="*/ 109 h 263"/>
                <a:gd name="T82" fmla="*/ 25 w 256"/>
                <a:gd name="T83" fmla="*/ 120 h 263"/>
                <a:gd name="T84" fmla="*/ 37 w 256"/>
                <a:gd name="T85" fmla="*/ 121 h 263"/>
                <a:gd name="T86" fmla="*/ 44 w 256"/>
                <a:gd name="T87" fmla="*/ 130 h 263"/>
                <a:gd name="T88" fmla="*/ 52 w 256"/>
                <a:gd name="T89" fmla="*/ 148 h 263"/>
                <a:gd name="T90" fmla="*/ 77 w 256"/>
                <a:gd name="T91" fmla="*/ 173 h 263"/>
                <a:gd name="T92" fmla="*/ 83 w 256"/>
                <a:gd name="T93" fmla="*/ 182 h 263"/>
                <a:gd name="T94" fmla="*/ 86 w 256"/>
                <a:gd name="T95" fmla="*/ 201 h 263"/>
                <a:gd name="T96" fmla="*/ 74 w 256"/>
                <a:gd name="T97" fmla="*/ 231 h 263"/>
                <a:gd name="T98" fmla="*/ 60 w 256"/>
                <a:gd name="T99" fmla="*/ 243 h 263"/>
                <a:gd name="T100" fmla="*/ 75 w 256"/>
                <a:gd name="T101" fmla="*/ 253 h 263"/>
                <a:gd name="T102" fmla="*/ 87 w 256"/>
                <a:gd name="T103" fmla="*/ 257 h 263"/>
                <a:gd name="T104" fmla="*/ 102 w 256"/>
                <a:gd name="T105" fmla="*/ 251 h 263"/>
                <a:gd name="T106" fmla="*/ 117 w 256"/>
                <a:gd name="T107" fmla="*/ 254 h 263"/>
                <a:gd name="T108" fmla="*/ 121 w 256"/>
                <a:gd name="T109" fmla="*/ 260 h 263"/>
                <a:gd name="T110" fmla="*/ 133 w 256"/>
                <a:gd name="T111" fmla="*/ 263 h 263"/>
                <a:gd name="T112" fmla="*/ 145 w 256"/>
                <a:gd name="T113" fmla="*/ 25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6" h="263">
                  <a:moveTo>
                    <a:pt x="145" y="254"/>
                  </a:moveTo>
                  <a:lnTo>
                    <a:pt x="145" y="254"/>
                  </a:lnTo>
                  <a:lnTo>
                    <a:pt x="151" y="247"/>
                  </a:lnTo>
                  <a:lnTo>
                    <a:pt x="151" y="247"/>
                  </a:lnTo>
                  <a:lnTo>
                    <a:pt x="157" y="244"/>
                  </a:lnTo>
                  <a:lnTo>
                    <a:pt x="163" y="244"/>
                  </a:lnTo>
                  <a:lnTo>
                    <a:pt x="180" y="243"/>
                  </a:lnTo>
                  <a:lnTo>
                    <a:pt x="180" y="243"/>
                  </a:lnTo>
                  <a:lnTo>
                    <a:pt x="185" y="241"/>
                  </a:lnTo>
                  <a:lnTo>
                    <a:pt x="188" y="240"/>
                  </a:lnTo>
                  <a:lnTo>
                    <a:pt x="191" y="235"/>
                  </a:lnTo>
                  <a:lnTo>
                    <a:pt x="192" y="229"/>
                  </a:lnTo>
                  <a:lnTo>
                    <a:pt x="194" y="228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8" y="225"/>
                  </a:lnTo>
                  <a:lnTo>
                    <a:pt x="201" y="226"/>
                  </a:lnTo>
                  <a:lnTo>
                    <a:pt x="207" y="229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7" y="240"/>
                  </a:lnTo>
                  <a:lnTo>
                    <a:pt x="219" y="238"/>
                  </a:lnTo>
                  <a:lnTo>
                    <a:pt x="220" y="235"/>
                  </a:lnTo>
                  <a:lnTo>
                    <a:pt x="220" y="225"/>
                  </a:lnTo>
                  <a:lnTo>
                    <a:pt x="220" y="225"/>
                  </a:lnTo>
                  <a:lnTo>
                    <a:pt x="222" y="222"/>
                  </a:lnTo>
                  <a:lnTo>
                    <a:pt x="225" y="219"/>
                  </a:lnTo>
                  <a:lnTo>
                    <a:pt x="232" y="213"/>
                  </a:lnTo>
                  <a:lnTo>
                    <a:pt x="232" y="213"/>
                  </a:lnTo>
                  <a:lnTo>
                    <a:pt x="235" y="210"/>
                  </a:lnTo>
                  <a:lnTo>
                    <a:pt x="238" y="207"/>
                  </a:lnTo>
                  <a:lnTo>
                    <a:pt x="238" y="207"/>
                  </a:lnTo>
                  <a:lnTo>
                    <a:pt x="238" y="203"/>
                  </a:lnTo>
                  <a:lnTo>
                    <a:pt x="238" y="197"/>
                  </a:lnTo>
                  <a:lnTo>
                    <a:pt x="235" y="192"/>
                  </a:lnTo>
                  <a:lnTo>
                    <a:pt x="231" y="186"/>
                  </a:lnTo>
                  <a:lnTo>
                    <a:pt x="231" y="186"/>
                  </a:lnTo>
                  <a:lnTo>
                    <a:pt x="228" y="183"/>
                  </a:lnTo>
                  <a:lnTo>
                    <a:pt x="226" y="180"/>
                  </a:lnTo>
                  <a:lnTo>
                    <a:pt x="226" y="174"/>
                  </a:lnTo>
                  <a:lnTo>
                    <a:pt x="226" y="167"/>
                  </a:lnTo>
                  <a:lnTo>
                    <a:pt x="228" y="163"/>
                  </a:lnTo>
                  <a:lnTo>
                    <a:pt x="228" y="163"/>
                  </a:lnTo>
                  <a:lnTo>
                    <a:pt x="232" y="157"/>
                  </a:lnTo>
                  <a:lnTo>
                    <a:pt x="238" y="151"/>
                  </a:lnTo>
                  <a:lnTo>
                    <a:pt x="250" y="139"/>
                  </a:lnTo>
                  <a:lnTo>
                    <a:pt x="250" y="139"/>
                  </a:lnTo>
                  <a:lnTo>
                    <a:pt x="253" y="133"/>
                  </a:lnTo>
                  <a:lnTo>
                    <a:pt x="253" y="126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1" y="111"/>
                  </a:lnTo>
                  <a:lnTo>
                    <a:pt x="248" y="106"/>
                  </a:lnTo>
                  <a:lnTo>
                    <a:pt x="244" y="100"/>
                  </a:lnTo>
                  <a:lnTo>
                    <a:pt x="244" y="100"/>
                  </a:lnTo>
                  <a:lnTo>
                    <a:pt x="250" y="87"/>
                  </a:lnTo>
                  <a:lnTo>
                    <a:pt x="256" y="77"/>
                  </a:lnTo>
                  <a:lnTo>
                    <a:pt x="256" y="77"/>
                  </a:lnTo>
                  <a:lnTo>
                    <a:pt x="245" y="72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29" y="66"/>
                  </a:lnTo>
                  <a:lnTo>
                    <a:pt x="226" y="66"/>
                  </a:lnTo>
                  <a:lnTo>
                    <a:pt x="219" y="69"/>
                  </a:lnTo>
                  <a:lnTo>
                    <a:pt x="213" y="74"/>
                  </a:lnTo>
                  <a:lnTo>
                    <a:pt x="210" y="78"/>
                  </a:lnTo>
                  <a:lnTo>
                    <a:pt x="210" y="78"/>
                  </a:lnTo>
                  <a:lnTo>
                    <a:pt x="206" y="80"/>
                  </a:lnTo>
                  <a:lnTo>
                    <a:pt x="203" y="78"/>
                  </a:lnTo>
                  <a:lnTo>
                    <a:pt x="198" y="75"/>
                  </a:lnTo>
                  <a:lnTo>
                    <a:pt x="197" y="71"/>
                  </a:lnTo>
                  <a:lnTo>
                    <a:pt x="197" y="71"/>
                  </a:lnTo>
                  <a:lnTo>
                    <a:pt x="195" y="68"/>
                  </a:lnTo>
                  <a:lnTo>
                    <a:pt x="194" y="66"/>
                  </a:lnTo>
                  <a:lnTo>
                    <a:pt x="185" y="66"/>
                  </a:lnTo>
                  <a:lnTo>
                    <a:pt x="185" y="66"/>
                  </a:lnTo>
                  <a:lnTo>
                    <a:pt x="179" y="68"/>
                  </a:lnTo>
                  <a:lnTo>
                    <a:pt x="173" y="71"/>
                  </a:lnTo>
                  <a:lnTo>
                    <a:pt x="168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0" y="71"/>
                  </a:lnTo>
                  <a:lnTo>
                    <a:pt x="157" y="66"/>
                  </a:lnTo>
                  <a:lnTo>
                    <a:pt x="151" y="53"/>
                  </a:lnTo>
                  <a:lnTo>
                    <a:pt x="151" y="53"/>
                  </a:lnTo>
                  <a:lnTo>
                    <a:pt x="142" y="55"/>
                  </a:lnTo>
                  <a:lnTo>
                    <a:pt x="131" y="55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111" y="40"/>
                  </a:lnTo>
                  <a:lnTo>
                    <a:pt x="111" y="29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3" y="12"/>
                  </a:lnTo>
                  <a:lnTo>
                    <a:pt x="96" y="4"/>
                  </a:lnTo>
                  <a:lnTo>
                    <a:pt x="91" y="1"/>
                  </a:lnTo>
                  <a:lnTo>
                    <a:pt x="86" y="0"/>
                  </a:lnTo>
                  <a:lnTo>
                    <a:pt x="81" y="0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69" y="9"/>
                  </a:lnTo>
                  <a:lnTo>
                    <a:pt x="63" y="16"/>
                  </a:lnTo>
                  <a:lnTo>
                    <a:pt x="57" y="23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43" y="38"/>
                  </a:lnTo>
                  <a:lnTo>
                    <a:pt x="32" y="4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3" y="59"/>
                  </a:lnTo>
                  <a:lnTo>
                    <a:pt x="12" y="62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3" y="86"/>
                  </a:lnTo>
                  <a:lnTo>
                    <a:pt x="0" y="96"/>
                  </a:lnTo>
                  <a:lnTo>
                    <a:pt x="1" y="103"/>
                  </a:lnTo>
                  <a:lnTo>
                    <a:pt x="3" y="108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12" y="114"/>
                  </a:lnTo>
                  <a:lnTo>
                    <a:pt x="17" y="118"/>
                  </a:lnTo>
                  <a:lnTo>
                    <a:pt x="25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7" y="121"/>
                  </a:lnTo>
                  <a:lnTo>
                    <a:pt x="40" y="123"/>
                  </a:lnTo>
                  <a:lnTo>
                    <a:pt x="43" y="126"/>
                  </a:lnTo>
                  <a:lnTo>
                    <a:pt x="44" y="130"/>
                  </a:lnTo>
                  <a:lnTo>
                    <a:pt x="47" y="137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9" y="155"/>
                  </a:lnTo>
                  <a:lnTo>
                    <a:pt x="68" y="164"/>
                  </a:lnTo>
                  <a:lnTo>
                    <a:pt x="77" y="173"/>
                  </a:lnTo>
                  <a:lnTo>
                    <a:pt x="80" y="177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6" y="188"/>
                  </a:lnTo>
                  <a:lnTo>
                    <a:pt x="86" y="194"/>
                  </a:lnTo>
                  <a:lnTo>
                    <a:pt x="86" y="201"/>
                  </a:lnTo>
                  <a:lnTo>
                    <a:pt x="86" y="207"/>
                  </a:lnTo>
                  <a:lnTo>
                    <a:pt x="81" y="219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75" y="253"/>
                  </a:lnTo>
                  <a:lnTo>
                    <a:pt x="83" y="256"/>
                  </a:lnTo>
                  <a:lnTo>
                    <a:pt x="83" y="256"/>
                  </a:lnTo>
                  <a:lnTo>
                    <a:pt x="87" y="257"/>
                  </a:lnTo>
                  <a:lnTo>
                    <a:pt x="91" y="256"/>
                  </a:lnTo>
                  <a:lnTo>
                    <a:pt x="97" y="253"/>
                  </a:lnTo>
                  <a:lnTo>
                    <a:pt x="102" y="251"/>
                  </a:lnTo>
                  <a:lnTo>
                    <a:pt x="102" y="251"/>
                  </a:lnTo>
                  <a:lnTo>
                    <a:pt x="112" y="253"/>
                  </a:lnTo>
                  <a:lnTo>
                    <a:pt x="117" y="254"/>
                  </a:lnTo>
                  <a:lnTo>
                    <a:pt x="120" y="257"/>
                  </a:lnTo>
                  <a:lnTo>
                    <a:pt x="120" y="257"/>
                  </a:lnTo>
                  <a:lnTo>
                    <a:pt x="121" y="260"/>
                  </a:lnTo>
                  <a:lnTo>
                    <a:pt x="126" y="262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4" y="263"/>
                  </a:lnTo>
                  <a:lnTo>
                    <a:pt x="137" y="262"/>
                  </a:lnTo>
                  <a:lnTo>
                    <a:pt x="145" y="254"/>
                  </a:lnTo>
                  <a:lnTo>
                    <a:pt x="145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9" name="Freeform 88">
              <a:extLst>
                <a:ext uri="{FF2B5EF4-FFF2-40B4-BE49-F238E27FC236}">
                  <a16:creationId xmlns:a16="http://schemas.microsoft.com/office/drawing/2014/main" id="{9251354A-1C37-CD48-8530-738CA72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4908550"/>
              <a:ext cx="331788" cy="517525"/>
            </a:xfrm>
            <a:custGeom>
              <a:avLst/>
              <a:gdLst>
                <a:gd name="T0" fmla="*/ 144 w 209"/>
                <a:gd name="T1" fmla="*/ 283 h 326"/>
                <a:gd name="T2" fmla="*/ 146 w 209"/>
                <a:gd name="T3" fmla="*/ 269 h 326"/>
                <a:gd name="T4" fmla="*/ 149 w 209"/>
                <a:gd name="T5" fmla="*/ 262 h 326"/>
                <a:gd name="T6" fmla="*/ 154 w 209"/>
                <a:gd name="T7" fmla="*/ 260 h 326"/>
                <a:gd name="T8" fmla="*/ 165 w 209"/>
                <a:gd name="T9" fmla="*/ 246 h 326"/>
                <a:gd name="T10" fmla="*/ 168 w 209"/>
                <a:gd name="T11" fmla="*/ 229 h 326"/>
                <a:gd name="T12" fmla="*/ 177 w 209"/>
                <a:gd name="T13" fmla="*/ 218 h 326"/>
                <a:gd name="T14" fmla="*/ 180 w 209"/>
                <a:gd name="T15" fmla="*/ 219 h 326"/>
                <a:gd name="T16" fmla="*/ 184 w 209"/>
                <a:gd name="T17" fmla="*/ 222 h 326"/>
                <a:gd name="T18" fmla="*/ 199 w 209"/>
                <a:gd name="T19" fmla="*/ 212 h 326"/>
                <a:gd name="T20" fmla="*/ 199 w 209"/>
                <a:gd name="T21" fmla="*/ 207 h 326"/>
                <a:gd name="T22" fmla="*/ 184 w 209"/>
                <a:gd name="T23" fmla="*/ 188 h 326"/>
                <a:gd name="T24" fmla="*/ 184 w 209"/>
                <a:gd name="T25" fmla="*/ 185 h 326"/>
                <a:gd name="T26" fmla="*/ 197 w 209"/>
                <a:gd name="T27" fmla="*/ 182 h 326"/>
                <a:gd name="T28" fmla="*/ 205 w 209"/>
                <a:gd name="T29" fmla="*/ 173 h 326"/>
                <a:gd name="T30" fmla="*/ 209 w 209"/>
                <a:gd name="T31" fmla="*/ 157 h 326"/>
                <a:gd name="T32" fmla="*/ 208 w 209"/>
                <a:gd name="T33" fmla="*/ 139 h 326"/>
                <a:gd name="T34" fmla="*/ 188 w 209"/>
                <a:gd name="T35" fmla="*/ 133 h 326"/>
                <a:gd name="T36" fmla="*/ 171 w 209"/>
                <a:gd name="T37" fmla="*/ 118 h 326"/>
                <a:gd name="T38" fmla="*/ 160 w 209"/>
                <a:gd name="T39" fmla="*/ 115 h 326"/>
                <a:gd name="T40" fmla="*/ 147 w 209"/>
                <a:gd name="T41" fmla="*/ 111 h 326"/>
                <a:gd name="T42" fmla="*/ 120 w 209"/>
                <a:gd name="T43" fmla="*/ 98 h 326"/>
                <a:gd name="T44" fmla="*/ 109 w 209"/>
                <a:gd name="T45" fmla="*/ 84 h 326"/>
                <a:gd name="T46" fmla="*/ 103 w 209"/>
                <a:gd name="T47" fmla="*/ 66 h 326"/>
                <a:gd name="T48" fmla="*/ 83 w 209"/>
                <a:gd name="T49" fmla="*/ 49 h 326"/>
                <a:gd name="T50" fmla="*/ 77 w 209"/>
                <a:gd name="T51" fmla="*/ 41 h 326"/>
                <a:gd name="T52" fmla="*/ 69 w 209"/>
                <a:gd name="T53" fmla="*/ 16 h 326"/>
                <a:gd name="T54" fmla="*/ 55 w 209"/>
                <a:gd name="T55" fmla="*/ 1 h 326"/>
                <a:gd name="T56" fmla="*/ 49 w 209"/>
                <a:gd name="T57" fmla="*/ 7 h 326"/>
                <a:gd name="T58" fmla="*/ 42 w 209"/>
                <a:gd name="T59" fmla="*/ 18 h 326"/>
                <a:gd name="T60" fmla="*/ 12 w 209"/>
                <a:gd name="T61" fmla="*/ 47 h 326"/>
                <a:gd name="T62" fmla="*/ 5 w 209"/>
                <a:gd name="T63" fmla="*/ 62 h 326"/>
                <a:gd name="T64" fmla="*/ 2 w 209"/>
                <a:gd name="T65" fmla="*/ 86 h 326"/>
                <a:gd name="T66" fmla="*/ 9 w 209"/>
                <a:gd name="T67" fmla="*/ 95 h 326"/>
                <a:gd name="T68" fmla="*/ 27 w 209"/>
                <a:gd name="T69" fmla="*/ 109 h 326"/>
                <a:gd name="T70" fmla="*/ 29 w 209"/>
                <a:gd name="T71" fmla="*/ 121 h 326"/>
                <a:gd name="T72" fmla="*/ 48 w 209"/>
                <a:gd name="T73" fmla="*/ 157 h 326"/>
                <a:gd name="T74" fmla="*/ 57 w 209"/>
                <a:gd name="T75" fmla="*/ 164 h 326"/>
                <a:gd name="T76" fmla="*/ 64 w 209"/>
                <a:gd name="T77" fmla="*/ 180 h 326"/>
                <a:gd name="T78" fmla="*/ 64 w 209"/>
                <a:gd name="T79" fmla="*/ 204 h 326"/>
                <a:gd name="T80" fmla="*/ 58 w 209"/>
                <a:gd name="T81" fmla="*/ 243 h 326"/>
                <a:gd name="T82" fmla="*/ 63 w 209"/>
                <a:gd name="T83" fmla="*/ 257 h 326"/>
                <a:gd name="T84" fmla="*/ 70 w 209"/>
                <a:gd name="T85" fmla="*/ 259 h 326"/>
                <a:gd name="T86" fmla="*/ 80 w 209"/>
                <a:gd name="T87" fmla="*/ 260 h 326"/>
                <a:gd name="T88" fmla="*/ 83 w 209"/>
                <a:gd name="T89" fmla="*/ 266 h 326"/>
                <a:gd name="T90" fmla="*/ 89 w 209"/>
                <a:gd name="T91" fmla="*/ 314 h 326"/>
                <a:gd name="T92" fmla="*/ 101 w 209"/>
                <a:gd name="T93" fmla="*/ 321 h 326"/>
                <a:gd name="T94" fmla="*/ 106 w 209"/>
                <a:gd name="T95" fmla="*/ 326 h 326"/>
                <a:gd name="T96" fmla="*/ 119 w 209"/>
                <a:gd name="T97" fmla="*/ 312 h 326"/>
                <a:gd name="T98" fmla="*/ 126 w 209"/>
                <a:gd name="T99" fmla="*/ 295 h 326"/>
                <a:gd name="T100" fmla="*/ 131 w 209"/>
                <a:gd name="T101" fmla="*/ 287 h 326"/>
                <a:gd name="T102" fmla="*/ 141 w 209"/>
                <a:gd name="T103" fmla="*/ 28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9" h="326">
                  <a:moveTo>
                    <a:pt x="141" y="284"/>
                  </a:moveTo>
                  <a:lnTo>
                    <a:pt x="141" y="284"/>
                  </a:lnTo>
                  <a:lnTo>
                    <a:pt x="144" y="283"/>
                  </a:lnTo>
                  <a:lnTo>
                    <a:pt x="146" y="280"/>
                  </a:lnTo>
                  <a:lnTo>
                    <a:pt x="146" y="275"/>
                  </a:lnTo>
                  <a:lnTo>
                    <a:pt x="146" y="269"/>
                  </a:lnTo>
                  <a:lnTo>
                    <a:pt x="146" y="269"/>
                  </a:lnTo>
                  <a:lnTo>
                    <a:pt x="147" y="263"/>
                  </a:lnTo>
                  <a:lnTo>
                    <a:pt x="149" y="262"/>
                  </a:lnTo>
                  <a:lnTo>
                    <a:pt x="151" y="262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9" y="256"/>
                  </a:lnTo>
                  <a:lnTo>
                    <a:pt x="162" y="252"/>
                  </a:lnTo>
                  <a:lnTo>
                    <a:pt x="165" y="246"/>
                  </a:lnTo>
                  <a:lnTo>
                    <a:pt x="166" y="237"/>
                  </a:lnTo>
                  <a:lnTo>
                    <a:pt x="166" y="237"/>
                  </a:lnTo>
                  <a:lnTo>
                    <a:pt x="168" y="229"/>
                  </a:lnTo>
                  <a:lnTo>
                    <a:pt x="171" y="223"/>
                  </a:lnTo>
                  <a:lnTo>
                    <a:pt x="174" y="220"/>
                  </a:lnTo>
                  <a:lnTo>
                    <a:pt x="177" y="218"/>
                  </a:lnTo>
                  <a:lnTo>
                    <a:pt x="177" y="218"/>
                  </a:lnTo>
                  <a:lnTo>
                    <a:pt x="180" y="218"/>
                  </a:lnTo>
                  <a:lnTo>
                    <a:pt x="180" y="219"/>
                  </a:lnTo>
                  <a:lnTo>
                    <a:pt x="181" y="220"/>
                  </a:lnTo>
                  <a:lnTo>
                    <a:pt x="184" y="222"/>
                  </a:lnTo>
                  <a:lnTo>
                    <a:pt x="184" y="222"/>
                  </a:lnTo>
                  <a:lnTo>
                    <a:pt x="188" y="220"/>
                  </a:lnTo>
                  <a:lnTo>
                    <a:pt x="194" y="218"/>
                  </a:lnTo>
                  <a:lnTo>
                    <a:pt x="199" y="212"/>
                  </a:lnTo>
                  <a:lnTo>
                    <a:pt x="200" y="209"/>
                  </a:lnTo>
                  <a:lnTo>
                    <a:pt x="199" y="207"/>
                  </a:lnTo>
                  <a:lnTo>
                    <a:pt x="199" y="207"/>
                  </a:lnTo>
                  <a:lnTo>
                    <a:pt x="190" y="197"/>
                  </a:lnTo>
                  <a:lnTo>
                    <a:pt x="186" y="192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4" y="186"/>
                  </a:lnTo>
                  <a:lnTo>
                    <a:pt x="184" y="185"/>
                  </a:lnTo>
                  <a:lnTo>
                    <a:pt x="187" y="185"/>
                  </a:lnTo>
                  <a:lnTo>
                    <a:pt x="193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202" y="179"/>
                  </a:lnTo>
                  <a:lnTo>
                    <a:pt x="205" y="17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9" y="157"/>
                  </a:lnTo>
                  <a:lnTo>
                    <a:pt x="209" y="149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196" y="136"/>
                  </a:lnTo>
                  <a:lnTo>
                    <a:pt x="191" y="135"/>
                  </a:lnTo>
                  <a:lnTo>
                    <a:pt x="188" y="133"/>
                  </a:lnTo>
                  <a:lnTo>
                    <a:pt x="188" y="133"/>
                  </a:lnTo>
                  <a:lnTo>
                    <a:pt x="180" y="124"/>
                  </a:lnTo>
                  <a:lnTo>
                    <a:pt x="171" y="118"/>
                  </a:lnTo>
                  <a:lnTo>
                    <a:pt x="171" y="118"/>
                  </a:lnTo>
                  <a:lnTo>
                    <a:pt x="166" y="117"/>
                  </a:lnTo>
                  <a:lnTo>
                    <a:pt x="160" y="115"/>
                  </a:lnTo>
                  <a:lnTo>
                    <a:pt x="153" y="114"/>
                  </a:lnTo>
                  <a:lnTo>
                    <a:pt x="147" y="111"/>
                  </a:lnTo>
                  <a:lnTo>
                    <a:pt x="147" y="111"/>
                  </a:lnTo>
                  <a:lnTo>
                    <a:pt x="134" y="103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4" y="95"/>
                  </a:lnTo>
                  <a:lnTo>
                    <a:pt x="111" y="90"/>
                  </a:lnTo>
                  <a:lnTo>
                    <a:pt x="109" y="84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3" y="66"/>
                  </a:lnTo>
                  <a:lnTo>
                    <a:pt x="97" y="59"/>
                  </a:lnTo>
                  <a:lnTo>
                    <a:pt x="91" y="53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0" y="46"/>
                  </a:lnTo>
                  <a:lnTo>
                    <a:pt x="77" y="41"/>
                  </a:lnTo>
                  <a:lnTo>
                    <a:pt x="73" y="34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6" y="10"/>
                  </a:lnTo>
                  <a:lnTo>
                    <a:pt x="61" y="4"/>
                  </a:lnTo>
                  <a:lnTo>
                    <a:pt x="55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6" y="12"/>
                  </a:lnTo>
                  <a:lnTo>
                    <a:pt x="42" y="18"/>
                  </a:lnTo>
                  <a:lnTo>
                    <a:pt x="30" y="29"/>
                  </a:lnTo>
                  <a:lnTo>
                    <a:pt x="17" y="41"/>
                  </a:lnTo>
                  <a:lnTo>
                    <a:pt x="12" y="47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5" y="62"/>
                  </a:lnTo>
                  <a:lnTo>
                    <a:pt x="2" y="75"/>
                  </a:lnTo>
                  <a:lnTo>
                    <a:pt x="0" y="80"/>
                  </a:lnTo>
                  <a:lnTo>
                    <a:pt x="2" y="86"/>
                  </a:lnTo>
                  <a:lnTo>
                    <a:pt x="5" y="90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18" y="101"/>
                  </a:lnTo>
                  <a:lnTo>
                    <a:pt x="24" y="105"/>
                  </a:lnTo>
                  <a:lnTo>
                    <a:pt x="27" y="109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9" y="121"/>
                  </a:lnTo>
                  <a:lnTo>
                    <a:pt x="30" y="127"/>
                  </a:lnTo>
                  <a:lnTo>
                    <a:pt x="37" y="143"/>
                  </a:lnTo>
                  <a:lnTo>
                    <a:pt x="48" y="157"/>
                  </a:lnTo>
                  <a:lnTo>
                    <a:pt x="52" y="161"/>
                  </a:lnTo>
                  <a:lnTo>
                    <a:pt x="57" y="164"/>
                  </a:lnTo>
                  <a:lnTo>
                    <a:pt x="57" y="164"/>
                  </a:lnTo>
                  <a:lnTo>
                    <a:pt x="60" y="167"/>
                  </a:lnTo>
                  <a:lnTo>
                    <a:pt x="61" y="170"/>
                  </a:lnTo>
                  <a:lnTo>
                    <a:pt x="64" y="180"/>
                  </a:lnTo>
                  <a:lnTo>
                    <a:pt x="66" y="192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1" y="218"/>
                  </a:lnTo>
                  <a:lnTo>
                    <a:pt x="60" y="235"/>
                  </a:lnTo>
                  <a:lnTo>
                    <a:pt x="58" y="243"/>
                  </a:lnTo>
                  <a:lnTo>
                    <a:pt x="58" y="249"/>
                  </a:lnTo>
                  <a:lnTo>
                    <a:pt x="60" y="255"/>
                  </a:lnTo>
                  <a:lnTo>
                    <a:pt x="63" y="257"/>
                  </a:lnTo>
                  <a:lnTo>
                    <a:pt x="63" y="257"/>
                  </a:lnTo>
                  <a:lnTo>
                    <a:pt x="67" y="259"/>
                  </a:lnTo>
                  <a:lnTo>
                    <a:pt x="70" y="259"/>
                  </a:lnTo>
                  <a:lnTo>
                    <a:pt x="76" y="259"/>
                  </a:lnTo>
                  <a:lnTo>
                    <a:pt x="79" y="259"/>
                  </a:lnTo>
                  <a:lnTo>
                    <a:pt x="80" y="260"/>
                  </a:lnTo>
                  <a:lnTo>
                    <a:pt x="82" y="263"/>
                  </a:lnTo>
                  <a:lnTo>
                    <a:pt x="83" y="266"/>
                  </a:lnTo>
                  <a:lnTo>
                    <a:pt x="83" y="266"/>
                  </a:lnTo>
                  <a:lnTo>
                    <a:pt x="86" y="295"/>
                  </a:lnTo>
                  <a:lnTo>
                    <a:pt x="86" y="308"/>
                  </a:lnTo>
                  <a:lnTo>
                    <a:pt x="89" y="314"/>
                  </a:lnTo>
                  <a:lnTo>
                    <a:pt x="89" y="314"/>
                  </a:lnTo>
                  <a:lnTo>
                    <a:pt x="97" y="318"/>
                  </a:lnTo>
                  <a:lnTo>
                    <a:pt x="101" y="321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19" y="312"/>
                  </a:lnTo>
                  <a:lnTo>
                    <a:pt x="119" y="312"/>
                  </a:lnTo>
                  <a:lnTo>
                    <a:pt x="125" y="305"/>
                  </a:lnTo>
                  <a:lnTo>
                    <a:pt x="126" y="300"/>
                  </a:lnTo>
                  <a:lnTo>
                    <a:pt x="126" y="295"/>
                  </a:lnTo>
                  <a:lnTo>
                    <a:pt x="126" y="295"/>
                  </a:lnTo>
                  <a:lnTo>
                    <a:pt x="128" y="290"/>
                  </a:lnTo>
                  <a:lnTo>
                    <a:pt x="131" y="287"/>
                  </a:lnTo>
                  <a:lnTo>
                    <a:pt x="135" y="286"/>
                  </a:lnTo>
                  <a:lnTo>
                    <a:pt x="141" y="284"/>
                  </a:lnTo>
                  <a:lnTo>
                    <a:pt x="141" y="2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0" name="Freeform 89">
              <a:extLst>
                <a:ext uri="{FF2B5EF4-FFF2-40B4-BE49-F238E27FC236}">
                  <a16:creationId xmlns:a16="http://schemas.microsoft.com/office/drawing/2014/main" id="{912E2351-DAAC-654A-ADE4-5BEB22587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3813" y="6096000"/>
              <a:ext cx="388938" cy="612775"/>
            </a:xfrm>
            <a:custGeom>
              <a:avLst/>
              <a:gdLst>
                <a:gd name="T0" fmla="*/ 224 w 245"/>
                <a:gd name="T1" fmla="*/ 123 h 386"/>
                <a:gd name="T2" fmla="*/ 217 w 245"/>
                <a:gd name="T3" fmla="*/ 90 h 386"/>
                <a:gd name="T4" fmla="*/ 237 w 245"/>
                <a:gd name="T5" fmla="*/ 78 h 386"/>
                <a:gd name="T6" fmla="*/ 219 w 245"/>
                <a:gd name="T7" fmla="*/ 19 h 386"/>
                <a:gd name="T8" fmla="*/ 188 w 245"/>
                <a:gd name="T9" fmla="*/ 19 h 386"/>
                <a:gd name="T10" fmla="*/ 171 w 245"/>
                <a:gd name="T11" fmla="*/ 6 h 386"/>
                <a:gd name="T12" fmla="*/ 165 w 245"/>
                <a:gd name="T13" fmla="*/ 9 h 386"/>
                <a:gd name="T14" fmla="*/ 157 w 245"/>
                <a:gd name="T15" fmla="*/ 10 h 386"/>
                <a:gd name="T16" fmla="*/ 145 w 245"/>
                <a:gd name="T17" fmla="*/ 0 h 386"/>
                <a:gd name="T18" fmla="*/ 123 w 245"/>
                <a:gd name="T19" fmla="*/ 22 h 386"/>
                <a:gd name="T20" fmla="*/ 129 w 245"/>
                <a:gd name="T21" fmla="*/ 50 h 386"/>
                <a:gd name="T22" fmla="*/ 141 w 245"/>
                <a:gd name="T23" fmla="*/ 65 h 386"/>
                <a:gd name="T24" fmla="*/ 123 w 245"/>
                <a:gd name="T25" fmla="*/ 84 h 386"/>
                <a:gd name="T26" fmla="*/ 114 w 245"/>
                <a:gd name="T27" fmla="*/ 102 h 386"/>
                <a:gd name="T28" fmla="*/ 108 w 245"/>
                <a:gd name="T29" fmla="*/ 127 h 386"/>
                <a:gd name="T30" fmla="*/ 113 w 245"/>
                <a:gd name="T31" fmla="*/ 137 h 386"/>
                <a:gd name="T32" fmla="*/ 120 w 245"/>
                <a:gd name="T33" fmla="*/ 154 h 386"/>
                <a:gd name="T34" fmla="*/ 150 w 245"/>
                <a:gd name="T35" fmla="*/ 170 h 386"/>
                <a:gd name="T36" fmla="*/ 125 w 245"/>
                <a:gd name="T37" fmla="*/ 172 h 386"/>
                <a:gd name="T38" fmla="*/ 116 w 245"/>
                <a:gd name="T39" fmla="*/ 189 h 386"/>
                <a:gd name="T40" fmla="*/ 116 w 245"/>
                <a:gd name="T41" fmla="*/ 229 h 386"/>
                <a:gd name="T42" fmla="*/ 110 w 245"/>
                <a:gd name="T43" fmla="*/ 254 h 386"/>
                <a:gd name="T44" fmla="*/ 91 w 245"/>
                <a:gd name="T45" fmla="*/ 256 h 386"/>
                <a:gd name="T46" fmla="*/ 80 w 245"/>
                <a:gd name="T47" fmla="*/ 250 h 386"/>
                <a:gd name="T48" fmla="*/ 63 w 245"/>
                <a:gd name="T49" fmla="*/ 254 h 386"/>
                <a:gd name="T50" fmla="*/ 54 w 245"/>
                <a:gd name="T51" fmla="*/ 246 h 386"/>
                <a:gd name="T52" fmla="*/ 49 w 245"/>
                <a:gd name="T53" fmla="*/ 250 h 386"/>
                <a:gd name="T54" fmla="*/ 51 w 245"/>
                <a:gd name="T55" fmla="*/ 266 h 386"/>
                <a:gd name="T56" fmla="*/ 55 w 245"/>
                <a:gd name="T57" fmla="*/ 287 h 386"/>
                <a:gd name="T58" fmla="*/ 61 w 245"/>
                <a:gd name="T59" fmla="*/ 294 h 386"/>
                <a:gd name="T60" fmla="*/ 42 w 245"/>
                <a:gd name="T61" fmla="*/ 299 h 386"/>
                <a:gd name="T62" fmla="*/ 5 w 245"/>
                <a:gd name="T63" fmla="*/ 312 h 386"/>
                <a:gd name="T64" fmla="*/ 3 w 245"/>
                <a:gd name="T65" fmla="*/ 326 h 386"/>
                <a:gd name="T66" fmla="*/ 28 w 245"/>
                <a:gd name="T67" fmla="*/ 355 h 386"/>
                <a:gd name="T68" fmla="*/ 46 w 245"/>
                <a:gd name="T69" fmla="*/ 352 h 386"/>
                <a:gd name="T70" fmla="*/ 71 w 245"/>
                <a:gd name="T71" fmla="*/ 363 h 386"/>
                <a:gd name="T72" fmla="*/ 88 w 245"/>
                <a:gd name="T73" fmla="*/ 376 h 386"/>
                <a:gd name="T74" fmla="*/ 98 w 245"/>
                <a:gd name="T75" fmla="*/ 383 h 386"/>
                <a:gd name="T76" fmla="*/ 108 w 245"/>
                <a:gd name="T77" fmla="*/ 376 h 386"/>
                <a:gd name="T78" fmla="*/ 123 w 245"/>
                <a:gd name="T79" fmla="*/ 383 h 386"/>
                <a:gd name="T80" fmla="*/ 144 w 245"/>
                <a:gd name="T81" fmla="*/ 377 h 386"/>
                <a:gd name="T82" fmla="*/ 156 w 245"/>
                <a:gd name="T83" fmla="*/ 380 h 386"/>
                <a:gd name="T84" fmla="*/ 180 w 245"/>
                <a:gd name="T85" fmla="*/ 386 h 386"/>
                <a:gd name="T86" fmla="*/ 205 w 245"/>
                <a:gd name="T87" fmla="*/ 352 h 386"/>
                <a:gd name="T88" fmla="*/ 225 w 245"/>
                <a:gd name="T89" fmla="*/ 321 h 386"/>
                <a:gd name="T90" fmla="*/ 239 w 245"/>
                <a:gd name="T91" fmla="*/ 271 h 386"/>
                <a:gd name="T92" fmla="*/ 245 w 245"/>
                <a:gd name="T93" fmla="*/ 235 h 386"/>
                <a:gd name="T94" fmla="*/ 231 w 245"/>
                <a:gd name="T95" fmla="*/ 200 h 386"/>
                <a:gd name="T96" fmla="*/ 224 w 245"/>
                <a:gd name="T97" fmla="*/ 177 h 386"/>
                <a:gd name="T98" fmla="*/ 217 w 245"/>
                <a:gd name="T99" fmla="*/ 167 h 386"/>
                <a:gd name="T100" fmla="*/ 218 w 245"/>
                <a:gd name="T101" fmla="*/ 158 h 386"/>
                <a:gd name="T102" fmla="*/ 228 w 245"/>
                <a:gd name="T103" fmla="*/ 13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5" h="386">
                  <a:moveTo>
                    <a:pt x="228" y="137"/>
                  </a:moveTo>
                  <a:lnTo>
                    <a:pt x="228" y="137"/>
                  </a:lnTo>
                  <a:lnTo>
                    <a:pt x="227" y="130"/>
                  </a:lnTo>
                  <a:lnTo>
                    <a:pt x="224" y="123"/>
                  </a:lnTo>
                  <a:lnTo>
                    <a:pt x="218" y="108"/>
                  </a:lnTo>
                  <a:lnTo>
                    <a:pt x="215" y="102"/>
                  </a:lnTo>
                  <a:lnTo>
                    <a:pt x="215" y="94"/>
                  </a:lnTo>
                  <a:lnTo>
                    <a:pt x="217" y="90"/>
                  </a:lnTo>
                  <a:lnTo>
                    <a:pt x="222" y="84"/>
                  </a:lnTo>
                  <a:lnTo>
                    <a:pt x="222" y="84"/>
                  </a:lnTo>
                  <a:lnTo>
                    <a:pt x="230" y="81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28" y="49"/>
                  </a:lnTo>
                  <a:lnTo>
                    <a:pt x="222" y="28"/>
                  </a:lnTo>
                  <a:lnTo>
                    <a:pt x="219" y="19"/>
                  </a:lnTo>
                  <a:lnTo>
                    <a:pt x="219" y="19"/>
                  </a:lnTo>
                  <a:lnTo>
                    <a:pt x="206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2" y="16"/>
                  </a:lnTo>
                  <a:lnTo>
                    <a:pt x="180" y="13"/>
                  </a:lnTo>
                  <a:lnTo>
                    <a:pt x="175" y="9"/>
                  </a:lnTo>
                  <a:lnTo>
                    <a:pt x="171" y="6"/>
                  </a:lnTo>
                  <a:lnTo>
                    <a:pt x="171" y="6"/>
                  </a:lnTo>
                  <a:lnTo>
                    <a:pt x="168" y="6"/>
                  </a:lnTo>
                  <a:lnTo>
                    <a:pt x="166" y="7"/>
                  </a:lnTo>
                  <a:lnTo>
                    <a:pt x="165" y="9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9" y="12"/>
                  </a:lnTo>
                  <a:lnTo>
                    <a:pt x="157" y="10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2" y="1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8" y="35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32" y="56"/>
                  </a:lnTo>
                  <a:lnTo>
                    <a:pt x="135" y="60"/>
                  </a:lnTo>
                  <a:lnTo>
                    <a:pt x="138" y="63"/>
                  </a:lnTo>
                  <a:lnTo>
                    <a:pt x="141" y="65"/>
                  </a:lnTo>
                  <a:lnTo>
                    <a:pt x="141" y="65"/>
                  </a:lnTo>
                  <a:lnTo>
                    <a:pt x="138" y="69"/>
                  </a:lnTo>
                  <a:lnTo>
                    <a:pt x="132" y="74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19" y="89"/>
                  </a:lnTo>
                  <a:lnTo>
                    <a:pt x="117" y="93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3" y="112"/>
                  </a:lnTo>
                  <a:lnTo>
                    <a:pt x="110" y="120"/>
                  </a:lnTo>
                  <a:lnTo>
                    <a:pt x="108" y="127"/>
                  </a:lnTo>
                  <a:lnTo>
                    <a:pt x="110" y="130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3" y="137"/>
                  </a:lnTo>
                  <a:lnTo>
                    <a:pt x="113" y="140"/>
                  </a:lnTo>
                  <a:lnTo>
                    <a:pt x="113" y="143"/>
                  </a:lnTo>
                  <a:lnTo>
                    <a:pt x="113" y="148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9" y="161"/>
                  </a:lnTo>
                  <a:lnTo>
                    <a:pt x="140" y="166"/>
                  </a:lnTo>
                  <a:lnTo>
                    <a:pt x="150" y="170"/>
                  </a:lnTo>
                  <a:lnTo>
                    <a:pt x="150" y="170"/>
                  </a:lnTo>
                  <a:lnTo>
                    <a:pt x="147" y="172"/>
                  </a:lnTo>
                  <a:lnTo>
                    <a:pt x="137" y="172"/>
                  </a:lnTo>
                  <a:lnTo>
                    <a:pt x="125" y="172"/>
                  </a:lnTo>
                  <a:lnTo>
                    <a:pt x="119" y="172"/>
                  </a:lnTo>
                  <a:lnTo>
                    <a:pt x="119" y="172"/>
                  </a:lnTo>
                  <a:lnTo>
                    <a:pt x="117" y="177"/>
                  </a:lnTo>
                  <a:lnTo>
                    <a:pt x="116" y="189"/>
                  </a:lnTo>
                  <a:lnTo>
                    <a:pt x="113" y="203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6" y="229"/>
                  </a:lnTo>
                  <a:lnTo>
                    <a:pt x="114" y="241"/>
                  </a:lnTo>
                  <a:lnTo>
                    <a:pt x="113" y="250"/>
                  </a:lnTo>
                  <a:lnTo>
                    <a:pt x="111" y="253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01" y="257"/>
                  </a:lnTo>
                  <a:lnTo>
                    <a:pt x="95" y="257"/>
                  </a:lnTo>
                  <a:lnTo>
                    <a:pt x="91" y="256"/>
                  </a:lnTo>
                  <a:lnTo>
                    <a:pt x="91" y="256"/>
                  </a:lnTo>
                  <a:lnTo>
                    <a:pt x="86" y="250"/>
                  </a:lnTo>
                  <a:lnTo>
                    <a:pt x="83" y="249"/>
                  </a:lnTo>
                  <a:lnTo>
                    <a:pt x="80" y="250"/>
                  </a:lnTo>
                  <a:lnTo>
                    <a:pt x="80" y="250"/>
                  </a:lnTo>
                  <a:lnTo>
                    <a:pt x="68" y="256"/>
                  </a:lnTo>
                  <a:lnTo>
                    <a:pt x="65" y="256"/>
                  </a:lnTo>
                  <a:lnTo>
                    <a:pt x="63" y="254"/>
                  </a:lnTo>
                  <a:lnTo>
                    <a:pt x="63" y="254"/>
                  </a:lnTo>
                  <a:lnTo>
                    <a:pt x="58" y="249"/>
                  </a:lnTo>
                  <a:lnTo>
                    <a:pt x="55" y="246"/>
                  </a:lnTo>
                  <a:lnTo>
                    <a:pt x="54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1" y="247"/>
                  </a:lnTo>
                  <a:lnTo>
                    <a:pt x="49" y="250"/>
                  </a:lnTo>
                  <a:lnTo>
                    <a:pt x="49" y="254"/>
                  </a:lnTo>
                  <a:lnTo>
                    <a:pt x="51" y="260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49" y="274"/>
                  </a:lnTo>
                  <a:lnTo>
                    <a:pt x="49" y="280"/>
                  </a:lnTo>
                  <a:lnTo>
                    <a:pt x="51" y="284"/>
                  </a:lnTo>
                  <a:lnTo>
                    <a:pt x="55" y="287"/>
                  </a:lnTo>
                  <a:lnTo>
                    <a:pt x="55" y="287"/>
                  </a:lnTo>
                  <a:lnTo>
                    <a:pt x="58" y="290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42" y="299"/>
                  </a:lnTo>
                  <a:lnTo>
                    <a:pt x="27" y="302"/>
                  </a:lnTo>
                  <a:lnTo>
                    <a:pt x="12" y="308"/>
                  </a:lnTo>
                  <a:lnTo>
                    <a:pt x="8" y="309"/>
                  </a:lnTo>
                  <a:lnTo>
                    <a:pt x="5" y="312"/>
                  </a:lnTo>
                  <a:lnTo>
                    <a:pt x="5" y="312"/>
                  </a:lnTo>
                  <a:lnTo>
                    <a:pt x="2" y="317"/>
                  </a:lnTo>
                  <a:lnTo>
                    <a:pt x="0" y="323"/>
                  </a:lnTo>
                  <a:lnTo>
                    <a:pt x="3" y="326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27" y="339"/>
                  </a:lnTo>
                  <a:lnTo>
                    <a:pt x="28" y="355"/>
                  </a:lnTo>
                  <a:lnTo>
                    <a:pt x="28" y="355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6" y="352"/>
                  </a:lnTo>
                  <a:lnTo>
                    <a:pt x="52" y="352"/>
                  </a:lnTo>
                  <a:lnTo>
                    <a:pt x="60" y="357"/>
                  </a:lnTo>
                  <a:lnTo>
                    <a:pt x="60" y="357"/>
                  </a:lnTo>
                  <a:lnTo>
                    <a:pt x="71" y="363"/>
                  </a:lnTo>
                  <a:lnTo>
                    <a:pt x="82" y="370"/>
                  </a:lnTo>
                  <a:lnTo>
                    <a:pt x="82" y="370"/>
                  </a:lnTo>
                  <a:lnTo>
                    <a:pt x="86" y="373"/>
                  </a:lnTo>
                  <a:lnTo>
                    <a:pt x="88" y="376"/>
                  </a:lnTo>
                  <a:lnTo>
                    <a:pt x="89" y="382"/>
                  </a:lnTo>
                  <a:lnTo>
                    <a:pt x="91" y="383"/>
                  </a:lnTo>
                  <a:lnTo>
                    <a:pt x="91" y="385"/>
                  </a:lnTo>
                  <a:lnTo>
                    <a:pt x="98" y="383"/>
                  </a:lnTo>
                  <a:lnTo>
                    <a:pt x="98" y="383"/>
                  </a:lnTo>
                  <a:lnTo>
                    <a:pt x="105" y="379"/>
                  </a:lnTo>
                  <a:lnTo>
                    <a:pt x="107" y="377"/>
                  </a:lnTo>
                  <a:lnTo>
                    <a:pt x="108" y="376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7" y="382"/>
                  </a:lnTo>
                  <a:lnTo>
                    <a:pt x="123" y="383"/>
                  </a:lnTo>
                  <a:lnTo>
                    <a:pt x="129" y="385"/>
                  </a:lnTo>
                  <a:lnTo>
                    <a:pt x="129" y="385"/>
                  </a:lnTo>
                  <a:lnTo>
                    <a:pt x="134" y="383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8" y="376"/>
                  </a:lnTo>
                  <a:lnTo>
                    <a:pt x="151" y="377"/>
                  </a:lnTo>
                  <a:lnTo>
                    <a:pt x="156" y="380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72" y="386"/>
                  </a:lnTo>
                  <a:lnTo>
                    <a:pt x="180" y="386"/>
                  </a:lnTo>
                  <a:lnTo>
                    <a:pt x="180" y="386"/>
                  </a:lnTo>
                  <a:lnTo>
                    <a:pt x="187" y="373"/>
                  </a:lnTo>
                  <a:lnTo>
                    <a:pt x="194" y="363"/>
                  </a:lnTo>
                  <a:lnTo>
                    <a:pt x="205" y="352"/>
                  </a:lnTo>
                  <a:lnTo>
                    <a:pt x="205" y="352"/>
                  </a:lnTo>
                  <a:lnTo>
                    <a:pt x="211" y="346"/>
                  </a:lnTo>
                  <a:lnTo>
                    <a:pt x="217" y="337"/>
                  </a:lnTo>
                  <a:lnTo>
                    <a:pt x="225" y="321"/>
                  </a:lnTo>
                  <a:lnTo>
                    <a:pt x="233" y="302"/>
                  </a:lnTo>
                  <a:lnTo>
                    <a:pt x="236" y="286"/>
                  </a:lnTo>
                  <a:lnTo>
                    <a:pt x="236" y="286"/>
                  </a:lnTo>
                  <a:lnTo>
                    <a:pt x="239" y="271"/>
                  </a:lnTo>
                  <a:lnTo>
                    <a:pt x="240" y="259"/>
                  </a:lnTo>
                  <a:lnTo>
                    <a:pt x="243" y="247"/>
                  </a:lnTo>
                  <a:lnTo>
                    <a:pt x="245" y="235"/>
                  </a:lnTo>
                  <a:lnTo>
                    <a:pt x="245" y="235"/>
                  </a:lnTo>
                  <a:lnTo>
                    <a:pt x="245" y="226"/>
                  </a:lnTo>
                  <a:lnTo>
                    <a:pt x="245" y="219"/>
                  </a:lnTo>
                  <a:lnTo>
                    <a:pt x="240" y="210"/>
                  </a:lnTo>
                  <a:lnTo>
                    <a:pt x="231" y="200"/>
                  </a:lnTo>
                  <a:lnTo>
                    <a:pt x="231" y="200"/>
                  </a:lnTo>
                  <a:lnTo>
                    <a:pt x="228" y="195"/>
                  </a:lnTo>
                  <a:lnTo>
                    <a:pt x="225" y="189"/>
                  </a:lnTo>
                  <a:lnTo>
                    <a:pt x="224" y="177"/>
                  </a:lnTo>
                  <a:lnTo>
                    <a:pt x="224" y="173"/>
                  </a:lnTo>
                  <a:lnTo>
                    <a:pt x="222" y="170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7"/>
                  </a:lnTo>
                  <a:lnTo>
                    <a:pt x="212" y="166"/>
                  </a:lnTo>
                  <a:lnTo>
                    <a:pt x="212" y="164"/>
                  </a:lnTo>
                  <a:lnTo>
                    <a:pt x="218" y="158"/>
                  </a:lnTo>
                  <a:lnTo>
                    <a:pt x="222" y="155"/>
                  </a:lnTo>
                  <a:lnTo>
                    <a:pt x="225" y="149"/>
                  </a:lnTo>
                  <a:lnTo>
                    <a:pt x="228" y="143"/>
                  </a:lnTo>
                  <a:lnTo>
                    <a:pt x="228" y="137"/>
                  </a:lnTo>
                  <a:lnTo>
                    <a:pt x="228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1" name="Freeform 90">
              <a:extLst>
                <a:ext uri="{FF2B5EF4-FFF2-40B4-BE49-F238E27FC236}">
                  <a16:creationId xmlns:a16="http://schemas.microsoft.com/office/drawing/2014/main" id="{737E3604-AA6B-5F4B-A506-6A8AFD3E4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8600" y="2371725"/>
              <a:ext cx="3619500" cy="2479675"/>
            </a:xfrm>
            <a:custGeom>
              <a:avLst/>
              <a:gdLst>
                <a:gd name="T0" fmla="*/ 2002 w 2280"/>
                <a:gd name="T1" fmla="*/ 52 h 1562"/>
                <a:gd name="T2" fmla="*/ 2070 w 2280"/>
                <a:gd name="T3" fmla="*/ 50 h 1562"/>
                <a:gd name="T4" fmla="*/ 2230 w 2280"/>
                <a:gd name="T5" fmla="*/ 80 h 1562"/>
                <a:gd name="T6" fmla="*/ 2151 w 2280"/>
                <a:gd name="T7" fmla="*/ 90 h 1562"/>
                <a:gd name="T8" fmla="*/ 2065 w 2280"/>
                <a:gd name="T9" fmla="*/ 179 h 1562"/>
                <a:gd name="T10" fmla="*/ 2178 w 2280"/>
                <a:gd name="T11" fmla="*/ 121 h 1562"/>
                <a:gd name="T12" fmla="*/ 2104 w 2280"/>
                <a:gd name="T13" fmla="*/ 158 h 1562"/>
                <a:gd name="T14" fmla="*/ 2147 w 2280"/>
                <a:gd name="T15" fmla="*/ 136 h 1562"/>
                <a:gd name="T16" fmla="*/ 1956 w 2280"/>
                <a:gd name="T17" fmla="*/ 98 h 1562"/>
                <a:gd name="T18" fmla="*/ 2000 w 2280"/>
                <a:gd name="T19" fmla="*/ 78 h 1562"/>
                <a:gd name="T20" fmla="*/ 1984 w 2280"/>
                <a:gd name="T21" fmla="*/ 50 h 1562"/>
                <a:gd name="T22" fmla="*/ 2083 w 2280"/>
                <a:gd name="T23" fmla="*/ 246 h 1562"/>
                <a:gd name="T24" fmla="*/ 2132 w 2280"/>
                <a:gd name="T25" fmla="*/ 210 h 1562"/>
                <a:gd name="T26" fmla="*/ 2111 w 2280"/>
                <a:gd name="T27" fmla="*/ 92 h 1562"/>
                <a:gd name="T28" fmla="*/ 1486 w 2280"/>
                <a:gd name="T29" fmla="*/ 703 h 1562"/>
                <a:gd name="T30" fmla="*/ 1356 w 2280"/>
                <a:gd name="T31" fmla="*/ 754 h 1562"/>
                <a:gd name="T32" fmla="*/ 1312 w 2280"/>
                <a:gd name="T33" fmla="*/ 894 h 1562"/>
                <a:gd name="T34" fmla="*/ 1395 w 2280"/>
                <a:gd name="T35" fmla="*/ 1011 h 1562"/>
                <a:gd name="T36" fmla="*/ 1494 w 2280"/>
                <a:gd name="T37" fmla="*/ 802 h 1562"/>
                <a:gd name="T38" fmla="*/ 2085 w 2280"/>
                <a:gd name="T39" fmla="*/ 217 h 1562"/>
                <a:gd name="T40" fmla="*/ 1987 w 2280"/>
                <a:gd name="T41" fmla="*/ 637 h 1562"/>
                <a:gd name="T42" fmla="*/ 1797 w 2280"/>
                <a:gd name="T43" fmla="*/ 586 h 1562"/>
                <a:gd name="T44" fmla="*/ 1666 w 2280"/>
                <a:gd name="T45" fmla="*/ 597 h 1562"/>
                <a:gd name="T46" fmla="*/ 1596 w 2280"/>
                <a:gd name="T47" fmla="*/ 690 h 1562"/>
                <a:gd name="T48" fmla="*/ 1529 w 2280"/>
                <a:gd name="T49" fmla="*/ 675 h 1562"/>
                <a:gd name="T50" fmla="*/ 1552 w 2280"/>
                <a:gd name="T51" fmla="*/ 737 h 1562"/>
                <a:gd name="T52" fmla="*/ 1652 w 2280"/>
                <a:gd name="T53" fmla="*/ 740 h 1562"/>
                <a:gd name="T54" fmla="*/ 1786 w 2280"/>
                <a:gd name="T55" fmla="*/ 699 h 1562"/>
                <a:gd name="T56" fmla="*/ 2062 w 2280"/>
                <a:gd name="T57" fmla="*/ 619 h 1562"/>
                <a:gd name="T58" fmla="*/ 1319 w 2280"/>
                <a:gd name="T59" fmla="*/ 974 h 1562"/>
                <a:gd name="T60" fmla="*/ 2199 w 2280"/>
                <a:gd name="T61" fmla="*/ 213 h 1562"/>
                <a:gd name="T62" fmla="*/ 1042 w 2280"/>
                <a:gd name="T63" fmla="*/ 967 h 1562"/>
                <a:gd name="T64" fmla="*/ 999 w 2280"/>
                <a:gd name="T65" fmla="*/ 922 h 1562"/>
                <a:gd name="T66" fmla="*/ 1510 w 2280"/>
                <a:gd name="T67" fmla="*/ 1402 h 1562"/>
                <a:gd name="T68" fmla="*/ 1322 w 2280"/>
                <a:gd name="T69" fmla="*/ 1442 h 1562"/>
                <a:gd name="T70" fmla="*/ 838 w 2280"/>
                <a:gd name="T71" fmla="*/ 1170 h 1562"/>
                <a:gd name="T72" fmla="*/ 718 w 2280"/>
                <a:gd name="T73" fmla="*/ 1328 h 1562"/>
                <a:gd name="T74" fmla="*/ 611 w 2280"/>
                <a:gd name="T75" fmla="*/ 1281 h 1562"/>
                <a:gd name="T76" fmla="*/ 521 w 2280"/>
                <a:gd name="T77" fmla="*/ 1297 h 1562"/>
                <a:gd name="T78" fmla="*/ 451 w 2280"/>
                <a:gd name="T79" fmla="*/ 1414 h 1562"/>
                <a:gd name="T80" fmla="*/ 414 w 2280"/>
                <a:gd name="T81" fmla="*/ 1561 h 1562"/>
                <a:gd name="T82" fmla="*/ 294 w 2280"/>
                <a:gd name="T83" fmla="*/ 1490 h 1562"/>
                <a:gd name="T84" fmla="*/ 216 w 2280"/>
                <a:gd name="T85" fmla="*/ 1396 h 1562"/>
                <a:gd name="T86" fmla="*/ 117 w 2280"/>
                <a:gd name="T87" fmla="*/ 1293 h 1562"/>
                <a:gd name="T88" fmla="*/ 12 w 2280"/>
                <a:gd name="T89" fmla="*/ 1183 h 1562"/>
                <a:gd name="T90" fmla="*/ 96 w 2280"/>
                <a:gd name="T91" fmla="*/ 1017 h 1562"/>
                <a:gd name="T92" fmla="*/ 182 w 2280"/>
                <a:gd name="T93" fmla="*/ 859 h 1562"/>
                <a:gd name="T94" fmla="*/ 333 w 2280"/>
                <a:gd name="T95" fmla="*/ 893 h 1562"/>
                <a:gd name="T96" fmla="*/ 377 w 2280"/>
                <a:gd name="T97" fmla="*/ 835 h 1562"/>
                <a:gd name="T98" fmla="*/ 472 w 2280"/>
                <a:gd name="T99" fmla="*/ 885 h 1562"/>
                <a:gd name="T100" fmla="*/ 653 w 2280"/>
                <a:gd name="T101" fmla="*/ 931 h 1562"/>
                <a:gd name="T102" fmla="*/ 743 w 2280"/>
                <a:gd name="T103" fmla="*/ 924 h 1562"/>
                <a:gd name="T104" fmla="*/ 872 w 2280"/>
                <a:gd name="T105" fmla="*/ 825 h 1562"/>
                <a:gd name="T106" fmla="*/ 836 w 2280"/>
                <a:gd name="T107" fmla="*/ 933 h 1562"/>
                <a:gd name="T108" fmla="*/ 873 w 2280"/>
                <a:gd name="T109" fmla="*/ 1014 h 1562"/>
                <a:gd name="T110" fmla="*/ 1085 w 2280"/>
                <a:gd name="T111" fmla="*/ 1045 h 1562"/>
                <a:gd name="T112" fmla="*/ 1155 w 2280"/>
                <a:gd name="T113" fmla="*/ 1091 h 1562"/>
                <a:gd name="T114" fmla="*/ 1167 w 2280"/>
                <a:gd name="T115" fmla="*/ 1140 h 1562"/>
                <a:gd name="T116" fmla="*/ 1331 w 2280"/>
                <a:gd name="T117" fmla="*/ 1191 h 1562"/>
                <a:gd name="T118" fmla="*/ 1402 w 2280"/>
                <a:gd name="T119" fmla="*/ 1211 h 1562"/>
                <a:gd name="T120" fmla="*/ 696 w 2280"/>
                <a:gd name="T121" fmla="*/ 1063 h 1562"/>
                <a:gd name="T122" fmla="*/ 780 w 2280"/>
                <a:gd name="T123" fmla="*/ 1146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0" h="1562">
                  <a:moveTo>
                    <a:pt x="2055" y="129"/>
                  </a:moveTo>
                  <a:lnTo>
                    <a:pt x="2055" y="129"/>
                  </a:lnTo>
                  <a:lnTo>
                    <a:pt x="2057" y="123"/>
                  </a:lnTo>
                  <a:lnTo>
                    <a:pt x="2058" y="120"/>
                  </a:lnTo>
                  <a:lnTo>
                    <a:pt x="2058" y="120"/>
                  </a:lnTo>
                  <a:lnTo>
                    <a:pt x="2061" y="118"/>
                  </a:lnTo>
                  <a:lnTo>
                    <a:pt x="2064" y="117"/>
                  </a:lnTo>
                  <a:lnTo>
                    <a:pt x="2064" y="117"/>
                  </a:lnTo>
                  <a:lnTo>
                    <a:pt x="2065" y="118"/>
                  </a:lnTo>
                  <a:lnTo>
                    <a:pt x="2067" y="120"/>
                  </a:lnTo>
                  <a:lnTo>
                    <a:pt x="2067" y="124"/>
                  </a:lnTo>
                  <a:lnTo>
                    <a:pt x="2067" y="127"/>
                  </a:lnTo>
                  <a:lnTo>
                    <a:pt x="2067" y="127"/>
                  </a:lnTo>
                  <a:lnTo>
                    <a:pt x="2065" y="130"/>
                  </a:lnTo>
                  <a:lnTo>
                    <a:pt x="2064" y="135"/>
                  </a:lnTo>
                  <a:lnTo>
                    <a:pt x="2064" y="135"/>
                  </a:lnTo>
                  <a:lnTo>
                    <a:pt x="2062" y="136"/>
                  </a:lnTo>
                  <a:lnTo>
                    <a:pt x="2061" y="138"/>
                  </a:lnTo>
                  <a:lnTo>
                    <a:pt x="2058" y="138"/>
                  </a:lnTo>
                  <a:lnTo>
                    <a:pt x="2058" y="138"/>
                  </a:lnTo>
                  <a:lnTo>
                    <a:pt x="2057" y="136"/>
                  </a:lnTo>
                  <a:lnTo>
                    <a:pt x="2055" y="133"/>
                  </a:lnTo>
                  <a:lnTo>
                    <a:pt x="2055" y="129"/>
                  </a:lnTo>
                  <a:lnTo>
                    <a:pt x="2055" y="129"/>
                  </a:lnTo>
                  <a:close/>
                  <a:moveTo>
                    <a:pt x="1954" y="16"/>
                  </a:moveTo>
                  <a:lnTo>
                    <a:pt x="1954" y="16"/>
                  </a:lnTo>
                  <a:lnTo>
                    <a:pt x="1957" y="22"/>
                  </a:lnTo>
                  <a:lnTo>
                    <a:pt x="1960" y="26"/>
                  </a:lnTo>
                  <a:lnTo>
                    <a:pt x="1960" y="26"/>
                  </a:lnTo>
                  <a:lnTo>
                    <a:pt x="1968" y="29"/>
                  </a:lnTo>
                  <a:lnTo>
                    <a:pt x="1974" y="34"/>
                  </a:lnTo>
                  <a:lnTo>
                    <a:pt x="1974" y="34"/>
                  </a:lnTo>
                  <a:lnTo>
                    <a:pt x="1988" y="35"/>
                  </a:lnTo>
                  <a:lnTo>
                    <a:pt x="1988" y="35"/>
                  </a:lnTo>
                  <a:lnTo>
                    <a:pt x="1988" y="38"/>
                  </a:lnTo>
                  <a:lnTo>
                    <a:pt x="1988" y="38"/>
                  </a:lnTo>
                  <a:lnTo>
                    <a:pt x="1990" y="41"/>
                  </a:lnTo>
                  <a:lnTo>
                    <a:pt x="1993" y="44"/>
                  </a:lnTo>
                  <a:lnTo>
                    <a:pt x="2002" y="52"/>
                  </a:lnTo>
                  <a:lnTo>
                    <a:pt x="2002" y="52"/>
                  </a:lnTo>
                  <a:lnTo>
                    <a:pt x="2003" y="53"/>
                  </a:lnTo>
                  <a:lnTo>
                    <a:pt x="2005" y="53"/>
                  </a:lnTo>
                  <a:lnTo>
                    <a:pt x="2006" y="52"/>
                  </a:lnTo>
                  <a:lnTo>
                    <a:pt x="2009" y="43"/>
                  </a:lnTo>
                  <a:lnTo>
                    <a:pt x="2009" y="43"/>
                  </a:lnTo>
                  <a:lnTo>
                    <a:pt x="2011" y="38"/>
                  </a:lnTo>
                  <a:lnTo>
                    <a:pt x="2009" y="31"/>
                  </a:lnTo>
                  <a:lnTo>
                    <a:pt x="2009" y="21"/>
                  </a:lnTo>
                  <a:lnTo>
                    <a:pt x="2009" y="21"/>
                  </a:lnTo>
                  <a:lnTo>
                    <a:pt x="2008" y="19"/>
                  </a:lnTo>
                  <a:lnTo>
                    <a:pt x="2003" y="18"/>
                  </a:lnTo>
                  <a:lnTo>
                    <a:pt x="1994" y="18"/>
                  </a:lnTo>
                  <a:lnTo>
                    <a:pt x="1994" y="18"/>
                  </a:lnTo>
                  <a:lnTo>
                    <a:pt x="1977" y="13"/>
                  </a:lnTo>
                  <a:lnTo>
                    <a:pt x="1977" y="13"/>
                  </a:lnTo>
                  <a:lnTo>
                    <a:pt x="1969" y="10"/>
                  </a:lnTo>
                  <a:lnTo>
                    <a:pt x="1963" y="6"/>
                  </a:lnTo>
                  <a:lnTo>
                    <a:pt x="1956" y="0"/>
                  </a:lnTo>
                  <a:lnTo>
                    <a:pt x="1950" y="4"/>
                  </a:lnTo>
                  <a:lnTo>
                    <a:pt x="1950" y="4"/>
                  </a:lnTo>
                  <a:lnTo>
                    <a:pt x="1950" y="6"/>
                  </a:lnTo>
                  <a:lnTo>
                    <a:pt x="1953" y="10"/>
                  </a:lnTo>
                  <a:lnTo>
                    <a:pt x="1953" y="10"/>
                  </a:lnTo>
                  <a:lnTo>
                    <a:pt x="1954" y="13"/>
                  </a:lnTo>
                  <a:lnTo>
                    <a:pt x="1954" y="16"/>
                  </a:lnTo>
                  <a:lnTo>
                    <a:pt x="1954" y="16"/>
                  </a:lnTo>
                  <a:close/>
                  <a:moveTo>
                    <a:pt x="2074" y="46"/>
                  </a:moveTo>
                  <a:lnTo>
                    <a:pt x="2074" y="46"/>
                  </a:lnTo>
                  <a:lnTo>
                    <a:pt x="2076" y="43"/>
                  </a:lnTo>
                  <a:lnTo>
                    <a:pt x="2074" y="40"/>
                  </a:lnTo>
                  <a:lnTo>
                    <a:pt x="2074" y="37"/>
                  </a:lnTo>
                  <a:lnTo>
                    <a:pt x="2058" y="38"/>
                  </a:lnTo>
                  <a:lnTo>
                    <a:pt x="2058" y="46"/>
                  </a:lnTo>
                  <a:lnTo>
                    <a:pt x="2058" y="46"/>
                  </a:lnTo>
                  <a:lnTo>
                    <a:pt x="2064" y="52"/>
                  </a:lnTo>
                  <a:lnTo>
                    <a:pt x="2064" y="52"/>
                  </a:lnTo>
                  <a:lnTo>
                    <a:pt x="2067" y="52"/>
                  </a:lnTo>
                  <a:lnTo>
                    <a:pt x="2070" y="50"/>
                  </a:lnTo>
                  <a:lnTo>
                    <a:pt x="2074" y="46"/>
                  </a:lnTo>
                  <a:lnTo>
                    <a:pt x="2074" y="46"/>
                  </a:lnTo>
                  <a:close/>
                  <a:moveTo>
                    <a:pt x="2033" y="118"/>
                  </a:moveTo>
                  <a:lnTo>
                    <a:pt x="2033" y="118"/>
                  </a:lnTo>
                  <a:lnTo>
                    <a:pt x="2028" y="118"/>
                  </a:lnTo>
                  <a:lnTo>
                    <a:pt x="2025" y="120"/>
                  </a:lnTo>
                  <a:lnTo>
                    <a:pt x="2025" y="120"/>
                  </a:lnTo>
                  <a:lnTo>
                    <a:pt x="2020" y="129"/>
                  </a:lnTo>
                  <a:lnTo>
                    <a:pt x="2020" y="129"/>
                  </a:lnTo>
                  <a:lnTo>
                    <a:pt x="2008" y="132"/>
                  </a:lnTo>
                  <a:lnTo>
                    <a:pt x="2008" y="132"/>
                  </a:lnTo>
                  <a:lnTo>
                    <a:pt x="2003" y="133"/>
                  </a:lnTo>
                  <a:lnTo>
                    <a:pt x="2000" y="138"/>
                  </a:lnTo>
                  <a:lnTo>
                    <a:pt x="2000" y="138"/>
                  </a:lnTo>
                  <a:lnTo>
                    <a:pt x="1999" y="139"/>
                  </a:lnTo>
                  <a:lnTo>
                    <a:pt x="2000" y="140"/>
                  </a:lnTo>
                  <a:lnTo>
                    <a:pt x="2003" y="146"/>
                  </a:lnTo>
                  <a:lnTo>
                    <a:pt x="2003" y="146"/>
                  </a:lnTo>
                  <a:lnTo>
                    <a:pt x="2005" y="148"/>
                  </a:lnTo>
                  <a:lnTo>
                    <a:pt x="2008" y="149"/>
                  </a:lnTo>
                  <a:lnTo>
                    <a:pt x="2012" y="151"/>
                  </a:lnTo>
                  <a:lnTo>
                    <a:pt x="2012" y="151"/>
                  </a:lnTo>
                  <a:lnTo>
                    <a:pt x="2022" y="151"/>
                  </a:lnTo>
                  <a:lnTo>
                    <a:pt x="2034" y="149"/>
                  </a:lnTo>
                  <a:lnTo>
                    <a:pt x="2034" y="149"/>
                  </a:lnTo>
                  <a:lnTo>
                    <a:pt x="2036" y="148"/>
                  </a:lnTo>
                  <a:lnTo>
                    <a:pt x="2037" y="143"/>
                  </a:lnTo>
                  <a:lnTo>
                    <a:pt x="2039" y="135"/>
                  </a:lnTo>
                  <a:lnTo>
                    <a:pt x="2039" y="135"/>
                  </a:lnTo>
                  <a:lnTo>
                    <a:pt x="2040" y="127"/>
                  </a:lnTo>
                  <a:lnTo>
                    <a:pt x="2040" y="123"/>
                  </a:lnTo>
                  <a:lnTo>
                    <a:pt x="2040" y="123"/>
                  </a:lnTo>
                  <a:lnTo>
                    <a:pt x="2037" y="120"/>
                  </a:lnTo>
                  <a:lnTo>
                    <a:pt x="2033" y="118"/>
                  </a:lnTo>
                  <a:lnTo>
                    <a:pt x="2033" y="118"/>
                  </a:lnTo>
                  <a:close/>
                  <a:moveTo>
                    <a:pt x="2221" y="81"/>
                  </a:moveTo>
                  <a:lnTo>
                    <a:pt x="2221" y="81"/>
                  </a:lnTo>
                  <a:lnTo>
                    <a:pt x="2227" y="81"/>
                  </a:lnTo>
                  <a:lnTo>
                    <a:pt x="2230" y="80"/>
                  </a:lnTo>
                  <a:lnTo>
                    <a:pt x="2231" y="77"/>
                  </a:lnTo>
                  <a:lnTo>
                    <a:pt x="2231" y="77"/>
                  </a:lnTo>
                  <a:lnTo>
                    <a:pt x="2231" y="75"/>
                  </a:lnTo>
                  <a:lnTo>
                    <a:pt x="2230" y="72"/>
                  </a:lnTo>
                  <a:lnTo>
                    <a:pt x="2221" y="69"/>
                  </a:lnTo>
                  <a:lnTo>
                    <a:pt x="2221" y="69"/>
                  </a:lnTo>
                  <a:lnTo>
                    <a:pt x="2215" y="69"/>
                  </a:lnTo>
                  <a:lnTo>
                    <a:pt x="2209" y="69"/>
                  </a:lnTo>
                  <a:lnTo>
                    <a:pt x="2203" y="71"/>
                  </a:lnTo>
                  <a:lnTo>
                    <a:pt x="2203" y="77"/>
                  </a:lnTo>
                  <a:lnTo>
                    <a:pt x="2203" y="77"/>
                  </a:lnTo>
                  <a:lnTo>
                    <a:pt x="2209" y="81"/>
                  </a:lnTo>
                  <a:lnTo>
                    <a:pt x="2209" y="81"/>
                  </a:lnTo>
                  <a:lnTo>
                    <a:pt x="2211" y="81"/>
                  </a:lnTo>
                  <a:lnTo>
                    <a:pt x="2215" y="81"/>
                  </a:lnTo>
                  <a:lnTo>
                    <a:pt x="2221" y="81"/>
                  </a:lnTo>
                  <a:lnTo>
                    <a:pt x="2221" y="81"/>
                  </a:lnTo>
                  <a:close/>
                  <a:moveTo>
                    <a:pt x="2141" y="103"/>
                  </a:moveTo>
                  <a:lnTo>
                    <a:pt x="2141" y="103"/>
                  </a:lnTo>
                  <a:lnTo>
                    <a:pt x="2144" y="108"/>
                  </a:lnTo>
                  <a:lnTo>
                    <a:pt x="2147" y="109"/>
                  </a:lnTo>
                  <a:lnTo>
                    <a:pt x="2148" y="111"/>
                  </a:lnTo>
                  <a:lnTo>
                    <a:pt x="2148" y="111"/>
                  </a:lnTo>
                  <a:lnTo>
                    <a:pt x="2154" y="112"/>
                  </a:lnTo>
                  <a:lnTo>
                    <a:pt x="2159" y="112"/>
                  </a:lnTo>
                  <a:lnTo>
                    <a:pt x="2159" y="112"/>
                  </a:lnTo>
                  <a:lnTo>
                    <a:pt x="2165" y="111"/>
                  </a:lnTo>
                  <a:lnTo>
                    <a:pt x="2168" y="108"/>
                  </a:lnTo>
                  <a:lnTo>
                    <a:pt x="2169" y="106"/>
                  </a:lnTo>
                  <a:lnTo>
                    <a:pt x="2169" y="106"/>
                  </a:lnTo>
                  <a:lnTo>
                    <a:pt x="2166" y="100"/>
                  </a:lnTo>
                  <a:lnTo>
                    <a:pt x="2166" y="100"/>
                  </a:lnTo>
                  <a:lnTo>
                    <a:pt x="2166" y="96"/>
                  </a:lnTo>
                  <a:lnTo>
                    <a:pt x="2165" y="95"/>
                  </a:lnTo>
                  <a:lnTo>
                    <a:pt x="2165" y="95"/>
                  </a:lnTo>
                  <a:lnTo>
                    <a:pt x="2160" y="92"/>
                  </a:lnTo>
                  <a:lnTo>
                    <a:pt x="2156" y="89"/>
                  </a:lnTo>
                  <a:lnTo>
                    <a:pt x="2156" y="89"/>
                  </a:lnTo>
                  <a:lnTo>
                    <a:pt x="2151" y="90"/>
                  </a:lnTo>
                  <a:lnTo>
                    <a:pt x="2150" y="92"/>
                  </a:lnTo>
                  <a:lnTo>
                    <a:pt x="2144" y="93"/>
                  </a:lnTo>
                  <a:lnTo>
                    <a:pt x="2138" y="89"/>
                  </a:lnTo>
                  <a:lnTo>
                    <a:pt x="2138" y="89"/>
                  </a:lnTo>
                  <a:lnTo>
                    <a:pt x="2137" y="92"/>
                  </a:lnTo>
                  <a:lnTo>
                    <a:pt x="2137" y="95"/>
                  </a:lnTo>
                  <a:lnTo>
                    <a:pt x="2137" y="96"/>
                  </a:lnTo>
                  <a:lnTo>
                    <a:pt x="2137" y="96"/>
                  </a:lnTo>
                  <a:lnTo>
                    <a:pt x="2141" y="103"/>
                  </a:lnTo>
                  <a:lnTo>
                    <a:pt x="2141" y="103"/>
                  </a:lnTo>
                  <a:close/>
                  <a:moveTo>
                    <a:pt x="2162" y="127"/>
                  </a:moveTo>
                  <a:lnTo>
                    <a:pt x="2162" y="127"/>
                  </a:lnTo>
                  <a:lnTo>
                    <a:pt x="2163" y="126"/>
                  </a:lnTo>
                  <a:lnTo>
                    <a:pt x="2165" y="126"/>
                  </a:lnTo>
                  <a:lnTo>
                    <a:pt x="2166" y="123"/>
                  </a:lnTo>
                  <a:lnTo>
                    <a:pt x="2166" y="123"/>
                  </a:lnTo>
                  <a:lnTo>
                    <a:pt x="2166" y="121"/>
                  </a:lnTo>
                  <a:lnTo>
                    <a:pt x="2165" y="120"/>
                  </a:lnTo>
                  <a:lnTo>
                    <a:pt x="2163" y="120"/>
                  </a:lnTo>
                  <a:lnTo>
                    <a:pt x="2156" y="120"/>
                  </a:lnTo>
                  <a:lnTo>
                    <a:pt x="2151" y="121"/>
                  </a:lnTo>
                  <a:lnTo>
                    <a:pt x="2151" y="121"/>
                  </a:lnTo>
                  <a:lnTo>
                    <a:pt x="2156" y="126"/>
                  </a:lnTo>
                  <a:lnTo>
                    <a:pt x="2156" y="126"/>
                  </a:lnTo>
                  <a:lnTo>
                    <a:pt x="2160" y="127"/>
                  </a:lnTo>
                  <a:lnTo>
                    <a:pt x="2162" y="127"/>
                  </a:lnTo>
                  <a:lnTo>
                    <a:pt x="2162" y="127"/>
                  </a:lnTo>
                  <a:close/>
                  <a:moveTo>
                    <a:pt x="2052" y="166"/>
                  </a:moveTo>
                  <a:lnTo>
                    <a:pt x="2049" y="172"/>
                  </a:lnTo>
                  <a:lnTo>
                    <a:pt x="2049" y="172"/>
                  </a:lnTo>
                  <a:lnTo>
                    <a:pt x="2049" y="173"/>
                  </a:lnTo>
                  <a:lnTo>
                    <a:pt x="2054" y="175"/>
                  </a:lnTo>
                  <a:lnTo>
                    <a:pt x="2054" y="175"/>
                  </a:lnTo>
                  <a:lnTo>
                    <a:pt x="2058" y="176"/>
                  </a:lnTo>
                  <a:lnTo>
                    <a:pt x="2064" y="176"/>
                  </a:lnTo>
                  <a:lnTo>
                    <a:pt x="2064" y="176"/>
                  </a:lnTo>
                  <a:lnTo>
                    <a:pt x="2065" y="176"/>
                  </a:lnTo>
                  <a:lnTo>
                    <a:pt x="2067" y="177"/>
                  </a:lnTo>
                  <a:lnTo>
                    <a:pt x="2065" y="179"/>
                  </a:lnTo>
                  <a:lnTo>
                    <a:pt x="2065" y="179"/>
                  </a:lnTo>
                  <a:lnTo>
                    <a:pt x="2065" y="180"/>
                  </a:lnTo>
                  <a:lnTo>
                    <a:pt x="2065" y="180"/>
                  </a:lnTo>
                  <a:lnTo>
                    <a:pt x="2064" y="182"/>
                  </a:lnTo>
                  <a:lnTo>
                    <a:pt x="2064" y="182"/>
                  </a:lnTo>
                  <a:lnTo>
                    <a:pt x="2058" y="189"/>
                  </a:lnTo>
                  <a:lnTo>
                    <a:pt x="2058" y="189"/>
                  </a:lnTo>
                  <a:lnTo>
                    <a:pt x="2057" y="192"/>
                  </a:lnTo>
                  <a:lnTo>
                    <a:pt x="2055" y="194"/>
                  </a:lnTo>
                  <a:lnTo>
                    <a:pt x="2058" y="197"/>
                  </a:lnTo>
                  <a:lnTo>
                    <a:pt x="2058" y="197"/>
                  </a:lnTo>
                  <a:lnTo>
                    <a:pt x="2061" y="200"/>
                  </a:lnTo>
                  <a:lnTo>
                    <a:pt x="2062" y="200"/>
                  </a:lnTo>
                  <a:lnTo>
                    <a:pt x="2067" y="198"/>
                  </a:lnTo>
                  <a:lnTo>
                    <a:pt x="2067" y="198"/>
                  </a:lnTo>
                  <a:lnTo>
                    <a:pt x="2070" y="197"/>
                  </a:lnTo>
                  <a:lnTo>
                    <a:pt x="2076" y="192"/>
                  </a:lnTo>
                  <a:lnTo>
                    <a:pt x="2076" y="192"/>
                  </a:lnTo>
                  <a:lnTo>
                    <a:pt x="2080" y="189"/>
                  </a:lnTo>
                  <a:lnTo>
                    <a:pt x="2085" y="183"/>
                  </a:lnTo>
                  <a:lnTo>
                    <a:pt x="2085" y="183"/>
                  </a:lnTo>
                  <a:lnTo>
                    <a:pt x="2088" y="182"/>
                  </a:lnTo>
                  <a:lnTo>
                    <a:pt x="2088" y="180"/>
                  </a:lnTo>
                  <a:lnTo>
                    <a:pt x="2086" y="177"/>
                  </a:lnTo>
                  <a:lnTo>
                    <a:pt x="2086" y="177"/>
                  </a:lnTo>
                  <a:lnTo>
                    <a:pt x="2086" y="176"/>
                  </a:lnTo>
                  <a:lnTo>
                    <a:pt x="2083" y="175"/>
                  </a:lnTo>
                  <a:lnTo>
                    <a:pt x="2079" y="172"/>
                  </a:lnTo>
                  <a:lnTo>
                    <a:pt x="2079" y="172"/>
                  </a:lnTo>
                  <a:lnTo>
                    <a:pt x="2073" y="169"/>
                  </a:lnTo>
                  <a:lnTo>
                    <a:pt x="2067" y="169"/>
                  </a:lnTo>
                  <a:lnTo>
                    <a:pt x="2052" y="166"/>
                  </a:lnTo>
                  <a:close/>
                  <a:moveTo>
                    <a:pt x="2178" y="98"/>
                  </a:moveTo>
                  <a:lnTo>
                    <a:pt x="2178" y="98"/>
                  </a:lnTo>
                  <a:lnTo>
                    <a:pt x="2179" y="105"/>
                  </a:lnTo>
                  <a:lnTo>
                    <a:pt x="2179" y="111"/>
                  </a:lnTo>
                  <a:lnTo>
                    <a:pt x="2179" y="111"/>
                  </a:lnTo>
                  <a:lnTo>
                    <a:pt x="2178" y="117"/>
                  </a:lnTo>
                  <a:lnTo>
                    <a:pt x="2178" y="121"/>
                  </a:lnTo>
                  <a:lnTo>
                    <a:pt x="2179" y="124"/>
                  </a:lnTo>
                  <a:lnTo>
                    <a:pt x="2179" y="124"/>
                  </a:lnTo>
                  <a:lnTo>
                    <a:pt x="2181" y="126"/>
                  </a:lnTo>
                  <a:lnTo>
                    <a:pt x="2184" y="126"/>
                  </a:lnTo>
                  <a:lnTo>
                    <a:pt x="2184" y="126"/>
                  </a:lnTo>
                  <a:lnTo>
                    <a:pt x="2185" y="123"/>
                  </a:lnTo>
                  <a:lnTo>
                    <a:pt x="2187" y="118"/>
                  </a:lnTo>
                  <a:lnTo>
                    <a:pt x="2187" y="118"/>
                  </a:lnTo>
                  <a:lnTo>
                    <a:pt x="2188" y="109"/>
                  </a:lnTo>
                  <a:lnTo>
                    <a:pt x="2188" y="109"/>
                  </a:lnTo>
                  <a:lnTo>
                    <a:pt x="2188" y="106"/>
                  </a:lnTo>
                  <a:lnTo>
                    <a:pt x="2190" y="102"/>
                  </a:lnTo>
                  <a:lnTo>
                    <a:pt x="2190" y="102"/>
                  </a:lnTo>
                  <a:lnTo>
                    <a:pt x="2190" y="95"/>
                  </a:lnTo>
                  <a:lnTo>
                    <a:pt x="2190" y="95"/>
                  </a:lnTo>
                  <a:lnTo>
                    <a:pt x="2188" y="92"/>
                  </a:lnTo>
                  <a:lnTo>
                    <a:pt x="2187" y="89"/>
                  </a:lnTo>
                  <a:lnTo>
                    <a:pt x="2187" y="89"/>
                  </a:lnTo>
                  <a:lnTo>
                    <a:pt x="2185" y="84"/>
                  </a:lnTo>
                  <a:lnTo>
                    <a:pt x="2181" y="80"/>
                  </a:lnTo>
                  <a:lnTo>
                    <a:pt x="2172" y="77"/>
                  </a:lnTo>
                  <a:lnTo>
                    <a:pt x="2172" y="77"/>
                  </a:lnTo>
                  <a:lnTo>
                    <a:pt x="2169" y="80"/>
                  </a:lnTo>
                  <a:lnTo>
                    <a:pt x="2168" y="83"/>
                  </a:lnTo>
                  <a:lnTo>
                    <a:pt x="2168" y="84"/>
                  </a:lnTo>
                  <a:lnTo>
                    <a:pt x="2169" y="86"/>
                  </a:lnTo>
                  <a:lnTo>
                    <a:pt x="2169" y="86"/>
                  </a:lnTo>
                  <a:lnTo>
                    <a:pt x="2175" y="93"/>
                  </a:lnTo>
                  <a:lnTo>
                    <a:pt x="2178" y="98"/>
                  </a:lnTo>
                  <a:lnTo>
                    <a:pt x="2178" y="98"/>
                  </a:lnTo>
                  <a:close/>
                  <a:moveTo>
                    <a:pt x="2094" y="133"/>
                  </a:moveTo>
                  <a:lnTo>
                    <a:pt x="2094" y="133"/>
                  </a:lnTo>
                  <a:lnTo>
                    <a:pt x="2091" y="138"/>
                  </a:lnTo>
                  <a:lnTo>
                    <a:pt x="2091" y="142"/>
                  </a:lnTo>
                  <a:lnTo>
                    <a:pt x="2091" y="145"/>
                  </a:lnTo>
                  <a:lnTo>
                    <a:pt x="2091" y="145"/>
                  </a:lnTo>
                  <a:lnTo>
                    <a:pt x="2101" y="155"/>
                  </a:lnTo>
                  <a:lnTo>
                    <a:pt x="2101" y="155"/>
                  </a:lnTo>
                  <a:lnTo>
                    <a:pt x="2104" y="158"/>
                  </a:lnTo>
                  <a:lnTo>
                    <a:pt x="2105" y="158"/>
                  </a:lnTo>
                  <a:lnTo>
                    <a:pt x="2107" y="157"/>
                  </a:lnTo>
                  <a:lnTo>
                    <a:pt x="2107" y="157"/>
                  </a:lnTo>
                  <a:lnTo>
                    <a:pt x="2110" y="155"/>
                  </a:lnTo>
                  <a:lnTo>
                    <a:pt x="2110" y="152"/>
                  </a:lnTo>
                  <a:lnTo>
                    <a:pt x="2110" y="148"/>
                  </a:lnTo>
                  <a:lnTo>
                    <a:pt x="2110" y="148"/>
                  </a:lnTo>
                  <a:lnTo>
                    <a:pt x="2108" y="143"/>
                  </a:lnTo>
                  <a:lnTo>
                    <a:pt x="2107" y="140"/>
                  </a:lnTo>
                  <a:lnTo>
                    <a:pt x="2107" y="140"/>
                  </a:lnTo>
                  <a:lnTo>
                    <a:pt x="2102" y="135"/>
                  </a:lnTo>
                  <a:lnTo>
                    <a:pt x="2101" y="132"/>
                  </a:lnTo>
                  <a:lnTo>
                    <a:pt x="2101" y="132"/>
                  </a:lnTo>
                  <a:lnTo>
                    <a:pt x="2101" y="129"/>
                  </a:lnTo>
                  <a:lnTo>
                    <a:pt x="2099" y="124"/>
                  </a:lnTo>
                  <a:lnTo>
                    <a:pt x="2099" y="124"/>
                  </a:lnTo>
                  <a:lnTo>
                    <a:pt x="2098" y="117"/>
                  </a:lnTo>
                  <a:lnTo>
                    <a:pt x="2095" y="111"/>
                  </a:lnTo>
                  <a:lnTo>
                    <a:pt x="2095" y="111"/>
                  </a:lnTo>
                  <a:lnTo>
                    <a:pt x="2094" y="109"/>
                  </a:lnTo>
                  <a:lnTo>
                    <a:pt x="2092" y="108"/>
                  </a:lnTo>
                  <a:lnTo>
                    <a:pt x="2091" y="108"/>
                  </a:lnTo>
                  <a:lnTo>
                    <a:pt x="2088" y="108"/>
                  </a:lnTo>
                  <a:lnTo>
                    <a:pt x="2088" y="108"/>
                  </a:lnTo>
                  <a:lnTo>
                    <a:pt x="2085" y="111"/>
                  </a:lnTo>
                  <a:lnTo>
                    <a:pt x="2083" y="114"/>
                  </a:lnTo>
                  <a:lnTo>
                    <a:pt x="2083" y="117"/>
                  </a:lnTo>
                  <a:lnTo>
                    <a:pt x="2083" y="117"/>
                  </a:lnTo>
                  <a:lnTo>
                    <a:pt x="2089" y="126"/>
                  </a:lnTo>
                  <a:lnTo>
                    <a:pt x="2094" y="133"/>
                  </a:lnTo>
                  <a:lnTo>
                    <a:pt x="2094" y="133"/>
                  </a:lnTo>
                  <a:close/>
                  <a:moveTo>
                    <a:pt x="2138" y="142"/>
                  </a:moveTo>
                  <a:lnTo>
                    <a:pt x="2138" y="142"/>
                  </a:lnTo>
                  <a:lnTo>
                    <a:pt x="2142" y="145"/>
                  </a:lnTo>
                  <a:lnTo>
                    <a:pt x="2144" y="145"/>
                  </a:lnTo>
                  <a:lnTo>
                    <a:pt x="2145" y="145"/>
                  </a:lnTo>
                  <a:lnTo>
                    <a:pt x="2145" y="145"/>
                  </a:lnTo>
                  <a:lnTo>
                    <a:pt x="2147" y="140"/>
                  </a:lnTo>
                  <a:lnTo>
                    <a:pt x="2147" y="136"/>
                  </a:lnTo>
                  <a:lnTo>
                    <a:pt x="2147" y="136"/>
                  </a:lnTo>
                  <a:lnTo>
                    <a:pt x="2148" y="132"/>
                  </a:lnTo>
                  <a:lnTo>
                    <a:pt x="2148" y="129"/>
                  </a:lnTo>
                  <a:lnTo>
                    <a:pt x="2147" y="127"/>
                  </a:lnTo>
                  <a:lnTo>
                    <a:pt x="2147" y="127"/>
                  </a:lnTo>
                  <a:lnTo>
                    <a:pt x="2145" y="124"/>
                  </a:lnTo>
                  <a:lnTo>
                    <a:pt x="2144" y="123"/>
                  </a:lnTo>
                  <a:lnTo>
                    <a:pt x="2144" y="123"/>
                  </a:lnTo>
                  <a:lnTo>
                    <a:pt x="2142" y="120"/>
                  </a:lnTo>
                  <a:lnTo>
                    <a:pt x="2141" y="118"/>
                  </a:lnTo>
                  <a:lnTo>
                    <a:pt x="2141" y="118"/>
                  </a:lnTo>
                  <a:lnTo>
                    <a:pt x="2135" y="117"/>
                  </a:lnTo>
                  <a:lnTo>
                    <a:pt x="2137" y="132"/>
                  </a:lnTo>
                  <a:lnTo>
                    <a:pt x="2137" y="132"/>
                  </a:lnTo>
                  <a:lnTo>
                    <a:pt x="2137" y="136"/>
                  </a:lnTo>
                  <a:lnTo>
                    <a:pt x="2137" y="139"/>
                  </a:lnTo>
                  <a:lnTo>
                    <a:pt x="2138" y="142"/>
                  </a:lnTo>
                  <a:lnTo>
                    <a:pt x="2138" y="142"/>
                  </a:lnTo>
                  <a:close/>
                  <a:moveTo>
                    <a:pt x="2141" y="154"/>
                  </a:moveTo>
                  <a:lnTo>
                    <a:pt x="2141" y="154"/>
                  </a:lnTo>
                  <a:lnTo>
                    <a:pt x="2144" y="155"/>
                  </a:lnTo>
                  <a:lnTo>
                    <a:pt x="2148" y="158"/>
                  </a:lnTo>
                  <a:lnTo>
                    <a:pt x="2148" y="158"/>
                  </a:lnTo>
                  <a:lnTo>
                    <a:pt x="2153" y="158"/>
                  </a:lnTo>
                  <a:lnTo>
                    <a:pt x="2157" y="157"/>
                  </a:lnTo>
                  <a:lnTo>
                    <a:pt x="2157" y="157"/>
                  </a:lnTo>
                  <a:lnTo>
                    <a:pt x="2159" y="157"/>
                  </a:lnTo>
                  <a:lnTo>
                    <a:pt x="2159" y="155"/>
                  </a:lnTo>
                  <a:lnTo>
                    <a:pt x="2159" y="152"/>
                  </a:lnTo>
                  <a:lnTo>
                    <a:pt x="2159" y="152"/>
                  </a:lnTo>
                  <a:lnTo>
                    <a:pt x="2156" y="151"/>
                  </a:lnTo>
                  <a:lnTo>
                    <a:pt x="2151" y="148"/>
                  </a:lnTo>
                  <a:lnTo>
                    <a:pt x="2148" y="148"/>
                  </a:lnTo>
                  <a:lnTo>
                    <a:pt x="2148" y="148"/>
                  </a:lnTo>
                  <a:lnTo>
                    <a:pt x="2145" y="148"/>
                  </a:lnTo>
                  <a:lnTo>
                    <a:pt x="2144" y="151"/>
                  </a:lnTo>
                  <a:lnTo>
                    <a:pt x="2141" y="154"/>
                  </a:lnTo>
                  <a:lnTo>
                    <a:pt x="2141" y="154"/>
                  </a:lnTo>
                  <a:close/>
                  <a:moveTo>
                    <a:pt x="1956" y="98"/>
                  </a:moveTo>
                  <a:lnTo>
                    <a:pt x="1956" y="98"/>
                  </a:lnTo>
                  <a:lnTo>
                    <a:pt x="1957" y="99"/>
                  </a:lnTo>
                  <a:lnTo>
                    <a:pt x="1957" y="100"/>
                  </a:lnTo>
                  <a:lnTo>
                    <a:pt x="1957" y="102"/>
                  </a:lnTo>
                  <a:lnTo>
                    <a:pt x="1957" y="102"/>
                  </a:lnTo>
                  <a:lnTo>
                    <a:pt x="1956" y="103"/>
                  </a:lnTo>
                  <a:lnTo>
                    <a:pt x="1954" y="108"/>
                  </a:lnTo>
                  <a:lnTo>
                    <a:pt x="1954" y="108"/>
                  </a:lnTo>
                  <a:lnTo>
                    <a:pt x="1956" y="111"/>
                  </a:lnTo>
                  <a:lnTo>
                    <a:pt x="1957" y="114"/>
                  </a:lnTo>
                  <a:lnTo>
                    <a:pt x="1962" y="118"/>
                  </a:lnTo>
                  <a:lnTo>
                    <a:pt x="1962" y="118"/>
                  </a:lnTo>
                  <a:lnTo>
                    <a:pt x="1965" y="117"/>
                  </a:lnTo>
                  <a:lnTo>
                    <a:pt x="1969" y="115"/>
                  </a:lnTo>
                  <a:lnTo>
                    <a:pt x="1972" y="112"/>
                  </a:lnTo>
                  <a:lnTo>
                    <a:pt x="1972" y="112"/>
                  </a:lnTo>
                  <a:lnTo>
                    <a:pt x="1977" y="111"/>
                  </a:lnTo>
                  <a:lnTo>
                    <a:pt x="1980" y="109"/>
                  </a:lnTo>
                  <a:lnTo>
                    <a:pt x="1984" y="106"/>
                  </a:lnTo>
                  <a:lnTo>
                    <a:pt x="1984" y="106"/>
                  </a:lnTo>
                  <a:lnTo>
                    <a:pt x="1984" y="103"/>
                  </a:lnTo>
                  <a:lnTo>
                    <a:pt x="1984" y="100"/>
                  </a:lnTo>
                  <a:lnTo>
                    <a:pt x="1980" y="100"/>
                  </a:lnTo>
                  <a:lnTo>
                    <a:pt x="1980" y="100"/>
                  </a:lnTo>
                  <a:lnTo>
                    <a:pt x="1975" y="99"/>
                  </a:lnTo>
                  <a:lnTo>
                    <a:pt x="1968" y="95"/>
                  </a:lnTo>
                  <a:lnTo>
                    <a:pt x="1968" y="95"/>
                  </a:lnTo>
                  <a:lnTo>
                    <a:pt x="1965" y="93"/>
                  </a:lnTo>
                  <a:lnTo>
                    <a:pt x="1966" y="92"/>
                  </a:lnTo>
                  <a:lnTo>
                    <a:pt x="1968" y="90"/>
                  </a:lnTo>
                  <a:lnTo>
                    <a:pt x="1969" y="87"/>
                  </a:lnTo>
                  <a:lnTo>
                    <a:pt x="1969" y="87"/>
                  </a:lnTo>
                  <a:lnTo>
                    <a:pt x="1974" y="80"/>
                  </a:lnTo>
                  <a:lnTo>
                    <a:pt x="1974" y="80"/>
                  </a:lnTo>
                  <a:lnTo>
                    <a:pt x="1975" y="78"/>
                  </a:lnTo>
                  <a:lnTo>
                    <a:pt x="1983" y="78"/>
                  </a:lnTo>
                  <a:lnTo>
                    <a:pt x="1983" y="78"/>
                  </a:lnTo>
                  <a:lnTo>
                    <a:pt x="2000" y="78"/>
                  </a:lnTo>
                  <a:lnTo>
                    <a:pt x="2000" y="78"/>
                  </a:lnTo>
                  <a:lnTo>
                    <a:pt x="2003" y="80"/>
                  </a:lnTo>
                  <a:lnTo>
                    <a:pt x="2006" y="81"/>
                  </a:lnTo>
                  <a:lnTo>
                    <a:pt x="2014" y="87"/>
                  </a:lnTo>
                  <a:lnTo>
                    <a:pt x="2014" y="87"/>
                  </a:lnTo>
                  <a:lnTo>
                    <a:pt x="2020" y="89"/>
                  </a:lnTo>
                  <a:lnTo>
                    <a:pt x="2028" y="90"/>
                  </a:lnTo>
                  <a:lnTo>
                    <a:pt x="2039" y="92"/>
                  </a:lnTo>
                  <a:lnTo>
                    <a:pt x="2046" y="92"/>
                  </a:lnTo>
                  <a:lnTo>
                    <a:pt x="2046" y="92"/>
                  </a:lnTo>
                  <a:lnTo>
                    <a:pt x="2051" y="90"/>
                  </a:lnTo>
                  <a:lnTo>
                    <a:pt x="2052" y="87"/>
                  </a:lnTo>
                  <a:lnTo>
                    <a:pt x="2052" y="83"/>
                  </a:lnTo>
                  <a:lnTo>
                    <a:pt x="2052" y="83"/>
                  </a:lnTo>
                  <a:lnTo>
                    <a:pt x="2052" y="74"/>
                  </a:lnTo>
                  <a:lnTo>
                    <a:pt x="2049" y="66"/>
                  </a:lnTo>
                  <a:lnTo>
                    <a:pt x="2049" y="66"/>
                  </a:lnTo>
                  <a:lnTo>
                    <a:pt x="2049" y="58"/>
                  </a:lnTo>
                  <a:lnTo>
                    <a:pt x="2049" y="55"/>
                  </a:lnTo>
                  <a:lnTo>
                    <a:pt x="2049" y="50"/>
                  </a:lnTo>
                  <a:lnTo>
                    <a:pt x="2049" y="50"/>
                  </a:lnTo>
                  <a:lnTo>
                    <a:pt x="2046" y="49"/>
                  </a:lnTo>
                  <a:lnTo>
                    <a:pt x="2043" y="49"/>
                  </a:lnTo>
                  <a:lnTo>
                    <a:pt x="2034" y="49"/>
                  </a:lnTo>
                  <a:lnTo>
                    <a:pt x="2034" y="49"/>
                  </a:lnTo>
                  <a:lnTo>
                    <a:pt x="2027" y="50"/>
                  </a:lnTo>
                  <a:lnTo>
                    <a:pt x="2024" y="50"/>
                  </a:lnTo>
                  <a:lnTo>
                    <a:pt x="2024" y="50"/>
                  </a:lnTo>
                  <a:lnTo>
                    <a:pt x="2020" y="53"/>
                  </a:lnTo>
                  <a:lnTo>
                    <a:pt x="2015" y="59"/>
                  </a:lnTo>
                  <a:lnTo>
                    <a:pt x="2015" y="59"/>
                  </a:lnTo>
                  <a:lnTo>
                    <a:pt x="2012" y="62"/>
                  </a:lnTo>
                  <a:lnTo>
                    <a:pt x="2005" y="62"/>
                  </a:lnTo>
                  <a:lnTo>
                    <a:pt x="2005" y="62"/>
                  </a:lnTo>
                  <a:lnTo>
                    <a:pt x="1996" y="60"/>
                  </a:lnTo>
                  <a:lnTo>
                    <a:pt x="1994" y="60"/>
                  </a:lnTo>
                  <a:lnTo>
                    <a:pt x="1994" y="60"/>
                  </a:lnTo>
                  <a:lnTo>
                    <a:pt x="1990" y="56"/>
                  </a:lnTo>
                  <a:lnTo>
                    <a:pt x="1984" y="50"/>
                  </a:lnTo>
                  <a:lnTo>
                    <a:pt x="1984" y="50"/>
                  </a:lnTo>
                  <a:lnTo>
                    <a:pt x="1978" y="50"/>
                  </a:lnTo>
                  <a:lnTo>
                    <a:pt x="1972" y="50"/>
                  </a:lnTo>
                  <a:lnTo>
                    <a:pt x="1972" y="50"/>
                  </a:lnTo>
                  <a:lnTo>
                    <a:pt x="1971" y="50"/>
                  </a:lnTo>
                  <a:lnTo>
                    <a:pt x="1971" y="53"/>
                  </a:lnTo>
                  <a:lnTo>
                    <a:pt x="1969" y="58"/>
                  </a:lnTo>
                  <a:lnTo>
                    <a:pt x="1969" y="58"/>
                  </a:lnTo>
                  <a:lnTo>
                    <a:pt x="1969" y="59"/>
                  </a:lnTo>
                  <a:lnTo>
                    <a:pt x="1966" y="59"/>
                  </a:lnTo>
                  <a:lnTo>
                    <a:pt x="1963" y="58"/>
                  </a:lnTo>
                  <a:lnTo>
                    <a:pt x="1963" y="58"/>
                  </a:lnTo>
                  <a:lnTo>
                    <a:pt x="1963" y="56"/>
                  </a:lnTo>
                  <a:lnTo>
                    <a:pt x="1962" y="52"/>
                  </a:lnTo>
                  <a:lnTo>
                    <a:pt x="1962" y="44"/>
                  </a:lnTo>
                  <a:lnTo>
                    <a:pt x="1962" y="44"/>
                  </a:lnTo>
                  <a:lnTo>
                    <a:pt x="1962" y="43"/>
                  </a:lnTo>
                  <a:lnTo>
                    <a:pt x="1960" y="43"/>
                  </a:lnTo>
                  <a:lnTo>
                    <a:pt x="1957" y="43"/>
                  </a:lnTo>
                  <a:lnTo>
                    <a:pt x="1951" y="44"/>
                  </a:lnTo>
                  <a:lnTo>
                    <a:pt x="1941" y="52"/>
                  </a:lnTo>
                  <a:lnTo>
                    <a:pt x="1941" y="52"/>
                  </a:lnTo>
                  <a:lnTo>
                    <a:pt x="1938" y="58"/>
                  </a:lnTo>
                  <a:lnTo>
                    <a:pt x="1935" y="63"/>
                  </a:lnTo>
                  <a:lnTo>
                    <a:pt x="1934" y="69"/>
                  </a:lnTo>
                  <a:lnTo>
                    <a:pt x="1934" y="69"/>
                  </a:lnTo>
                  <a:lnTo>
                    <a:pt x="1934" y="75"/>
                  </a:lnTo>
                  <a:lnTo>
                    <a:pt x="1937" y="81"/>
                  </a:lnTo>
                  <a:lnTo>
                    <a:pt x="1941" y="90"/>
                  </a:lnTo>
                  <a:lnTo>
                    <a:pt x="1941" y="90"/>
                  </a:lnTo>
                  <a:lnTo>
                    <a:pt x="1944" y="92"/>
                  </a:lnTo>
                  <a:lnTo>
                    <a:pt x="1947" y="95"/>
                  </a:lnTo>
                  <a:lnTo>
                    <a:pt x="1956" y="98"/>
                  </a:lnTo>
                  <a:lnTo>
                    <a:pt x="1956" y="98"/>
                  </a:lnTo>
                  <a:close/>
                  <a:moveTo>
                    <a:pt x="2104" y="225"/>
                  </a:moveTo>
                  <a:lnTo>
                    <a:pt x="2095" y="226"/>
                  </a:lnTo>
                  <a:lnTo>
                    <a:pt x="2088" y="228"/>
                  </a:lnTo>
                  <a:lnTo>
                    <a:pt x="2082" y="241"/>
                  </a:lnTo>
                  <a:lnTo>
                    <a:pt x="2082" y="241"/>
                  </a:lnTo>
                  <a:lnTo>
                    <a:pt x="2083" y="246"/>
                  </a:lnTo>
                  <a:lnTo>
                    <a:pt x="2086" y="249"/>
                  </a:lnTo>
                  <a:lnTo>
                    <a:pt x="2088" y="250"/>
                  </a:lnTo>
                  <a:lnTo>
                    <a:pt x="2088" y="250"/>
                  </a:lnTo>
                  <a:lnTo>
                    <a:pt x="2091" y="250"/>
                  </a:lnTo>
                  <a:lnTo>
                    <a:pt x="2091" y="252"/>
                  </a:lnTo>
                  <a:lnTo>
                    <a:pt x="2092" y="252"/>
                  </a:lnTo>
                  <a:lnTo>
                    <a:pt x="2097" y="249"/>
                  </a:lnTo>
                  <a:lnTo>
                    <a:pt x="2097" y="249"/>
                  </a:lnTo>
                  <a:lnTo>
                    <a:pt x="2104" y="243"/>
                  </a:lnTo>
                  <a:lnTo>
                    <a:pt x="2107" y="237"/>
                  </a:lnTo>
                  <a:lnTo>
                    <a:pt x="2107" y="237"/>
                  </a:lnTo>
                  <a:lnTo>
                    <a:pt x="2107" y="234"/>
                  </a:lnTo>
                  <a:lnTo>
                    <a:pt x="2107" y="231"/>
                  </a:lnTo>
                  <a:lnTo>
                    <a:pt x="2105" y="228"/>
                  </a:lnTo>
                  <a:lnTo>
                    <a:pt x="2104" y="225"/>
                  </a:lnTo>
                  <a:close/>
                  <a:moveTo>
                    <a:pt x="2194" y="191"/>
                  </a:moveTo>
                  <a:lnTo>
                    <a:pt x="2194" y="191"/>
                  </a:lnTo>
                  <a:lnTo>
                    <a:pt x="2191" y="188"/>
                  </a:lnTo>
                  <a:lnTo>
                    <a:pt x="2188" y="186"/>
                  </a:lnTo>
                  <a:lnTo>
                    <a:pt x="2181" y="186"/>
                  </a:lnTo>
                  <a:lnTo>
                    <a:pt x="2181" y="186"/>
                  </a:lnTo>
                  <a:lnTo>
                    <a:pt x="2178" y="186"/>
                  </a:lnTo>
                  <a:lnTo>
                    <a:pt x="2175" y="185"/>
                  </a:lnTo>
                  <a:lnTo>
                    <a:pt x="2169" y="176"/>
                  </a:lnTo>
                  <a:lnTo>
                    <a:pt x="2169" y="176"/>
                  </a:lnTo>
                  <a:lnTo>
                    <a:pt x="2166" y="173"/>
                  </a:lnTo>
                  <a:lnTo>
                    <a:pt x="2163" y="172"/>
                  </a:lnTo>
                  <a:lnTo>
                    <a:pt x="2160" y="172"/>
                  </a:lnTo>
                  <a:lnTo>
                    <a:pt x="2156" y="172"/>
                  </a:lnTo>
                  <a:lnTo>
                    <a:pt x="2151" y="175"/>
                  </a:lnTo>
                  <a:lnTo>
                    <a:pt x="2148" y="176"/>
                  </a:lnTo>
                  <a:lnTo>
                    <a:pt x="2139" y="186"/>
                  </a:lnTo>
                  <a:lnTo>
                    <a:pt x="2139" y="186"/>
                  </a:lnTo>
                  <a:lnTo>
                    <a:pt x="2135" y="191"/>
                  </a:lnTo>
                  <a:lnTo>
                    <a:pt x="2134" y="192"/>
                  </a:lnTo>
                  <a:lnTo>
                    <a:pt x="2134" y="195"/>
                  </a:lnTo>
                  <a:lnTo>
                    <a:pt x="2134" y="203"/>
                  </a:lnTo>
                  <a:lnTo>
                    <a:pt x="2134" y="203"/>
                  </a:lnTo>
                  <a:lnTo>
                    <a:pt x="2132" y="210"/>
                  </a:lnTo>
                  <a:lnTo>
                    <a:pt x="2132" y="212"/>
                  </a:lnTo>
                  <a:lnTo>
                    <a:pt x="2139" y="213"/>
                  </a:lnTo>
                  <a:lnTo>
                    <a:pt x="2139" y="213"/>
                  </a:lnTo>
                  <a:lnTo>
                    <a:pt x="2145" y="216"/>
                  </a:lnTo>
                  <a:lnTo>
                    <a:pt x="2147" y="219"/>
                  </a:lnTo>
                  <a:lnTo>
                    <a:pt x="2148" y="222"/>
                  </a:lnTo>
                  <a:lnTo>
                    <a:pt x="2148" y="228"/>
                  </a:lnTo>
                  <a:lnTo>
                    <a:pt x="2148" y="228"/>
                  </a:lnTo>
                  <a:lnTo>
                    <a:pt x="2150" y="231"/>
                  </a:lnTo>
                  <a:lnTo>
                    <a:pt x="2151" y="231"/>
                  </a:lnTo>
                  <a:lnTo>
                    <a:pt x="2157" y="231"/>
                  </a:lnTo>
                  <a:lnTo>
                    <a:pt x="2169" y="226"/>
                  </a:lnTo>
                  <a:lnTo>
                    <a:pt x="2169" y="226"/>
                  </a:lnTo>
                  <a:lnTo>
                    <a:pt x="2174" y="223"/>
                  </a:lnTo>
                  <a:lnTo>
                    <a:pt x="2181" y="220"/>
                  </a:lnTo>
                  <a:lnTo>
                    <a:pt x="2187" y="215"/>
                  </a:lnTo>
                  <a:lnTo>
                    <a:pt x="2193" y="210"/>
                  </a:lnTo>
                  <a:lnTo>
                    <a:pt x="2193" y="210"/>
                  </a:lnTo>
                  <a:lnTo>
                    <a:pt x="2196" y="204"/>
                  </a:lnTo>
                  <a:lnTo>
                    <a:pt x="2197" y="200"/>
                  </a:lnTo>
                  <a:lnTo>
                    <a:pt x="2197" y="197"/>
                  </a:lnTo>
                  <a:lnTo>
                    <a:pt x="2194" y="191"/>
                  </a:lnTo>
                  <a:lnTo>
                    <a:pt x="2194" y="191"/>
                  </a:lnTo>
                  <a:close/>
                  <a:moveTo>
                    <a:pt x="2132" y="145"/>
                  </a:moveTo>
                  <a:lnTo>
                    <a:pt x="2132" y="145"/>
                  </a:lnTo>
                  <a:lnTo>
                    <a:pt x="2132" y="139"/>
                  </a:lnTo>
                  <a:lnTo>
                    <a:pt x="2131" y="133"/>
                  </a:lnTo>
                  <a:lnTo>
                    <a:pt x="2131" y="133"/>
                  </a:lnTo>
                  <a:lnTo>
                    <a:pt x="2129" y="126"/>
                  </a:lnTo>
                  <a:lnTo>
                    <a:pt x="2128" y="120"/>
                  </a:lnTo>
                  <a:lnTo>
                    <a:pt x="2128" y="120"/>
                  </a:lnTo>
                  <a:lnTo>
                    <a:pt x="2128" y="114"/>
                  </a:lnTo>
                  <a:lnTo>
                    <a:pt x="2128" y="106"/>
                  </a:lnTo>
                  <a:lnTo>
                    <a:pt x="2128" y="106"/>
                  </a:lnTo>
                  <a:lnTo>
                    <a:pt x="2125" y="102"/>
                  </a:lnTo>
                  <a:lnTo>
                    <a:pt x="2122" y="98"/>
                  </a:lnTo>
                  <a:lnTo>
                    <a:pt x="2122" y="98"/>
                  </a:lnTo>
                  <a:lnTo>
                    <a:pt x="2114" y="92"/>
                  </a:lnTo>
                  <a:lnTo>
                    <a:pt x="2111" y="92"/>
                  </a:lnTo>
                  <a:lnTo>
                    <a:pt x="2107" y="93"/>
                  </a:lnTo>
                  <a:lnTo>
                    <a:pt x="2105" y="96"/>
                  </a:lnTo>
                  <a:lnTo>
                    <a:pt x="2105" y="96"/>
                  </a:lnTo>
                  <a:lnTo>
                    <a:pt x="2104" y="96"/>
                  </a:lnTo>
                  <a:lnTo>
                    <a:pt x="2102" y="98"/>
                  </a:lnTo>
                  <a:lnTo>
                    <a:pt x="2102" y="100"/>
                  </a:lnTo>
                  <a:lnTo>
                    <a:pt x="2105" y="105"/>
                  </a:lnTo>
                  <a:lnTo>
                    <a:pt x="2105" y="105"/>
                  </a:lnTo>
                  <a:lnTo>
                    <a:pt x="2110" y="111"/>
                  </a:lnTo>
                  <a:lnTo>
                    <a:pt x="2111" y="115"/>
                  </a:lnTo>
                  <a:lnTo>
                    <a:pt x="2113" y="124"/>
                  </a:lnTo>
                  <a:lnTo>
                    <a:pt x="2113" y="124"/>
                  </a:lnTo>
                  <a:lnTo>
                    <a:pt x="2114" y="132"/>
                  </a:lnTo>
                  <a:lnTo>
                    <a:pt x="2114" y="139"/>
                  </a:lnTo>
                  <a:lnTo>
                    <a:pt x="2114" y="139"/>
                  </a:lnTo>
                  <a:lnTo>
                    <a:pt x="2116" y="146"/>
                  </a:lnTo>
                  <a:lnTo>
                    <a:pt x="2120" y="151"/>
                  </a:lnTo>
                  <a:lnTo>
                    <a:pt x="2120" y="151"/>
                  </a:lnTo>
                  <a:lnTo>
                    <a:pt x="2125" y="155"/>
                  </a:lnTo>
                  <a:lnTo>
                    <a:pt x="2128" y="155"/>
                  </a:lnTo>
                  <a:lnTo>
                    <a:pt x="2129" y="155"/>
                  </a:lnTo>
                  <a:lnTo>
                    <a:pt x="2129" y="155"/>
                  </a:lnTo>
                  <a:lnTo>
                    <a:pt x="2131" y="154"/>
                  </a:lnTo>
                  <a:lnTo>
                    <a:pt x="2132" y="151"/>
                  </a:lnTo>
                  <a:lnTo>
                    <a:pt x="2132" y="145"/>
                  </a:lnTo>
                  <a:lnTo>
                    <a:pt x="2132" y="145"/>
                  </a:lnTo>
                  <a:close/>
                  <a:moveTo>
                    <a:pt x="1537" y="751"/>
                  </a:moveTo>
                  <a:lnTo>
                    <a:pt x="1537" y="751"/>
                  </a:lnTo>
                  <a:lnTo>
                    <a:pt x="1531" y="743"/>
                  </a:lnTo>
                  <a:lnTo>
                    <a:pt x="1518" y="730"/>
                  </a:lnTo>
                  <a:lnTo>
                    <a:pt x="1518" y="730"/>
                  </a:lnTo>
                  <a:lnTo>
                    <a:pt x="1513" y="724"/>
                  </a:lnTo>
                  <a:lnTo>
                    <a:pt x="1510" y="720"/>
                  </a:lnTo>
                  <a:lnTo>
                    <a:pt x="1510" y="718"/>
                  </a:lnTo>
                  <a:lnTo>
                    <a:pt x="1507" y="717"/>
                  </a:lnTo>
                  <a:lnTo>
                    <a:pt x="1507" y="717"/>
                  </a:lnTo>
                  <a:lnTo>
                    <a:pt x="1498" y="709"/>
                  </a:lnTo>
                  <a:lnTo>
                    <a:pt x="1486" y="703"/>
                  </a:lnTo>
                  <a:lnTo>
                    <a:pt x="1486" y="703"/>
                  </a:lnTo>
                  <a:lnTo>
                    <a:pt x="1482" y="702"/>
                  </a:lnTo>
                  <a:lnTo>
                    <a:pt x="1479" y="702"/>
                  </a:lnTo>
                  <a:lnTo>
                    <a:pt x="1478" y="703"/>
                  </a:lnTo>
                  <a:lnTo>
                    <a:pt x="1457" y="711"/>
                  </a:lnTo>
                  <a:lnTo>
                    <a:pt x="1457" y="711"/>
                  </a:lnTo>
                  <a:lnTo>
                    <a:pt x="1454" y="714"/>
                  </a:lnTo>
                  <a:lnTo>
                    <a:pt x="1445" y="720"/>
                  </a:lnTo>
                  <a:lnTo>
                    <a:pt x="1445" y="720"/>
                  </a:lnTo>
                  <a:lnTo>
                    <a:pt x="1442" y="720"/>
                  </a:lnTo>
                  <a:lnTo>
                    <a:pt x="1441" y="720"/>
                  </a:lnTo>
                  <a:lnTo>
                    <a:pt x="1438" y="717"/>
                  </a:lnTo>
                  <a:lnTo>
                    <a:pt x="1433" y="711"/>
                  </a:lnTo>
                  <a:lnTo>
                    <a:pt x="1433" y="711"/>
                  </a:lnTo>
                  <a:lnTo>
                    <a:pt x="1424" y="714"/>
                  </a:lnTo>
                  <a:lnTo>
                    <a:pt x="1423" y="715"/>
                  </a:lnTo>
                  <a:lnTo>
                    <a:pt x="1421" y="720"/>
                  </a:lnTo>
                  <a:lnTo>
                    <a:pt x="1421" y="720"/>
                  </a:lnTo>
                  <a:lnTo>
                    <a:pt x="1421" y="725"/>
                  </a:lnTo>
                  <a:lnTo>
                    <a:pt x="1420" y="731"/>
                  </a:lnTo>
                  <a:lnTo>
                    <a:pt x="1420" y="731"/>
                  </a:lnTo>
                  <a:lnTo>
                    <a:pt x="1420" y="736"/>
                  </a:lnTo>
                  <a:lnTo>
                    <a:pt x="1420" y="740"/>
                  </a:lnTo>
                  <a:lnTo>
                    <a:pt x="1420" y="740"/>
                  </a:lnTo>
                  <a:lnTo>
                    <a:pt x="1418" y="745"/>
                  </a:lnTo>
                  <a:lnTo>
                    <a:pt x="1417" y="748"/>
                  </a:lnTo>
                  <a:lnTo>
                    <a:pt x="1417" y="748"/>
                  </a:lnTo>
                  <a:lnTo>
                    <a:pt x="1412" y="751"/>
                  </a:lnTo>
                  <a:lnTo>
                    <a:pt x="1406" y="754"/>
                  </a:lnTo>
                  <a:lnTo>
                    <a:pt x="1406" y="754"/>
                  </a:lnTo>
                  <a:lnTo>
                    <a:pt x="1392" y="760"/>
                  </a:lnTo>
                  <a:lnTo>
                    <a:pt x="1383" y="764"/>
                  </a:lnTo>
                  <a:lnTo>
                    <a:pt x="1377" y="765"/>
                  </a:lnTo>
                  <a:lnTo>
                    <a:pt x="1377" y="765"/>
                  </a:lnTo>
                  <a:lnTo>
                    <a:pt x="1369" y="763"/>
                  </a:lnTo>
                  <a:lnTo>
                    <a:pt x="1362" y="760"/>
                  </a:lnTo>
                  <a:lnTo>
                    <a:pt x="1362" y="760"/>
                  </a:lnTo>
                  <a:lnTo>
                    <a:pt x="1359" y="758"/>
                  </a:lnTo>
                  <a:lnTo>
                    <a:pt x="1358" y="755"/>
                  </a:lnTo>
                  <a:lnTo>
                    <a:pt x="1356" y="754"/>
                  </a:lnTo>
                  <a:lnTo>
                    <a:pt x="1353" y="752"/>
                  </a:lnTo>
                  <a:lnTo>
                    <a:pt x="1353" y="752"/>
                  </a:lnTo>
                  <a:lnTo>
                    <a:pt x="1346" y="754"/>
                  </a:lnTo>
                  <a:lnTo>
                    <a:pt x="1340" y="757"/>
                  </a:lnTo>
                  <a:lnTo>
                    <a:pt x="1328" y="768"/>
                  </a:lnTo>
                  <a:lnTo>
                    <a:pt x="1328" y="768"/>
                  </a:lnTo>
                  <a:lnTo>
                    <a:pt x="1321" y="774"/>
                  </a:lnTo>
                  <a:lnTo>
                    <a:pt x="1313" y="780"/>
                  </a:lnTo>
                  <a:lnTo>
                    <a:pt x="1309" y="788"/>
                  </a:lnTo>
                  <a:lnTo>
                    <a:pt x="1307" y="791"/>
                  </a:lnTo>
                  <a:lnTo>
                    <a:pt x="1307" y="795"/>
                  </a:lnTo>
                  <a:lnTo>
                    <a:pt x="1307" y="795"/>
                  </a:lnTo>
                  <a:lnTo>
                    <a:pt x="1309" y="800"/>
                  </a:lnTo>
                  <a:lnTo>
                    <a:pt x="1313" y="804"/>
                  </a:lnTo>
                  <a:lnTo>
                    <a:pt x="1325" y="814"/>
                  </a:lnTo>
                  <a:lnTo>
                    <a:pt x="1325" y="814"/>
                  </a:lnTo>
                  <a:lnTo>
                    <a:pt x="1329" y="814"/>
                  </a:lnTo>
                  <a:lnTo>
                    <a:pt x="1332" y="816"/>
                  </a:lnTo>
                  <a:lnTo>
                    <a:pt x="1335" y="817"/>
                  </a:lnTo>
                  <a:lnTo>
                    <a:pt x="1335" y="817"/>
                  </a:lnTo>
                  <a:lnTo>
                    <a:pt x="1337" y="820"/>
                  </a:lnTo>
                  <a:lnTo>
                    <a:pt x="1337" y="823"/>
                  </a:lnTo>
                  <a:lnTo>
                    <a:pt x="1337" y="834"/>
                  </a:lnTo>
                  <a:lnTo>
                    <a:pt x="1337" y="834"/>
                  </a:lnTo>
                  <a:lnTo>
                    <a:pt x="1338" y="848"/>
                  </a:lnTo>
                  <a:lnTo>
                    <a:pt x="1338" y="848"/>
                  </a:lnTo>
                  <a:lnTo>
                    <a:pt x="1338" y="856"/>
                  </a:lnTo>
                  <a:lnTo>
                    <a:pt x="1340" y="865"/>
                  </a:lnTo>
                  <a:lnTo>
                    <a:pt x="1340" y="865"/>
                  </a:lnTo>
                  <a:lnTo>
                    <a:pt x="1338" y="878"/>
                  </a:lnTo>
                  <a:lnTo>
                    <a:pt x="1337" y="881"/>
                  </a:lnTo>
                  <a:lnTo>
                    <a:pt x="1334" y="882"/>
                  </a:lnTo>
                  <a:lnTo>
                    <a:pt x="1334" y="882"/>
                  </a:lnTo>
                  <a:lnTo>
                    <a:pt x="1324" y="884"/>
                  </a:lnTo>
                  <a:lnTo>
                    <a:pt x="1319" y="885"/>
                  </a:lnTo>
                  <a:lnTo>
                    <a:pt x="1316" y="888"/>
                  </a:lnTo>
                  <a:lnTo>
                    <a:pt x="1315" y="891"/>
                  </a:lnTo>
                  <a:lnTo>
                    <a:pt x="1315" y="891"/>
                  </a:lnTo>
                  <a:lnTo>
                    <a:pt x="1312" y="894"/>
                  </a:lnTo>
                  <a:lnTo>
                    <a:pt x="1309" y="897"/>
                  </a:lnTo>
                  <a:lnTo>
                    <a:pt x="1303" y="903"/>
                  </a:lnTo>
                  <a:lnTo>
                    <a:pt x="1301" y="906"/>
                  </a:lnTo>
                  <a:lnTo>
                    <a:pt x="1303" y="909"/>
                  </a:lnTo>
                  <a:lnTo>
                    <a:pt x="1306" y="915"/>
                  </a:lnTo>
                  <a:lnTo>
                    <a:pt x="1313" y="922"/>
                  </a:lnTo>
                  <a:lnTo>
                    <a:pt x="1313" y="922"/>
                  </a:lnTo>
                  <a:lnTo>
                    <a:pt x="1318" y="927"/>
                  </a:lnTo>
                  <a:lnTo>
                    <a:pt x="1321" y="928"/>
                  </a:lnTo>
                  <a:lnTo>
                    <a:pt x="1322" y="928"/>
                  </a:lnTo>
                  <a:lnTo>
                    <a:pt x="1322" y="928"/>
                  </a:lnTo>
                  <a:lnTo>
                    <a:pt x="1324" y="933"/>
                  </a:lnTo>
                  <a:lnTo>
                    <a:pt x="1325" y="940"/>
                  </a:lnTo>
                  <a:lnTo>
                    <a:pt x="1325" y="940"/>
                  </a:lnTo>
                  <a:lnTo>
                    <a:pt x="1325" y="949"/>
                  </a:lnTo>
                  <a:lnTo>
                    <a:pt x="1327" y="955"/>
                  </a:lnTo>
                  <a:lnTo>
                    <a:pt x="1328" y="959"/>
                  </a:lnTo>
                  <a:lnTo>
                    <a:pt x="1332" y="964"/>
                  </a:lnTo>
                  <a:lnTo>
                    <a:pt x="1332" y="964"/>
                  </a:lnTo>
                  <a:lnTo>
                    <a:pt x="1335" y="965"/>
                  </a:lnTo>
                  <a:lnTo>
                    <a:pt x="1338" y="965"/>
                  </a:lnTo>
                  <a:lnTo>
                    <a:pt x="1343" y="967"/>
                  </a:lnTo>
                  <a:lnTo>
                    <a:pt x="1346" y="973"/>
                  </a:lnTo>
                  <a:lnTo>
                    <a:pt x="1346" y="973"/>
                  </a:lnTo>
                  <a:lnTo>
                    <a:pt x="1347" y="979"/>
                  </a:lnTo>
                  <a:lnTo>
                    <a:pt x="1349" y="982"/>
                  </a:lnTo>
                  <a:lnTo>
                    <a:pt x="1352" y="983"/>
                  </a:lnTo>
                  <a:lnTo>
                    <a:pt x="1352" y="983"/>
                  </a:lnTo>
                  <a:lnTo>
                    <a:pt x="1365" y="995"/>
                  </a:lnTo>
                  <a:lnTo>
                    <a:pt x="1365" y="995"/>
                  </a:lnTo>
                  <a:lnTo>
                    <a:pt x="1369" y="995"/>
                  </a:lnTo>
                  <a:lnTo>
                    <a:pt x="1371" y="997"/>
                  </a:lnTo>
                  <a:lnTo>
                    <a:pt x="1372" y="998"/>
                  </a:lnTo>
                  <a:lnTo>
                    <a:pt x="1372" y="998"/>
                  </a:lnTo>
                  <a:lnTo>
                    <a:pt x="1374" y="1001"/>
                  </a:lnTo>
                  <a:lnTo>
                    <a:pt x="1377" y="1004"/>
                  </a:lnTo>
                  <a:lnTo>
                    <a:pt x="1386" y="1008"/>
                  </a:lnTo>
                  <a:lnTo>
                    <a:pt x="1386" y="1008"/>
                  </a:lnTo>
                  <a:lnTo>
                    <a:pt x="1395" y="1011"/>
                  </a:lnTo>
                  <a:lnTo>
                    <a:pt x="1401" y="1010"/>
                  </a:lnTo>
                  <a:lnTo>
                    <a:pt x="1401" y="1010"/>
                  </a:lnTo>
                  <a:lnTo>
                    <a:pt x="1404" y="1007"/>
                  </a:lnTo>
                  <a:lnTo>
                    <a:pt x="1405" y="1002"/>
                  </a:lnTo>
                  <a:lnTo>
                    <a:pt x="1406" y="995"/>
                  </a:lnTo>
                  <a:lnTo>
                    <a:pt x="1406" y="995"/>
                  </a:lnTo>
                  <a:lnTo>
                    <a:pt x="1406" y="994"/>
                  </a:lnTo>
                  <a:lnTo>
                    <a:pt x="1405" y="992"/>
                  </a:lnTo>
                  <a:lnTo>
                    <a:pt x="1404" y="991"/>
                  </a:lnTo>
                  <a:lnTo>
                    <a:pt x="1401" y="988"/>
                  </a:lnTo>
                  <a:lnTo>
                    <a:pt x="1401" y="988"/>
                  </a:lnTo>
                  <a:lnTo>
                    <a:pt x="1399" y="980"/>
                  </a:lnTo>
                  <a:lnTo>
                    <a:pt x="1399" y="970"/>
                  </a:lnTo>
                  <a:lnTo>
                    <a:pt x="1399" y="951"/>
                  </a:lnTo>
                  <a:lnTo>
                    <a:pt x="1399" y="951"/>
                  </a:lnTo>
                  <a:lnTo>
                    <a:pt x="1405" y="909"/>
                  </a:lnTo>
                  <a:lnTo>
                    <a:pt x="1405" y="909"/>
                  </a:lnTo>
                  <a:lnTo>
                    <a:pt x="1406" y="902"/>
                  </a:lnTo>
                  <a:lnTo>
                    <a:pt x="1408" y="897"/>
                  </a:lnTo>
                  <a:lnTo>
                    <a:pt x="1411" y="893"/>
                  </a:lnTo>
                  <a:lnTo>
                    <a:pt x="1411" y="893"/>
                  </a:lnTo>
                  <a:lnTo>
                    <a:pt x="1418" y="882"/>
                  </a:lnTo>
                  <a:lnTo>
                    <a:pt x="1424" y="874"/>
                  </a:lnTo>
                  <a:lnTo>
                    <a:pt x="1424" y="874"/>
                  </a:lnTo>
                  <a:lnTo>
                    <a:pt x="1436" y="857"/>
                  </a:lnTo>
                  <a:lnTo>
                    <a:pt x="1436" y="857"/>
                  </a:lnTo>
                  <a:lnTo>
                    <a:pt x="1448" y="842"/>
                  </a:lnTo>
                  <a:lnTo>
                    <a:pt x="1448" y="842"/>
                  </a:lnTo>
                  <a:lnTo>
                    <a:pt x="1452" y="840"/>
                  </a:lnTo>
                  <a:lnTo>
                    <a:pt x="1460" y="835"/>
                  </a:lnTo>
                  <a:lnTo>
                    <a:pt x="1460" y="835"/>
                  </a:lnTo>
                  <a:lnTo>
                    <a:pt x="1464" y="829"/>
                  </a:lnTo>
                  <a:lnTo>
                    <a:pt x="1467" y="826"/>
                  </a:lnTo>
                  <a:lnTo>
                    <a:pt x="1467" y="826"/>
                  </a:lnTo>
                  <a:lnTo>
                    <a:pt x="1479" y="814"/>
                  </a:lnTo>
                  <a:lnTo>
                    <a:pt x="1479" y="814"/>
                  </a:lnTo>
                  <a:lnTo>
                    <a:pt x="1486" y="808"/>
                  </a:lnTo>
                  <a:lnTo>
                    <a:pt x="1494" y="802"/>
                  </a:lnTo>
                  <a:lnTo>
                    <a:pt x="1494" y="802"/>
                  </a:lnTo>
                  <a:lnTo>
                    <a:pt x="1498" y="800"/>
                  </a:lnTo>
                  <a:lnTo>
                    <a:pt x="1504" y="800"/>
                  </a:lnTo>
                  <a:lnTo>
                    <a:pt x="1510" y="801"/>
                  </a:lnTo>
                  <a:lnTo>
                    <a:pt x="1510" y="801"/>
                  </a:lnTo>
                  <a:lnTo>
                    <a:pt x="1516" y="798"/>
                  </a:lnTo>
                  <a:lnTo>
                    <a:pt x="1523" y="795"/>
                  </a:lnTo>
                  <a:lnTo>
                    <a:pt x="1523" y="795"/>
                  </a:lnTo>
                  <a:lnTo>
                    <a:pt x="1528" y="794"/>
                  </a:lnTo>
                  <a:lnTo>
                    <a:pt x="1529" y="791"/>
                  </a:lnTo>
                  <a:lnTo>
                    <a:pt x="1529" y="791"/>
                  </a:lnTo>
                  <a:lnTo>
                    <a:pt x="1532" y="788"/>
                  </a:lnTo>
                  <a:lnTo>
                    <a:pt x="1534" y="786"/>
                  </a:lnTo>
                  <a:lnTo>
                    <a:pt x="1538" y="783"/>
                  </a:lnTo>
                  <a:lnTo>
                    <a:pt x="1538" y="783"/>
                  </a:lnTo>
                  <a:lnTo>
                    <a:pt x="1543" y="780"/>
                  </a:lnTo>
                  <a:lnTo>
                    <a:pt x="1546" y="779"/>
                  </a:lnTo>
                  <a:lnTo>
                    <a:pt x="1550" y="777"/>
                  </a:lnTo>
                  <a:lnTo>
                    <a:pt x="1550" y="777"/>
                  </a:lnTo>
                  <a:lnTo>
                    <a:pt x="1550" y="777"/>
                  </a:lnTo>
                  <a:lnTo>
                    <a:pt x="1550" y="774"/>
                  </a:lnTo>
                  <a:lnTo>
                    <a:pt x="1547" y="768"/>
                  </a:lnTo>
                  <a:lnTo>
                    <a:pt x="1547" y="768"/>
                  </a:lnTo>
                  <a:lnTo>
                    <a:pt x="1537" y="751"/>
                  </a:lnTo>
                  <a:lnTo>
                    <a:pt x="1537" y="751"/>
                  </a:lnTo>
                  <a:close/>
                  <a:moveTo>
                    <a:pt x="2114" y="177"/>
                  </a:moveTo>
                  <a:lnTo>
                    <a:pt x="2114" y="177"/>
                  </a:lnTo>
                  <a:lnTo>
                    <a:pt x="2108" y="176"/>
                  </a:lnTo>
                  <a:lnTo>
                    <a:pt x="2108" y="176"/>
                  </a:lnTo>
                  <a:lnTo>
                    <a:pt x="2099" y="176"/>
                  </a:lnTo>
                  <a:lnTo>
                    <a:pt x="2088" y="188"/>
                  </a:lnTo>
                  <a:lnTo>
                    <a:pt x="2088" y="188"/>
                  </a:lnTo>
                  <a:lnTo>
                    <a:pt x="2082" y="198"/>
                  </a:lnTo>
                  <a:lnTo>
                    <a:pt x="2082" y="198"/>
                  </a:lnTo>
                  <a:lnTo>
                    <a:pt x="2079" y="204"/>
                  </a:lnTo>
                  <a:lnTo>
                    <a:pt x="2077" y="209"/>
                  </a:lnTo>
                  <a:lnTo>
                    <a:pt x="2077" y="212"/>
                  </a:lnTo>
                  <a:lnTo>
                    <a:pt x="2077" y="212"/>
                  </a:lnTo>
                  <a:lnTo>
                    <a:pt x="2082" y="216"/>
                  </a:lnTo>
                  <a:lnTo>
                    <a:pt x="2085" y="217"/>
                  </a:lnTo>
                  <a:lnTo>
                    <a:pt x="2088" y="216"/>
                  </a:lnTo>
                  <a:lnTo>
                    <a:pt x="2088" y="216"/>
                  </a:lnTo>
                  <a:lnTo>
                    <a:pt x="2094" y="210"/>
                  </a:lnTo>
                  <a:lnTo>
                    <a:pt x="2097" y="206"/>
                  </a:lnTo>
                  <a:lnTo>
                    <a:pt x="2097" y="206"/>
                  </a:lnTo>
                  <a:lnTo>
                    <a:pt x="2098" y="203"/>
                  </a:lnTo>
                  <a:lnTo>
                    <a:pt x="2101" y="200"/>
                  </a:lnTo>
                  <a:lnTo>
                    <a:pt x="2101" y="200"/>
                  </a:lnTo>
                  <a:lnTo>
                    <a:pt x="2105" y="198"/>
                  </a:lnTo>
                  <a:lnTo>
                    <a:pt x="2107" y="198"/>
                  </a:lnTo>
                  <a:lnTo>
                    <a:pt x="2108" y="200"/>
                  </a:lnTo>
                  <a:lnTo>
                    <a:pt x="2108" y="200"/>
                  </a:lnTo>
                  <a:lnTo>
                    <a:pt x="2111" y="204"/>
                  </a:lnTo>
                  <a:lnTo>
                    <a:pt x="2113" y="206"/>
                  </a:lnTo>
                  <a:lnTo>
                    <a:pt x="2113" y="206"/>
                  </a:lnTo>
                  <a:lnTo>
                    <a:pt x="2116" y="207"/>
                  </a:lnTo>
                  <a:lnTo>
                    <a:pt x="2117" y="206"/>
                  </a:lnTo>
                  <a:lnTo>
                    <a:pt x="2119" y="203"/>
                  </a:lnTo>
                  <a:lnTo>
                    <a:pt x="2119" y="203"/>
                  </a:lnTo>
                  <a:lnTo>
                    <a:pt x="2120" y="197"/>
                  </a:lnTo>
                  <a:lnTo>
                    <a:pt x="2119" y="194"/>
                  </a:lnTo>
                  <a:lnTo>
                    <a:pt x="2117" y="186"/>
                  </a:lnTo>
                  <a:lnTo>
                    <a:pt x="2117" y="186"/>
                  </a:lnTo>
                  <a:lnTo>
                    <a:pt x="2117" y="182"/>
                  </a:lnTo>
                  <a:lnTo>
                    <a:pt x="2116" y="179"/>
                  </a:lnTo>
                  <a:lnTo>
                    <a:pt x="2114" y="177"/>
                  </a:lnTo>
                  <a:lnTo>
                    <a:pt x="2114" y="177"/>
                  </a:lnTo>
                  <a:close/>
                  <a:moveTo>
                    <a:pt x="2062" y="619"/>
                  </a:moveTo>
                  <a:lnTo>
                    <a:pt x="2062" y="619"/>
                  </a:lnTo>
                  <a:lnTo>
                    <a:pt x="2058" y="616"/>
                  </a:lnTo>
                  <a:lnTo>
                    <a:pt x="2054" y="614"/>
                  </a:lnTo>
                  <a:lnTo>
                    <a:pt x="2043" y="613"/>
                  </a:lnTo>
                  <a:lnTo>
                    <a:pt x="2031" y="614"/>
                  </a:lnTo>
                  <a:lnTo>
                    <a:pt x="2024" y="617"/>
                  </a:lnTo>
                  <a:lnTo>
                    <a:pt x="2024" y="617"/>
                  </a:lnTo>
                  <a:lnTo>
                    <a:pt x="2006" y="628"/>
                  </a:lnTo>
                  <a:lnTo>
                    <a:pt x="1996" y="634"/>
                  </a:lnTo>
                  <a:lnTo>
                    <a:pt x="1987" y="637"/>
                  </a:lnTo>
                  <a:lnTo>
                    <a:pt x="1987" y="637"/>
                  </a:lnTo>
                  <a:lnTo>
                    <a:pt x="1977" y="638"/>
                  </a:lnTo>
                  <a:lnTo>
                    <a:pt x="1959" y="637"/>
                  </a:lnTo>
                  <a:lnTo>
                    <a:pt x="1928" y="634"/>
                  </a:lnTo>
                  <a:lnTo>
                    <a:pt x="1928" y="634"/>
                  </a:lnTo>
                  <a:lnTo>
                    <a:pt x="1923" y="632"/>
                  </a:lnTo>
                  <a:lnTo>
                    <a:pt x="1919" y="629"/>
                  </a:lnTo>
                  <a:lnTo>
                    <a:pt x="1916" y="626"/>
                  </a:lnTo>
                  <a:lnTo>
                    <a:pt x="1914" y="622"/>
                  </a:lnTo>
                  <a:lnTo>
                    <a:pt x="1910" y="614"/>
                  </a:lnTo>
                  <a:lnTo>
                    <a:pt x="1904" y="606"/>
                  </a:lnTo>
                  <a:lnTo>
                    <a:pt x="1904" y="606"/>
                  </a:lnTo>
                  <a:lnTo>
                    <a:pt x="1895" y="594"/>
                  </a:lnTo>
                  <a:lnTo>
                    <a:pt x="1891" y="591"/>
                  </a:lnTo>
                  <a:lnTo>
                    <a:pt x="1885" y="589"/>
                  </a:lnTo>
                  <a:lnTo>
                    <a:pt x="1885" y="589"/>
                  </a:lnTo>
                  <a:lnTo>
                    <a:pt x="1883" y="591"/>
                  </a:lnTo>
                  <a:lnTo>
                    <a:pt x="1879" y="592"/>
                  </a:lnTo>
                  <a:lnTo>
                    <a:pt x="1871" y="598"/>
                  </a:lnTo>
                  <a:lnTo>
                    <a:pt x="1863" y="603"/>
                  </a:lnTo>
                  <a:lnTo>
                    <a:pt x="1858" y="606"/>
                  </a:lnTo>
                  <a:lnTo>
                    <a:pt x="1852" y="606"/>
                  </a:lnTo>
                  <a:lnTo>
                    <a:pt x="1852" y="606"/>
                  </a:lnTo>
                  <a:lnTo>
                    <a:pt x="1848" y="604"/>
                  </a:lnTo>
                  <a:lnTo>
                    <a:pt x="1843" y="603"/>
                  </a:lnTo>
                  <a:lnTo>
                    <a:pt x="1839" y="598"/>
                  </a:lnTo>
                  <a:lnTo>
                    <a:pt x="1836" y="595"/>
                  </a:lnTo>
                  <a:lnTo>
                    <a:pt x="1833" y="594"/>
                  </a:lnTo>
                  <a:lnTo>
                    <a:pt x="1833" y="594"/>
                  </a:lnTo>
                  <a:lnTo>
                    <a:pt x="1823" y="592"/>
                  </a:lnTo>
                  <a:lnTo>
                    <a:pt x="1823" y="592"/>
                  </a:lnTo>
                  <a:lnTo>
                    <a:pt x="1818" y="591"/>
                  </a:lnTo>
                  <a:lnTo>
                    <a:pt x="1815" y="589"/>
                  </a:lnTo>
                  <a:lnTo>
                    <a:pt x="1812" y="583"/>
                  </a:lnTo>
                  <a:lnTo>
                    <a:pt x="1811" y="580"/>
                  </a:lnTo>
                  <a:lnTo>
                    <a:pt x="1809" y="579"/>
                  </a:lnTo>
                  <a:lnTo>
                    <a:pt x="1808" y="579"/>
                  </a:lnTo>
                  <a:lnTo>
                    <a:pt x="1808" y="579"/>
                  </a:lnTo>
                  <a:lnTo>
                    <a:pt x="1802" y="583"/>
                  </a:lnTo>
                  <a:lnTo>
                    <a:pt x="1797" y="586"/>
                  </a:lnTo>
                  <a:lnTo>
                    <a:pt x="1791" y="588"/>
                  </a:lnTo>
                  <a:lnTo>
                    <a:pt x="1791" y="588"/>
                  </a:lnTo>
                  <a:lnTo>
                    <a:pt x="1783" y="591"/>
                  </a:lnTo>
                  <a:lnTo>
                    <a:pt x="1775" y="592"/>
                  </a:lnTo>
                  <a:lnTo>
                    <a:pt x="1775" y="592"/>
                  </a:lnTo>
                  <a:lnTo>
                    <a:pt x="1771" y="594"/>
                  </a:lnTo>
                  <a:lnTo>
                    <a:pt x="1763" y="597"/>
                  </a:lnTo>
                  <a:lnTo>
                    <a:pt x="1763" y="597"/>
                  </a:lnTo>
                  <a:lnTo>
                    <a:pt x="1756" y="598"/>
                  </a:lnTo>
                  <a:lnTo>
                    <a:pt x="1750" y="600"/>
                  </a:lnTo>
                  <a:lnTo>
                    <a:pt x="1744" y="600"/>
                  </a:lnTo>
                  <a:lnTo>
                    <a:pt x="1738" y="601"/>
                  </a:lnTo>
                  <a:lnTo>
                    <a:pt x="1738" y="601"/>
                  </a:lnTo>
                  <a:lnTo>
                    <a:pt x="1735" y="604"/>
                  </a:lnTo>
                  <a:lnTo>
                    <a:pt x="1731" y="607"/>
                  </a:lnTo>
                  <a:lnTo>
                    <a:pt x="1729" y="608"/>
                  </a:lnTo>
                  <a:lnTo>
                    <a:pt x="1728" y="607"/>
                  </a:lnTo>
                  <a:lnTo>
                    <a:pt x="1726" y="606"/>
                  </a:lnTo>
                  <a:lnTo>
                    <a:pt x="1726" y="606"/>
                  </a:lnTo>
                  <a:lnTo>
                    <a:pt x="1725" y="603"/>
                  </a:lnTo>
                  <a:lnTo>
                    <a:pt x="1723" y="603"/>
                  </a:lnTo>
                  <a:lnTo>
                    <a:pt x="1720" y="603"/>
                  </a:lnTo>
                  <a:lnTo>
                    <a:pt x="1720" y="603"/>
                  </a:lnTo>
                  <a:lnTo>
                    <a:pt x="1713" y="604"/>
                  </a:lnTo>
                  <a:lnTo>
                    <a:pt x="1713" y="604"/>
                  </a:lnTo>
                  <a:lnTo>
                    <a:pt x="1706" y="608"/>
                  </a:lnTo>
                  <a:lnTo>
                    <a:pt x="1700" y="611"/>
                  </a:lnTo>
                  <a:lnTo>
                    <a:pt x="1700" y="611"/>
                  </a:lnTo>
                  <a:lnTo>
                    <a:pt x="1695" y="611"/>
                  </a:lnTo>
                  <a:lnTo>
                    <a:pt x="1689" y="611"/>
                  </a:lnTo>
                  <a:lnTo>
                    <a:pt x="1689" y="611"/>
                  </a:lnTo>
                  <a:lnTo>
                    <a:pt x="1685" y="608"/>
                  </a:lnTo>
                  <a:lnTo>
                    <a:pt x="1682" y="606"/>
                  </a:lnTo>
                  <a:lnTo>
                    <a:pt x="1682" y="606"/>
                  </a:lnTo>
                  <a:lnTo>
                    <a:pt x="1679" y="600"/>
                  </a:lnTo>
                  <a:lnTo>
                    <a:pt x="1679" y="600"/>
                  </a:lnTo>
                  <a:lnTo>
                    <a:pt x="1675" y="597"/>
                  </a:lnTo>
                  <a:lnTo>
                    <a:pt x="1670" y="595"/>
                  </a:lnTo>
                  <a:lnTo>
                    <a:pt x="1666" y="597"/>
                  </a:lnTo>
                  <a:lnTo>
                    <a:pt x="1666" y="597"/>
                  </a:lnTo>
                  <a:lnTo>
                    <a:pt x="1663" y="600"/>
                  </a:lnTo>
                  <a:lnTo>
                    <a:pt x="1660" y="603"/>
                  </a:lnTo>
                  <a:lnTo>
                    <a:pt x="1658" y="607"/>
                  </a:lnTo>
                  <a:lnTo>
                    <a:pt x="1658" y="610"/>
                  </a:lnTo>
                  <a:lnTo>
                    <a:pt x="1658" y="610"/>
                  </a:lnTo>
                  <a:lnTo>
                    <a:pt x="1657" y="626"/>
                  </a:lnTo>
                  <a:lnTo>
                    <a:pt x="1649" y="634"/>
                  </a:lnTo>
                  <a:lnTo>
                    <a:pt x="1624" y="641"/>
                  </a:lnTo>
                  <a:lnTo>
                    <a:pt x="1620" y="648"/>
                  </a:lnTo>
                  <a:lnTo>
                    <a:pt x="1620" y="648"/>
                  </a:lnTo>
                  <a:lnTo>
                    <a:pt x="1620" y="650"/>
                  </a:lnTo>
                  <a:lnTo>
                    <a:pt x="1620" y="651"/>
                  </a:lnTo>
                  <a:lnTo>
                    <a:pt x="1617" y="651"/>
                  </a:lnTo>
                  <a:lnTo>
                    <a:pt x="1617" y="651"/>
                  </a:lnTo>
                  <a:lnTo>
                    <a:pt x="1606" y="656"/>
                  </a:lnTo>
                  <a:lnTo>
                    <a:pt x="1600" y="659"/>
                  </a:lnTo>
                  <a:lnTo>
                    <a:pt x="1599" y="660"/>
                  </a:lnTo>
                  <a:lnTo>
                    <a:pt x="1598" y="662"/>
                  </a:lnTo>
                  <a:lnTo>
                    <a:pt x="1598" y="662"/>
                  </a:lnTo>
                  <a:lnTo>
                    <a:pt x="1598" y="665"/>
                  </a:lnTo>
                  <a:lnTo>
                    <a:pt x="1600" y="668"/>
                  </a:lnTo>
                  <a:lnTo>
                    <a:pt x="1605" y="671"/>
                  </a:lnTo>
                  <a:lnTo>
                    <a:pt x="1609" y="675"/>
                  </a:lnTo>
                  <a:lnTo>
                    <a:pt x="1611" y="678"/>
                  </a:lnTo>
                  <a:lnTo>
                    <a:pt x="1611" y="681"/>
                  </a:lnTo>
                  <a:lnTo>
                    <a:pt x="1611" y="681"/>
                  </a:lnTo>
                  <a:lnTo>
                    <a:pt x="1611" y="687"/>
                  </a:lnTo>
                  <a:lnTo>
                    <a:pt x="1611" y="688"/>
                  </a:lnTo>
                  <a:lnTo>
                    <a:pt x="1611" y="690"/>
                  </a:lnTo>
                  <a:lnTo>
                    <a:pt x="1609" y="690"/>
                  </a:lnTo>
                  <a:lnTo>
                    <a:pt x="1609" y="690"/>
                  </a:lnTo>
                  <a:lnTo>
                    <a:pt x="1608" y="691"/>
                  </a:lnTo>
                  <a:lnTo>
                    <a:pt x="1606" y="693"/>
                  </a:lnTo>
                  <a:lnTo>
                    <a:pt x="1605" y="694"/>
                  </a:lnTo>
                  <a:lnTo>
                    <a:pt x="1602" y="694"/>
                  </a:lnTo>
                  <a:lnTo>
                    <a:pt x="1602" y="694"/>
                  </a:lnTo>
                  <a:lnTo>
                    <a:pt x="1598" y="693"/>
                  </a:lnTo>
                  <a:lnTo>
                    <a:pt x="1596" y="690"/>
                  </a:lnTo>
                  <a:lnTo>
                    <a:pt x="1593" y="685"/>
                  </a:lnTo>
                  <a:lnTo>
                    <a:pt x="1593" y="685"/>
                  </a:lnTo>
                  <a:lnTo>
                    <a:pt x="1593" y="680"/>
                  </a:lnTo>
                  <a:lnTo>
                    <a:pt x="1592" y="678"/>
                  </a:lnTo>
                  <a:lnTo>
                    <a:pt x="1590" y="675"/>
                  </a:lnTo>
                  <a:lnTo>
                    <a:pt x="1590" y="675"/>
                  </a:lnTo>
                  <a:lnTo>
                    <a:pt x="1586" y="669"/>
                  </a:lnTo>
                  <a:lnTo>
                    <a:pt x="1583" y="663"/>
                  </a:lnTo>
                  <a:lnTo>
                    <a:pt x="1583" y="663"/>
                  </a:lnTo>
                  <a:lnTo>
                    <a:pt x="1581" y="657"/>
                  </a:lnTo>
                  <a:lnTo>
                    <a:pt x="1581" y="657"/>
                  </a:lnTo>
                  <a:lnTo>
                    <a:pt x="1580" y="657"/>
                  </a:lnTo>
                  <a:lnTo>
                    <a:pt x="1577" y="657"/>
                  </a:lnTo>
                  <a:lnTo>
                    <a:pt x="1572" y="663"/>
                  </a:lnTo>
                  <a:lnTo>
                    <a:pt x="1572" y="663"/>
                  </a:lnTo>
                  <a:lnTo>
                    <a:pt x="1571" y="666"/>
                  </a:lnTo>
                  <a:lnTo>
                    <a:pt x="1571" y="668"/>
                  </a:lnTo>
                  <a:lnTo>
                    <a:pt x="1571" y="669"/>
                  </a:lnTo>
                  <a:lnTo>
                    <a:pt x="1569" y="671"/>
                  </a:lnTo>
                  <a:lnTo>
                    <a:pt x="1569" y="671"/>
                  </a:lnTo>
                  <a:lnTo>
                    <a:pt x="1566" y="671"/>
                  </a:lnTo>
                  <a:lnTo>
                    <a:pt x="1563" y="669"/>
                  </a:lnTo>
                  <a:lnTo>
                    <a:pt x="1558" y="668"/>
                  </a:lnTo>
                  <a:lnTo>
                    <a:pt x="1558" y="668"/>
                  </a:lnTo>
                  <a:lnTo>
                    <a:pt x="1558" y="666"/>
                  </a:lnTo>
                  <a:lnTo>
                    <a:pt x="1558" y="663"/>
                  </a:lnTo>
                  <a:lnTo>
                    <a:pt x="1556" y="662"/>
                  </a:lnTo>
                  <a:lnTo>
                    <a:pt x="1553" y="660"/>
                  </a:lnTo>
                  <a:lnTo>
                    <a:pt x="1553" y="660"/>
                  </a:lnTo>
                  <a:lnTo>
                    <a:pt x="1546" y="662"/>
                  </a:lnTo>
                  <a:lnTo>
                    <a:pt x="1540" y="663"/>
                  </a:lnTo>
                  <a:lnTo>
                    <a:pt x="1540" y="663"/>
                  </a:lnTo>
                  <a:lnTo>
                    <a:pt x="1538" y="665"/>
                  </a:lnTo>
                  <a:lnTo>
                    <a:pt x="1535" y="663"/>
                  </a:lnTo>
                  <a:lnTo>
                    <a:pt x="1534" y="665"/>
                  </a:lnTo>
                  <a:lnTo>
                    <a:pt x="1532" y="668"/>
                  </a:lnTo>
                  <a:lnTo>
                    <a:pt x="1532" y="668"/>
                  </a:lnTo>
                  <a:lnTo>
                    <a:pt x="1529" y="672"/>
                  </a:lnTo>
                  <a:lnTo>
                    <a:pt x="1529" y="675"/>
                  </a:lnTo>
                  <a:lnTo>
                    <a:pt x="1529" y="677"/>
                  </a:lnTo>
                  <a:lnTo>
                    <a:pt x="1529" y="677"/>
                  </a:lnTo>
                  <a:lnTo>
                    <a:pt x="1532" y="681"/>
                  </a:lnTo>
                  <a:lnTo>
                    <a:pt x="1537" y="684"/>
                  </a:lnTo>
                  <a:lnTo>
                    <a:pt x="1537" y="684"/>
                  </a:lnTo>
                  <a:lnTo>
                    <a:pt x="1541" y="685"/>
                  </a:lnTo>
                  <a:lnTo>
                    <a:pt x="1546" y="687"/>
                  </a:lnTo>
                  <a:lnTo>
                    <a:pt x="1546" y="687"/>
                  </a:lnTo>
                  <a:lnTo>
                    <a:pt x="1552" y="688"/>
                  </a:lnTo>
                  <a:lnTo>
                    <a:pt x="1558" y="690"/>
                  </a:lnTo>
                  <a:lnTo>
                    <a:pt x="1558" y="690"/>
                  </a:lnTo>
                  <a:lnTo>
                    <a:pt x="1562" y="691"/>
                  </a:lnTo>
                  <a:lnTo>
                    <a:pt x="1563" y="691"/>
                  </a:lnTo>
                  <a:lnTo>
                    <a:pt x="1563" y="693"/>
                  </a:lnTo>
                  <a:lnTo>
                    <a:pt x="1563" y="693"/>
                  </a:lnTo>
                  <a:lnTo>
                    <a:pt x="1563" y="694"/>
                  </a:lnTo>
                  <a:lnTo>
                    <a:pt x="1562" y="696"/>
                  </a:lnTo>
                  <a:lnTo>
                    <a:pt x="1562" y="696"/>
                  </a:lnTo>
                  <a:lnTo>
                    <a:pt x="1559" y="697"/>
                  </a:lnTo>
                  <a:lnTo>
                    <a:pt x="1553" y="699"/>
                  </a:lnTo>
                  <a:lnTo>
                    <a:pt x="1541" y="699"/>
                  </a:lnTo>
                  <a:lnTo>
                    <a:pt x="1541" y="699"/>
                  </a:lnTo>
                  <a:lnTo>
                    <a:pt x="1535" y="697"/>
                  </a:lnTo>
                  <a:lnTo>
                    <a:pt x="1526" y="699"/>
                  </a:lnTo>
                  <a:lnTo>
                    <a:pt x="1526" y="699"/>
                  </a:lnTo>
                  <a:lnTo>
                    <a:pt x="1521" y="702"/>
                  </a:lnTo>
                  <a:lnTo>
                    <a:pt x="1516" y="706"/>
                  </a:lnTo>
                  <a:lnTo>
                    <a:pt x="1515" y="709"/>
                  </a:lnTo>
                  <a:lnTo>
                    <a:pt x="1516" y="712"/>
                  </a:lnTo>
                  <a:lnTo>
                    <a:pt x="1518" y="715"/>
                  </a:lnTo>
                  <a:lnTo>
                    <a:pt x="1521" y="720"/>
                  </a:lnTo>
                  <a:lnTo>
                    <a:pt x="1521" y="720"/>
                  </a:lnTo>
                  <a:lnTo>
                    <a:pt x="1531" y="724"/>
                  </a:lnTo>
                  <a:lnTo>
                    <a:pt x="1541" y="728"/>
                  </a:lnTo>
                  <a:lnTo>
                    <a:pt x="1541" y="728"/>
                  </a:lnTo>
                  <a:lnTo>
                    <a:pt x="1546" y="730"/>
                  </a:lnTo>
                  <a:lnTo>
                    <a:pt x="1549" y="733"/>
                  </a:lnTo>
                  <a:lnTo>
                    <a:pt x="1552" y="737"/>
                  </a:lnTo>
                  <a:lnTo>
                    <a:pt x="1552" y="737"/>
                  </a:lnTo>
                  <a:lnTo>
                    <a:pt x="1553" y="742"/>
                  </a:lnTo>
                  <a:lnTo>
                    <a:pt x="1553" y="745"/>
                  </a:lnTo>
                  <a:lnTo>
                    <a:pt x="1553" y="751"/>
                  </a:lnTo>
                  <a:lnTo>
                    <a:pt x="1553" y="751"/>
                  </a:lnTo>
                  <a:lnTo>
                    <a:pt x="1555" y="755"/>
                  </a:lnTo>
                  <a:lnTo>
                    <a:pt x="1556" y="758"/>
                  </a:lnTo>
                  <a:lnTo>
                    <a:pt x="1556" y="758"/>
                  </a:lnTo>
                  <a:lnTo>
                    <a:pt x="1552" y="764"/>
                  </a:lnTo>
                  <a:lnTo>
                    <a:pt x="1550" y="768"/>
                  </a:lnTo>
                  <a:lnTo>
                    <a:pt x="1550" y="770"/>
                  </a:lnTo>
                  <a:lnTo>
                    <a:pt x="1552" y="773"/>
                  </a:lnTo>
                  <a:lnTo>
                    <a:pt x="1552" y="773"/>
                  </a:lnTo>
                  <a:lnTo>
                    <a:pt x="1555" y="776"/>
                  </a:lnTo>
                  <a:lnTo>
                    <a:pt x="1560" y="777"/>
                  </a:lnTo>
                  <a:lnTo>
                    <a:pt x="1565" y="779"/>
                  </a:lnTo>
                  <a:lnTo>
                    <a:pt x="1571" y="777"/>
                  </a:lnTo>
                  <a:lnTo>
                    <a:pt x="1571" y="777"/>
                  </a:lnTo>
                  <a:lnTo>
                    <a:pt x="1584" y="771"/>
                  </a:lnTo>
                  <a:lnTo>
                    <a:pt x="1584" y="771"/>
                  </a:lnTo>
                  <a:lnTo>
                    <a:pt x="1592" y="770"/>
                  </a:lnTo>
                  <a:lnTo>
                    <a:pt x="1595" y="770"/>
                  </a:lnTo>
                  <a:lnTo>
                    <a:pt x="1598" y="768"/>
                  </a:lnTo>
                  <a:lnTo>
                    <a:pt x="1598" y="768"/>
                  </a:lnTo>
                  <a:lnTo>
                    <a:pt x="1609" y="763"/>
                  </a:lnTo>
                  <a:lnTo>
                    <a:pt x="1614" y="760"/>
                  </a:lnTo>
                  <a:lnTo>
                    <a:pt x="1617" y="757"/>
                  </a:lnTo>
                  <a:lnTo>
                    <a:pt x="1617" y="757"/>
                  </a:lnTo>
                  <a:lnTo>
                    <a:pt x="1626" y="746"/>
                  </a:lnTo>
                  <a:lnTo>
                    <a:pt x="1629" y="742"/>
                  </a:lnTo>
                  <a:lnTo>
                    <a:pt x="1629" y="742"/>
                  </a:lnTo>
                  <a:lnTo>
                    <a:pt x="1630" y="739"/>
                  </a:lnTo>
                  <a:lnTo>
                    <a:pt x="1633" y="739"/>
                  </a:lnTo>
                  <a:lnTo>
                    <a:pt x="1633" y="739"/>
                  </a:lnTo>
                  <a:lnTo>
                    <a:pt x="1640" y="737"/>
                  </a:lnTo>
                  <a:lnTo>
                    <a:pt x="1640" y="737"/>
                  </a:lnTo>
                  <a:lnTo>
                    <a:pt x="1642" y="737"/>
                  </a:lnTo>
                  <a:lnTo>
                    <a:pt x="1643" y="739"/>
                  </a:lnTo>
                  <a:lnTo>
                    <a:pt x="1646" y="740"/>
                  </a:lnTo>
                  <a:lnTo>
                    <a:pt x="1652" y="740"/>
                  </a:lnTo>
                  <a:lnTo>
                    <a:pt x="1652" y="740"/>
                  </a:lnTo>
                  <a:lnTo>
                    <a:pt x="1658" y="740"/>
                  </a:lnTo>
                  <a:lnTo>
                    <a:pt x="1663" y="740"/>
                  </a:lnTo>
                  <a:lnTo>
                    <a:pt x="1666" y="739"/>
                  </a:lnTo>
                  <a:lnTo>
                    <a:pt x="1666" y="739"/>
                  </a:lnTo>
                  <a:lnTo>
                    <a:pt x="1670" y="736"/>
                  </a:lnTo>
                  <a:lnTo>
                    <a:pt x="1675" y="733"/>
                  </a:lnTo>
                  <a:lnTo>
                    <a:pt x="1677" y="728"/>
                  </a:lnTo>
                  <a:lnTo>
                    <a:pt x="1677" y="721"/>
                  </a:lnTo>
                  <a:lnTo>
                    <a:pt x="1677" y="721"/>
                  </a:lnTo>
                  <a:lnTo>
                    <a:pt x="1685" y="718"/>
                  </a:lnTo>
                  <a:lnTo>
                    <a:pt x="1685" y="718"/>
                  </a:lnTo>
                  <a:lnTo>
                    <a:pt x="1688" y="718"/>
                  </a:lnTo>
                  <a:lnTo>
                    <a:pt x="1689" y="718"/>
                  </a:lnTo>
                  <a:lnTo>
                    <a:pt x="1692" y="718"/>
                  </a:lnTo>
                  <a:lnTo>
                    <a:pt x="1692" y="718"/>
                  </a:lnTo>
                  <a:lnTo>
                    <a:pt x="1697" y="717"/>
                  </a:lnTo>
                  <a:lnTo>
                    <a:pt x="1704" y="715"/>
                  </a:lnTo>
                  <a:lnTo>
                    <a:pt x="1704" y="715"/>
                  </a:lnTo>
                  <a:lnTo>
                    <a:pt x="1722" y="714"/>
                  </a:lnTo>
                  <a:lnTo>
                    <a:pt x="1722" y="714"/>
                  </a:lnTo>
                  <a:lnTo>
                    <a:pt x="1738" y="714"/>
                  </a:lnTo>
                  <a:lnTo>
                    <a:pt x="1738" y="714"/>
                  </a:lnTo>
                  <a:lnTo>
                    <a:pt x="1752" y="714"/>
                  </a:lnTo>
                  <a:lnTo>
                    <a:pt x="1752" y="714"/>
                  </a:lnTo>
                  <a:lnTo>
                    <a:pt x="1756" y="712"/>
                  </a:lnTo>
                  <a:lnTo>
                    <a:pt x="1757" y="712"/>
                  </a:lnTo>
                  <a:lnTo>
                    <a:pt x="1759" y="711"/>
                  </a:lnTo>
                  <a:lnTo>
                    <a:pt x="1759" y="711"/>
                  </a:lnTo>
                  <a:lnTo>
                    <a:pt x="1760" y="708"/>
                  </a:lnTo>
                  <a:lnTo>
                    <a:pt x="1762" y="703"/>
                  </a:lnTo>
                  <a:lnTo>
                    <a:pt x="1762" y="703"/>
                  </a:lnTo>
                  <a:lnTo>
                    <a:pt x="1766" y="705"/>
                  </a:lnTo>
                  <a:lnTo>
                    <a:pt x="1769" y="708"/>
                  </a:lnTo>
                  <a:lnTo>
                    <a:pt x="1774" y="708"/>
                  </a:lnTo>
                  <a:lnTo>
                    <a:pt x="1774" y="708"/>
                  </a:lnTo>
                  <a:lnTo>
                    <a:pt x="1778" y="705"/>
                  </a:lnTo>
                  <a:lnTo>
                    <a:pt x="1781" y="702"/>
                  </a:lnTo>
                  <a:lnTo>
                    <a:pt x="1786" y="699"/>
                  </a:lnTo>
                  <a:lnTo>
                    <a:pt x="1789" y="697"/>
                  </a:lnTo>
                  <a:lnTo>
                    <a:pt x="1789" y="697"/>
                  </a:lnTo>
                  <a:lnTo>
                    <a:pt x="1794" y="697"/>
                  </a:lnTo>
                  <a:lnTo>
                    <a:pt x="1797" y="696"/>
                  </a:lnTo>
                  <a:lnTo>
                    <a:pt x="1806" y="693"/>
                  </a:lnTo>
                  <a:lnTo>
                    <a:pt x="1806" y="693"/>
                  </a:lnTo>
                  <a:lnTo>
                    <a:pt x="1820" y="688"/>
                  </a:lnTo>
                  <a:lnTo>
                    <a:pt x="1826" y="685"/>
                  </a:lnTo>
                  <a:lnTo>
                    <a:pt x="1833" y="685"/>
                  </a:lnTo>
                  <a:lnTo>
                    <a:pt x="1833" y="685"/>
                  </a:lnTo>
                  <a:lnTo>
                    <a:pt x="1839" y="687"/>
                  </a:lnTo>
                  <a:lnTo>
                    <a:pt x="1848" y="690"/>
                  </a:lnTo>
                  <a:lnTo>
                    <a:pt x="1855" y="693"/>
                  </a:lnTo>
                  <a:lnTo>
                    <a:pt x="1863" y="696"/>
                  </a:lnTo>
                  <a:lnTo>
                    <a:pt x="1863" y="696"/>
                  </a:lnTo>
                  <a:lnTo>
                    <a:pt x="1871" y="694"/>
                  </a:lnTo>
                  <a:lnTo>
                    <a:pt x="1889" y="693"/>
                  </a:lnTo>
                  <a:lnTo>
                    <a:pt x="1911" y="691"/>
                  </a:lnTo>
                  <a:lnTo>
                    <a:pt x="1935" y="690"/>
                  </a:lnTo>
                  <a:lnTo>
                    <a:pt x="1935" y="690"/>
                  </a:lnTo>
                  <a:lnTo>
                    <a:pt x="1959" y="691"/>
                  </a:lnTo>
                  <a:lnTo>
                    <a:pt x="1981" y="694"/>
                  </a:lnTo>
                  <a:lnTo>
                    <a:pt x="2006" y="699"/>
                  </a:lnTo>
                  <a:lnTo>
                    <a:pt x="2006" y="699"/>
                  </a:lnTo>
                  <a:lnTo>
                    <a:pt x="2030" y="699"/>
                  </a:lnTo>
                  <a:lnTo>
                    <a:pt x="2042" y="699"/>
                  </a:lnTo>
                  <a:lnTo>
                    <a:pt x="2048" y="697"/>
                  </a:lnTo>
                  <a:lnTo>
                    <a:pt x="2048" y="697"/>
                  </a:lnTo>
                  <a:lnTo>
                    <a:pt x="2055" y="694"/>
                  </a:lnTo>
                  <a:lnTo>
                    <a:pt x="2064" y="685"/>
                  </a:lnTo>
                  <a:lnTo>
                    <a:pt x="2073" y="675"/>
                  </a:lnTo>
                  <a:lnTo>
                    <a:pt x="2080" y="663"/>
                  </a:lnTo>
                  <a:lnTo>
                    <a:pt x="2080" y="663"/>
                  </a:lnTo>
                  <a:lnTo>
                    <a:pt x="2082" y="657"/>
                  </a:lnTo>
                  <a:lnTo>
                    <a:pt x="2082" y="651"/>
                  </a:lnTo>
                  <a:lnTo>
                    <a:pt x="2080" y="644"/>
                  </a:lnTo>
                  <a:lnTo>
                    <a:pt x="2077" y="638"/>
                  </a:lnTo>
                  <a:lnTo>
                    <a:pt x="2070" y="626"/>
                  </a:lnTo>
                  <a:lnTo>
                    <a:pt x="2062" y="619"/>
                  </a:lnTo>
                  <a:lnTo>
                    <a:pt x="2062" y="619"/>
                  </a:lnTo>
                  <a:close/>
                  <a:moveTo>
                    <a:pt x="1295" y="875"/>
                  </a:moveTo>
                  <a:lnTo>
                    <a:pt x="1300" y="884"/>
                  </a:lnTo>
                  <a:lnTo>
                    <a:pt x="1312" y="880"/>
                  </a:lnTo>
                  <a:lnTo>
                    <a:pt x="1312" y="880"/>
                  </a:lnTo>
                  <a:lnTo>
                    <a:pt x="1315" y="880"/>
                  </a:lnTo>
                  <a:lnTo>
                    <a:pt x="1316" y="878"/>
                  </a:lnTo>
                  <a:lnTo>
                    <a:pt x="1319" y="877"/>
                  </a:lnTo>
                  <a:lnTo>
                    <a:pt x="1319" y="877"/>
                  </a:lnTo>
                  <a:lnTo>
                    <a:pt x="1322" y="871"/>
                  </a:lnTo>
                  <a:lnTo>
                    <a:pt x="1322" y="868"/>
                  </a:lnTo>
                  <a:lnTo>
                    <a:pt x="1322" y="860"/>
                  </a:lnTo>
                  <a:lnTo>
                    <a:pt x="1322" y="860"/>
                  </a:lnTo>
                  <a:lnTo>
                    <a:pt x="1325" y="857"/>
                  </a:lnTo>
                  <a:lnTo>
                    <a:pt x="1328" y="856"/>
                  </a:lnTo>
                  <a:lnTo>
                    <a:pt x="1329" y="853"/>
                  </a:lnTo>
                  <a:lnTo>
                    <a:pt x="1327" y="851"/>
                  </a:lnTo>
                  <a:lnTo>
                    <a:pt x="1327" y="851"/>
                  </a:lnTo>
                  <a:lnTo>
                    <a:pt x="1316" y="842"/>
                  </a:lnTo>
                  <a:lnTo>
                    <a:pt x="1312" y="837"/>
                  </a:lnTo>
                  <a:lnTo>
                    <a:pt x="1303" y="835"/>
                  </a:lnTo>
                  <a:lnTo>
                    <a:pt x="1303" y="835"/>
                  </a:lnTo>
                  <a:lnTo>
                    <a:pt x="1300" y="838"/>
                  </a:lnTo>
                  <a:lnTo>
                    <a:pt x="1298" y="841"/>
                  </a:lnTo>
                  <a:lnTo>
                    <a:pt x="1298" y="842"/>
                  </a:lnTo>
                  <a:lnTo>
                    <a:pt x="1298" y="842"/>
                  </a:lnTo>
                  <a:lnTo>
                    <a:pt x="1303" y="853"/>
                  </a:lnTo>
                  <a:lnTo>
                    <a:pt x="1303" y="862"/>
                  </a:lnTo>
                  <a:lnTo>
                    <a:pt x="1295" y="875"/>
                  </a:lnTo>
                  <a:close/>
                  <a:moveTo>
                    <a:pt x="1301" y="995"/>
                  </a:moveTo>
                  <a:lnTo>
                    <a:pt x="1301" y="995"/>
                  </a:lnTo>
                  <a:lnTo>
                    <a:pt x="1307" y="995"/>
                  </a:lnTo>
                  <a:lnTo>
                    <a:pt x="1312" y="994"/>
                  </a:lnTo>
                  <a:lnTo>
                    <a:pt x="1315" y="991"/>
                  </a:lnTo>
                  <a:lnTo>
                    <a:pt x="1321" y="982"/>
                  </a:lnTo>
                  <a:lnTo>
                    <a:pt x="1321" y="982"/>
                  </a:lnTo>
                  <a:lnTo>
                    <a:pt x="1321" y="979"/>
                  </a:lnTo>
                  <a:lnTo>
                    <a:pt x="1319" y="974"/>
                  </a:lnTo>
                  <a:lnTo>
                    <a:pt x="1319" y="974"/>
                  </a:lnTo>
                  <a:lnTo>
                    <a:pt x="1310" y="959"/>
                  </a:lnTo>
                  <a:lnTo>
                    <a:pt x="1306" y="954"/>
                  </a:lnTo>
                  <a:lnTo>
                    <a:pt x="1297" y="962"/>
                  </a:lnTo>
                  <a:lnTo>
                    <a:pt x="1301" y="985"/>
                  </a:lnTo>
                  <a:lnTo>
                    <a:pt x="1301" y="985"/>
                  </a:lnTo>
                  <a:lnTo>
                    <a:pt x="1298" y="989"/>
                  </a:lnTo>
                  <a:lnTo>
                    <a:pt x="1298" y="994"/>
                  </a:lnTo>
                  <a:lnTo>
                    <a:pt x="1298" y="995"/>
                  </a:lnTo>
                  <a:lnTo>
                    <a:pt x="1301" y="995"/>
                  </a:lnTo>
                  <a:lnTo>
                    <a:pt x="1301" y="995"/>
                  </a:lnTo>
                  <a:close/>
                  <a:moveTo>
                    <a:pt x="2259" y="120"/>
                  </a:moveTo>
                  <a:lnTo>
                    <a:pt x="2259" y="120"/>
                  </a:lnTo>
                  <a:lnTo>
                    <a:pt x="2258" y="126"/>
                  </a:lnTo>
                  <a:lnTo>
                    <a:pt x="2256" y="132"/>
                  </a:lnTo>
                  <a:lnTo>
                    <a:pt x="2258" y="136"/>
                  </a:lnTo>
                  <a:lnTo>
                    <a:pt x="2258" y="136"/>
                  </a:lnTo>
                  <a:lnTo>
                    <a:pt x="2259" y="139"/>
                  </a:lnTo>
                  <a:lnTo>
                    <a:pt x="2261" y="140"/>
                  </a:lnTo>
                  <a:lnTo>
                    <a:pt x="2268" y="143"/>
                  </a:lnTo>
                  <a:lnTo>
                    <a:pt x="2276" y="146"/>
                  </a:lnTo>
                  <a:lnTo>
                    <a:pt x="2280" y="130"/>
                  </a:lnTo>
                  <a:lnTo>
                    <a:pt x="2259" y="120"/>
                  </a:lnTo>
                  <a:close/>
                  <a:moveTo>
                    <a:pt x="2248" y="192"/>
                  </a:moveTo>
                  <a:lnTo>
                    <a:pt x="2248" y="192"/>
                  </a:lnTo>
                  <a:lnTo>
                    <a:pt x="2243" y="197"/>
                  </a:lnTo>
                  <a:lnTo>
                    <a:pt x="2242" y="200"/>
                  </a:lnTo>
                  <a:lnTo>
                    <a:pt x="2237" y="201"/>
                  </a:lnTo>
                  <a:lnTo>
                    <a:pt x="2228" y="201"/>
                  </a:lnTo>
                  <a:lnTo>
                    <a:pt x="2228" y="201"/>
                  </a:lnTo>
                  <a:lnTo>
                    <a:pt x="2219" y="200"/>
                  </a:lnTo>
                  <a:lnTo>
                    <a:pt x="2215" y="201"/>
                  </a:lnTo>
                  <a:lnTo>
                    <a:pt x="2215" y="201"/>
                  </a:lnTo>
                  <a:lnTo>
                    <a:pt x="2215" y="203"/>
                  </a:lnTo>
                  <a:lnTo>
                    <a:pt x="2203" y="207"/>
                  </a:lnTo>
                  <a:lnTo>
                    <a:pt x="2203" y="207"/>
                  </a:lnTo>
                  <a:lnTo>
                    <a:pt x="2197" y="210"/>
                  </a:lnTo>
                  <a:lnTo>
                    <a:pt x="2197" y="210"/>
                  </a:lnTo>
                  <a:lnTo>
                    <a:pt x="2197" y="212"/>
                  </a:lnTo>
                  <a:lnTo>
                    <a:pt x="2199" y="213"/>
                  </a:lnTo>
                  <a:lnTo>
                    <a:pt x="2199" y="215"/>
                  </a:lnTo>
                  <a:lnTo>
                    <a:pt x="2197" y="217"/>
                  </a:lnTo>
                  <a:lnTo>
                    <a:pt x="2197" y="217"/>
                  </a:lnTo>
                  <a:lnTo>
                    <a:pt x="2196" y="222"/>
                  </a:lnTo>
                  <a:lnTo>
                    <a:pt x="2197" y="225"/>
                  </a:lnTo>
                  <a:lnTo>
                    <a:pt x="2199" y="228"/>
                  </a:lnTo>
                  <a:lnTo>
                    <a:pt x="2199" y="228"/>
                  </a:lnTo>
                  <a:lnTo>
                    <a:pt x="2203" y="232"/>
                  </a:lnTo>
                  <a:lnTo>
                    <a:pt x="2209" y="234"/>
                  </a:lnTo>
                  <a:lnTo>
                    <a:pt x="2215" y="237"/>
                  </a:lnTo>
                  <a:lnTo>
                    <a:pt x="2215" y="237"/>
                  </a:lnTo>
                  <a:lnTo>
                    <a:pt x="2228" y="240"/>
                  </a:lnTo>
                  <a:lnTo>
                    <a:pt x="2236" y="241"/>
                  </a:lnTo>
                  <a:lnTo>
                    <a:pt x="2243" y="241"/>
                  </a:lnTo>
                  <a:lnTo>
                    <a:pt x="2243" y="241"/>
                  </a:lnTo>
                  <a:lnTo>
                    <a:pt x="2249" y="238"/>
                  </a:lnTo>
                  <a:lnTo>
                    <a:pt x="2253" y="235"/>
                  </a:lnTo>
                  <a:lnTo>
                    <a:pt x="2262" y="225"/>
                  </a:lnTo>
                  <a:lnTo>
                    <a:pt x="2262" y="225"/>
                  </a:lnTo>
                  <a:lnTo>
                    <a:pt x="2264" y="220"/>
                  </a:lnTo>
                  <a:lnTo>
                    <a:pt x="2265" y="216"/>
                  </a:lnTo>
                  <a:lnTo>
                    <a:pt x="2265" y="207"/>
                  </a:lnTo>
                  <a:lnTo>
                    <a:pt x="2264" y="197"/>
                  </a:lnTo>
                  <a:lnTo>
                    <a:pt x="2262" y="189"/>
                  </a:lnTo>
                  <a:lnTo>
                    <a:pt x="2262" y="189"/>
                  </a:lnTo>
                  <a:lnTo>
                    <a:pt x="2259" y="185"/>
                  </a:lnTo>
                  <a:lnTo>
                    <a:pt x="2258" y="185"/>
                  </a:lnTo>
                  <a:lnTo>
                    <a:pt x="2255" y="185"/>
                  </a:lnTo>
                  <a:lnTo>
                    <a:pt x="2252" y="188"/>
                  </a:lnTo>
                  <a:lnTo>
                    <a:pt x="2248" y="192"/>
                  </a:lnTo>
                  <a:lnTo>
                    <a:pt x="2248" y="192"/>
                  </a:lnTo>
                  <a:close/>
                  <a:moveTo>
                    <a:pt x="1008" y="948"/>
                  </a:moveTo>
                  <a:lnTo>
                    <a:pt x="1008" y="948"/>
                  </a:lnTo>
                  <a:lnTo>
                    <a:pt x="1014" y="952"/>
                  </a:lnTo>
                  <a:lnTo>
                    <a:pt x="1020" y="957"/>
                  </a:lnTo>
                  <a:lnTo>
                    <a:pt x="1020" y="957"/>
                  </a:lnTo>
                  <a:lnTo>
                    <a:pt x="1024" y="959"/>
                  </a:lnTo>
                  <a:lnTo>
                    <a:pt x="1032" y="962"/>
                  </a:lnTo>
                  <a:lnTo>
                    <a:pt x="1042" y="967"/>
                  </a:lnTo>
                  <a:lnTo>
                    <a:pt x="1042" y="967"/>
                  </a:lnTo>
                  <a:lnTo>
                    <a:pt x="1047" y="967"/>
                  </a:lnTo>
                  <a:lnTo>
                    <a:pt x="1050" y="965"/>
                  </a:lnTo>
                  <a:lnTo>
                    <a:pt x="1054" y="964"/>
                  </a:lnTo>
                  <a:lnTo>
                    <a:pt x="1057" y="962"/>
                  </a:lnTo>
                  <a:lnTo>
                    <a:pt x="1057" y="962"/>
                  </a:lnTo>
                  <a:lnTo>
                    <a:pt x="1067" y="961"/>
                  </a:lnTo>
                  <a:lnTo>
                    <a:pt x="1067" y="961"/>
                  </a:lnTo>
                  <a:lnTo>
                    <a:pt x="1072" y="961"/>
                  </a:lnTo>
                  <a:lnTo>
                    <a:pt x="1076" y="962"/>
                  </a:lnTo>
                  <a:lnTo>
                    <a:pt x="1076" y="962"/>
                  </a:lnTo>
                  <a:lnTo>
                    <a:pt x="1082" y="962"/>
                  </a:lnTo>
                  <a:lnTo>
                    <a:pt x="1085" y="961"/>
                  </a:lnTo>
                  <a:lnTo>
                    <a:pt x="1087" y="959"/>
                  </a:lnTo>
                  <a:lnTo>
                    <a:pt x="1087" y="959"/>
                  </a:lnTo>
                  <a:lnTo>
                    <a:pt x="1088" y="957"/>
                  </a:lnTo>
                  <a:lnTo>
                    <a:pt x="1090" y="954"/>
                  </a:lnTo>
                  <a:lnTo>
                    <a:pt x="1090" y="942"/>
                  </a:lnTo>
                  <a:lnTo>
                    <a:pt x="1090" y="942"/>
                  </a:lnTo>
                  <a:lnTo>
                    <a:pt x="1090" y="906"/>
                  </a:lnTo>
                  <a:lnTo>
                    <a:pt x="1090" y="906"/>
                  </a:lnTo>
                  <a:lnTo>
                    <a:pt x="1090" y="903"/>
                  </a:lnTo>
                  <a:lnTo>
                    <a:pt x="1088" y="900"/>
                  </a:lnTo>
                  <a:lnTo>
                    <a:pt x="1084" y="897"/>
                  </a:lnTo>
                  <a:lnTo>
                    <a:pt x="1078" y="894"/>
                  </a:lnTo>
                  <a:lnTo>
                    <a:pt x="1073" y="890"/>
                  </a:lnTo>
                  <a:lnTo>
                    <a:pt x="1073" y="890"/>
                  </a:lnTo>
                  <a:lnTo>
                    <a:pt x="1070" y="888"/>
                  </a:lnTo>
                  <a:lnTo>
                    <a:pt x="1067" y="887"/>
                  </a:lnTo>
                  <a:lnTo>
                    <a:pt x="1060" y="887"/>
                  </a:lnTo>
                  <a:lnTo>
                    <a:pt x="1050" y="890"/>
                  </a:lnTo>
                  <a:lnTo>
                    <a:pt x="1039" y="891"/>
                  </a:lnTo>
                  <a:lnTo>
                    <a:pt x="1039" y="891"/>
                  </a:lnTo>
                  <a:lnTo>
                    <a:pt x="1033" y="891"/>
                  </a:lnTo>
                  <a:lnTo>
                    <a:pt x="1029" y="893"/>
                  </a:lnTo>
                  <a:lnTo>
                    <a:pt x="1020" y="899"/>
                  </a:lnTo>
                  <a:lnTo>
                    <a:pt x="1014" y="903"/>
                  </a:lnTo>
                  <a:lnTo>
                    <a:pt x="1013" y="905"/>
                  </a:lnTo>
                  <a:lnTo>
                    <a:pt x="999" y="922"/>
                  </a:lnTo>
                  <a:lnTo>
                    <a:pt x="998" y="933"/>
                  </a:lnTo>
                  <a:lnTo>
                    <a:pt x="1002" y="940"/>
                  </a:lnTo>
                  <a:lnTo>
                    <a:pt x="1002" y="940"/>
                  </a:lnTo>
                  <a:lnTo>
                    <a:pt x="1008" y="948"/>
                  </a:lnTo>
                  <a:lnTo>
                    <a:pt x="1008" y="948"/>
                  </a:lnTo>
                  <a:close/>
                  <a:moveTo>
                    <a:pt x="1532" y="1270"/>
                  </a:moveTo>
                  <a:lnTo>
                    <a:pt x="1532" y="1270"/>
                  </a:lnTo>
                  <a:lnTo>
                    <a:pt x="1538" y="1294"/>
                  </a:lnTo>
                  <a:lnTo>
                    <a:pt x="1547" y="1324"/>
                  </a:lnTo>
                  <a:lnTo>
                    <a:pt x="1547" y="1324"/>
                  </a:lnTo>
                  <a:lnTo>
                    <a:pt x="1538" y="1321"/>
                  </a:lnTo>
                  <a:lnTo>
                    <a:pt x="1538" y="1321"/>
                  </a:lnTo>
                  <a:lnTo>
                    <a:pt x="1532" y="1321"/>
                  </a:lnTo>
                  <a:lnTo>
                    <a:pt x="1523" y="1324"/>
                  </a:lnTo>
                  <a:lnTo>
                    <a:pt x="1513" y="1327"/>
                  </a:lnTo>
                  <a:lnTo>
                    <a:pt x="1504" y="1333"/>
                  </a:lnTo>
                  <a:lnTo>
                    <a:pt x="1504" y="1333"/>
                  </a:lnTo>
                  <a:lnTo>
                    <a:pt x="1501" y="1334"/>
                  </a:lnTo>
                  <a:lnTo>
                    <a:pt x="1500" y="1337"/>
                  </a:lnTo>
                  <a:lnTo>
                    <a:pt x="1500" y="1340"/>
                  </a:lnTo>
                  <a:lnTo>
                    <a:pt x="1501" y="1343"/>
                  </a:lnTo>
                  <a:lnTo>
                    <a:pt x="1506" y="1348"/>
                  </a:lnTo>
                  <a:lnTo>
                    <a:pt x="1510" y="1353"/>
                  </a:lnTo>
                  <a:lnTo>
                    <a:pt x="1510" y="1353"/>
                  </a:lnTo>
                  <a:lnTo>
                    <a:pt x="1515" y="1358"/>
                  </a:lnTo>
                  <a:lnTo>
                    <a:pt x="1516" y="1362"/>
                  </a:lnTo>
                  <a:lnTo>
                    <a:pt x="1518" y="1367"/>
                  </a:lnTo>
                  <a:lnTo>
                    <a:pt x="1518" y="1370"/>
                  </a:lnTo>
                  <a:lnTo>
                    <a:pt x="1518" y="1370"/>
                  </a:lnTo>
                  <a:lnTo>
                    <a:pt x="1518" y="1380"/>
                  </a:lnTo>
                  <a:lnTo>
                    <a:pt x="1518" y="1385"/>
                  </a:lnTo>
                  <a:lnTo>
                    <a:pt x="1521" y="1389"/>
                  </a:lnTo>
                  <a:lnTo>
                    <a:pt x="1521" y="1389"/>
                  </a:lnTo>
                  <a:lnTo>
                    <a:pt x="1523" y="1392"/>
                  </a:lnTo>
                  <a:lnTo>
                    <a:pt x="1522" y="1395"/>
                  </a:lnTo>
                  <a:lnTo>
                    <a:pt x="1519" y="1399"/>
                  </a:lnTo>
                  <a:lnTo>
                    <a:pt x="1519" y="1399"/>
                  </a:lnTo>
                  <a:lnTo>
                    <a:pt x="1516" y="1402"/>
                  </a:lnTo>
                  <a:lnTo>
                    <a:pt x="1510" y="1402"/>
                  </a:lnTo>
                  <a:lnTo>
                    <a:pt x="1510" y="1402"/>
                  </a:lnTo>
                  <a:lnTo>
                    <a:pt x="1504" y="1399"/>
                  </a:lnTo>
                  <a:lnTo>
                    <a:pt x="1504" y="1399"/>
                  </a:lnTo>
                  <a:lnTo>
                    <a:pt x="1488" y="1389"/>
                  </a:lnTo>
                  <a:lnTo>
                    <a:pt x="1488" y="1389"/>
                  </a:lnTo>
                  <a:lnTo>
                    <a:pt x="1482" y="1387"/>
                  </a:lnTo>
                  <a:lnTo>
                    <a:pt x="1476" y="1387"/>
                  </a:lnTo>
                  <a:lnTo>
                    <a:pt x="1470" y="1389"/>
                  </a:lnTo>
                  <a:lnTo>
                    <a:pt x="1467" y="1392"/>
                  </a:lnTo>
                  <a:lnTo>
                    <a:pt x="1467" y="1392"/>
                  </a:lnTo>
                  <a:lnTo>
                    <a:pt x="1463" y="1398"/>
                  </a:lnTo>
                  <a:lnTo>
                    <a:pt x="1458" y="1401"/>
                  </a:lnTo>
                  <a:lnTo>
                    <a:pt x="1458" y="1401"/>
                  </a:lnTo>
                  <a:lnTo>
                    <a:pt x="1444" y="1402"/>
                  </a:lnTo>
                  <a:lnTo>
                    <a:pt x="1421" y="1404"/>
                  </a:lnTo>
                  <a:lnTo>
                    <a:pt x="1421" y="1404"/>
                  </a:lnTo>
                  <a:lnTo>
                    <a:pt x="1417" y="1405"/>
                  </a:lnTo>
                  <a:lnTo>
                    <a:pt x="1415" y="1408"/>
                  </a:lnTo>
                  <a:lnTo>
                    <a:pt x="1415" y="1411"/>
                  </a:lnTo>
                  <a:lnTo>
                    <a:pt x="1415" y="1414"/>
                  </a:lnTo>
                  <a:lnTo>
                    <a:pt x="1412" y="1417"/>
                  </a:lnTo>
                  <a:lnTo>
                    <a:pt x="1412" y="1417"/>
                  </a:lnTo>
                  <a:lnTo>
                    <a:pt x="1408" y="1420"/>
                  </a:lnTo>
                  <a:lnTo>
                    <a:pt x="1402" y="1420"/>
                  </a:lnTo>
                  <a:lnTo>
                    <a:pt x="1390" y="1417"/>
                  </a:lnTo>
                  <a:lnTo>
                    <a:pt x="1390" y="1417"/>
                  </a:lnTo>
                  <a:lnTo>
                    <a:pt x="1383" y="1417"/>
                  </a:lnTo>
                  <a:lnTo>
                    <a:pt x="1377" y="1419"/>
                  </a:lnTo>
                  <a:lnTo>
                    <a:pt x="1371" y="1420"/>
                  </a:lnTo>
                  <a:lnTo>
                    <a:pt x="1365" y="1423"/>
                  </a:lnTo>
                  <a:lnTo>
                    <a:pt x="1365" y="1423"/>
                  </a:lnTo>
                  <a:lnTo>
                    <a:pt x="1361" y="1426"/>
                  </a:lnTo>
                  <a:lnTo>
                    <a:pt x="1358" y="1430"/>
                  </a:lnTo>
                  <a:lnTo>
                    <a:pt x="1353" y="1439"/>
                  </a:lnTo>
                  <a:lnTo>
                    <a:pt x="1353" y="1439"/>
                  </a:lnTo>
                  <a:lnTo>
                    <a:pt x="1352" y="1441"/>
                  </a:lnTo>
                  <a:lnTo>
                    <a:pt x="1349" y="1442"/>
                  </a:lnTo>
                  <a:lnTo>
                    <a:pt x="1341" y="1442"/>
                  </a:lnTo>
                  <a:lnTo>
                    <a:pt x="1322" y="1442"/>
                  </a:lnTo>
                  <a:lnTo>
                    <a:pt x="1322" y="1442"/>
                  </a:lnTo>
                  <a:lnTo>
                    <a:pt x="1298" y="1441"/>
                  </a:lnTo>
                  <a:lnTo>
                    <a:pt x="1285" y="1439"/>
                  </a:lnTo>
                  <a:lnTo>
                    <a:pt x="1276" y="1436"/>
                  </a:lnTo>
                  <a:lnTo>
                    <a:pt x="1276" y="1436"/>
                  </a:lnTo>
                  <a:lnTo>
                    <a:pt x="1263" y="1427"/>
                  </a:lnTo>
                  <a:lnTo>
                    <a:pt x="1241" y="1411"/>
                  </a:lnTo>
                  <a:lnTo>
                    <a:pt x="1241" y="1411"/>
                  </a:lnTo>
                  <a:lnTo>
                    <a:pt x="1207" y="1387"/>
                  </a:lnTo>
                  <a:lnTo>
                    <a:pt x="1187" y="1374"/>
                  </a:lnTo>
                  <a:lnTo>
                    <a:pt x="1170" y="1362"/>
                  </a:lnTo>
                  <a:lnTo>
                    <a:pt x="1170" y="1362"/>
                  </a:lnTo>
                  <a:lnTo>
                    <a:pt x="1137" y="1336"/>
                  </a:lnTo>
                  <a:lnTo>
                    <a:pt x="1103" y="1309"/>
                  </a:lnTo>
                  <a:lnTo>
                    <a:pt x="1103" y="1309"/>
                  </a:lnTo>
                  <a:lnTo>
                    <a:pt x="1054" y="1270"/>
                  </a:lnTo>
                  <a:lnTo>
                    <a:pt x="1013" y="1236"/>
                  </a:lnTo>
                  <a:lnTo>
                    <a:pt x="1013" y="1236"/>
                  </a:lnTo>
                  <a:lnTo>
                    <a:pt x="1001" y="1223"/>
                  </a:lnTo>
                  <a:lnTo>
                    <a:pt x="989" y="1207"/>
                  </a:lnTo>
                  <a:lnTo>
                    <a:pt x="973" y="1185"/>
                  </a:lnTo>
                  <a:lnTo>
                    <a:pt x="973" y="1185"/>
                  </a:lnTo>
                  <a:lnTo>
                    <a:pt x="970" y="1183"/>
                  </a:lnTo>
                  <a:lnTo>
                    <a:pt x="965" y="1182"/>
                  </a:lnTo>
                  <a:lnTo>
                    <a:pt x="958" y="1182"/>
                  </a:lnTo>
                  <a:lnTo>
                    <a:pt x="958" y="1182"/>
                  </a:lnTo>
                  <a:lnTo>
                    <a:pt x="947" y="1182"/>
                  </a:lnTo>
                  <a:lnTo>
                    <a:pt x="942" y="1182"/>
                  </a:lnTo>
                  <a:lnTo>
                    <a:pt x="936" y="1183"/>
                  </a:lnTo>
                  <a:lnTo>
                    <a:pt x="936" y="1183"/>
                  </a:lnTo>
                  <a:lnTo>
                    <a:pt x="930" y="1185"/>
                  </a:lnTo>
                  <a:lnTo>
                    <a:pt x="924" y="1185"/>
                  </a:lnTo>
                  <a:lnTo>
                    <a:pt x="907" y="1182"/>
                  </a:lnTo>
                  <a:lnTo>
                    <a:pt x="907" y="1182"/>
                  </a:lnTo>
                  <a:lnTo>
                    <a:pt x="887" y="1180"/>
                  </a:lnTo>
                  <a:lnTo>
                    <a:pt x="860" y="1176"/>
                  </a:lnTo>
                  <a:lnTo>
                    <a:pt x="860" y="1176"/>
                  </a:lnTo>
                  <a:lnTo>
                    <a:pt x="848" y="1174"/>
                  </a:lnTo>
                  <a:lnTo>
                    <a:pt x="838" y="1170"/>
                  </a:lnTo>
                  <a:lnTo>
                    <a:pt x="829" y="1167"/>
                  </a:lnTo>
                  <a:lnTo>
                    <a:pt x="819" y="1164"/>
                  </a:lnTo>
                  <a:lnTo>
                    <a:pt x="819" y="1164"/>
                  </a:lnTo>
                  <a:lnTo>
                    <a:pt x="808" y="1161"/>
                  </a:lnTo>
                  <a:lnTo>
                    <a:pt x="801" y="1161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65" y="1189"/>
                  </a:lnTo>
                  <a:lnTo>
                    <a:pt x="745" y="1208"/>
                  </a:lnTo>
                  <a:lnTo>
                    <a:pt x="734" y="1219"/>
                  </a:lnTo>
                  <a:lnTo>
                    <a:pt x="734" y="1219"/>
                  </a:lnTo>
                  <a:lnTo>
                    <a:pt x="731" y="1222"/>
                  </a:lnTo>
                  <a:lnTo>
                    <a:pt x="728" y="1226"/>
                  </a:lnTo>
                  <a:lnTo>
                    <a:pt x="728" y="1232"/>
                  </a:lnTo>
                  <a:lnTo>
                    <a:pt x="728" y="1236"/>
                  </a:lnTo>
                  <a:lnTo>
                    <a:pt x="728" y="1236"/>
                  </a:lnTo>
                  <a:lnTo>
                    <a:pt x="731" y="1238"/>
                  </a:lnTo>
                  <a:lnTo>
                    <a:pt x="734" y="1239"/>
                  </a:lnTo>
                  <a:lnTo>
                    <a:pt x="739" y="1239"/>
                  </a:lnTo>
                  <a:lnTo>
                    <a:pt x="742" y="1242"/>
                  </a:lnTo>
                  <a:lnTo>
                    <a:pt x="742" y="1242"/>
                  </a:lnTo>
                  <a:lnTo>
                    <a:pt x="743" y="1245"/>
                  </a:lnTo>
                  <a:lnTo>
                    <a:pt x="743" y="1248"/>
                  </a:lnTo>
                  <a:lnTo>
                    <a:pt x="742" y="1256"/>
                  </a:lnTo>
                  <a:lnTo>
                    <a:pt x="737" y="1266"/>
                  </a:lnTo>
                  <a:lnTo>
                    <a:pt x="737" y="1266"/>
                  </a:lnTo>
                  <a:lnTo>
                    <a:pt x="733" y="1279"/>
                  </a:lnTo>
                  <a:lnTo>
                    <a:pt x="730" y="1287"/>
                  </a:lnTo>
                  <a:lnTo>
                    <a:pt x="730" y="1294"/>
                  </a:lnTo>
                  <a:lnTo>
                    <a:pt x="730" y="1294"/>
                  </a:lnTo>
                  <a:lnTo>
                    <a:pt x="731" y="1319"/>
                  </a:lnTo>
                  <a:lnTo>
                    <a:pt x="731" y="1319"/>
                  </a:lnTo>
                  <a:lnTo>
                    <a:pt x="730" y="1322"/>
                  </a:lnTo>
                  <a:lnTo>
                    <a:pt x="727" y="1327"/>
                  </a:lnTo>
                  <a:lnTo>
                    <a:pt x="724" y="1330"/>
                  </a:lnTo>
                  <a:lnTo>
                    <a:pt x="724" y="1330"/>
                  </a:lnTo>
                  <a:lnTo>
                    <a:pt x="718" y="1328"/>
                  </a:lnTo>
                  <a:lnTo>
                    <a:pt x="712" y="1327"/>
                  </a:lnTo>
                  <a:lnTo>
                    <a:pt x="706" y="1324"/>
                  </a:lnTo>
                  <a:lnTo>
                    <a:pt x="706" y="1324"/>
                  </a:lnTo>
                  <a:lnTo>
                    <a:pt x="702" y="1319"/>
                  </a:lnTo>
                  <a:lnTo>
                    <a:pt x="699" y="1315"/>
                  </a:lnTo>
                  <a:lnTo>
                    <a:pt x="693" y="1306"/>
                  </a:lnTo>
                  <a:lnTo>
                    <a:pt x="693" y="1306"/>
                  </a:lnTo>
                  <a:lnTo>
                    <a:pt x="690" y="1305"/>
                  </a:lnTo>
                  <a:lnTo>
                    <a:pt x="687" y="1306"/>
                  </a:lnTo>
                  <a:lnTo>
                    <a:pt x="682" y="1308"/>
                  </a:lnTo>
                  <a:lnTo>
                    <a:pt x="679" y="1309"/>
                  </a:lnTo>
                  <a:lnTo>
                    <a:pt x="679" y="1309"/>
                  </a:lnTo>
                  <a:lnTo>
                    <a:pt x="676" y="1308"/>
                  </a:lnTo>
                  <a:lnTo>
                    <a:pt x="674" y="1305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3" y="1293"/>
                  </a:lnTo>
                  <a:lnTo>
                    <a:pt x="659" y="1293"/>
                  </a:lnTo>
                  <a:lnTo>
                    <a:pt x="656" y="1293"/>
                  </a:lnTo>
                  <a:lnTo>
                    <a:pt x="656" y="1293"/>
                  </a:lnTo>
                  <a:lnTo>
                    <a:pt x="653" y="1294"/>
                  </a:lnTo>
                  <a:lnTo>
                    <a:pt x="651" y="1297"/>
                  </a:lnTo>
                  <a:lnTo>
                    <a:pt x="650" y="1300"/>
                  </a:lnTo>
                  <a:lnTo>
                    <a:pt x="648" y="1300"/>
                  </a:lnTo>
                  <a:lnTo>
                    <a:pt x="647" y="1300"/>
                  </a:lnTo>
                  <a:lnTo>
                    <a:pt x="647" y="1300"/>
                  </a:lnTo>
                  <a:lnTo>
                    <a:pt x="642" y="1299"/>
                  </a:lnTo>
                  <a:lnTo>
                    <a:pt x="641" y="1296"/>
                  </a:lnTo>
                  <a:lnTo>
                    <a:pt x="637" y="1293"/>
                  </a:lnTo>
                  <a:lnTo>
                    <a:pt x="632" y="1290"/>
                  </a:lnTo>
                  <a:lnTo>
                    <a:pt x="632" y="1290"/>
                  </a:lnTo>
                  <a:lnTo>
                    <a:pt x="628" y="1288"/>
                  </a:lnTo>
                  <a:lnTo>
                    <a:pt x="625" y="1290"/>
                  </a:lnTo>
                  <a:lnTo>
                    <a:pt x="622" y="1290"/>
                  </a:lnTo>
                  <a:lnTo>
                    <a:pt x="619" y="1290"/>
                  </a:lnTo>
                  <a:lnTo>
                    <a:pt x="619" y="1290"/>
                  </a:lnTo>
                  <a:lnTo>
                    <a:pt x="614" y="1287"/>
                  </a:lnTo>
                  <a:lnTo>
                    <a:pt x="613" y="1284"/>
                  </a:lnTo>
                  <a:lnTo>
                    <a:pt x="611" y="1281"/>
                  </a:lnTo>
                  <a:lnTo>
                    <a:pt x="614" y="1276"/>
                  </a:lnTo>
                  <a:lnTo>
                    <a:pt x="614" y="1276"/>
                  </a:lnTo>
                  <a:lnTo>
                    <a:pt x="616" y="1272"/>
                  </a:lnTo>
                  <a:lnTo>
                    <a:pt x="616" y="1269"/>
                  </a:lnTo>
                  <a:lnTo>
                    <a:pt x="614" y="1268"/>
                  </a:lnTo>
                  <a:lnTo>
                    <a:pt x="611" y="1263"/>
                  </a:lnTo>
                  <a:lnTo>
                    <a:pt x="611" y="1263"/>
                  </a:lnTo>
                  <a:lnTo>
                    <a:pt x="598" y="1247"/>
                  </a:lnTo>
                  <a:lnTo>
                    <a:pt x="589" y="1236"/>
                  </a:lnTo>
                  <a:lnTo>
                    <a:pt x="580" y="1229"/>
                  </a:lnTo>
                  <a:lnTo>
                    <a:pt x="580" y="1229"/>
                  </a:lnTo>
                  <a:lnTo>
                    <a:pt x="568" y="1219"/>
                  </a:lnTo>
                  <a:lnTo>
                    <a:pt x="561" y="1213"/>
                  </a:lnTo>
                  <a:lnTo>
                    <a:pt x="554" y="1207"/>
                  </a:lnTo>
                  <a:lnTo>
                    <a:pt x="554" y="1207"/>
                  </a:lnTo>
                  <a:lnTo>
                    <a:pt x="548" y="1199"/>
                  </a:lnTo>
                  <a:lnTo>
                    <a:pt x="543" y="1193"/>
                  </a:lnTo>
                  <a:lnTo>
                    <a:pt x="540" y="1189"/>
                  </a:lnTo>
                  <a:lnTo>
                    <a:pt x="537" y="1185"/>
                  </a:lnTo>
                  <a:lnTo>
                    <a:pt x="537" y="1185"/>
                  </a:lnTo>
                  <a:lnTo>
                    <a:pt x="533" y="1185"/>
                  </a:lnTo>
                  <a:lnTo>
                    <a:pt x="527" y="1186"/>
                  </a:lnTo>
                  <a:lnTo>
                    <a:pt x="521" y="1189"/>
                  </a:lnTo>
                  <a:lnTo>
                    <a:pt x="520" y="1192"/>
                  </a:lnTo>
                  <a:lnTo>
                    <a:pt x="520" y="1192"/>
                  </a:lnTo>
                  <a:lnTo>
                    <a:pt x="521" y="1213"/>
                  </a:lnTo>
                  <a:lnTo>
                    <a:pt x="525" y="1228"/>
                  </a:lnTo>
                  <a:lnTo>
                    <a:pt x="528" y="1239"/>
                  </a:lnTo>
                  <a:lnTo>
                    <a:pt x="528" y="1239"/>
                  </a:lnTo>
                  <a:lnTo>
                    <a:pt x="531" y="1248"/>
                  </a:lnTo>
                  <a:lnTo>
                    <a:pt x="533" y="1257"/>
                  </a:lnTo>
                  <a:lnTo>
                    <a:pt x="534" y="1269"/>
                  </a:lnTo>
                  <a:lnTo>
                    <a:pt x="534" y="1269"/>
                  </a:lnTo>
                  <a:lnTo>
                    <a:pt x="534" y="1275"/>
                  </a:lnTo>
                  <a:lnTo>
                    <a:pt x="531" y="1284"/>
                  </a:lnTo>
                  <a:lnTo>
                    <a:pt x="527" y="1291"/>
                  </a:lnTo>
                  <a:lnTo>
                    <a:pt x="524" y="1296"/>
                  </a:lnTo>
                  <a:lnTo>
                    <a:pt x="521" y="1297"/>
                  </a:lnTo>
                  <a:lnTo>
                    <a:pt x="521" y="1297"/>
                  </a:lnTo>
                  <a:lnTo>
                    <a:pt x="515" y="1300"/>
                  </a:lnTo>
                  <a:lnTo>
                    <a:pt x="511" y="1302"/>
                  </a:lnTo>
                  <a:lnTo>
                    <a:pt x="506" y="1303"/>
                  </a:lnTo>
                  <a:lnTo>
                    <a:pt x="502" y="1306"/>
                  </a:lnTo>
                  <a:lnTo>
                    <a:pt x="502" y="1306"/>
                  </a:lnTo>
                  <a:lnTo>
                    <a:pt x="500" y="1309"/>
                  </a:lnTo>
                  <a:lnTo>
                    <a:pt x="499" y="1313"/>
                  </a:lnTo>
                  <a:lnTo>
                    <a:pt x="499" y="1322"/>
                  </a:lnTo>
                  <a:lnTo>
                    <a:pt x="500" y="1333"/>
                  </a:lnTo>
                  <a:lnTo>
                    <a:pt x="503" y="1339"/>
                  </a:lnTo>
                  <a:lnTo>
                    <a:pt x="503" y="1339"/>
                  </a:lnTo>
                  <a:lnTo>
                    <a:pt x="505" y="1343"/>
                  </a:lnTo>
                  <a:lnTo>
                    <a:pt x="502" y="1345"/>
                  </a:lnTo>
                  <a:lnTo>
                    <a:pt x="484" y="1348"/>
                  </a:lnTo>
                  <a:lnTo>
                    <a:pt x="484" y="1348"/>
                  </a:lnTo>
                  <a:lnTo>
                    <a:pt x="474" y="1349"/>
                  </a:lnTo>
                  <a:lnTo>
                    <a:pt x="466" y="1350"/>
                  </a:lnTo>
                  <a:lnTo>
                    <a:pt x="462" y="1353"/>
                  </a:lnTo>
                  <a:lnTo>
                    <a:pt x="459" y="1356"/>
                  </a:lnTo>
                  <a:lnTo>
                    <a:pt x="459" y="1356"/>
                  </a:lnTo>
                  <a:lnTo>
                    <a:pt x="457" y="1361"/>
                  </a:lnTo>
                  <a:lnTo>
                    <a:pt x="454" y="1367"/>
                  </a:lnTo>
                  <a:lnTo>
                    <a:pt x="437" y="1389"/>
                  </a:lnTo>
                  <a:lnTo>
                    <a:pt x="437" y="1389"/>
                  </a:lnTo>
                  <a:lnTo>
                    <a:pt x="428" y="1402"/>
                  </a:lnTo>
                  <a:lnTo>
                    <a:pt x="422" y="1410"/>
                  </a:lnTo>
                  <a:lnTo>
                    <a:pt x="422" y="1413"/>
                  </a:lnTo>
                  <a:lnTo>
                    <a:pt x="422" y="1416"/>
                  </a:lnTo>
                  <a:lnTo>
                    <a:pt x="426" y="1419"/>
                  </a:lnTo>
                  <a:lnTo>
                    <a:pt x="426" y="1419"/>
                  </a:lnTo>
                  <a:lnTo>
                    <a:pt x="429" y="1420"/>
                  </a:lnTo>
                  <a:lnTo>
                    <a:pt x="431" y="1420"/>
                  </a:lnTo>
                  <a:lnTo>
                    <a:pt x="435" y="1419"/>
                  </a:lnTo>
                  <a:lnTo>
                    <a:pt x="441" y="1411"/>
                  </a:lnTo>
                  <a:lnTo>
                    <a:pt x="441" y="1411"/>
                  </a:lnTo>
                  <a:lnTo>
                    <a:pt x="443" y="1410"/>
                  </a:lnTo>
                  <a:lnTo>
                    <a:pt x="444" y="1410"/>
                  </a:lnTo>
                  <a:lnTo>
                    <a:pt x="447" y="1413"/>
                  </a:lnTo>
                  <a:lnTo>
                    <a:pt x="451" y="1414"/>
                  </a:lnTo>
                  <a:lnTo>
                    <a:pt x="451" y="1414"/>
                  </a:lnTo>
                  <a:lnTo>
                    <a:pt x="456" y="1417"/>
                  </a:lnTo>
                  <a:lnTo>
                    <a:pt x="459" y="1420"/>
                  </a:lnTo>
                  <a:lnTo>
                    <a:pt x="462" y="1425"/>
                  </a:lnTo>
                  <a:lnTo>
                    <a:pt x="468" y="1432"/>
                  </a:lnTo>
                  <a:lnTo>
                    <a:pt x="468" y="1432"/>
                  </a:lnTo>
                  <a:lnTo>
                    <a:pt x="471" y="1433"/>
                  </a:lnTo>
                  <a:lnTo>
                    <a:pt x="474" y="1433"/>
                  </a:lnTo>
                  <a:lnTo>
                    <a:pt x="478" y="1432"/>
                  </a:lnTo>
                  <a:lnTo>
                    <a:pt x="481" y="1429"/>
                  </a:lnTo>
                  <a:lnTo>
                    <a:pt x="493" y="1416"/>
                  </a:lnTo>
                  <a:lnTo>
                    <a:pt x="493" y="1416"/>
                  </a:lnTo>
                  <a:lnTo>
                    <a:pt x="497" y="1413"/>
                  </a:lnTo>
                  <a:lnTo>
                    <a:pt x="502" y="1411"/>
                  </a:lnTo>
                  <a:lnTo>
                    <a:pt x="508" y="1411"/>
                  </a:lnTo>
                  <a:lnTo>
                    <a:pt x="508" y="1411"/>
                  </a:lnTo>
                  <a:lnTo>
                    <a:pt x="514" y="1416"/>
                  </a:lnTo>
                  <a:lnTo>
                    <a:pt x="522" y="1422"/>
                  </a:lnTo>
                  <a:lnTo>
                    <a:pt x="539" y="1435"/>
                  </a:lnTo>
                  <a:lnTo>
                    <a:pt x="539" y="1435"/>
                  </a:lnTo>
                  <a:lnTo>
                    <a:pt x="542" y="1439"/>
                  </a:lnTo>
                  <a:lnTo>
                    <a:pt x="543" y="1445"/>
                  </a:lnTo>
                  <a:lnTo>
                    <a:pt x="545" y="1451"/>
                  </a:lnTo>
                  <a:lnTo>
                    <a:pt x="545" y="1451"/>
                  </a:lnTo>
                  <a:lnTo>
                    <a:pt x="450" y="1509"/>
                  </a:lnTo>
                  <a:lnTo>
                    <a:pt x="450" y="1509"/>
                  </a:lnTo>
                  <a:lnTo>
                    <a:pt x="447" y="1512"/>
                  </a:lnTo>
                  <a:lnTo>
                    <a:pt x="445" y="1515"/>
                  </a:lnTo>
                  <a:lnTo>
                    <a:pt x="447" y="1518"/>
                  </a:lnTo>
                  <a:lnTo>
                    <a:pt x="448" y="1521"/>
                  </a:lnTo>
                  <a:lnTo>
                    <a:pt x="451" y="1525"/>
                  </a:lnTo>
                  <a:lnTo>
                    <a:pt x="454" y="1528"/>
                  </a:lnTo>
                  <a:lnTo>
                    <a:pt x="454" y="1528"/>
                  </a:lnTo>
                  <a:lnTo>
                    <a:pt x="451" y="1530"/>
                  </a:lnTo>
                  <a:lnTo>
                    <a:pt x="443" y="1537"/>
                  </a:lnTo>
                  <a:lnTo>
                    <a:pt x="443" y="1537"/>
                  </a:lnTo>
                  <a:lnTo>
                    <a:pt x="428" y="1550"/>
                  </a:lnTo>
                  <a:lnTo>
                    <a:pt x="420" y="1556"/>
                  </a:lnTo>
                  <a:lnTo>
                    <a:pt x="414" y="1561"/>
                  </a:lnTo>
                  <a:lnTo>
                    <a:pt x="414" y="1561"/>
                  </a:lnTo>
                  <a:lnTo>
                    <a:pt x="410" y="1562"/>
                  </a:lnTo>
                  <a:lnTo>
                    <a:pt x="407" y="1561"/>
                  </a:lnTo>
                  <a:lnTo>
                    <a:pt x="406" y="1558"/>
                  </a:lnTo>
                  <a:lnTo>
                    <a:pt x="403" y="1556"/>
                  </a:lnTo>
                  <a:lnTo>
                    <a:pt x="403" y="1556"/>
                  </a:lnTo>
                  <a:lnTo>
                    <a:pt x="394" y="1552"/>
                  </a:lnTo>
                  <a:lnTo>
                    <a:pt x="385" y="1549"/>
                  </a:lnTo>
                  <a:lnTo>
                    <a:pt x="385" y="1549"/>
                  </a:lnTo>
                  <a:lnTo>
                    <a:pt x="371" y="1546"/>
                  </a:lnTo>
                  <a:lnTo>
                    <a:pt x="364" y="1546"/>
                  </a:lnTo>
                  <a:lnTo>
                    <a:pt x="360" y="1546"/>
                  </a:lnTo>
                  <a:lnTo>
                    <a:pt x="360" y="1546"/>
                  </a:lnTo>
                  <a:lnTo>
                    <a:pt x="357" y="1547"/>
                  </a:lnTo>
                  <a:lnTo>
                    <a:pt x="354" y="1547"/>
                  </a:lnTo>
                  <a:lnTo>
                    <a:pt x="354" y="1547"/>
                  </a:lnTo>
                  <a:lnTo>
                    <a:pt x="345" y="1543"/>
                  </a:lnTo>
                  <a:lnTo>
                    <a:pt x="345" y="1543"/>
                  </a:lnTo>
                  <a:lnTo>
                    <a:pt x="339" y="1540"/>
                  </a:lnTo>
                  <a:lnTo>
                    <a:pt x="337" y="1536"/>
                  </a:lnTo>
                  <a:lnTo>
                    <a:pt x="336" y="1527"/>
                  </a:lnTo>
                  <a:lnTo>
                    <a:pt x="336" y="1527"/>
                  </a:lnTo>
                  <a:lnTo>
                    <a:pt x="334" y="1515"/>
                  </a:lnTo>
                  <a:lnTo>
                    <a:pt x="333" y="1510"/>
                  </a:lnTo>
                  <a:lnTo>
                    <a:pt x="330" y="1506"/>
                  </a:lnTo>
                  <a:lnTo>
                    <a:pt x="330" y="1506"/>
                  </a:lnTo>
                  <a:lnTo>
                    <a:pt x="326" y="1502"/>
                  </a:lnTo>
                  <a:lnTo>
                    <a:pt x="318" y="1497"/>
                  </a:lnTo>
                  <a:lnTo>
                    <a:pt x="312" y="1496"/>
                  </a:lnTo>
                  <a:lnTo>
                    <a:pt x="308" y="1494"/>
                  </a:lnTo>
                  <a:lnTo>
                    <a:pt x="308" y="1494"/>
                  </a:lnTo>
                  <a:lnTo>
                    <a:pt x="303" y="1496"/>
                  </a:lnTo>
                  <a:lnTo>
                    <a:pt x="302" y="1497"/>
                  </a:lnTo>
                  <a:lnTo>
                    <a:pt x="299" y="1497"/>
                  </a:lnTo>
                  <a:lnTo>
                    <a:pt x="294" y="1496"/>
                  </a:lnTo>
                  <a:lnTo>
                    <a:pt x="294" y="1496"/>
                  </a:lnTo>
                  <a:lnTo>
                    <a:pt x="293" y="1494"/>
                  </a:lnTo>
                  <a:lnTo>
                    <a:pt x="293" y="1493"/>
                  </a:lnTo>
                  <a:lnTo>
                    <a:pt x="294" y="1490"/>
                  </a:lnTo>
                  <a:lnTo>
                    <a:pt x="299" y="1485"/>
                  </a:lnTo>
                  <a:lnTo>
                    <a:pt x="302" y="1481"/>
                  </a:lnTo>
                  <a:lnTo>
                    <a:pt x="302" y="1481"/>
                  </a:lnTo>
                  <a:lnTo>
                    <a:pt x="303" y="1478"/>
                  </a:lnTo>
                  <a:lnTo>
                    <a:pt x="303" y="1475"/>
                  </a:lnTo>
                  <a:lnTo>
                    <a:pt x="300" y="1469"/>
                  </a:lnTo>
                  <a:lnTo>
                    <a:pt x="296" y="1463"/>
                  </a:lnTo>
                  <a:lnTo>
                    <a:pt x="290" y="1460"/>
                  </a:lnTo>
                  <a:lnTo>
                    <a:pt x="290" y="1460"/>
                  </a:lnTo>
                  <a:lnTo>
                    <a:pt x="281" y="1454"/>
                  </a:lnTo>
                  <a:lnTo>
                    <a:pt x="274" y="1448"/>
                  </a:lnTo>
                  <a:lnTo>
                    <a:pt x="274" y="1448"/>
                  </a:lnTo>
                  <a:lnTo>
                    <a:pt x="271" y="1447"/>
                  </a:lnTo>
                  <a:lnTo>
                    <a:pt x="269" y="1444"/>
                  </a:lnTo>
                  <a:lnTo>
                    <a:pt x="271" y="1438"/>
                  </a:lnTo>
                  <a:lnTo>
                    <a:pt x="271" y="1438"/>
                  </a:lnTo>
                  <a:lnTo>
                    <a:pt x="271" y="1436"/>
                  </a:lnTo>
                  <a:lnTo>
                    <a:pt x="274" y="1435"/>
                  </a:lnTo>
                  <a:lnTo>
                    <a:pt x="283" y="1430"/>
                  </a:lnTo>
                  <a:lnTo>
                    <a:pt x="283" y="1430"/>
                  </a:lnTo>
                  <a:lnTo>
                    <a:pt x="284" y="1429"/>
                  </a:lnTo>
                  <a:lnTo>
                    <a:pt x="286" y="1427"/>
                  </a:lnTo>
                  <a:lnTo>
                    <a:pt x="284" y="1425"/>
                  </a:lnTo>
                  <a:lnTo>
                    <a:pt x="274" y="1417"/>
                  </a:lnTo>
                  <a:lnTo>
                    <a:pt x="274" y="1417"/>
                  </a:lnTo>
                  <a:lnTo>
                    <a:pt x="269" y="1414"/>
                  </a:lnTo>
                  <a:lnTo>
                    <a:pt x="265" y="1414"/>
                  </a:lnTo>
                  <a:lnTo>
                    <a:pt x="262" y="1416"/>
                  </a:lnTo>
                  <a:lnTo>
                    <a:pt x="259" y="1419"/>
                  </a:lnTo>
                  <a:lnTo>
                    <a:pt x="259" y="1419"/>
                  </a:lnTo>
                  <a:lnTo>
                    <a:pt x="256" y="1420"/>
                  </a:lnTo>
                  <a:lnTo>
                    <a:pt x="252" y="1420"/>
                  </a:lnTo>
                  <a:lnTo>
                    <a:pt x="238" y="1420"/>
                  </a:lnTo>
                  <a:lnTo>
                    <a:pt x="238" y="1420"/>
                  </a:lnTo>
                  <a:lnTo>
                    <a:pt x="235" y="1419"/>
                  </a:lnTo>
                  <a:lnTo>
                    <a:pt x="232" y="1417"/>
                  </a:lnTo>
                  <a:lnTo>
                    <a:pt x="226" y="1411"/>
                  </a:lnTo>
                  <a:lnTo>
                    <a:pt x="216" y="1396"/>
                  </a:lnTo>
                  <a:lnTo>
                    <a:pt x="216" y="1396"/>
                  </a:lnTo>
                  <a:lnTo>
                    <a:pt x="212" y="1390"/>
                  </a:lnTo>
                  <a:lnTo>
                    <a:pt x="212" y="1385"/>
                  </a:lnTo>
                  <a:lnTo>
                    <a:pt x="212" y="1374"/>
                  </a:lnTo>
                  <a:lnTo>
                    <a:pt x="212" y="1374"/>
                  </a:lnTo>
                  <a:lnTo>
                    <a:pt x="210" y="1370"/>
                  </a:lnTo>
                  <a:lnTo>
                    <a:pt x="207" y="1368"/>
                  </a:lnTo>
                  <a:lnTo>
                    <a:pt x="204" y="1367"/>
                  </a:lnTo>
                  <a:lnTo>
                    <a:pt x="200" y="1362"/>
                  </a:lnTo>
                  <a:lnTo>
                    <a:pt x="200" y="1362"/>
                  </a:lnTo>
                  <a:lnTo>
                    <a:pt x="197" y="1359"/>
                  </a:lnTo>
                  <a:lnTo>
                    <a:pt x="192" y="1358"/>
                  </a:lnTo>
                  <a:lnTo>
                    <a:pt x="188" y="1361"/>
                  </a:lnTo>
                  <a:lnTo>
                    <a:pt x="188" y="1361"/>
                  </a:lnTo>
                  <a:lnTo>
                    <a:pt x="180" y="1361"/>
                  </a:lnTo>
                  <a:lnTo>
                    <a:pt x="170" y="1359"/>
                  </a:lnTo>
                  <a:lnTo>
                    <a:pt x="170" y="1359"/>
                  </a:lnTo>
                  <a:lnTo>
                    <a:pt x="164" y="1358"/>
                  </a:lnTo>
                  <a:lnTo>
                    <a:pt x="160" y="1356"/>
                  </a:lnTo>
                  <a:lnTo>
                    <a:pt x="149" y="1349"/>
                  </a:lnTo>
                  <a:lnTo>
                    <a:pt x="149" y="1349"/>
                  </a:lnTo>
                  <a:lnTo>
                    <a:pt x="148" y="1346"/>
                  </a:lnTo>
                  <a:lnTo>
                    <a:pt x="146" y="1343"/>
                  </a:lnTo>
                  <a:lnTo>
                    <a:pt x="145" y="1337"/>
                  </a:lnTo>
                  <a:lnTo>
                    <a:pt x="143" y="1322"/>
                  </a:lnTo>
                  <a:lnTo>
                    <a:pt x="143" y="1322"/>
                  </a:lnTo>
                  <a:lnTo>
                    <a:pt x="143" y="1321"/>
                  </a:lnTo>
                  <a:lnTo>
                    <a:pt x="142" y="1319"/>
                  </a:lnTo>
                  <a:lnTo>
                    <a:pt x="137" y="1318"/>
                  </a:lnTo>
                  <a:lnTo>
                    <a:pt x="132" y="1318"/>
                  </a:lnTo>
                  <a:lnTo>
                    <a:pt x="124" y="1316"/>
                  </a:lnTo>
                  <a:lnTo>
                    <a:pt x="124" y="1316"/>
                  </a:lnTo>
                  <a:lnTo>
                    <a:pt x="121" y="1315"/>
                  </a:lnTo>
                  <a:lnTo>
                    <a:pt x="120" y="1313"/>
                  </a:lnTo>
                  <a:lnTo>
                    <a:pt x="117" y="1309"/>
                  </a:lnTo>
                  <a:lnTo>
                    <a:pt x="117" y="1303"/>
                  </a:lnTo>
                  <a:lnTo>
                    <a:pt x="115" y="1299"/>
                  </a:lnTo>
                  <a:lnTo>
                    <a:pt x="115" y="1299"/>
                  </a:lnTo>
                  <a:lnTo>
                    <a:pt x="115" y="1296"/>
                  </a:lnTo>
                  <a:lnTo>
                    <a:pt x="117" y="1293"/>
                  </a:lnTo>
                  <a:lnTo>
                    <a:pt x="121" y="1287"/>
                  </a:lnTo>
                  <a:lnTo>
                    <a:pt x="121" y="1287"/>
                  </a:lnTo>
                  <a:lnTo>
                    <a:pt x="121" y="1285"/>
                  </a:lnTo>
                  <a:lnTo>
                    <a:pt x="120" y="1284"/>
                  </a:lnTo>
                  <a:lnTo>
                    <a:pt x="114" y="1281"/>
                  </a:lnTo>
                  <a:lnTo>
                    <a:pt x="114" y="1281"/>
                  </a:lnTo>
                  <a:lnTo>
                    <a:pt x="111" y="1276"/>
                  </a:lnTo>
                  <a:lnTo>
                    <a:pt x="108" y="1272"/>
                  </a:lnTo>
                  <a:lnTo>
                    <a:pt x="103" y="1269"/>
                  </a:lnTo>
                  <a:lnTo>
                    <a:pt x="102" y="1268"/>
                  </a:lnTo>
                  <a:lnTo>
                    <a:pt x="99" y="1266"/>
                  </a:lnTo>
                  <a:lnTo>
                    <a:pt x="99" y="1266"/>
                  </a:lnTo>
                  <a:lnTo>
                    <a:pt x="93" y="1266"/>
                  </a:lnTo>
                  <a:lnTo>
                    <a:pt x="87" y="1268"/>
                  </a:lnTo>
                  <a:lnTo>
                    <a:pt x="81" y="1268"/>
                  </a:lnTo>
                  <a:lnTo>
                    <a:pt x="77" y="1266"/>
                  </a:lnTo>
                  <a:lnTo>
                    <a:pt x="77" y="1266"/>
                  </a:lnTo>
                  <a:lnTo>
                    <a:pt x="74" y="1263"/>
                  </a:lnTo>
                  <a:lnTo>
                    <a:pt x="74" y="1262"/>
                  </a:lnTo>
                  <a:lnTo>
                    <a:pt x="72" y="1254"/>
                  </a:lnTo>
                  <a:lnTo>
                    <a:pt x="72" y="1247"/>
                  </a:lnTo>
                  <a:lnTo>
                    <a:pt x="71" y="1241"/>
                  </a:lnTo>
                  <a:lnTo>
                    <a:pt x="71" y="1241"/>
                  </a:lnTo>
                  <a:lnTo>
                    <a:pt x="69" y="1238"/>
                  </a:lnTo>
                  <a:lnTo>
                    <a:pt x="68" y="1235"/>
                  </a:lnTo>
                  <a:lnTo>
                    <a:pt x="60" y="1232"/>
                  </a:lnTo>
                  <a:lnTo>
                    <a:pt x="47" y="1229"/>
                  </a:lnTo>
                  <a:lnTo>
                    <a:pt x="47" y="1229"/>
                  </a:lnTo>
                  <a:lnTo>
                    <a:pt x="46" y="1226"/>
                  </a:lnTo>
                  <a:lnTo>
                    <a:pt x="44" y="1223"/>
                  </a:lnTo>
                  <a:lnTo>
                    <a:pt x="40" y="1211"/>
                  </a:lnTo>
                  <a:lnTo>
                    <a:pt x="37" y="1193"/>
                  </a:lnTo>
                  <a:lnTo>
                    <a:pt x="37" y="1193"/>
                  </a:lnTo>
                  <a:lnTo>
                    <a:pt x="35" y="1191"/>
                  </a:lnTo>
                  <a:lnTo>
                    <a:pt x="32" y="1188"/>
                  </a:lnTo>
                  <a:lnTo>
                    <a:pt x="25" y="1186"/>
                  </a:lnTo>
                  <a:lnTo>
                    <a:pt x="16" y="1185"/>
                  </a:lnTo>
                  <a:lnTo>
                    <a:pt x="16" y="1185"/>
                  </a:lnTo>
                  <a:lnTo>
                    <a:pt x="12" y="1183"/>
                  </a:lnTo>
                  <a:lnTo>
                    <a:pt x="9" y="1182"/>
                  </a:lnTo>
                  <a:lnTo>
                    <a:pt x="4" y="1177"/>
                  </a:lnTo>
                  <a:lnTo>
                    <a:pt x="0" y="1171"/>
                  </a:lnTo>
                  <a:lnTo>
                    <a:pt x="0" y="1171"/>
                  </a:lnTo>
                  <a:lnTo>
                    <a:pt x="0" y="1168"/>
                  </a:lnTo>
                  <a:lnTo>
                    <a:pt x="0" y="1162"/>
                  </a:lnTo>
                  <a:lnTo>
                    <a:pt x="1" y="1153"/>
                  </a:lnTo>
                  <a:lnTo>
                    <a:pt x="1" y="1148"/>
                  </a:lnTo>
                  <a:lnTo>
                    <a:pt x="1" y="1148"/>
                  </a:lnTo>
                  <a:lnTo>
                    <a:pt x="1" y="1140"/>
                  </a:lnTo>
                  <a:lnTo>
                    <a:pt x="4" y="1131"/>
                  </a:lnTo>
                  <a:lnTo>
                    <a:pt x="7" y="1124"/>
                  </a:lnTo>
                  <a:lnTo>
                    <a:pt x="10" y="1119"/>
                  </a:lnTo>
                  <a:lnTo>
                    <a:pt x="10" y="1119"/>
                  </a:lnTo>
                  <a:lnTo>
                    <a:pt x="18" y="1115"/>
                  </a:lnTo>
                  <a:lnTo>
                    <a:pt x="22" y="1111"/>
                  </a:lnTo>
                  <a:lnTo>
                    <a:pt x="22" y="1109"/>
                  </a:lnTo>
                  <a:lnTo>
                    <a:pt x="22" y="1108"/>
                  </a:lnTo>
                  <a:lnTo>
                    <a:pt x="22" y="1108"/>
                  </a:lnTo>
                  <a:lnTo>
                    <a:pt x="22" y="1099"/>
                  </a:lnTo>
                  <a:lnTo>
                    <a:pt x="23" y="1090"/>
                  </a:lnTo>
                  <a:lnTo>
                    <a:pt x="23" y="1090"/>
                  </a:lnTo>
                  <a:lnTo>
                    <a:pt x="29" y="1075"/>
                  </a:lnTo>
                  <a:lnTo>
                    <a:pt x="32" y="1069"/>
                  </a:lnTo>
                  <a:lnTo>
                    <a:pt x="35" y="1066"/>
                  </a:lnTo>
                  <a:lnTo>
                    <a:pt x="35" y="1066"/>
                  </a:lnTo>
                  <a:lnTo>
                    <a:pt x="43" y="1062"/>
                  </a:lnTo>
                  <a:lnTo>
                    <a:pt x="56" y="1056"/>
                  </a:lnTo>
                  <a:lnTo>
                    <a:pt x="56" y="1056"/>
                  </a:lnTo>
                  <a:lnTo>
                    <a:pt x="69" y="1051"/>
                  </a:lnTo>
                  <a:lnTo>
                    <a:pt x="77" y="1048"/>
                  </a:lnTo>
                  <a:lnTo>
                    <a:pt x="81" y="1045"/>
                  </a:lnTo>
                  <a:lnTo>
                    <a:pt x="81" y="1045"/>
                  </a:lnTo>
                  <a:lnTo>
                    <a:pt x="92" y="1036"/>
                  </a:lnTo>
                  <a:lnTo>
                    <a:pt x="96" y="1031"/>
                  </a:lnTo>
                  <a:lnTo>
                    <a:pt x="98" y="1029"/>
                  </a:lnTo>
                  <a:lnTo>
                    <a:pt x="98" y="1026"/>
                  </a:lnTo>
                  <a:lnTo>
                    <a:pt x="98" y="1026"/>
                  </a:lnTo>
                  <a:lnTo>
                    <a:pt x="96" y="1017"/>
                  </a:lnTo>
                  <a:lnTo>
                    <a:pt x="96" y="1014"/>
                  </a:lnTo>
                  <a:lnTo>
                    <a:pt x="98" y="1010"/>
                  </a:lnTo>
                  <a:lnTo>
                    <a:pt x="98" y="1010"/>
                  </a:lnTo>
                  <a:lnTo>
                    <a:pt x="100" y="1007"/>
                  </a:lnTo>
                  <a:lnTo>
                    <a:pt x="105" y="1004"/>
                  </a:lnTo>
                  <a:lnTo>
                    <a:pt x="109" y="1002"/>
                  </a:lnTo>
                  <a:lnTo>
                    <a:pt x="112" y="1004"/>
                  </a:lnTo>
                  <a:lnTo>
                    <a:pt x="112" y="1004"/>
                  </a:lnTo>
                  <a:lnTo>
                    <a:pt x="114" y="1004"/>
                  </a:lnTo>
                  <a:lnTo>
                    <a:pt x="118" y="1002"/>
                  </a:lnTo>
                  <a:lnTo>
                    <a:pt x="127" y="995"/>
                  </a:lnTo>
                  <a:lnTo>
                    <a:pt x="132" y="991"/>
                  </a:lnTo>
                  <a:lnTo>
                    <a:pt x="135" y="985"/>
                  </a:lnTo>
                  <a:lnTo>
                    <a:pt x="136" y="980"/>
                  </a:lnTo>
                  <a:lnTo>
                    <a:pt x="135" y="977"/>
                  </a:lnTo>
                  <a:lnTo>
                    <a:pt x="135" y="977"/>
                  </a:lnTo>
                  <a:lnTo>
                    <a:pt x="132" y="971"/>
                  </a:lnTo>
                  <a:lnTo>
                    <a:pt x="127" y="967"/>
                  </a:lnTo>
                  <a:lnTo>
                    <a:pt x="124" y="964"/>
                  </a:lnTo>
                  <a:lnTo>
                    <a:pt x="121" y="961"/>
                  </a:lnTo>
                  <a:lnTo>
                    <a:pt x="121" y="961"/>
                  </a:lnTo>
                  <a:lnTo>
                    <a:pt x="121" y="952"/>
                  </a:lnTo>
                  <a:lnTo>
                    <a:pt x="121" y="937"/>
                  </a:lnTo>
                  <a:lnTo>
                    <a:pt x="121" y="922"/>
                  </a:lnTo>
                  <a:lnTo>
                    <a:pt x="124" y="912"/>
                  </a:lnTo>
                  <a:lnTo>
                    <a:pt x="124" y="912"/>
                  </a:lnTo>
                  <a:lnTo>
                    <a:pt x="129" y="908"/>
                  </a:lnTo>
                  <a:lnTo>
                    <a:pt x="133" y="905"/>
                  </a:lnTo>
                  <a:lnTo>
                    <a:pt x="140" y="902"/>
                  </a:lnTo>
                  <a:lnTo>
                    <a:pt x="148" y="897"/>
                  </a:lnTo>
                  <a:lnTo>
                    <a:pt x="148" y="897"/>
                  </a:lnTo>
                  <a:lnTo>
                    <a:pt x="157" y="891"/>
                  </a:lnTo>
                  <a:lnTo>
                    <a:pt x="164" y="884"/>
                  </a:lnTo>
                  <a:lnTo>
                    <a:pt x="172" y="877"/>
                  </a:lnTo>
                  <a:lnTo>
                    <a:pt x="176" y="869"/>
                  </a:lnTo>
                  <a:lnTo>
                    <a:pt x="176" y="869"/>
                  </a:lnTo>
                  <a:lnTo>
                    <a:pt x="179" y="859"/>
                  </a:lnTo>
                  <a:lnTo>
                    <a:pt x="180" y="857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6" y="863"/>
                  </a:lnTo>
                  <a:lnTo>
                    <a:pt x="192" y="871"/>
                  </a:lnTo>
                  <a:lnTo>
                    <a:pt x="200" y="877"/>
                  </a:lnTo>
                  <a:lnTo>
                    <a:pt x="203" y="878"/>
                  </a:lnTo>
                  <a:lnTo>
                    <a:pt x="206" y="878"/>
                  </a:lnTo>
                  <a:lnTo>
                    <a:pt x="206" y="878"/>
                  </a:lnTo>
                  <a:lnTo>
                    <a:pt x="214" y="874"/>
                  </a:lnTo>
                  <a:lnTo>
                    <a:pt x="222" y="868"/>
                  </a:lnTo>
                  <a:lnTo>
                    <a:pt x="232" y="860"/>
                  </a:lnTo>
                  <a:lnTo>
                    <a:pt x="238" y="860"/>
                  </a:lnTo>
                  <a:lnTo>
                    <a:pt x="238" y="860"/>
                  </a:lnTo>
                  <a:lnTo>
                    <a:pt x="238" y="863"/>
                  </a:lnTo>
                  <a:lnTo>
                    <a:pt x="238" y="868"/>
                  </a:lnTo>
                  <a:lnTo>
                    <a:pt x="243" y="878"/>
                  </a:lnTo>
                  <a:lnTo>
                    <a:pt x="243" y="878"/>
                  </a:lnTo>
                  <a:lnTo>
                    <a:pt x="249" y="885"/>
                  </a:lnTo>
                  <a:lnTo>
                    <a:pt x="253" y="891"/>
                  </a:lnTo>
                  <a:lnTo>
                    <a:pt x="262" y="902"/>
                  </a:lnTo>
                  <a:lnTo>
                    <a:pt x="262" y="902"/>
                  </a:lnTo>
                  <a:lnTo>
                    <a:pt x="268" y="906"/>
                  </a:lnTo>
                  <a:lnTo>
                    <a:pt x="274" y="912"/>
                  </a:lnTo>
                  <a:lnTo>
                    <a:pt x="280" y="917"/>
                  </a:lnTo>
                  <a:lnTo>
                    <a:pt x="284" y="918"/>
                  </a:lnTo>
                  <a:lnTo>
                    <a:pt x="289" y="918"/>
                  </a:lnTo>
                  <a:lnTo>
                    <a:pt x="289" y="918"/>
                  </a:lnTo>
                  <a:lnTo>
                    <a:pt x="294" y="918"/>
                  </a:lnTo>
                  <a:lnTo>
                    <a:pt x="299" y="918"/>
                  </a:lnTo>
                  <a:lnTo>
                    <a:pt x="300" y="915"/>
                  </a:lnTo>
                  <a:lnTo>
                    <a:pt x="300" y="915"/>
                  </a:lnTo>
                  <a:lnTo>
                    <a:pt x="309" y="905"/>
                  </a:lnTo>
                  <a:lnTo>
                    <a:pt x="312" y="899"/>
                  </a:lnTo>
                  <a:lnTo>
                    <a:pt x="317" y="896"/>
                  </a:lnTo>
                  <a:lnTo>
                    <a:pt x="317" y="896"/>
                  </a:lnTo>
                  <a:lnTo>
                    <a:pt x="321" y="894"/>
                  </a:lnTo>
                  <a:lnTo>
                    <a:pt x="324" y="894"/>
                  </a:lnTo>
                  <a:lnTo>
                    <a:pt x="329" y="894"/>
                  </a:lnTo>
                  <a:lnTo>
                    <a:pt x="333" y="893"/>
                  </a:lnTo>
                  <a:lnTo>
                    <a:pt x="333" y="893"/>
                  </a:lnTo>
                  <a:lnTo>
                    <a:pt x="334" y="890"/>
                  </a:lnTo>
                  <a:lnTo>
                    <a:pt x="334" y="885"/>
                  </a:lnTo>
                  <a:lnTo>
                    <a:pt x="333" y="881"/>
                  </a:lnTo>
                  <a:lnTo>
                    <a:pt x="330" y="875"/>
                  </a:lnTo>
                  <a:lnTo>
                    <a:pt x="330" y="875"/>
                  </a:lnTo>
                  <a:lnTo>
                    <a:pt x="327" y="871"/>
                  </a:lnTo>
                  <a:lnTo>
                    <a:pt x="323" y="866"/>
                  </a:lnTo>
                  <a:lnTo>
                    <a:pt x="314" y="859"/>
                  </a:lnTo>
                  <a:lnTo>
                    <a:pt x="314" y="859"/>
                  </a:lnTo>
                  <a:lnTo>
                    <a:pt x="306" y="854"/>
                  </a:lnTo>
                  <a:lnTo>
                    <a:pt x="303" y="851"/>
                  </a:lnTo>
                  <a:lnTo>
                    <a:pt x="302" y="848"/>
                  </a:lnTo>
                  <a:lnTo>
                    <a:pt x="302" y="848"/>
                  </a:lnTo>
                  <a:lnTo>
                    <a:pt x="302" y="842"/>
                  </a:lnTo>
                  <a:lnTo>
                    <a:pt x="305" y="840"/>
                  </a:lnTo>
                  <a:lnTo>
                    <a:pt x="308" y="837"/>
                  </a:lnTo>
                  <a:lnTo>
                    <a:pt x="311" y="831"/>
                  </a:lnTo>
                  <a:lnTo>
                    <a:pt x="311" y="831"/>
                  </a:lnTo>
                  <a:lnTo>
                    <a:pt x="317" y="814"/>
                  </a:lnTo>
                  <a:lnTo>
                    <a:pt x="320" y="808"/>
                  </a:lnTo>
                  <a:lnTo>
                    <a:pt x="324" y="805"/>
                  </a:lnTo>
                  <a:lnTo>
                    <a:pt x="324" y="805"/>
                  </a:lnTo>
                  <a:lnTo>
                    <a:pt x="331" y="801"/>
                  </a:lnTo>
                  <a:lnTo>
                    <a:pt x="337" y="801"/>
                  </a:lnTo>
                  <a:lnTo>
                    <a:pt x="337" y="801"/>
                  </a:lnTo>
                  <a:lnTo>
                    <a:pt x="342" y="801"/>
                  </a:lnTo>
                  <a:lnTo>
                    <a:pt x="343" y="800"/>
                  </a:lnTo>
                  <a:lnTo>
                    <a:pt x="346" y="800"/>
                  </a:lnTo>
                  <a:lnTo>
                    <a:pt x="352" y="798"/>
                  </a:lnTo>
                  <a:lnTo>
                    <a:pt x="352" y="798"/>
                  </a:lnTo>
                  <a:lnTo>
                    <a:pt x="364" y="800"/>
                  </a:lnTo>
                  <a:lnTo>
                    <a:pt x="374" y="801"/>
                  </a:lnTo>
                  <a:lnTo>
                    <a:pt x="374" y="801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6" y="807"/>
                  </a:lnTo>
                  <a:lnTo>
                    <a:pt x="376" y="816"/>
                  </a:lnTo>
                  <a:lnTo>
                    <a:pt x="376" y="816"/>
                  </a:lnTo>
                  <a:lnTo>
                    <a:pt x="377" y="835"/>
                  </a:lnTo>
                  <a:lnTo>
                    <a:pt x="379" y="845"/>
                  </a:lnTo>
                  <a:lnTo>
                    <a:pt x="377" y="853"/>
                  </a:lnTo>
                  <a:lnTo>
                    <a:pt x="377" y="853"/>
                  </a:lnTo>
                  <a:lnTo>
                    <a:pt x="374" y="860"/>
                  </a:lnTo>
                  <a:lnTo>
                    <a:pt x="373" y="865"/>
                  </a:lnTo>
                  <a:lnTo>
                    <a:pt x="371" y="868"/>
                  </a:lnTo>
                  <a:lnTo>
                    <a:pt x="374" y="871"/>
                  </a:lnTo>
                  <a:lnTo>
                    <a:pt x="374" y="871"/>
                  </a:lnTo>
                  <a:lnTo>
                    <a:pt x="379" y="877"/>
                  </a:lnTo>
                  <a:lnTo>
                    <a:pt x="383" y="882"/>
                  </a:lnTo>
                  <a:lnTo>
                    <a:pt x="389" y="894"/>
                  </a:lnTo>
                  <a:lnTo>
                    <a:pt x="389" y="894"/>
                  </a:lnTo>
                  <a:lnTo>
                    <a:pt x="391" y="906"/>
                  </a:lnTo>
                  <a:lnTo>
                    <a:pt x="395" y="927"/>
                  </a:lnTo>
                  <a:lnTo>
                    <a:pt x="395" y="927"/>
                  </a:lnTo>
                  <a:lnTo>
                    <a:pt x="395" y="937"/>
                  </a:lnTo>
                  <a:lnTo>
                    <a:pt x="397" y="942"/>
                  </a:lnTo>
                  <a:lnTo>
                    <a:pt x="397" y="945"/>
                  </a:lnTo>
                  <a:lnTo>
                    <a:pt x="398" y="945"/>
                  </a:lnTo>
                  <a:lnTo>
                    <a:pt x="406" y="948"/>
                  </a:lnTo>
                  <a:lnTo>
                    <a:pt x="406" y="948"/>
                  </a:lnTo>
                  <a:lnTo>
                    <a:pt x="416" y="948"/>
                  </a:lnTo>
                  <a:lnTo>
                    <a:pt x="423" y="946"/>
                  </a:lnTo>
                  <a:lnTo>
                    <a:pt x="431" y="943"/>
                  </a:lnTo>
                  <a:lnTo>
                    <a:pt x="431" y="943"/>
                  </a:lnTo>
                  <a:lnTo>
                    <a:pt x="434" y="943"/>
                  </a:lnTo>
                  <a:lnTo>
                    <a:pt x="437" y="943"/>
                  </a:lnTo>
                  <a:lnTo>
                    <a:pt x="443" y="937"/>
                  </a:lnTo>
                  <a:lnTo>
                    <a:pt x="443" y="937"/>
                  </a:lnTo>
                  <a:lnTo>
                    <a:pt x="448" y="934"/>
                  </a:lnTo>
                  <a:lnTo>
                    <a:pt x="450" y="931"/>
                  </a:lnTo>
                  <a:lnTo>
                    <a:pt x="451" y="927"/>
                  </a:lnTo>
                  <a:lnTo>
                    <a:pt x="451" y="927"/>
                  </a:lnTo>
                  <a:lnTo>
                    <a:pt x="453" y="911"/>
                  </a:lnTo>
                  <a:lnTo>
                    <a:pt x="454" y="900"/>
                  </a:lnTo>
                  <a:lnTo>
                    <a:pt x="456" y="896"/>
                  </a:lnTo>
                  <a:lnTo>
                    <a:pt x="456" y="896"/>
                  </a:lnTo>
                  <a:lnTo>
                    <a:pt x="463" y="890"/>
                  </a:lnTo>
                  <a:lnTo>
                    <a:pt x="472" y="885"/>
                  </a:lnTo>
                  <a:lnTo>
                    <a:pt x="472" y="885"/>
                  </a:lnTo>
                  <a:lnTo>
                    <a:pt x="481" y="882"/>
                  </a:lnTo>
                  <a:lnTo>
                    <a:pt x="485" y="881"/>
                  </a:lnTo>
                  <a:lnTo>
                    <a:pt x="490" y="882"/>
                  </a:lnTo>
                  <a:lnTo>
                    <a:pt x="490" y="882"/>
                  </a:lnTo>
                  <a:lnTo>
                    <a:pt x="494" y="884"/>
                  </a:lnTo>
                  <a:lnTo>
                    <a:pt x="500" y="882"/>
                  </a:lnTo>
                  <a:lnTo>
                    <a:pt x="508" y="882"/>
                  </a:lnTo>
                  <a:lnTo>
                    <a:pt x="514" y="882"/>
                  </a:lnTo>
                  <a:lnTo>
                    <a:pt x="514" y="882"/>
                  </a:lnTo>
                  <a:lnTo>
                    <a:pt x="521" y="885"/>
                  </a:lnTo>
                  <a:lnTo>
                    <a:pt x="524" y="885"/>
                  </a:lnTo>
                  <a:lnTo>
                    <a:pt x="530" y="885"/>
                  </a:lnTo>
                  <a:lnTo>
                    <a:pt x="530" y="885"/>
                  </a:lnTo>
                  <a:lnTo>
                    <a:pt x="546" y="885"/>
                  </a:lnTo>
                  <a:lnTo>
                    <a:pt x="557" y="885"/>
                  </a:lnTo>
                  <a:lnTo>
                    <a:pt x="557" y="885"/>
                  </a:lnTo>
                  <a:lnTo>
                    <a:pt x="562" y="888"/>
                  </a:lnTo>
                  <a:lnTo>
                    <a:pt x="571" y="894"/>
                  </a:lnTo>
                  <a:lnTo>
                    <a:pt x="571" y="894"/>
                  </a:lnTo>
                  <a:lnTo>
                    <a:pt x="576" y="899"/>
                  </a:lnTo>
                  <a:lnTo>
                    <a:pt x="580" y="902"/>
                  </a:lnTo>
                  <a:lnTo>
                    <a:pt x="588" y="902"/>
                  </a:lnTo>
                  <a:lnTo>
                    <a:pt x="599" y="902"/>
                  </a:lnTo>
                  <a:lnTo>
                    <a:pt x="599" y="902"/>
                  </a:lnTo>
                  <a:lnTo>
                    <a:pt x="631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7" y="903"/>
                  </a:lnTo>
                  <a:lnTo>
                    <a:pt x="638" y="905"/>
                  </a:lnTo>
                  <a:lnTo>
                    <a:pt x="638" y="905"/>
                  </a:lnTo>
                  <a:lnTo>
                    <a:pt x="639" y="908"/>
                  </a:lnTo>
                  <a:lnTo>
                    <a:pt x="641" y="909"/>
                  </a:lnTo>
                  <a:lnTo>
                    <a:pt x="641" y="914"/>
                  </a:lnTo>
                  <a:lnTo>
                    <a:pt x="641" y="914"/>
                  </a:lnTo>
                  <a:lnTo>
                    <a:pt x="642" y="917"/>
                  </a:lnTo>
                  <a:lnTo>
                    <a:pt x="650" y="927"/>
                  </a:lnTo>
                  <a:lnTo>
                    <a:pt x="650" y="927"/>
                  </a:lnTo>
                  <a:lnTo>
                    <a:pt x="653" y="931"/>
                  </a:lnTo>
                  <a:lnTo>
                    <a:pt x="656" y="936"/>
                  </a:lnTo>
                  <a:lnTo>
                    <a:pt x="659" y="939"/>
                  </a:lnTo>
                  <a:lnTo>
                    <a:pt x="659" y="939"/>
                  </a:lnTo>
                  <a:lnTo>
                    <a:pt x="660" y="942"/>
                  </a:lnTo>
                  <a:lnTo>
                    <a:pt x="660" y="946"/>
                  </a:lnTo>
                  <a:lnTo>
                    <a:pt x="657" y="951"/>
                  </a:lnTo>
                  <a:lnTo>
                    <a:pt x="654" y="955"/>
                  </a:lnTo>
                  <a:lnTo>
                    <a:pt x="654" y="955"/>
                  </a:lnTo>
                  <a:lnTo>
                    <a:pt x="650" y="959"/>
                  </a:lnTo>
                  <a:lnTo>
                    <a:pt x="647" y="964"/>
                  </a:lnTo>
                  <a:lnTo>
                    <a:pt x="645" y="970"/>
                  </a:lnTo>
                  <a:lnTo>
                    <a:pt x="645" y="976"/>
                  </a:lnTo>
                  <a:lnTo>
                    <a:pt x="645" y="976"/>
                  </a:lnTo>
                  <a:lnTo>
                    <a:pt x="648" y="982"/>
                  </a:lnTo>
                  <a:lnTo>
                    <a:pt x="650" y="985"/>
                  </a:lnTo>
                  <a:lnTo>
                    <a:pt x="650" y="985"/>
                  </a:lnTo>
                  <a:lnTo>
                    <a:pt x="651" y="986"/>
                  </a:lnTo>
                  <a:lnTo>
                    <a:pt x="650" y="988"/>
                  </a:lnTo>
                  <a:lnTo>
                    <a:pt x="650" y="989"/>
                  </a:lnTo>
                  <a:lnTo>
                    <a:pt x="654" y="992"/>
                  </a:lnTo>
                  <a:lnTo>
                    <a:pt x="674" y="985"/>
                  </a:lnTo>
                  <a:lnTo>
                    <a:pt x="674" y="985"/>
                  </a:lnTo>
                  <a:lnTo>
                    <a:pt x="674" y="985"/>
                  </a:lnTo>
                  <a:lnTo>
                    <a:pt x="682" y="982"/>
                  </a:lnTo>
                  <a:lnTo>
                    <a:pt x="682" y="982"/>
                  </a:lnTo>
                  <a:lnTo>
                    <a:pt x="700" y="973"/>
                  </a:lnTo>
                  <a:lnTo>
                    <a:pt x="700" y="973"/>
                  </a:lnTo>
                  <a:lnTo>
                    <a:pt x="715" y="965"/>
                  </a:lnTo>
                  <a:lnTo>
                    <a:pt x="715" y="965"/>
                  </a:lnTo>
                  <a:lnTo>
                    <a:pt x="722" y="961"/>
                  </a:lnTo>
                  <a:lnTo>
                    <a:pt x="730" y="957"/>
                  </a:lnTo>
                  <a:lnTo>
                    <a:pt x="730" y="957"/>
                  </a:lnTo>
                  <a:lnTo>
                    <a:pt x="740" y="945"/>
                  </a:lnTo>
                  <a:lnTo>
                    <a:pt x="740" y="945"/>
                  </a:lnTo>
                  <a:lnTo>
                    <a:pt x="743" y="940"/>
                  </a:lnTo>
                  <a:lnTo>
                    <a:pt x="746" y="931"/>
                  </a:lnTo>
                  <a:lnTo>
                    <a:pt x="746" y="931"/>
                  </a:lnTo>
                  <a:lnTo>
                    <a:pt x="745" y="928"/>
                  </a:lnTo>
                  <a:lnTo>
                    <a:pt x="743" y="924"/>
                  </a:lnTo>
                  <a:lnTo>
                    <a:pt x="742" y="918"/>
                  </a:lnTo>
                  <a:lnTo>
                    <a:pt x="742" y="915"/>
                  </a:lnTo>
                  <a:lnTo>
                    <a:pt x="742" y="915"/>
                  </a:lnTo>
                  <a:lnTo>
                    <a:pt x="740" y="906"/>
                  </a:lnTo>
                  <a:lnTo>
                    <a:pt x="740" y="906"/>
                  </a:lnTo>
                  <a:lnTo>
                    <a:pt x="742" y="902"/>
                  </a:lnTo>
                  <a:lnTo>
                    <a:pt x="748" y="894"/>
                  </a:lnTo>
                  <a:lnTo>
                    <a:pt x="752" y="888"/>
                  </a:lnTo>
                  <a:lnTo>
                    <a:pt x="756" y="884"/>
                  </a:lnTo>
                  <a:lnTo>
                    <a:pt x="764" y="880"/>
                  </a:lnTo>
                  <a:lnTo>
                    <a:pt x="771" y="875"/>
                  </a:lnTo>
                  <a:lnTo>
                    <a:pt x="771" y="875"/>
                  </a:lnTo>
                  <a:lnTo>
                    <a:pt x="795" y="868"/>
                  </a:lnTo>
                  <a:lnTo>
                    <a:pt x="802" y="865"/>
                  </a:lnTo>
                  <a:lnTo>
                    <a:pt x="810" y="860"/>
                  </a:lnTo>
                  <a:lnTo>
                    <a:pt x="810" y="860"/>
                  </a:lnTo>
                  <a:lnTo>
                    <a:pt x="819" y="856"/>
                  </a:lnTo>
                  <a:lnTo>
                    <a:pt x="823" y="853"/>
                  </a:lnTo>
                  <a:lnTo>
                    <a:pt x="828" y="853"/>
                  </a:lnTo>
                  <a:lnTo>
                    <a:pt x="830" y="850"/>
                  </a:lnTo>
                  <a:lnTo>
                    <a:pt x="830" y="850"/>
                  </a:lnTo>
                  <a:lnTo>
                    <a:pt x="835" y="845"/>
                  </a:lnTo>
                  <a:lnTo>
                    <a:pt x="839" y="834"/>
                  </a:lnTo>
                  <a:lnTo>
                    <a:pt x="839" y="834"/>
                  </a:lnTo>
                  <a:lnTo>
                    <a:pt x="842" y="820"/>
                  </a:lnTo>
                  <a:lnTo>
                    <a:pt x="844" y="813"/>
                  </a:lnTo>
                  <a:lnTo>
                    <a:pt x="844" y="813"/>
                  </a:lnTo>
                  <a:lnTo>
                    <a:pt x="847" y="798"/>
                  </a:lnTo>
                  <a:lnTo>
                    <a:pt x="848" y="792"/>
                  </a:lnTo>
                  <a:lnTo>
                    <a:pt x="848" y="791"/>
                  </a:lnTo>
                  <a:lnTo>
                    <a:pt x="850" y="791"/>
                  </a:lnTo>
                  <a:lnTo>
                    <a:pt x="850" y="791"/>
                  </a:lnTo>
                  <a:lnTo>
                    <a:pt x="854" y="791"/>
                  </a:lnTo>
                  <a:lnTo>
                    <a:pt x="859" y="792"/>
                  </a:lnTo>
                  <a:lnTo>
                    <a:pt x="863" y="797"/>
                  </a:lnTo>
                  <a:lnTo>
                    <a:pt x="866" y="805"/>
                  </a:lnTo>
                  <a:lnTo>
                    <a:pt x="866" y="805"/>
                  </a:lnTo>
                  <a:lnTo>
                    <a:pt x="868" y="816"/>
                  </a:lnTo>
                  <a:lnTo>
                    <a:pt x="872" y="825"/>
                  </a:lnTo>
                  <a:lnTo>
                    <a:pt x="878" y="832"/>
                  </a:lnTo>
                  <a:lnTo>
                    <a:pt x="887" y="841"/>
                  </a:lnTo>
                  <a:lnTo>
                    <a:pt x="887" y="841"/>
                  </a:lnTo>
                  <a:lnTo>
                    <a:pt x="893" y="844"/>
                  </a:lnTo>
                  <a:lnTo>
                    <a:pt x="896" y="848"/>
                  </a:lnTo>
                  <a:lnTo>
                    <a:pt x="900" y="856"/>
                  </a:lnTo>
                  <a:lnTo>
                    <a:pt x="902" y="868"/>
                  </a:lnTo>
                  <a:lnTo>
                    <a:pt x="902" y="868"/>
                  </a:lnTo>
                  <a:lnTo>
                    <a:pt x="903" y="872"/>
                  </a:lnTo>
                  <a:lnTo>
                    <a:pt x="905" y="877"/>
                  </a:lnTo>
                  <a:lnTo>
                    <a:pt x="903" y="882"/>
                  </a:lnTo>
                  <a:lnTo>
                    <a:pt x="902" y="887"/>
                  </a:lnTo>
                  <a:lnTo>
                    <a:pt x="902" y="887"/>
                  </a:lnTo>
                  <a:lnTo>
                    <a:pt x="899" y="890"/>
                  </a:lnTo>
                  <a:lnTo>
                    <a:pt x="896" y="891"/>
                  </a:lnTo>
                  <a:lnTo>
                    <a:pt x="894" y="894"/>
                  </a:lnTo>
                  <a:lnTo>
                    <a:pt x="894" y="903"/>
                  </a:lnTo>
                  <a:lnTo>
                    <a:pt x="894" y="903"/>
                  </a:lnTo>
                  <a:lnTo>
                    <a:pt x="894" y="914"/>
                  </a:lnTo>
                  <a:lnTo>
                    <a:pt x="893" y="917"/>
                  </a:lnTo>
                  <a:lnTo>
                    <a:pt x="891" y="919"/>
                  </a:lnTo>
                  <a:lnTo>
                    <a:pt x="891" y="925"/>
                  </a:lnTo>
                  <a:lnTo>
                    <a:pt x="891" y="925"/>
                  </a:lnTo>
                  <a:lnTo>
                    <a:pt x="891" y="936"/>
                  </a:lnTo>
                  <a:lnTo>
                    <a:pt x="891" y="940"/>
                  </a:lnTo>
                  <a:lnTo>
                    <a:pt x="888" y="943"/>
                  </a:lnTo>
                  <a:lnTo>
                    <a:pt x="888" y="943"/>
                  </a:lnTo>
                  <a:lnTo>
                    <a:pt x="884" y="946"/>
                  </a:lnTo>
                  <a:lnTo>
                    <a:pt x="881" y="951"/>
                  </a:lnTo>
                  <a:lnTo>
                    <a:pt x="876" y="954"/>
                  </a:lnTo>
                  <a:lnTo>
                    <a:pt x="872" y="955"/>
                  </a:lnTo>
                  <a:lnTo>
                    <a:pt x="872" y="955"/>
                  </a:lnTo>
                  <a:lnTo>
                    <a:pt x="868" y="954"/>
                  </a:lnTo>
                  <a:lnTo>
                    <a:pt x="865" y="952"/>
                  </a:lnTo>
                  <a:lnTo>
                    <a:pt x="857" y="943"/>
                  </a:lnTo>
                  <a:lnTo>
                    <a:pt x="857" y="943"/>
                  </a:lnTo>
                  <a:lnTo>
                    <a:pt x="847" y="934"/>
                  </a:lnTo>
                  <a:lnTo>
                    <a:pt x="844" y="933"/>
                  </a:lnTo>
                  <a:lnTo>
                    <a:pt x="836" y="933"/>
                  </a:lnTo>
                  <a:lnTo>
                    <a:pt x="836" y="933"/>
                  </a:lnTo>
                  <a:lnTo>
                    <a:pt x="811" y="933"/>
                  </a:lnTo>
                  <a:lnTo>
                    <a:pt x="811" y="933"/>
                  </a:lnTo>
                  <a:lnTo>
                    <a:pt x="798" y="936"/>
                  </a:lnTo>
                  <a:lnTo>
                    <a:pt x="792" y="937"/>
                  </a:lnTo>
                  <a:lnTo>
                    <a:pt x="789" y="940"/>
                  </a:lnTo>
                  <a:lnTo>
                    <a:pt x="789" y="940"/>
                  </a:lnTo>
                  <a:lnTo>
                    <a:pt x="788" y="943"/>
                  </a:lnTo>
                  <a:lnTo>
                    <a:pt x="788" y="948"/>
                  </a:lnTo>
                  <a:lnTo>
                    <a:pt x="786" y="954"/>
                  </a:lnTo>
                  <a:lnTo>
                    <a:pt x="786" y="954"/>
                  </a:lnTo>
                  <a:lnTo>
                    <a:pt x="786" y="962"/>
                  </a:lnTo>
                  <a:lnTo>
                    <a:pt x="785" y="983"/>
                  </a:lnTo>
                  <a:lnTo>
                    <a:pt x="785" y="983"/>
                  </a:lnTo>
                  <a:lnTo>
                    <a:pt x="783" y="1005"/>
                  </a:lnTo>
                  <a:lnTo>
                    <a:pt x="783" y="1013"/>
                  </a:lnTo>
                  <a:lnTo>
                    <a:pt x="785" y="1022"/>
                  </a:lnTo>
                  <a:lnTo>
                    <a:pt x="785" y="1022"/>
                  </a:lnTo>
                  <a:lnTo>
                    <a:pt x="788" y="1029"/>
                  </a:lnTo>
                  <a:lnTo>
                    <a:pt x="789" y="1031"/>
                  </a:lnTo>
                  <a:lnTo>
                    <a:pt x="791" y="1032"/>
                  </a:lnTo>
                  <a:lnTo>
                    <a:pt x="795" y="1031"/>
                  </a:lnTo>
                  <a:lnTo>
                    <a:pt x="798" y="1031"/>
                  </a:lnTo>
                  <a:lnTo>
                    <a:pt x="798" y="1031"/>
                  </a:lnTo>
                  <a:lnTo>
                    <a:pt x="801" y="1031"/>
                  </a:lnTo>
                  <a:lnTo>
                    <a:pt x="804" y="1032"/>
                  </a:lnTo>
                  <a:lnTo>
                    <a:pt x="819" y="1039"/>
                  </a:lnTo>
                  <a:lnTo>
                    <a:pt x="819" y="1039"/>
                  </a:lnTo>
                  <a:lnTo>
                    <a:pt x="825" y="1041"/>
                  </a:lnTo>
                  <a:lnTo>
                    <a:pt x="829" y="1041"/>
                  </a:lnTo>
                  <a:lnTo>
                    <a:pt x="836" y="1039"/>
                  </a:lnTo>
                  <a:lnTo>
                    <a:pt x="836" y="1039"/>
                  </a:lnTo>
                  <a:lnTo>
                    <a:pt x="845" y="1035"/>
                  </a:lnTo>
                  <a:lnTo>
                    <a:pt x="851" y="1032"/>
                  </a:lnTo>
                  <a:lnTo>
                    <a:pt x="860" y="1026"/>
                  </a:lnTo>
                  <a:lnTo>
                    <a:pt x="860" y="1026"/>
                  </a:lnTo>
                  <a:lnTo>
                    <a:pt x="865" y="1019"/>
                  </a:lnTo>
                  <a:lnTo>
                    <a:pt x="868" y="1016"/>
                  </a:lnTo>
                  <a:lnTo>
                    <a:pt x="873" y="1014"/>
                  </a:lnTo>
                  <a:lnTo>
                    <a:pt x="873" y="1014"/>
                  </a:lnTo>
                  <a:lnTo>
                    <a:pt x="879" y="1013"/>
                  </a:lnTo>
                  <a:lnTo>
                    <a:pt x="884" y="1011"/>
                  </a:lnTo>
                  <a:lnTo>
                    <a:pt x="888" y="1010"/>
                  </a:lnTo>
                  <a:lnTo>
                    <a:pt x="896" y="1013"/>
                  </a:lnTo>
                  <a:lnTo>
                    <a:pt x="896" y="1013"/>
                  </a:lnTo>
                  <a:lnTo>
                    <a:pt x="912" y="1023"/>
                  </a:lnTo>
                  <a:lnTo>
                    <a:pt x="918" y="1025"/>
                  </a:lnTo>
                  <a:lnTo>
                    <a:pt x="922" y="1023"/>
                  </a:lnTo>
                  <a:lnTo>
                    <a:pt x="922" y="1023"/>
                  </a:lnTo>
                  <a:lnTo>
                    <a:pt x="924" y="1020"/>
                  </a:lnTo>
                  <a:lnTo>
                    <a:pt x="927" y="1014"/>
                  </a:lnTo>
                  <a:lnTo>
                    <a:pt x="930" y="1010"/>
                  </a:lnTo>
                  <a:lnTo>
                    <a:pt x="933" y="1008"/>
                  </a:lnTo>
                  <a:lnTo>
                    <a:pt x="937" y="1007"/>
                  </a:lnTo>
                  <a:lnTo>
                    <a:pt x="937" y="1007"/>
                  </a:lnTo>
                  <a:lnTo>
                    <a:pt x="939" y="1007"/>
                  </a:lnTo>
                  <a:lnTo>
                    <a:pt x="942" y="1011"/>
                  </a:lnTo>
                  <a:lnTo>
                    <a:pt x="945" y="1016"/>
                  </a:lnTo>
                  <a:lnTo>
                    <a:pt x="949" y="1019"/>
                  </a:lnTo>
                  <a:lnTo>
                    <a:pt x="949" y="1019"/>
                  </a:lnTo>
                  <a:lnTo>
                    <a:pt x="959" y="1025"/>
                  </a:lnTo>
                  <a:lnTo>
                    <a:pt x="967" y="1026"/>
                  </a:lnTo>
                  <a:lnTo>
                    <a:pt x="976" y="1028"/>
                  </a:lnTo>
                  <a:lnTo>
                    <a:pt x="976" y="1028"/>
                  </a:lnTo>
                  <a:lnTo>
                    <a:pt x="1011" y="1028"/>
                  </a:lnTo>
                  <a:lnTo>
                    <a:pt x="1035" y="1028"/>
                  </a:lnTo>
                  <a:lnTo>
                    <a:pt x="1035" y="1028"/>
                  </a:lnTo>
                  <a:lnTo>
                    <a:pt x="1042" y="1031"/>
                  </a:lnTo>
                  <a:lnTo>
                    <a:pt x="1048" y="1035"/>
                  </a:lnTo>
                  <a:lnTo>
                    <a:pt x="1054" y="1039"/>
                  </a:lnTo>
                  <a:lnTo>
                    <a:pt x="1054" y="1039"/>
                  </a:lnTo>
                  <a:lnTo>
                    <a:pt x="1059" y="1044"/>
                  </a:lnTo>
                  <a:lnTo>
                    <a:pt x="1063" y="1044"/>
                  </a:lnTo>
                  <a:lnTo>
                    <a:pt x="1070" y="1044"/>
                  </a:lnTo>
                  <a:lnTo>
                    <a:pt x="1070" y="1044"/>
                  </a:lnTo>
                  <a:lnTo>
                    <a:pt x="1072" y="1044"/>
                  </a:lnTo>
                  <a:lnTo>
                    <a:pt x="1072" y="1044"/>
                  </a:lnTo>
                  <a:lnTo>
                    <a:pt x="1085" y="1045"/>
                  </a:lnTo>
                  <a:lnTo>
                    <a:pt x="1085" y="1045"/>
                  </a:lnTo>
                  <a:lnTo>
                    <a:pt x="1087" y="1053"/>
                  </a:lnTo>
                  <a:lnTo>
                    <a:pt x="1088" y="1065"/>
                  </a:lnTo>
                  <a:lnTo>
                    <a:pt x="1088" y="1065"/>
                  </a:lnTo>
                  <a:lnTo>
                    <a:pt x="1088" y="1069"/>
                  </a:lnTo>
                  <a:lnTo>
                    <a:pt x="1090" y="1074"/>
                  </a:lnTo>
                  <a:lnTo>
                    <a:pt x="1090" y="1074"/>
                  </a:lnTo>
                  <a:lnTo>
                    <a:pt x="1090" y="1074"/>
                  </a:lnTo>
                  <a:lnTo>
                    <a:pt x="1091" y="1074"/>
                  </a:lnTo>
                  <a:lnTo>
                    <a:pt x="1094" y="1072"/>
                  </a:lnTo>
                  <a:lnTo>
                    <a:pt x="1098" y="1068"/>
                  </a:lnTo>
                  <a:lnTo>
                    <a:pt x="1101" y="1065"/>
                  </a:lnTo>
                  <a:lnTo>
                    <a:pt x="1101" y="1065"/>
                  </a:lnTo>
                  <a:lnTo>
                    <a:pt x="1101" y="1062"/>
                  </a:lnTo>
                  <a:lnTo>
                    <a:pt x="1104" y="1057"/>
                  </a:lnTo>
                  <a:lnTo>
                    <a:pt x="1107" y="1054"/>
                  </a:lnTo>
                  <a:lnTo>
                    <a:pt x="1107" y="1054"/>
                  </a:lnTo>
                  <a:lnTo>
                    <a:pt x="1107" y="1053"/>
                  </a:lnTo>
                  <a:lnTo>
                    <a:pt x="1107" y="1050"/>
                  </a:lnTo>
                  <a:lnTo>
                    <a:pt x="1107" y="1048"/>
                  </a:lnTo>
                  <a:lnTo>
                    <a:pt x="1110" y="1047"/>
                  </a:lnTo>
                  <a:lnTo>
                    <a:pt x="1113" y="1045"/>
                  </a:lnTo>
                  <a:lnTo>
                    <a:pt x="1118" y="1045"/>
                  </a:lnTo>
                  <a:lnTo>
                    <a:pt x="1118" y="1045"/>
                  </a:lnTo>
                  <a:lnTo>
                    <a:pt x="1130" y="1047"/>
                  </a:lnTo>
                  <a:lnTo>
                    <a:pt x="1141" y="1048"/>
                  </a:lnTo>
                  <a:lnTo>
                    <a:pt x="1141" y="1048"/>
                  </a:lnTo>
                  <a:lnTo>
                    <a:pt x="1162" y="1057"/>
                  </a:lnTo>
                  <a:lnTo>
                    <a:pt x="1162" y="1057"/>
                  </a:lnTo>
                  <a:lnTo>
                    <a:pt x="1174" y="1063"/>
                  </a:lnTo>
                  <a:lnTo>
                    <a:pt x="1181" y="1069"/>
                  </a:lnTo>
                  <a:lnTo>
                    <a:pt x="1187" y="1075"/>
                  </a:lnTo>
                  <a:lnTo>
                    <a:pt x="1192" y="1082"/>
                  </a:lnTo>
                  <a:lnTo>
                    <a:pt x="1187" y="1087"/>
                  </a:lnTo>
                  <a:lnTo>
                    <a:pt x="1174" y="1087"/>
                  </a:lnTo>
                  <a:lnTo>
                    <a:pt x="1164" y="1085"/>
                  </a:lnTo>
                  <a:lnTo>
                    <a:pt x="1164" y="1085"/>
                  </a:lnTo>
                  <a:lnTo>
                    <a:pt x="1161" y="1087"/>
                  </a:lnTo>
                  <a:lnTo>
                    <a:pt x="1155" y="1091"/>
                  </a:lnTo>
                  <a:lnTo>
                    <a:pt x="1155" y="1091"/>
                  </a:lnTo>
                  <a:lnTo>
                    <a:pt x="1152" y="1093"/>
                  </a:lnTo>
                  <a:lnTo>
                    <a:pt x="1147" y="1094"/>
                  </a:lnTo>
                  <a:lnTo>
                    <a:pt x="1144" y="1097"/>
                  </a:lnTo>
                  <a:lnTo>
                    <a:pt x="1140" y="1102"/>
                  </a:lnTo>
                  <a:lnTo>
                    <a:pt x="1140" y="1102"/>
                  </a:lnTo>
                  <a:lnTo>
                    <a:pt x="1136" y="1114"/>
                  </a:lnTo>
                  <a:lnTo>
                    <a:pt x="1134" y="1116"/>
                  </a:lnTo>
                  <a:lnTo>
                    <a:pt x="1130" y="1116"/>
                  </a:lnTo>
                  <a:lnTo>
                    <a:pt x="1130" y="1116"/>
                  </a:lnTo>
                  <a:lnTo>
                    <a:pt x="1125" y="1114"/>
                  </a:lnTo>
                  <a:lnTo>
                    <a:pt x="1121" y="1109"/>
                  </a:lnTo>
                  <a:lnTo>
                    <a:pt x="1116" y="1105"/>
                  </a:lnTo>
                  <a:lnTo>
                    <a:pt x="1112" y="1103"/>
                  </a:lnTo>
                  <a:lnTo>
                    <a:pt x="1112" y="1103"/>
                  </a:lnTo>
                  <a:lnTo>
                    <a:pt x="1110" y="1103"/>
                  </a:lnTo>
                  <a:lnTo>
                    <a:pt x="1109" y="1105"/>
                  </a:lnTo>
                  <a:lnTo>
                    <a:pt x="1107" y="1109"/>
                  </a:lnTo>
                  <a:lnTo>
                    <a:pt x="1109" y="1122"/>
                  </a:lnTo>
                  <a:lnTo>
                    <a:pt x="1109" y="1122"/>
                  </a:lnTo>
                  <a:lnTo>
                    <a:pt x="1109" y="1127"/>
                  </a:lnTo>
                  <a:lnTo>
                    <a:pt x="1109" y="1127"/>
                  </a:lnTo>
                  <a:lnTo>
                    <a:pt x="1110" y="1128"/>
                  </a:lnTo>
                  <a:lnTo>
                    <a:pt x="1113" y="1130"/>
                  </a:lnTo>
                  <a:lnTo>
                    <a:pt x="1118" y="1131"/>
                  </a:lnTo>
                  <a:lnTo>
                    <a:pt x="1125" y="1131"/>
                  </a:lnTo>
                  <a:lnTo>
                    <a:pt x="1125" y="1131"/>
                  </a:lnTo>
                  <a:lnTo>
                    <a:pt x="1131" y="1134"/>
                  </a:lnTo>
                  <a:lnTo>
                    <a:pt x="1137" y="1137"/>
                  </a:lnTo>
                  <a:lnTo>
                    <a:pt x="1137" y="1137"/>
                  </a:lnTo>
                  <a:lnTo>
                    <a:pt x="1141" y="1145"/>
                  </a:lnTo>
                  <a:lnTo>
                    <a:pt x="1146" y="1149"/>
                  </a:lnTo>
                  <a:lnTo>
                    <a:pt x="1149" y="1152"/>
                  </a:lnTo>
                  <a:lnTo>
                    <a:pt x="1149" y="1152"/>
                  </a:lnTo>
                  <a:lnTo>
                    <a:pt x="1152" y="1151"/>
                  </a:lnTo>
                  <a:lnTo>
                    <a:pt x="1155" y="1149"/>
                  </a:lnTo>
                  <a:lnTo>
                    <a:pt x="1159" y="1143"/>
                  </a:lnTo>
                  <a:lnTo>
                    <a:pt x="1159" y="1143"/>
                  </a:lnTo>
                  <a:lnTo>
                    <a:pt x="1167" y="1140"/>
                  </a:lnTo>
                  <a:lnTo>
                    <a:pt x="1174" y="1137"/>
                  </a:lnTo>
                  <a:lnTo>
                    <a:pt x="1174" y="1137"/>
                  </a:lnTo>
                  <a:lnTo>
                    <a:pt x="1178" y="1136"/>
                  </a:lnTo>
                  <a:lnTo>
                    <a:pt x="1181" y="1137"/>
                  </a:lnTo>
                  <a:lnTo>
                    <a:pt x="1190" y="1139"/>
                  </a:lnTo>
                  <a:lnTo>
                    <a:pt x="1190" y="1139"/>
                  </a:lnTo>
                  <a:lnTo>
                    <a:pt x="1199" y="1139"/>
                  </a:lnTo>
                  <a:lnTo>
                    <a:pt x="1205" y="1140"/>
                  </a:lnTo>
                  <a:lnTo>
                    <a:pt x="1208" y="1143"/>
                  </a:lnTo>
                  <a:lnTo>
                    <a:pt x="1208" y="1143"/>
                  </a:lnTo>
                  <a:lnTo>
                    <a:pt x="1213" y="1148"/>
                  </a:lnTo>
                  <a:lnTo>
                    <a:pt x="1215" y="1152"/>
                  </a:lnTo>
                  <a:lnTo>
                    <a:pt x="1221" y="1156"/>
                  </a:lnTo>
                  <a:lnTo>
                    <a:pt x="1229" y="1165"/>
                  </a:lnTo>
                  <a:lnTo>
                    <a:pt x="1229" y="1165"/>
                  </a:lnTo>
                  <a:lnTo>
                    <a:pt x="1238" y="1174"/>
                  </a:lnTo>
                  <a:lnTo>
                    <a:pt x="1244" y="1180"/>
                  </a:lnTo>
                  <a:lnTo>
                    <a:pt x="1244" y="1180"/>
                  </a:lnTo>
                  <a:lnTo>
                    <a:pt x="1245" y="1185"/>
                  </a:lnTo>
                  <a:lnTo>
                    <a:pt x="1248" y="1186"/>
                  </a:lnTo>
                  <a:lnTo>
                    <a:pt x="1252" y="1188"/>
                  </a:lnTo>
                  <a:lnTo>
                    <a:pt x="1252" y="1188"/>
                  </a:lnTo>
                  <a:lnTo>
                    <a:pt x="1264" y="1188"/>
                  </a:lnTo>
                  <a:lnTo>
                    <a:pt x="1264" y="1188"/>
                  </a:lnTo>
                  <a:lnTo>
                    <a:pt x="1266" y="1189"/>
                  </a:lnTo>
                  <a:lnTo>
                    <a:pt x="1269" y="1191"/>
                  </a:lnTo>
                  <a:lnTo>
                    <a:pt x="1270" y="1191"/>
                  </a:lnTo>
                  <a:lnTo>
                    <a:pt x="1281" y="1189"/>
                  </a:lnTo>
                  <a:lnTo>
                    <a:pt x="1281" y="1188"/>
                  </a:lnTo>
                  <a:lnTo>
                    <a:pt x="1281" y="1188"/>
                  </a:lnTo>
                  <a:lnTo>
                    <a:pt x="1292" y="1188"/>
                  </a:lnTo>
                  <a:lnTo>
                    <a:pt x="1292" y="1188"/>
                  </a:lnTo>
                  <a:lnTo>
                    <a:pt x="1306" y="1186"/>
                  </a:lnTo>
                  <a:lnTo>
                    <a:pt x="1306" y="1186"/>
                  </a:lnTo>
                  <a:lnTo>
                    <a:pt x="1316" y="1186"/>
                  </a:lnTo>
                  <a:lnTo>
                    <a:pt x="1322" y="1189"/>
                  </a:lnTo>
                  <a:lnTo>
                    <a:pt x="1322" y="1189"/>
                  </a:lnTo>
                  <a:lnTo>
                    <a:pt x="1328" y="1191"/>
                  </a:lnTo>
                  <a:lnTo>
                    <a:pt x="1331" y="1191"/>
                  </a:lnTo>
                  <a:lnTo>
                    <a:pt x="1332" y="1193"/>
                  </a:lnTo>
                  <a:lnTo>
                    <a:pt x="1332" y="1193"/>
                  </a:lnTo>
                  <a:lnTo>
                    <a:pt x="1327" y="1225"/>
                  </a:lnTo>
                  <a:lnTo>
                    <a:pt x="1327" y="1225"/>
                  </a:lnTo>
                  <a:lnTo>
                    <a:pt x="1325" y="1231"/>
                  </a:lnTo>
                  <a:lnTo>
                    <a:pt x="1321" y="1235"/>
                  </a:lnTo>
                  <a:lnTo>
                    <a:pt x="1312" y="1241"/>
                  </a:lnTo>
                  <a:lnTo>
                    <a:pt x="1304" y="1248"/>
                  </a:lnTo>
                  <a:lnTo>
                    <a:pt x="1300" y="1253"/>
                  </a:lnTo>
                  <a:lnTo>
                    <a:pt x="1298" y="1259"/>
                  </a:lnTo>
                  <a:lnTo>
                    <a:pt x="1298" y="1259"/>
                  </a:lnTo>
                  <a:lnTo>
                    <a:pt x="1297" y="1265"/>
                  </a:lnTo>
                  <a:lnTo>
                    <a:pt x="1298" y="1269"/>
                  </a:lnTo>
                  <a:lnTo>
                    <a:pt x="1303" y="1272"/>
                  </a:lnTo>
                  <a:lnTo>
                    <a:pt x="1303" y="1272"/>
                  </a:lnTo>
                  <a:lnTo>
                    <a:pt x="1309" y="1275"/>
                  </a:lnTo>
                  <a:lnTo>
                    <a:pt x="1318" y="1278"/>
                  </a:lnTo>
                  <a:lnTo>
                    <a:pt x="1322" y="1279"/>
                  </a:lnTo>
                  <a:lnTo>
                    <a:pt x="1327" y="1279"/>
                  </a:lnTo>
                  <a:lnTo>
                    <a:pt x="1329" y="1276"/>
                  </a:lnTo>
                  <a:lnTo>
                    <a:pt x="1331" y="1273"/>
                  </a:lnTo>
                  <a:lnTo>
                    <a:pt x="1331" y="1273"/>
                  </a:lnTo>
                  <a:lnTo>
                    <a:pt x="1332" y="1269"/>
                  </a:lnTo>
                  <a:lnTo>
                    <a:pt x="1334" y="1265"/>
                  </a:lnTo>
                  <a:lnTo>
                    <a:pt x="1337" y="1260"/>
                  </a:lnTo>
                  <a:lnTo>
                    <a:pt x="1338" y="1259"/>
                  </a:lnTo>
                  <a:lnTo>
                    <a:pt x="1341" y="1259"/>
                  </a:lnTo>
                  <a:lnTo>
                    <a:pt x="1341" y="1259"/>
                  </a:lnTo>
                  <a:lnTo>
                    <a:pt x="1358" y="1265"/>
                  </a:lnTo>
                  <a:lnTo>
                    <a:pt x="1367" y="1266"/>
                  </a:lnTo>
                  <a:lnTo>
                    <a:pt x="1369" y="1266"/>
                  </a:lnTo>
                  <a:lnTo>
                    <a:pt x="1372" y="1266"/>
                  </a:lnTo>
                  <a:lnTo>
                    <a:pt x="1372" y="1266"/>
                  </a:lnTo>
                  <a:lnTo>
                    <a:pt x="1387" y="1250"/>
                  </a:lnTo>
                  <a:lnTo>
                    <a:pt x="1398" y="1239"/>
                  </a:lnTo>
                  <a:lnTo>
                    <a:pt x="1402" y="1232"/>
                  </a:lnTo>
                  <a:lnTo>
                    <a:pt x="1402" y="1232"/>
                  </a:lnTo>
                  <a:lnTo>
                    <a:pt x="1402" y="1225"/>
                  </a:lnTo>
                  <a:lnTo>
                    <a:pt x="1402" y="1211"/>
                  </a:lnTo>
                  <a:lnTo>
                    <a:pt x="1402" y="1196"/>
                  </a:lnTo>
                  <a:lnTo>
                    <a:pt x="1402" y="1189"/>
                  </a:lnTo>
                  <a:lnTo>
                    <a:pt x="1402" y="1189"/>
                  </a:lnTo>
                  <a:lnTo>
                    <a:pt x="1404" y="1186"/>
                  </a:lnTo>
                  <a:lnTo>
                    <a:pt x="1405" y="1183"/>
                  </a:lnTo>
                  <a:lnTo>
                    <a:pt x="1408" y="1182"/>
                  </a:lnTo>
                  <a:lnTo>
                    <a:pt x="1414" y="1183"/>
                  </a:lnTo>
                  <a:lnTo>
                    <a:pt x="1414" y="1183"/>
                  </a:lnTo>
                  <a:lnTo>
                    <a:pt x="1427" y="1183"/>
                  </a:lnTo>
                  <a:lnTo>
                    <a:pt x="1435" y="1183"/>
                  </a:lnTo>
                  <a:lnTo>
                    <a:pt x="1441" y="1180"/>
                  </a:lnTo>
                  <a:lnTo>
                    <a:pt x="1441" y="1180"/>
                  </a:lnTo>
                  <a:lnTo>
                    <a:pt x="1445" y="1177"/>
                  </a:lnTo>
                  <a:lnTo>
                    <a:pt x="1446" y="1174"/>
                  </a:lnTo>
                  <a:lnTo>
                    <a:pt x="1449" y="1173"/>
                  </a:lnTo>
                  <a:lnTo>
                    <a:pt x="1452" y="1174"/>
                  </a:lnTo>
                  <a:lnTo>
                    <a:pt x="1452" y="1174"/>
                  </a:lnTo>
                  <a:lnTo>
                    <a:pt x="1470" y="1191"/>
                  </a:lnTo>
                  <a:lnTo>
                    <a:pt x="1479" y="1202"/>
                  </a:lnTo>
                  <a:lnTo>
                    <a:pt x="1485" y="1210"/>
                  </a:lnTo>
                  <a:lnTo>
                    <a:pt x="1485" y="1210"/>
                  </a:lnTo>
                  <a:lnTo>
                    <a:pt x="1489" y="1216"/>
                  </a:lnTo>
                  <a:lnTo>
                    <a:pt x="1497" y="1223"/>
                  </a:lnTo>
                  <a:lnTo>
                    <a:pt x="1509" y="1238"/>
                  </a:lnTo>
                  <a:lnTo>
                    <a:pt x="1509" y="1238"/>
                  </a:lnTo>
                  <a:lnTo>
                    <a:pt x="1521" y="1253"/>
                  </a:lnTo>
                  <a:lnTo>
                    <a:pt x="1528" y="1262"/>
                  </a:lnTo>
                  <a:lnTo>
                    <a:pt x="1532" y="1270"/>
                  </a:lnTo>
                  <a:lnTo>
                    <a:pt x="1532" y="1270"/>
                  </a:lnTo>
                  <a:close/>
                  <a:moveTo>
                    <a:pt x="715" y="1122"/>
                  </a:moveTo>
                  <a:lnTo>
                    <a:pt x="715" y="1122"/>
                  </a:lnTo>
                  <a:lnTo>
                    <a:pt x="722" y="1130"/>
                  </a:lnTo>
                  <a:lnTo>
                    <a:pt x="722" y="1130"/>
                  </a:lnTo>
                  <a:lnTo>
                    <a:pt x="715" y="1122"/>
                  </a:lnTo>
                  <a:lnTo>
                    <a:pt x="715" y="1122"/>
                  </a:lnTo>
                  <a:close/>
                  <a:moveTo>
                    <a:pt x="705" y="1071"/>
                  </a:moveTo>
                  <a:lnTo>
                    <a:pt x="705" y="1071"/>
                  </a:lnTo>
                  <a:lnTo>
                    <a:pt x="700" y="1066"/>
                  </a:lnTo>
                  <a:lnTo>
                    <a:pt x="696" y="1063"/>
                  </a:lnTo>
                  <a:lnTo>
                    <a:pt x="691" y="1060"/>
                  </a:lnTo>
                  <a:lnTo>
                    <a:pt x="687" y="1056"/>
                  </a:lnTo>
                  <a:lnTo>
                    <a:pt x="687" y="1056"/>
                  </a:lnTo>
                  <a:lnTo>
                    <a:pt x="685" y="1054"/>
                  </a:lnTo>
                  <a:lnTo>
                    <a:pt x="685" y="1054"/>
                  </a:lnTo>
                  <a:lnTo>
                    <a:pt x="687" y="1056"/>
                  </a:lnTo>
                  <a:lnTo>
                    <a:pt x="687" y="1056"/>
                  </a:lnTo>
                  <a:lnTo>
                    <a:pt x="691" y="1060"/>
                  </a:lnTo>
                  <a:lnTo>
                    <a:pt x="696" y="1063"/>
                  </a:lnTo>
                  <a:lnTo>
                    <a:pt x="700" y="1066"/>
                  </a:lnTo>
                  <a:lnTo>
                    <a:pt x="705" y="1071"/>
                  </a:lnTo>
                  <a:lnTo>
                    <a:pt x="705" y="1071"/>
                  </a:lnTo>
                  <a:close/>
                  <a:moveTo>
                    <a:pt x="789" y="1158"/>
                  </a:moveTo>
                  <a:lnTo>
                    <a:pt x="789" y="1158"/>
                  </a:lnTo>
                  <a:lnTo>
                    <a:pt x="780" y="1146"/>
                  </a:lnTo>
                  <a:lnTo>
                    <a:pt x="780" y="1146"/>
                  </a:lnTo>
                  <a:lnTo>
                    <a:pt x="776" y="1142"/>
                  </a:lnTo>
                  <a:lnTo>
                    <a:pt x="771" y="1139"/>
                  </a:lnTo>
                  <a:lnTo>
                    <a:pt x="758" y="1137"/>
                  </a:lnTo>
                  <a:lnTo>
                    <a:pt x="758" y="1137"/>
                  </a:lnTo>
                  <a:lnTo>
                    <a:pt x="751" y="1137"/>
                  </a:lnTo>
                  <a:lnTo>
                    <a:pt x="745" y="1139"/>
                  </a:lnTo>
                  <a:lnTo>
                    <a:pt x="739" y="1142"/>
                  </a:lnTo>
                  <a:lnTo>
                    <a:pt x="734" y="1142"/>
                  </a:lnTo>
                  <a:lnTo>
                    <a:pt x="734" y="1142"/>
                  </a:lnTo>
                  <a:lnTo>
                    <a:pt x="730" y="1140"/>
                  </a:lnTo>
                  <a:lnTo>
                    <a:pt x="727" y="1137"/>
                  </a:lnTo>
                  <a:lnTo>
                    <a:pt x="727" y="1137"/>
                  </a:lnTo>
                  <a:lnTo>
                    <a:pt x="730" y="1140"/>
                  </a:lnTo>
                  <a:lnTo>
                    <a:pt x="734" y="1142"/>
                  </a:lnTo>
                  <a:lnTo>
                    <a:pt x="734" y="1142"/>
                  </a:lnTo>
                  <a:lnTo>
                    <a:pt x="739" y="1142"/>
                  </a:lnTo>
                  <a:lnTo>
                    <a:pt x="745" y="1139"/>
                  </a:lnTo>
                  <a:lnTo>
                    <a:pt x="751" y="1137"/>
                  </a:lnTo>
                  <a:lnTo>
                    <a:pt x="758" y="1137"/>
                  </a:lnTo>
                  <a:lnTo>
                    <a:pt x="758" y="1137"/>
                  </a:lnTo>
                  <a:lnTo>
                    <a:pt x="771" y="1139"/>
                  </a:lnTo>
                  <a:lnTo>
                    <a:pt x="776" y="1142"/>
                  </a:lnTo>
                  <a:lnTo>
                    <a:pt x="780" y="1146"/>
                  </a:lnTo>
                  <a:lnTo>
                    <a:pt x="780" y="1146"/>
                  </a:lnTo>
                  <a:lnTo>
                    <a:pt x="789" y="1158"/>
                  </a:lnTo>
                  <a:lnTo>
                    <a:pt x="789" y="1158"/>
                  </a:lnTo>
                  <a:close/>
                  <a:moveTo>
                    <a:pt x="1420" y="1171"/>
                  </a:moveTo>
                  <a:lnTo>
                    <a:pt x="1420" y="1171"/>
                  </a:lnTo>
                  <a:lnTo>
                    <a:pt x="1424" y="1171"/>
                  </a:lnTo>
                  <a:lnTo>
                    <a:pt x="1429" y="1168"/>
                  </a:lnTo>
                  <a:lnTo>
                    <a:pt x="1435" y="1165"/>
                  </a:lnTo>
                  <a:lnTo>
                    <a:pt x="1438" y="1161"/>
                  </a:lnTo>
                  <a:lnTo>
                    <a:pt x="1438" y="1161"/>
                  </a:lnTo>
                  <a:lnTo>
                    <a:pt x="1439" y="1156"/>
                  </a:lnTo>
                  <a:lnTo>
                    <a:pt x="1439" y="1145"/>
                  </a:lnTo>
                  <a:lnTo>
                    <a:pt x="1436" y="1111"/>
                  </a:lnTo>
                  <a:lnTo>
                    <a:pt x="1432" y="1065"/>
                  </a:lnTo>
                  <a:lnTo>
                    <a:pt x="1432" y="1065"/>
                  </a:lnTo>
                  <a:lnTo>
                    <a:pt x="1427" y="1065"/>
                  </a:lnTo>
                  <a:lnTo>
                    <a:pt x="1417" y="1066"/>
                  </a:lnTo>
                  <a:lnTo>
                    <a:pt x="1412" y="1068"/>
                  </a:lnTo>
                  <a:lnTo>
                    <a:pt x="1406" y="1071"/>
                  </a:lnTo>
                  <a:lnTo>
                    <a:pt x="1404" y="1074"/>
                  </a:lnTo>
                  <a:lnTo>
                    <a:pt x="1401" y="1079"/>
                  </a:lnTo>
                  <a:lnTo>
                    <a:pt x="1401" y="1079"/>
                  </a:lnTo>
                  <a:lnTo>
                    <a:pt x="1399" y="1084"/>
                  </a:lnTo>
                  <a:lnTo>
                    <a:pt x="1399" y="1091"/>
                  </a:lnTo>
                  <a:lnTo>
                    <a:pt x="1401" y="1105"/>
                  </a:lnTo>
                  <a:lnTo>
                    <a:pt x="1406" y="1134"/>
                  </a:lnTo>
                  <a:lnTo>
                    <a:pt x="1406" y="1134"/>
                  </a:lnTo>
                  <a:lnTo>
                    <a:pt x="1406" y="1146"/>
                  </a:lnTo>
                  <a:lnTo>
                    <a:pt x="1406" y="1155"/>
                  </a:lnTo>
                  <a:lnTo>
                    <a:pt x="1405" y="1164"/>
                  </a:lnTo>
                  <a:lnTo>
                    <a:pt x="1405" y="1164"/>
                  </a:lnTo>
                  <a:lnTo>
                    <a:pt x="1406" y="1167"/>
                  </a:lnTo>
                  <a:lnTo>
                    <a:pt x="1411" y="1170"/>
                  </a:lnTo>
                  <a:lnTo>
                    <a:pt x="1420" y="1171"/>
                  </a:lnTo>
                  <a:lnTo>
                    <a:pt x="1420" y="1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2" name="Freeform 91">
              <a:extLst>
                <a:ext uri="{FF2B5EF4-FFF2-40B4-BE49-F238E27FC236}">
                  <a16:creationId xmlns:a16="http://schemas.microsoft.com/office/drawing/2014/main" id="{E3EF4BAC-F137-5F44-A939-D2DC8F51D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6700" y="6634163"/>
              <a:ext cx="1725613" cy="1196975"/>
            </a:xfrm>
            <a:custGeom>
              <a:avLst/>
              <a:gdLst>
                <a:gd name="T0" fmla="*/ 1033 w 1087"/>
                <a:gd name="T1" fmla="*/ 623 h 754"/>
                <a:gd name="T2" fmla="*/ 1030 w 1087"/>
                <a:gd name="T3" fmla="*/ 603 h 754"/>
                <a:gd name="T4" fmla="*/ 964 w 1087"/>
                <a:gd name="T5" fmla="*/ 563 h 754"/>
                <a:gd name="T6" fmla="*/ 945 w 1087"/>
                <a:gd name="T7" fmla="*/ 537 h 754"/>
                <a:gd name="T8" fmla="*/ 926 w 1087"/>
                <a:gd name="T9" fmla="*/ 518 h 754"/>
                <a:gd name="T10" fmla="*/ 936 w 1087"/>
                <a:gd name="T11" fmla="*/ 456 h 754"/>
                <a:gd name="T12" fmla="*/ 935 w 1087"/>
                <a:gd name="T13" fmla="*/ 413 h 754"/>
                <a:gd name="T14" fmla="*/ 979 w 1087"/>
                <a:gd name="T15" fmla="*/ 338 h 754"/>
                <a:gd name="T16" fmla="*/ 996 w 1087"/>
                <a:gd name="T17" fmla="*/ 283 h 754"/>
                <a:gd name="T18" fmla="*/ 1037 w 1087"/>
                <a:gd name="T19" fmla="*/ 258 h 754"/>
                <a:gd name="T20" fmla="*/ 1076 w 1087"/>
                <a:gd name="T21" fmla="*/ 226 h 754"/>
                <a:gd name="T22" fmla="*/ 1028 w 1087"/>
                <a:gd name="T23" fmla="*/ 146 h 754"/>
                <a:gd name="T24" fmla="*/ 996 w 1087"/>
                <a:gd name="T25" fmla="*/ 151 h 754"/>
                <a:gd name="T26" fmla="*/ 948 w 1087"/>
                <a:gd name="T27" fmla="*/ 185 h 754"/>
                <a:gd name="T28" fmla="*/ 920 w 1087"/>
                <a:gd name="T29" fmla="*/ 232 h 754"/>
                <a:gd name="T30" fmla="*/ 874 w 1087"/>
                <a:gd name="T31" fmla="*/ 269 h 754"/>
                <a:gd name="T32" fmla="*/ 861 w 1087"/>
                <a:gd name="T33" fmla="*/ 269 h 754"/>
                <a:gd name="T34" fmla="*/ 827 w 1087"/>
                <a:gd name="T35" fmla="*/ 234 h 754"/>
                <a:gd name="T36" fmla="*/ 754 w 1087"/>
                <a:gd name="T37" fmla="*/ 238 h 754"/>
                <a:gd name="T38" fmla="*/ 751 w 1087"/>
                <a:gd name="T39" fmla="*/ 194 h 754"/>
                <a:gd name="T40" fmla="*/ 770 w 1087"/>
                <a:gd name="T41" fmla="*/ 155 h 754"/>
                <a:gd name="T42" fmla="*/ 787 w 1087"/>
                <a:gd name="T43" fmla="*/ 83 h 754"/>
                <a:gd name="T44" fmla="*/ 790 w 1087"/>
                <a:gd name="T45" fmla="*/ 41 h 754"/>
                <a:gd name="T46" fmla="*/ 787 w 1087"/>
                <a:gd name="T47" fmla="*/ 6 h 754"/>
                <a:gd name="T48" fmla="*/ 747 w 1087"/>
                <a:gd name="T49" fmla="*/ 19 h 754"/>
                <a:gd name="T50" fmla="*/ 667 w 1087"/>
                <a:gd name="T51" fmla="*/ 56 h 754"/>
                <a:gd name="T52" fmla="*/ 591 w 1087"/>
                <a:gd name="T53" fmla="*/ 102 h 754"/>
                <a:gd name="T54" fmla="*/ 542 w 1087"/>
                <a:gd name="T55" fmla="*/ 124 h 754"/>
                <a:gd name="T56" fmla="*/ 499 w 1087"/>
                <a:gd name="T57" fmla="*/ 146 h 754"/>
                <a:gd name="T58" fmla="*/ 449 w 1087"/>
                <a:gd name="T59" fmla="*/ 167 h 754"/>
                <a:gd name="T60" fmla="*/ 375 w 1087"/>
                <a:gd name="T61" fmla="*/ 184 h 754"/>
                <a:gd name="T62" fmla="*/ 295 w 1087"/>
                <a:gd name="T63" fmla="*/ 186 h 754"/>
                <a:gd name="T64" fmla="*/ 214 w 1087"/>
                <a:gd name="T65" fmla="*/ 169 h 754"/>
                <a:gd name="T66" fmla="*/ 186 w 1087"/>
                <a:gd name="T67" fmla="*/ 179 h 754"/>
                <a:gd name="T68" fmla="*/ 117 w 1087"/>
                <a:gd name="T69" fmla="*/ 161 h 754"/>
                <a:gd name="T70" fmla="*/ 43 w 1087"/>
                <a:gd name="T71" fmla="*/ 155 h 754"/>
                <a:gd name="T72" fmla="*/ 0 w 1087"/>
                <a:gd name="T73" fmla="*/ 207 h 754"/>
                <a:gd name="T74" fmla="*/ 26 w 1087"/>
                <a:gd name="T75" fmla="*/ 229 h 754"/>
                <a:gd name="T76" fmla="*/ 67 w 1087"/>
                <a:gd name="T77" fmla="*/ 244 h 754"/>
                <a:gd name="T78" fmla="*/ 58 w 1087"/>
                <a:gd name="T79" fmla="*/ 277 h 754"/>
                <a:gd name="T80" fmla="*/ 97 w 1087"/>
                <a:gd name="T81" fmla="*/ 269 h 754"/>
                <a:gd name="T82" fmla="*/ 128 w 1087"/>
                <a:gd name="T83" fmla="*/ 261 h 754"/>
                <a:gd name="T84" fmla="*/ 154 w 1087"/>
                <a:gd name="T85" fmla="*/ 303 h 754"/>
                <a:gd name="T86" fmla="*/ 181 w 1087"/>
                <a:gd name="T87" fmla="*/ 296 h 754"/>
                <a:gd name="T88" fmla="*/ 190 w 1087"/>
                <a:gd name="T89" fmla="*/ 373 h 754"/>
                <a:gd name="T90" fmla="*/ 212 w 1087"/>
                <a:gd name="T91" fmla="*/ 391 h 754"/>
                <a:gd name="T92" fmla="*/ 209 w 1087"/>
                <a:gd name="T93" fmla="*/ 416 h 754"/>
                <a:gd name="T94" fmla="*/ 217 w 1087"/>
                <a:gd name="T95" fmla="*/ 460 h 754"/>
                <a:gd name="T96" fmla="*/ 248 w 1087"/>
                <a:gd name="T97" fmla="*/ 492 h 754"/>
                <a:gd name="T98" fmla="*/ 368 w 1087"/>
                <a:gd name="T99" fmla="*/ 472 h 754"/>
                <a:gd name="T100" fmla="*/ 465 w 1087"/>
                <a:gd name="T101" fmla="*/ 468 h 754"/>
                <a:gd name="T102" fmla="*/ 529 w 1087"/>
                <a:gd name="T103" fmla="*/ 492 h 754"/>
                <a:gd name="T104" fmla="*/ 569 w 1087"/>
                <a:gd name="T105" fmla="*/ 532 h 754"/>
                <a:gd name="T106" fmla="*/ 633 w 1087"/>
                <a:gd name="T107" fmla="*/ 592 h 754"/>
                <a:gd name="T108" fmla="*/ 704 w 1087"/>
                <a:gd name="T109" fmla="*/ 650 h 754"/>
                <a:gd name="T110" fmla="*/ 793 w 1087"/>
                <a:gd name="T111" fmla="*/ 751 h 754"/>
                <a:gd name="T112" fmla="*/ 889 w 1087"/>
                <a:gd name="T113" fmla="*/ 736 h 754"/>
                <a:gd name="T114" fmla="*/ 1001 w 1087"/>
                <a:gd name="T115" fmla="*/ 742 h 754"/>
                <a:gd name="T116" fmla="*/ 1040 w 1087"/>
                <a:gd name="T117" fmla="*/ 70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7" h="754">
                  <a:moveTo>
                    <a:pt x="1041" y="669"/>
                  </a:moveTo>
                  <a:lnTo>
                    <a:pt x="1041" y="669"/>
                  </a:lnTo>
                  <a:lnTo>
                    <a:pt x="1046" y="662"/>
                  </a:lnTo>
                  <a:lnTo>
                    <a:pt x="1052" y="653"/>
                  </a:lnTo>
                  <a:lnTo>
                    <a:pt x="1052" y="653"/>
                  </a:lnTo>
                  <a:lnTo>
                    <a:pt x="1046" y="643"/>
                  </a:lnTo>
                  <a:lnTo>
                    <a:pt x="1038" y="628"/>
                  </a:lnTo>
                  <a:lnTo>
                    <a:pt x="1038" y="628"/>
                  </a:lnTo>
                  <a:lnTo>
                    <a:pt x="1037" y="625"/>
                  </a:lnTo>
                  <a:lnTo>
                    <a:pt x="1036" y="623"/>
                  </a:lnTo>
                  <a:lnTo>
                    <a:pt x="1034" y="623"/>
                  </a:lnTo>
                  <a:lnTo>
                    <a:pt x="1033" y="623"/>
                  </a:lnTo>
                  <a:lnTo>
                    <a:pt x="1030" y="626"/>
                  </a:lnTo>
                  <a:lnTo>
                    <a:pt x="1025" y="628"/>
                  </a:lnTo>
                  <a:lnTo>
                    <a:pt x="1025" y="628"/>
                  </a:lnTo>
                  <a:lnTo>
                    <a:pt x="1024" y="628"/>
                  </a:lnTo>
                  <a:lnTo>
                    <a:pt x="1022" y="626"/>
                  </a:lnTo>
                  <a:lnTo>
                    <a:pt x="1022" y="622"/>
                  </a:lnTo>
                  <a:lnTo>
                    <a:pt x="1022" y="617"/>
                  </a:lnTo>
                  <a:lnTo>
                    <a:pt x="1025" y="613"/>
                  </a:lnTo>
                  <a:lnTo>
                    <a:pt x="1025" y="613"/>
                  </a:lnTo>
                  <a:lnTo>
                    <a:pt x="1028" y="610"/>
                  </a:lnTo>
                  <a:lnTo>
                    <a:pt x="1030" y="607"/>
                  </a:lnTo>
                  <a:lnTo>
                    <a:pt x="1030" y="603"/>
                  </a:lnTo>
                  <a:lnTo>
                    <a:pt x="1027" y="598"/>
                  </a:lnTo>
                  <a:lnTo>
                    <a:pt x="1027" y="598"/>
                  </a:lnTo>
                  <a:lnTo>
                    <a:pt x="1022" y="589"/>
                  </a:lnTo>
                  <a:lnTo>
                    <a:pt x="1013" y="580"/>
                  </a:lnTo>
                  <a:lnTo>
                    <a:pt x="997" y="560"/>
                  </a:lnTo>
                  <a:lnTo>
                    <a:pt x="997" y="560"/>
                  </a:lnTo>
                  <a:lnTo>
                    <a:pt x="991" y="554"/>
                  </a:lnTo>
                  <a:lnTo>
                    <a:pt x="985" y="551"/>
                  </a:lnTo>
                  <a:lnTo>
                    <a:pt x="979" y="551"/>
                  </a:lnTo>
                  <a:lnTo>
                    <a:pt x="975" y="554"/>
                  </a:lnTo>
                  <a:lnTo>
                    <a:pt x="975" y="554"/>
                  </a:lnTo>
                  <a:lnTo>
                    <a:pt x="964" y="563"/>
                  </a:lnTo>
                  <a:lnTo>
                    <a:pt x="961" y="564"/>
                  </a:lnTo>
                  <a:lnTo>
                    <a:pt x="960" y="563"/>
                  </a:lnTo>
                  <a:lnTo>
                    <a:pt x="959" y="561"/>
                  </a:lnTo>
                  <a:lnTo>
                    <a:pt x="959" y="561"/>
                  </a:lnTo>
                  <a:lnTo>
                    <a:pt x="956" y="558"/>
                  </a:lnTo>
                  <a:lnTo>
                    <a:pt x="956" y="555"/>
                  </a:lnTo>
                  <a:lnTo>
                    <a:pt x="956" y="546"/>
                  </a:lnTo>
                  <a:lnTo>
                    <a:pt x="956" y="546"/>
                  </a:lnTo>
                  <a:lnTo>
                    <a:pt x="956" y="542"/>
                  </a:lnTo>
                  <a:lnTo>
                    <a:pt x="953" y="539"/>
                  </a:lnTo>
                  <a:lnTo>
                    <a:pt x="950" y="537"/>
                  </a:lnTo>
                  <a:lnTo>
                    <a:pt x="945" y="537"/>
                  </a:lnTo>
                  <a:lnTo>
                    <a:pt x="945" y="537"/>
                  </a:lnTo>
                  <a:lnTo>
                    <a:pt x="942" y="539"/>
                  </a:lnTo>
                  <a:lnTo>
                    <a:pt x="939" y="542"/>
                  </a:lnTo>
                  <a:lnTo>
                    <a:pt x="933" y="551"/>
                  </a:lnTo>
                  <a:lnTo>
                    <a:pt x="933" y="551"/>
                  </a:lnTo>
                  <a:lnTo>
                    <a:pt x="932" y="554"/>
                  </a:lnTo>
                  <a:lnTo>
                    <a:pt x="929" y="551"/>
                  </a:lnTo>
                  <a:lnTo>
                    <a:pt x="927" y="537"/>
                  </a:lnTo>
                  <a:lnTo>
                    <a:pt x="927" y="537"/>
                  </a:lnTo>
                  <a:lnTo>
                    <a:pt x="926" y="527"/>
                  </a:lnTo>
                  <a:lnTo>
                    <a:pt x="926" y="518"/>
                  </a:lnTo>
                  <a:lnTo>
                    <a:pt x="926" y="518"/>
                  </a:lnTo>
                  <a:lnTo>
                    <a:pt x="926" y="502"/>
                  </a:lnTo>
                  <a:lnTo>
                    <a:pt x="926" y="489"/>
                  </a:lnTo>
                  <a:lnTo>
                    <a:pt x="926" y="489"/>
                  </a:lnTo>
                  <a:lnTo>
                    <a:pt x="929" y="480"/>
                  </a:lnTo>
                  <a:lnTo>
                    <a:pt x="930" y="474"/>
                  </a:lnTo>
                  <a:lnTo>
                    <a:pt x="930" y="468"/>
                  </a:lnTo>
                  <a:lnTo>
                    <a:pt x="930" y="468"/>
                  </a:lnTo>
                  <a:lnTo>
                    <a:pt x="929" y="463"/>
                  </a:lnTo>
                  <a:lnTo>
                    <a:pt x="930" y="459"/>
                  </a:lnTo>
                  <a:lnTo>
                    <a:pt x="932" y="458"/>
                  </a:lnTo>
                  <a:lnTo>
                    <a:pt x="936" y="456"/>
                  </a:lnTo>
                  <a:lnTo>
                    <a:pt x="936" y="456"/>
                  </a:lnTo>
                  <a:lnTo>
                    <a:pt x="938" y="456"/>
                  </a:lnTo>
                  <a:lnTo>
                    <a:pt x="939" y="453"/>
                  </a:lnTo>
                  <a:lnTo>
                    <a:pt x="941" y="447"/>
                  </a:lnTo>
                  <a:lnTo>
                    <a:pt x="939" y="441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2" y="431"/>
                  </a:lnTo>
                  <a:lnTo>
                    <a:pt x="929" y="426"/>
                  </a:lnTo>
                  <a:lnTo>
                    <a:pt x="929" y="423"/>
                  </a:lnTo>
                  <a:lnTo>
                    <a:pt x="929" y="420"/>
                  </a:lnTo>
                  <a:lnTo>
                    <a:pt x="929" y="420"/>
                  </a:lnTo>
                  <a:lnTo>
                    <a:pt x="935" y="413"/>
                  </a:lnTo>
                  <a:lnTo>
                    <a:pt x="945" y="406"/>
                  </a:lnTo>
                  <a:lnTo>
                    <a:pt x="966" y="389"/>
                  </a:lnTo>
                  <a:lnTo>
                    <a:pt x="966" y="389"/>
                  </a:lnTo>
                  <a:lnTo>
                    <a:pt x="970" y="383"/>
                  </a:lnTo>
                  <a:lnTo>
                    <a:pt x="972" y="378"/>
                  </a:lnTo>
                  <a:lnTo>
                    <a:pt x="973" y="369"/>
                  </a:lnTo>
                  <a:lnTo>
                    <a:pt x="973" y="369"/>
                  </a:lnTo>
                  <a:lnTo>
                    <a:pt x="975" y="358"/>
                  </a:lnTo>
                  <a:lnTo>
                    <a:pt x="978" y="345"/>
                  </a:lnTo>
                  <a:lnTo>
                    <a:pt x="978" y="345"/>
                  </a:lnTo>
                  <a:lnTo>
                    <a:pt x="978" y="342"/>
                  </a:lnTo>
                  <a:lnTo>
                    <a:pt x="979" y="338"/>
                  </a:lnTo>
                  <a:lnTo>
                    <a:pt x="985" y="329"/>
                  </a:lnTo>
                  <a:lnTo>
                    <a:pt x="993" y="321"/>
                  </a:lnTo>
                  <a:lnTo>
                    <a:pt x="999" y="317"/>
                  </a:lnTo>
                  <a:lnTo>
                    <a:pt x="999" y="317"/>
                  </a:lnTo>
                  <a:lnTo>
                    <a:pt x="1004" y="312"/>
                  </a:lnTo>
                  <a:lnTo>
                    <a:pt x="1009" y="308"/>
                  </a:lnTo>
                  <a:lnTo>
                    <a:pt x="1009" y="303"/>
                  </a:lnTo>
                  <a:lnTo>
                    <a:pt x="1004" y="299"/>
                  </a:lnTo>
                  <a:lnTo>
                    <a:pt x="1004" y="299"/>
                  </a:lnTo>
                  <a:lnTo>
                    <a:pt x="1001" y="295"/>
                  </a:lnTo>
                  <a:lnTo>
                    <a:pt x="999" y="289"/>
                  </a:lnTo>
                  <a:lnTo>
                    <a:pt x="996" y="283"/>
                  </a:lnTo>
                  <a:lnTo>
                    <a:pt x="991" y="278"/>
                  </a:lnTo>
                  <a:lnTo>
                    <a:pt x="991" y="278"/>
                  </a:lnTo>
                  <a:lnTo>
                    <a:pt x="990" y="275"/>
                  </a:lnTo>
                  <a:lnTo>
                    <a:pt x="988" y="272"/>
                  </a:lnTo>
                  <a:lnTo>
                    <a:pt x="988" y="269"/>
                  </a:lnTo>
                  <a:lnTo>
                    <a:pt x="991" y="268"/>
                  </a:lnTo>
                  <a:lnTo>
                    <a:pt x="996" y="265"/>
                  </a:lnTo>
                  <a:lnTo>
                    <a:pt x="1003" y="263"/>
                  </a:lnTo>
                  <a:lnTo>
                    <a:pt x="1003" y="263"/>
                  </a:lnTo>
                  <a:lnTo>
                    <a:pt x="1019" y="261"/>
                  </a:lnTo>
                  <a:lnTo>
                    <a:pt x="1030" y="259"/>
                  </a:lnTo>
                  <a:lnTo>
                    <a:pt x="1037" y="258"/>
                  </a:lnTo>
                  <a:lnTo>
                    <a:pt x="1037" y="258"/>
                  </a:lnTo>
                  <a:lnTo>
                    <a:pt x="1049" y="255"/>
                  </a:lnTo>
                  <a:lnTo>
                    <a:pt x="1064" y="253"/>
                  </a:lnTo>
                  <a:lnTo>
                    <a:pt x="1078" y="252"/>
                  </a:lnTo>
                  <a:lnTo>
                    <a:pt x="1083" y="252"/>
                  </a:lnTo>
                  <a:lnTo>
                    <a:pt x="1086" y="250"/>
                  </a:lnTo>
                  <a:lnTo>
                    <a:pt x="1086" y="250"/>
                  </a:lnTo>
                  <a:lnTo>
                    <a:pt x="1087" y="247"/>
                  </a:lnTo>
                  <a:lnTo>
                    <a:pt x="1087" y="246"/>
                  </a:lnTo>
                  <a:lnTo>
                    <a:pt x="1086" y="240"/>
                  </a:lnTo>
                  <a:lnTo>
                    <a:pt x="1081" y="234"/>
                  </a:lnTo>
                  <a:lnTo>
                    <a:pt x="1076" y="226"/>
                  </a:lnTo>
                  <a:lnTo>
                    <a:pt x="1076" y="226"/>
                  </a:lnTo>
                  <a:lnTo>
                    <a:pt x="1061" y="213"/>
                  </a:lnTo>
                  <a:lnTo>
                    <a:pt x="1049" y="197"/>
                  </a:lnTo>
                  <a:lnTo>
                    <a:pt x="1049" y="197"/>
                  </a:lnTo>
                  <a:lnTo>
                    <a:pt x="1044" y="188"/>
                  </a:lnTo>
                  <a:lnTo>
                    <a:pt x="1044" y="181"/>
                  </a:lnTo>
                  <a:lnTo>
                    <a:pt x="1044" y="181"/>
                  </a:lnTo>
                  <a:lnTo>
                    <a:pt x="1043" y="169"/>
                  </a:lnTo>
                  <a:lnTo>
                    <a:pt x="1040" y="163"/>
                  </a:lnTo>
                  <a:lnTo>
                    <a:pt x="1037" y="157"/>
                  </a:lnTo>
                  <a:lnTo>
                    <a:pt x="1037" y="157"/>
                  </a:lnTo>
                  <a:lnTo>
                    <a:pt x="1028" y="146"/>
                  </a:lnTo>
                  <a:lnTo>
                    <a:pt x="1024" y="142"/>
                  </a:lnTo>
                  <a:lnTo>
                    <a:pt x="1019" y="139"/>
                  </a:lnTo>
                  <a:lnTo>
                    <a:pt x="1019" y="139"/>
                  </a:lnTo>
                  <a:lnTo>
                    <a:pt x="1015" y="138"/>
                  </a:lnTo>
                  <a:lnTo>
                    <a:pt x="1012" y="136"/>
                  </a:lnTo>
                  <a:lnTo>
                    <a:pt x="1009" y="133"/>
                  </a:lnTo>
                  <a:lnTo>
                    <a:pt x="1004" y="133"/>
                  </a:lnTo>
                  <a:lnTo>
                    <a:pt x="1004" y="133"/>
                  </a:lnTo>
                  <a:lnTo>
                    <a:pt x="1003" y="133"/>
                  </a:lnTo>
                  <a:lnTo>
                    <a:pt x="1000" y="135"/>
                  </a:lnTo>
                  <a:lnTo>
                    <a:pt x="999" y="139"/>
                  </a:lnTo>
                  <a:lnTo>
                    <a:pt x="996" y="151"/>
                  </a:lnTo>
                  <a:lnTo>
                    <a:pt x="996" y="151"/>
                  </a:lnTo>
                  <a:lnTo>
                    <a:pt x="994" y="157"/>
                  </a:lnTo>
                  <a:lnTo>
                    <a:pt x="991" y="161"/>
                  </a:lnTo>
                  <a:lnTo>
                    <a:pt x="985" y="166"/>
                  </a:lnTo>
                  <a:lnTo>
                    <a:pt x="985" y="166"/>
                  </a:lnTo>
                  <a:lnTo>
                    <a:pt x="984" y="167"/>
                  </a:lnTo>
                  <a:lnTo>
                    <a:pt x="981" y="169"/>
                  </a:lnTo>
                  <a:lnTo>
                    <a:pt x="967" y="172"/>
                  </a:lnTo>
                  <a:lnTo>
                    <a:pt x="967" y="172"/>
                  </a:lnTo>
                  <a:lnTo>
                    <a:pt x="961" y="173"/>
                  </a:lnTo>
                  <a:lnTo>
                    <a:pt x="956" y="176"/>
                  </a:lnTo>
                  <a:lnTo>
                    <a:pt x="948" y="185"/>
                  </a:lnTo>
                  <a:lnTo>
                    <a:pt x="948" y="185"/>
                  </a:lnTo>
                  <a:lnTo>
                    <a:pt x="945" y="191"/>
                  </a:lnTo>
                  <a:lnTo>
                    <a:pt x="944" y="197"/>
                  </a:lnTo>
                  <a:lnTo>
                    <a:pt x="942" y="204"/>
                  </a:lnTo>
                  <a:lnTo>
                    <a:pt x="941" y="209"/>
                  </a:lnTo>
                  <a:lnTo>
                    <a:pt x="941" y="209"/>
                  </a:lnTo>
                  <a:lnTo>
                    <a:pt x="933" y="216"/>
                  </a:lnTo>
                  <a:lnTo>
                    <a:pt x="927" y="221"/>
                  </a:lnTo>
                  <a:lnTo>
                    <a:pt x="927" y="221"/>
                  </a:lnTo>
                  <a:lnTo>
                    <a:pt x="924" y="226"/>
                  </a:lnTo>
                  <a:lnTo>
                    <a:pt x="920" y="232"/>
                  </a:lnTo>
                  <a:lnTo>
                    <a:pt x="920" y="232"/>
                  </a:lnTo>
                  <a:lnTo>
                    <a:pt x="910" y="240"/>
                  </a:lnTo>
                  <a:lnTo>
                    <a:pt x="896" y="249"/>
                  </a:lnTo>
                  <a:lnTo>
                    <a:pt x="896" y="249"/>
                  </a:lnTo>
                  <a:lnTo>
                    <a:pt x="892" y="252"/>
                  </a:lnTo>
                  <a:lnTo>
                    <a:pt x="890" y="255"/>
                  </a:lnTo>
                  <a:lnTo>
                    <a:pt x="889" y="263"/>
                  </a:lnTo>
                  <a:lnTo>
                    <a:pt x="889" y="263"/>
                  </a:lnTo>
                  <a:lnTo>
                    <a:pt x="889" y="265"/>
                  </a:lnTo>
                  <a:lnTo>
                    <a:pt x="887" y="266"/>
                  </a:lnTo>
                  <a:lnTo>
                    <a:pt x="883" y="269"/>
                  </a:lnTo>
                  <a:lnTo>
                    <a:pt x="879" y="269"/>
                  </a:lnTo>
                  <a:lnTo>
                    <a:pt x="874" y="269"/>
                  </a:lnTo>
                  <a:lnTo>
                    <a:pt x="874" y="269"/>
                  </a:lnTo>
                  <a:lnTo>
                    <a:pt x="873" y="269"/>
                  </a:lnTo>
                  <a:lnTo>
                    <a:pt x="873" y="268"/>
                  </a:lnTo>
                  <a:lnTo>
                    <a:pt x="873" y="265"/>
                  </a:lnTo>
                  <a:lnTo>
                    <a:pt x="873" y="261"/>
                  </a:lnTo>
                  <a:lnTo>
                    <a:pt x="873" y="258"/>
                  </a:lnTo>
                  <a:lnTo>
                    <a:pt x="873" y="258"/>
                  </a:lnTo>
                  <a:lnTo>
                    <a:pt x="871" y="256"/>
                  </a:lnTo>
                  <a:lnTo>
                    <a:pt x="870" y="258"/>
                  </a:lnTo>
                  <a:lnTo>
                    <a:pt x="867" y="261"/>
                  </a:lnTo>
                  <a:lnTo>
                    <a:pt x="861" y="269"/>
                  </a:lnTo>
                  <a:lnTo>
                    <a:pt x="861" y="269"/>
                  </a:lnTo>
                  <a:lnTo>
                    <a:pt x="859" y="271"/>
                  </a:lnTo>
                  <a:lnTo>
                    <a:pt x="856" y="271"/>
                  </a:lnTo>
                  <a:lnTo>
                    <a:pt x="852" y="271"/>
                  </a:lnTo>
                  <a:lnTo>
                    <a:pt x="847" y="269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2" y="258"/>
                  </a:lnTo>
                  <a:lnTo>
                    <a:pt x="837" y="244"/>
                  </a:lnTo>
                  <a:lnTo>
                    <a:pt x="837" y="244"/>
                  </a:lnTo>
                  <a:lnTo>
                    <a:pt x="836" y="240"/>
                  </a:lnTo>
                  <a:lnTo>
                    <a:pt x="831" y="237"/>
                  </a:lnTo>
                  <a:lnTo>
                    <a:pt x="827" y="234"/>
                  </a:lnTo>
                  <a:lnTo>
                    <a:pt x="822" y="232"/>
                  </a:lnTo>
                  <a:lnTo>
                    <a:pt x="810" y="231"/>
                  </a:lnTo>
                  <a:lnTo>
                    <a:pt x="806" y="231"/>
                  </a:lnTo>
                  <a:lnTo>
                    <a:pt x="800" y="232"/>
                  </a:lnTo>
                  <a:lnTo>
                    <a:pt x="800" y="232"/>
                  </a:lnTo>
                  <a:lnTo>
                    <a:pt x="788" y="237"/>
                  </a:lnTo>
                  <a:lnTo>
                    <a:pt x="784" y="238"/>
                  </a:lnTo>
                  <a:lnTo>
                    <a:pt x="779" y="238"/>
                  </a:lnTo>
                  <a:lnTo>
                    <a:pt x="779" y="238"/>
                  </a:lnTo>
                  <a:lnTo>
                    <a:pt x="768" y="240"/>
                  </a:lnTo>
                  <a:lnTo>
                    <a:pt x="754" y="238"/>
                  </a:lnTo>
                  <a:lnTo>
                    <a:pt x="754" y="238"/>
                  </a:lnTo>
                  <a:lnTo>
                    <a:pt x="753" y="238"/>
                  </a:lnTo>
                  <a:lnTo>
                    <a:pt x="751" y="237"/>
                  </a:lnTo>
                  <a:lnTo>
                    <a:pt x="751" y="231"/>
                  </a:lnTo>
                  <a:lnTo>
                    <a:pt x="751" y="225"/>
                  </a:lnTo>
                  <a:lnTo>
                    <a:pt x="751" y="219"/>
                  </a:lnTo>
                  <a:lnTo>
                    <a:pt x="751" y="219"/>
                  </a:lnTo>
                  <a:lnTo>
                    <a:pt x="750" y="215"/>
                  </a:lnTo>
                  <a:lnTo>
                    <a:pt x="751" y="209"/>
                  </a:lnTo>
                  <a:lnTo>
                    <a:pt x="751" y="204"/>
                  </a:lnTo>
                  <a:lnTo>
                    <a:pt x="751" y="197"/>
                  </a:lnTo>
                  <a:lnTo>
                    <a:pt x="751" y="197"/>
                  </a:lnTo>
                  <a:lnTo>
                    <a:pt x="751" y="194"/>
                  </a:lnTo>
                  <a:lnTo>
                    <a:pt x="753" y="191"/>
                  </a:lnTo>
                  <a:lnTo>
                    <a:pt x="757" y="186"/>
                  </a:lnTo>
                  <a:lnTo>
                    <a:pt x="762" y="185"/>
                  </a:lnTo>
                  <a:lnTo>
                    <a:pt x="769" y="184"/>
                  </a:lnTo>
                  <a:lnTo>
                    <a:pt x="769" y="184"/>
                  </a:lnTo>
                  <a:lnTo>
                    <a:pt x="772" y="182"/>
                  </a:lnTo>
                  <a:lnTo>
                    <a:pt x="773" y="181"/>
                  </a:lnTo>
                  <a:lnTo>
                    <a:pt x="775" y="17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3" y="161"/>
                  </a:lnTo>
                  <a:lnTo>
                    <a:pt x="770" y="155"/>
                  </a:lnTo>
                  <a:lnTo>
                    <a:pt x="766" y="148"/>
                  </a:lnTo>
                  <a:lnTo>
                    <a:pt x="762" y="139"/>
                  </a:lnTo>
                  <a:lnTo>
                    <a:pt x="762" y="139"/>
                  </a:lnTo>
                  <a:lnTo>
                    <a:pt x="762" y="133"/>
                  </a:lnTo>
                  <a:lnTo>
                    <a:pt x="763" y="127"/>
                  </a:lnTo>
                  <a:lnTo>
                    <a:pt x="768" y="120"/>
                  </a:lnTo>
                  <a:lnTo>
                    <a:pt x="773" y="112"/>
                  </a:lnTo>
                  <a:lnTo>
                    <a:pt x="784" y="98"/>
                  </a:lnTo>
                  <a:lnTo>
                    <a:pt x="790" y="90"/>
                  </a:lnTo>
                  <a:lnTo>
                    <a:pt x="790" y="90"/>
                  </a:lnTo>
                  <a:lnTo>
                    <a:pt x="790" y="87"/>
                  </a:lnTo>
                  <a:lnTo>
                    <a:pt x="787" y="83"/>
                  </a:lnTo>
                  <a:lnTo>
                    <a:pt x="787" y="78"/>
                  </a:lnTo>
                  <a:lnTo>
                    <a:pt x="787" y="74"/>
                  </a:lnTo>
                  <a:lnTo>
                    <a:pt x="787" y="74"/>
                  </a:lnTo>
                  <a:lnTo>
                    <a:pt x="790" y="69"/>
                  </a:lnTo>
                  <a:lnTo>
                    <a:pt x="794" y="65"/>
                  </a:lnTo>
                  <a:lnTo>
                    <a:pt x="796" y="62"/>
                  </a:lnTo>
                  <a:lnTo>
                    <a:pt x="797" y="59"/>
                  </a:lnTo>
                  <a:lnTo>
                    <a:pt x="797" y="59"/>
                  </a:lnTo>
                  <a:lnTo>
                    <a:pt x="794" y="55"/>
                  </a:lnTo>
                  <a:lnTo>
                    <a:pt x="793" y="50"/>
                  </a:lnTo>
                  <a:lnTo>
                    <a:pt x="790" y="46"/>
                  </a:lnTo>
                  <a:lnTo>
                    <a:pt x="790" y="41"/>
                  </a:lnTo>
                  <a:lnTo>
                    <a:pt x="790" y="41"/>
                  </a:lnTo>
                  <a:lnTo>
                    <a:pt x="791" y="40"/>
                  </a:lnTo>
                  <a:lnTo>
                    <a:pt x="796" y="35"/>
                  </a:lnTo>
                  <a:lnTo>
                    <a:pt x="807" y="25"/>
                  </a:lnTo>
                  <a:lnTo>
                    <a:pt x="822" y="13"/>
                  </a:lnTo>
                  <a:lnTo>
                    <a:pt x="822" y="13"/>
                  </a:lnTo>
                  <a:lnTo>
                    <a:pt x="818" y="13"/>
                  </a:lnTo>
                  <a:lnTo>
                    <a:pt x="806" y="13"/>
                  </a:lnTo>
                  <a:lnTo>
                    <a:pt x="806" y="13"/>
                  </a:lnTo>
                  <a:lnTo>
                    <a:pt x="802" y="15"/>
                  </a:lnTo>
                  <a:lnTo>
                    <a:pt x="796" y="13"/>
                  </a:lnTo>
                  <a:lnTo>
                    <a:pt x="787" y="6"/>
                  </a:lnTo>
                  <a:lnTo>
                    <a:pt x="787" y="6"/>
                  </a:lnTo>
                  <a:lnTo>
                    <a:pt x="781" y="3"/>
                  </a:lnTo>
                  <a:lnTo>
                    <a:pt x="778" y="0"/>
                  </a:lnTo>
                  <a:lnTo>
                    <a:pt x="773" y="0"/>
                  </a:lnTo>
                  <a:lnTo>
                    <a:pt x="768" y="0"/>
                  </a:lnTo>
                  <a:lnTo>
                    <a:pt x="768" y="0"/>
                  </a:lnTo>
                  <a:lnTo>
                    <a:pt x="765" y="1"/>
                  </a:lnTo>
                  <a:lnTo>
                    <a:pt x="762" y="3"/>
                  </a:lnTo>
                  <a:lnTo>
                    <a:pt x="757" y="7"/>
                  </a:lnTo>
                  <a:lnTo>
                    <a:pt x="753" y="13"/>
                  </a:lnTo>
                  <a:lnTo>
                    <a:pt x="747" y="19"/>
                  </a:lnTo>
                  <a:lnTo>
                    <a:pt x="747" y="19"/>
                  </a:lnTo>
                  <a:lnTo>
                    <a:pt x="730" y="31"/>
                  </a:lnTo>
                  <a:lnTo>
                    <a:pt x="708" y="46"/>
                  </a:lnTo>
                  <a:lnTo>
                    <a:pt x="708" y="46"/>
                  </a:lnTo>
                  <a:lnTo>
                    <a:pt x="701" y="50"/>
                  </a:lnTo>
                  <a:lnTo>
                    <a:pt x="695" y="52"/>
                  </a:lnTo>
                  <a:lnTo>
                    <a:pt x="691" y="53"/>
                  </a:lnTo>
                  <a:lnTo>
                    <a:pt x="686" y="52"/>
                  </a:lnTo>
                  <a:lnTo>
                    <a:pt x="686" y="52"/>
                  </a:lnTo>
                  <a:lnTo>
                    <a:pt x="682" y="52"/>
                  </a:lnTo>
                  <a:lnTo>
                    <a:pt x="682" y="52"/>
                  </a:lnTo>
                  <a:lnTo>
                    <a:pt x="674" y="53"/>
                  </a:lnTo>
                  <a:lnTo>
                    <a:pt x="667" y="56"/>
                  </a:lnTo>
                  <a:lnTo>
                    <a:pt x="653" y="65"/>
                  </a:lnTo>
                  <a:lnTo>
                    <a:pt x="653" y="65"/>
                  </a:lnTo>
                  <a:lnTo>
                    <a:pt x="649" y="68"/>
                  </a:lnTo>
                  <a:lnTo>
                    <a:pt x="646" y="68"/>
                  </a:lnTo>
                  <a:lnTo>
                    <a:pt x="639" y="69"/>
                  </a:lnTo>
                  <a:lnTo>
                    <a:pt x="639" y="69"/>
                  </a:lnTo>
                  <a:lnTo>
                    <a:pt x="631" y="72"/>
                  </a:lnTo>
                  <a:lnTo>
                    <a:pt x="622" y="77"/>
                  </a:lnTo>
                  <a:lnTo>
                    <a:pt x="602" y="90"/>
                  </a:lnTo>
                  <a:lnTo>
                    <a:pt x="602" y="90"/>
                  </a:lnTo>
                  <a:lnTo>
                    <a:pt x="594" y="96"/>
                  </a:lnTo>
                  <a:lnTo>
                    <a:pt x="591" y="102"/>
                  </a:lnTo>
                  <a:lnTo>
                    <a:pt x="591" y="108"/>
                  </a:lnTo>
                  <a:lnTo>
                    <a:pt x="593" y="115"/>
                  </a:lnTo>
                  <a:lnTo>
                    <a:pt x="593" y="115"/>
                  </a:lnTo>
                  <a:lnTo>
                    <a:pt x="594" y="118"/>
                  </a:lnTo>
                  <a:lnTo>
                    <a:pt x="593" y="121"/>
                  </a:lnTo>
                  <a:lnTo>
                    <a:pt x="591" y="123"/>
                  </a:lnTo>
                  <a:lnTo>
                    <a:pt x="590" y="124"/>
                  </a:lnTo>
                  <a:lnTo>
                    <a:pt x="571" y="126"/>
                  </a:lnTo>
                  <a:lnTo>
                    <a:pt x="571" y="126"/>
                  </a:lnTo>
                  <a:lnTo>
                    <a:pt x="559" y="126"/>
                  </a:lnTo>
                  <a:lnTo>
                    <a:pt x="550" y="124"/>
                  </a:lnTo>
                  <a:lnTo>
                    <a:pt x="542" y="124"/>
                  </a:lnTo>
                  <a:lnTo>
                    <a:pt x="539" y="126"/>
                  </a:lnTo>
                  <a:lnTo>
                    <a:pt x="538" y="127"/>
                  </a:lnTo>
                  <a:lnTo>
                    <a:pt x="538" y="127"/>
                  </a:lnTo>
                  <a:lnTo>
                    <a:pt x="532" y="132"/>
                  </a:lnTo>
                  <a:lnTo>
                    <a:pt x="526" y="135"/>
                  </a:lnTo>
                  <a:lnTo>
                    <a:pt x="522" y="136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3" y="136"/>
                  </a:lnTo>
                  <a:lnTo>
                    <a:pt x="507" y="138"/>
                  </a:lnTo>
                  <a:lnTo>
                    <a:pt x="501" y="142"/>
                  </a:lnTo>
                  <a:lnTo>
                    <a:pt x="499" y="146"/>
                  </a:lnTo>
                  <a:lnTo>
                    <a:pt x="499" y="146"/>
                  </a:lnTo>
                  <a:lnTo>
                    <a:pt x="498" y="149"/>
                  </a:lnTo>
                  <a:lnTo>
                    <a:pt x="497" y="151"/>
                  </a:lnTo>
                  <a:lnTo>
                    <a:pt x="489" y="151"/>
                  </a:lnTo>
                  <a:lnTo>
                    <a:pt x="489" y="151"/>
                  </a:lnTo>
                  <a:lnTo>
                    <a:pt x="477" y="152"/>
                  </a:lnTo>
                  <a:lnTo>
                    <a:pt x="473" y="154"/>
                  </a:lnTo>
                  <a:lnTo>
                    <a:pt x="468" y="157"/>
                  </a:lnTo>
                  <a:lnTo>
                    <a:pt x="468" y="157"/>
                  </a:lnTo>
                  <a:lnTo>
                    <a:pt x="461" y="161"/>
                  </a:lnTo>
                  <a:lnTo>
                    <a:pt x="449" y="167"/>
                  </a:lnTo>
                  <a:lnTo>
                    <a:pt x="449" y="167"/>
                  </a:lnTo>
                  <a:lnTo>
                    <a:pt x="433" y="178"/>
                  </a:lnTo>
                  <a:lnTo>
                    <a:pt x="424" y="181"/>
                  </a:lnTo>
                  <a:lnTo>
                    <a:pt x="421" y="182"/>
                  </a:lnTo>
                  <a:lnTo>
                    <a:pt x="418" y="181"/>
                  </a:lnTo>
                  <a:lnTo>
                    <a:pt x="418" y="181"/>
                  </a:lnTo>
                  <a:lnTo>
                    <a:pt x="406" y="176"/>
                  </a:lnTo>
                  <a:lnTo>
                    <a:pt x="400" y="175"/>
                  </a:lnTo>
                  <a:lnTo>
                    <a:pt x="393" y="173"/>
                  </a:lnTo>
                  <a:lnTo>
                    <a:pt x="393" y="173"/>
                  </a:lnTo>
                  <a:lnTo>
                    <a:pt x="387" y="175"/>
                  </a:lnTo>
                  <a:lnTo>
                    <a:pt x="383" y="178"/>
                  </a:lnTo>
                  <a:lnTo>
                    <a:pt x="375" y="184"/>
                  </a:lnTo>
                  <a:lnTo>
                    <a:pt x="375" y="184"/>
                  </a:lnTo>
                  <a:lnTo>
                    <a:pt x="371" y="185"/>
                  </a:lnTo>
                  <a:lnTo>
                    <a:pt x="365" y="185"/>
                  </a:lnTo>
                  <a:lnTo>
                    <a:pt x="359" y="185"/>
                  </a:lnTo>
                  <a:lnTo>
                    <a:pt x="353" y="186"/>
                  </a:lnTo>
                  <a:lnTo>
                    <a:pt x="353" y="186"/>
                  </a:lnTo>
                  <a:lnTo>
                    <a:pt x="325" y="195"/>
                  </a:lnTo>
                  <a:lnTo>
                    <a:pt x="325" y="195"/>
                  </a:lnTo>
                  <a:lnTo>
                    <a:pt x="320" y="195"/>
                  </a:lnTo>
                  <a:lnTo>
                    <a:pt x="313" y="194"/>
                  </a:lnTo>
                  <a:lnTo>
                    <a:pt x="304" y="191"/>
                  </a:lnTo>
                  <a:lnTo>
                    <a:pt x="295" y="186"/>
                  </a:lnTo>
                  <a:lnTo>
                    <a:pt x="295" y="186"/>
                  </a:lnTo>
                  <a:lnTo>
                    <a:pt x="283" y="178"/>
                  </a:lnTo>
                  <a:lnTo>
                    <a:pt x="279" y="175"/>
                  </a:lnTo>
                  <a:lnTo>
                    <a:pt x="271" y="172"/>
                  </a:lnTo>
                  <a:lnTo>
                    <a:pt x="271" y="172"/>
                  </a:lnTo>
                  <a:lnTo>
                    <a:pt x="258" y="164"/>
                  </a:lnTo>
                  <a:lnTo>
                    <a:pt x="252" y="161"/>
                  </a:lnTo>
                  <a:lnTo>
                    <a:pt x="249" y="161"/>
                  </a:lnTo>
                  <a:lnTo>
                    <a:pt x="249" y="161"/>
                  </a:lnTo>
                  <a:lnTo>
                    <a:pt x="233" y="166"/>
                  </a:lnTo>
                  <a:lnTo>
                    <a:pt x="223" y="169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08" y="169"/>
                  </a:lnTo>
                  <a:lnTo>
                    <a:pt x="203" y="167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3" y="163"/>
                  </a:lnTo>
                  <a:lnTo>
                    <a:pt x="190" y="164"/>
                  </a:lnTo>
                  <a:lnTo>
                    <a:pt x="189" y="167"/>
                  </a:lnTo>
                  <a:lnTo>
                    <a:pt x="189" y="172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6" y="179"/>
                  </a:lnTo>
                  <a:lnTo>
                    <a:pt x="183" y="181"/>
                  </a:lnTo>
                  <a:lnTo>
                    <a:pt x="175" y="179"/>
                  </a:lnTo>
                  <a:lnTo>
                    <a:pt x="166" y="175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49" y="164"/>
                  </a:lnTo>
                  <a:lnTo>
                    <a:pt x="143" y="161"/>
                  </a:lnTo>
                  <a:lnTo>
                    <a:pt x="138" y="161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22" y="161"/>
                  </a:lnTo>
                  <a:lnTo>
                    <a:pt x="117" y="161"/>
                  </a:lnTo>
                  <a:lnTo>
                    <a:pt x="113" y="158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3" y="148"/>
                  </a:lnTo>
                  <a:lnTo>
                    <a:pt x="98" y="146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80" y="145"/>
                  </a:lnTo>
                  <a:lnTo>
                    <a:pt x="70" y="146"/>
                  </a:lnTo>
                  <a:lnTo>
                    <a:pt x="51" y="152"/>
                  </a:lnTo>
                  <a:lnTo>
                    <a:pt x="51" y="152"/>
                  </a:lnTo>
                  <a:lnTo>
                    <a:pt x="43" y="155"/>
                  </a:lnTo>
                  <a:lnTo>
                    <a:pt x="37" y="160"/>
                  </a:lnTo>
                  <a:lnTo>
                    <a:pt x="29" y="170"/>
                  </a:lnTo>
                  <a:lnTo>
                    <a:pt x="29" y="170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6" y="189"/>
                  </a:lnTo>
                  <a:lnTo>
                    <a:pt x="6" y="191"/>
                  </a:lnTo>
                  <a:lnTo>
                    <a:pt x="3" y="195"/>
                  </a:lnTo>
                  <a:lnTo>
                    <a:pt x="3" y="195"/>
                  </a:lnTo>
                  <a:lnTo>
                    <a:pt x="2" y="200"/>
                  </a:lnTo>
                  <a:lnTo>
                    <a:pt x="0" y="204"/>
                  </a:lnTo>
                  <a:lnTo>
                    <a:pt x="0" y="207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9" y="213"/>
                  </a:lnTo>
                  <a:lnTo>
                    <a:pt x="12" y="216"/>
                  </a:lnTo>
                  <a:lnTo>
                    <a:pt x="14" y="219"/>
                  </a:lnTo>
                  <a:lnTo>
                    <a:pt x="14" y="219"/>
                  </a:lnTo>
                  <a:lnTo>
                    <a:pt x="15" y="223"/>
                  </a:lnTo>
                  <a:lnTo>
                    <a:pt x="18" y="228"/>
                  </a:lnTo>
                  <a:lnTo>
                    <a:pt x="21" y="231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6" y="229"/>
                  </a:lnTo>
                  <a:lnTo>
                    <a:pt x="27" y="228"/>
                  </a:lnTo>
                  <a:lnTo>
                    <a:pt x="30" y="226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49" y="234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61" y="237"/>
                  </a:lnTo>
                  <a:lnTo>
                    <a:pt x="66" y="238"/>
                  </a:lnTo>
                  <a:lnTo>
                    <a:pt x="69" y="241"/>
                  </a:lnTo>
                  <a:lnTo>
                    <a:pt x="69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3" y="250"/>
                  </a:lnTo>
                  <a:lnTo>
                    <a:pt x="55" y="255"/>
                  </a:lnTo>
                  <a:lnTo>
                    <a:pt x="48" y="259"/>
                  </a:lnTo>
                  <a:lnTo>
                    <a:pt x="45" y="262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8" y="266"/>
                  </a:lnTo>
                  <a:lnTo>
                    <a:pt x="51" y="269"/>
                  </a:lnTo>
                  <a:lnTo>
                    <a:pt x="55" y="272"/>
                  </a:lnTo>
                  <a:lnTo>
                    <a:pt x="58" y="277"/>
                  </a:lnTo>
                  <a:lnTo>
                    <a:pt x="58" y="277"/>
                  </a:lnTo>
                  <a:lnTo>
                    <a:pt x="61" y="283"/>
                  </a:lnTo>
                  <a:lnTo>
                    <a:pt x="64" y="286"/>
                  </a:lnTo>
                  <a:lnTo>
                    <a:pt x="67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75" y="281"/>
                  </a:lnTo>
                  <a:lnTo>
                    <a:pt x="79" y="281"/>
                  </a:lnTo>
                  <a:lnTo>
                    <a:pt x="79" y="281"/>
                  </a:lnTo>
                  <a:lnTo>
                    <a:pt x="83" y="280"/>
                  </a:lnTo>
                  <a:lnTo>
                    <a:pt x="88" y="278"/>
                  </a:lnTo>
                  <a:lnTo>
                    <a:pt x="94" y="274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103" y="261"/>
                  </a:lnTo>
                  <a:lnTo>
                    <a:pt x="106" y="256"/>
                  </a:lnTo>
                  <a:lnTo>
                    <a:pt x="109" y="256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5" y="255"/>
                  </a:lnTo>
                  <a:lnTo>
                    <a:pt x="126" y="255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9"/>
                  </a:lnTo>
                  <a:lnTo>
                    <a:pt x="128" y="275"/>
                  </a:lnTo>
                  <a:lnTo>
                    <a:pt x="131" y="280"/>
                  </a:lnTo>
                  <a:lnTo>
                    <a:pt x="134" y="284"/>
                  </a:lnTo>
                  <a:lnTo>
                    <a:pt x="134" y="284"/>
                  </a:lnTo>
                  <a:lnTo>
                    <a:pt x="137" y="289"/>
                  </a:lnTo>
                  <a:lnTo>
                    <a:pt x="140" y="295"/>
                  </a:lnTo>
                  <a:lnTo>
                    <a:pt x="141" y="299"/>
                  </a:lnTo>
                  <a:lnTo>
                    <a:pt x="146" y="302"/>
                  </a:lnTo>
                  <a:lnTo>
                    <a:pt x="146" y="302"/>
                  </a:lnTo>
                  <a:lnTo>
                    <a:pt x="153" y="303"/>
                  </a:lnTo>
                  <a:lnTo>
                    <a:pt x="154" y="303"/>
                  </a:lnTo>
                  <a:lnTo>
                    <a:pt x="156" y="301"/>
                  </a:lnTo>
                  <a:lnTo>
                    <a:pt x="156" y="301"/>
                  </a:lnTo>
                  <a:lnTo>
                    <a:pt x="157" y="290"/>
                  </a:lnTo>
                  <a:lnTo>
                    <a:pt x="159" y="284"/>
                  </a:lnTo>
                  <a:lnTo>
                    <a:pt x="159" y="283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8" y="281"/>
                  </a:lnTo>
                  <a:lnTo>
                    <a:pt x="174" y="284"/>
                  </a:lnTo>
                  <a:lnTo>
                    <a:pt x="178" y="290"/>
                  </a:lnTo>
                  <a:lnTo>
                    <a:pt x="181" y="296"/>
                  </a:lnTo>
                  <a:lnTo>
                    <a:pt x="181" y="296"/>
                  </a:lnTo>
                  <a:lnTo>
                    <a:pt x="184" y="315"/>
                  </a:lnTo>
                  <a:lnTo>
                    <a:pt x="186" y="324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90" y="335"/>
                  </a:lnTo>
                  <a:lnTo>
                    <a:pt x="193" y="341"/>
                  </a:lnTo>
                  <a:lnTo>
                    <a:pt x="193" y="345"/>
                  </a:lnTo>
                  <a:lnTo>
                    <a:pt x="193" y="352"/>
                  </a:lnTo>
                  <a:lnTo>
                    <a:pt x="193" y="352"/>
                  </a:lnTo>
                  <a:lnTo>
                    <a:pt x="190" y="366"/>
                  </a:lnTo>
                  <a:lnTo>
                    <a:pt x="189" y="370"/>
                  </a:lnTo>
                  <a:lnTo>
                    <a:pt x="190" y="373"/>
                  </a:lnTo>
                  <a:lnTo>
                    <a:pt x="190" y="373"/>
                  </a:lnTo>
                  <a:lnTo>
                    <a:pt x="191" y="375"/>
                  </a:lnTo>
                  <a:lnTo>
                    <a:pt x="193" y="375"/>
                  </a:lnTo>
                  <a:lnTo>
                    <a:pt x="197" y="373"/>
                  </a:lnTo>
                  <a:lnTo>
                    <a:pt x="202" y="373"/>
                  </a:lnTo>
                  <a:lnTo>
                    <a:pt x="205" y="373"/>
                  </a:lnTo>
                  <a:lnTo>
                    <a:pt x="206" y="375"/>
                  </a:lnTo>
                  <a:lnTo>
                    <a:pt x="206" y="375"/>
                  </a:lnTo>
                  <a:lnTo>
                    <a:pt x="208" y="378"/>
                  </a:lnTo>
                  <a:lnTo>
                    <a:pt x="208" y="382"/>
                  </a:lnTo>
                  <a:lnTo>
                    <a:pt x="209" y="386"/>
                  </a:lnTo>
                  <a:lnTo>
                    <a:pt x="212" y="391"/>
                  </a:lnTo>
                  <a:lnTo>
                    <a:pt x="212" y="391"/>
                  </a:lnTo>
                  <a:lnTo>
                    <a:pt x="221" y="398"/>
                  </a:lnTo>
                  <a:lnTo>
                    <a:pt x="227" y="403"/>
                  </a:lnTo>
                  <a:lnTo>
                    <a:pt x="227" y="403"/>
                  </a:lnTo>
                  <a:lnTo>
                    <a:pt x="227" y="406"/>
                  </a:lnTo>
                  <a:lnTo>
                    <a:pt x="226" y="409"/>
                  </a:lnTo>
                  <a:lnTo>
                    <a:pt x="224" y="410"/>
                  </a:lnTo>
                  <a:lnTo>
                    <a:pt x="220" y="412"/>
                  </a:lnTo>
                  <a:lnTo>
                    <a:pt x="220" y="412"/>
                  </a:lnTo>
                  <a:lnTo>
                    <a:pt x="217" y="413"/>
                  </a:lnTo>
                  <a:lnTo>
                    <a:pt x="212" y="415"/>
                  </a:lnTo>
                  <a:lnTo>
                    <a:pt x="209" y="416"/>
                  </a:lnTo>
                  <a:lnTo>
                    <a:pt x="209" y="419"/>
                  </a:lnTo>
                  <a:lnTo>
                    <a:pt x="209" y="420"/>
                  </a:lnTo>
                  <a:lnTo>
                    <a:pt x="209" y="420"/>
                  </a:lnTo>
                  <a:lnTo>
                    <a:pt x="212" y="423"/>
                  </a:lnTo>
                  <a:lnTo>
                    <a:pt x="214" y="425"/>
                  </a:lnTo>
                  <a:lnTo>
                    <a:pt x="217" y="428"/>
                  </a:lnTo>
                  <a:lnTo>
                    <a:pt x="217" y="435"/>
                  </a:lnTo>
                  <a:lnTo>
                    <a:pt x="217" y="435"/>
                  </a:lnTo>
                  <a:lnTo>
                    <a:pt x="214" y="450"/>
                  </a:lnTo>
                  <a:lnTo>
                    <a:pt x="214" y="456"/>
                  </a:lnTo>
                  <a:lnTo>
                    <a:pt x="215" y="458"/>
                  </a:lnTo>
                  <a:lnTo>
                    <a:pt x="217" y="460"/>
                  </a:lnTo>
                  <a:lnTo>
                    <a:pt x="217" y="460"/>
                  </a:lnTo>
                  <a:lnTo>
                    <a:pt x="221" y="462"/>
                  </a:lnTo>
                  <a:lnTo>
                    <a:pt x="226" y="463"/>
                  </a:lnTo>
                  <a:lnTo>
                    <a:pt x="230" y="463"/>
                  </a:lnTo>
                  <a:lnTo>
                    <a:pt x="236" y="466"/>
                  </a:lnTo>
                  <a:lnTo>
                    <a:pt x="236" y="466"/>
                  </a:lnTo>
                  <a:lnTo>
                    <a:pt x="245" y="474"/>
                  </a:lnTo>
                  <a:lnTo>
                    <a:pt x="246" y="477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9"/>
                  </a:lnTo>
                  <a:lnTo>
                    <a:pt x="248" y="492"/>
                  </a:lnTo>
                  <a:lnTo>
                    <a:pt x="251" y="496"/>
                  </a:lnTo>
                  <a:lnTo>
                    <a:pt x="251" y="496"/>
                  </a:lnTo>
                  <a:lnTo>
                    <a:pt x="263" y="508"/>
                  </a:lnTo>
                  <a:lnTo>
                    <a:pt x="276" y="518"/>
                  </a:lnTo>
                  <a:lnTo>
                    <a:pt x="276" y="518"/>
                  </a:lnTo>
                  <a:lnTo>
                    <a:pt x="323" y="490"/>
                  </a:lnTo>
                  <a:lnTo>
                    <a:pt x="323" y="490"/>
                  </a:lnTo>
                  <a:lnTo>
                    <a:pt x="345" y="477"/>
                  </a:lnTo>
                  <a:lnTo>
                    <a:pt x="356" y="474"/>
                  </a:lnTo>
                  <a:lnTo>
                    <a:pt x="362" y="472"/>
                  </a:lnTo>
                  <a:lnTo>
                    <a:pt x="368" y="472"/>
                  </a:lnTo>
                  <a:lnTo>
                    <a:pt x="368" y="472"/>
                  </a:lnTo>
                  <a:lnTo>
                    <a:pt x="393" y="475"/>
                  </a:lnTo>
                  <a:lnTo>
                    <a:pt x="418" y="481"/>
                  </a:lnTo>
                  <a:lnTo>
                    <a:pt x="418" y="481"/>
                  </a:lnTo>
                  <a:lnTo>
                    <a:pt x="440" y="487"/>
                  </a:lnTo>
                  <a:lnTo>
                    <a:pt x="448" y="487"/>
                  </a:lnTo>
                  <a:lnTo>
                    <a:pt x="452" y="486"/>
                  </a:lnTo>
                  <a:lnTo>
                    <a:pt x="455" y="484"/>
                  </a:lnTo>
                  <a:lnTo>
                    <a:pt x="455" y="484"/>
                  </a:lnTo>
                  <a:lnTo>
                    <a:pt x="458" y="481"/>
                  </a:lnTo>
                  <a:lnTo>
                    <a:pt x="461" y="478"/>
                  </a:lnTo>
                  <a:lnTo>
                    <a:pt x="464" y="471"/>
                  </a:lnTo>
                  <a:lnTo>
                    <a:pt x="465" y="468"/>
                  </a:lnTo>
                  <a:lnTo>
                    <a:pt x="468" y="466"/>
                  </a:lnTo>
                  <a:lnTo>
                    <a:pt x="471" y="466"/>
                  </a:lnTo>
                  <a:lnTo>
                    <a:pt x="476" y="468"/>
                  </a:lnTo>
                  <a:lnTo>
                    <a:pt x="476" y="468"/>
                  </a:lnTo>
                  <a:lnTo>
                    <a:pt x="485" y="474"/>
                  </a:lnTo>
                  <a:lnTo>
                    <a:pt x="492" y="480"/>
                  </a:lnTo>
                  <a:lnTo>
                    <a:pt x="498" y="484"/>
                  </a:lnTo>
                  <a:lnTo>
                    <a:pt x="504" y="487"/>
                  </a:lnTo>
                  <a:lnTo>
                    <a:pt x="504" y="487"/>
                  </a:lnTo>
                  <a:lnTo>
                    <a:pt x="513" y="490"/>
                  </a:lnTo>
                  <a:lnTo>
                    <a:pt x="522" y="490"/>
                  </a:lnTo>
                  <a:lnTo>
                    <a:pt x="529" y="492"/>
                  </a:lnTo>
                  <a:lnTo>
                    <a:pt x="532" y="493"/>
                  </a:lnTo>
                  <a:lnTo>
                    <a:pt x="532" y="493"/>
                  </a:lnTo>
                  <a:lnTo>
                    <a:pt x="538" y="499"/>
                  </a:lnTo>
                  <a:lnTo>
                    <a:pt x="544" y="505"/>
                  </a:lnTo>
                  <a:lnTo>
                    <a:pt x="551" y="509"/>
                  </a:lnTo>
                  <a:lnTo>
                    <a:pt x="551" y="509"/>
                  </a:lnTo>
                  <a:lnTo>
                    <a:pt x="559" y="512"/>
                  </a:lnTo>
                  <a:lnTo>
                    <a:pt x="563" y="517"/>
                  </a:lnTo>
                  <a:lnTo>
                    <a:pt x="566" y="521"/>
                  </a:lnTo>
                  <a:lnTo>
                    <a:pt x="568" y="526"/>
                  </a:lnTo>
                  <a:lnTo>
                    <a:pt x="568" y="526"/>
                  </a:lnTo>
                  <a:lnTo>
                    <a:pt x="569" y="532"/>
                  </a:lnTo>
                  <a:lnTo>
                    <a:pt x="571" y="536"/>
                  </a:lnTo>
                  <a:lnTo>
                    <a:pt x="575" y="539"/>
                  </a:lnTo>
                  <a:lnTo>
                    <a:pt x="581" y="542"/>
                  </a:lnTo>
                  <a:lnTo>
                    <a:pt x="581" y="542"/>
                  </a:lnTo>
                  <a:lnTo>
                    <a:pt x="588" y="543"/>
                  </a:lnTo>
                  <a:lnTo>
                    <a:pt x="593" y="548"/>
                  </a:lnTo>
                  <a:lnTo>
                    <a:pt x="599" y="554"/>
                  </a:lnTo>
                  <a:lnTo>
                    <a:pt x="605" y="561"/>
                  </a:lnTo>
                  <a:lnTo>
                    <a:pt x="605" y="561"/>
                  </a:lnTo>
                  <a:lnTo>
                    <a:pt x="616" y="577"/>
                  </a:lnTo>
                  <a:lnTo>
                    <a:pt x="624" y="586"/>
                  </a:lnTo>
                  <a:lnTo>
                    <a:pt x="633" y="592"/>
                  </a:lnTo>
                  <a:lnTo>
                    <a:pt x="633" y="592"/>
                  </a:lnTo>
                  <a:lnTo>
                    <a:pt x="642" y="598"/>
                  </a:lnTo>
                  <a:lnTo>
                    <a:pt x="649" y="604"/>
                  </a:lnTo>
                  <a:lnTo>
                    <a:pt x="653" y="610"/>
                  </a:lnTo>
                  <a:lnTo>
                    <a:pt x="658" y="617"/>
                  </a:lnTo>
                  <a:lnTo>
                    <a:pt x="658" y="617"/>
                  </a:lnTo>
                  <a:lnTo>
                    <a:pt x="661" y="622"/>
                  </a:lnTo>
                  <a:lnTo>
                    <a:pt x="665" y="625"/>
                  </a:lnTo>
                  <a:lnTo>
                    <a:pt x="676" y="632"/>
                  </a:lnTo>
                  <a:lnTo>
                    <a:pt x="699" y="647"/>
                  </a:lnTo>
                  <a:lnTo>
                    <a:pt x="699" y="647"/>
                  </a:lnTo>
                  <a:lnTo>
                    <a:pt x="704" y="650"/>
                  </a:lnTo>
                  <a:lnTo>
                    <a:pt x="708" y="654"/>
                  </a:lnTo>
                  <a:lnTo>
                    <a:pt x="716" y="668"/>
                  </a:lnTo>
                  <a:lnTo>
                    <a:pt x="723" y="680"/>
                  </a:lnTo>
                  <a:lnTo>
                    <a:pt x="730" y="690"/>
                  </a:lnTo>
                  <a:lnTo>
                    <a:pt x="730" y="690"/>
                  </a:lnTo>
                  <a:lnTo>
                    <a:pt x="738" y="699"/>
                  </a:lnTo>
                  <a:lnTo>
                    <a:pt x="745" y="708"/>
                  </a:lnTo>
                  <a:lnTo>
                    <a:pt x="757" y="723"/>
                  </a:lnTo>
                  <a:lnTo>
                    <a:pt x="757" y="723"/>
                  </a:lnTo>
                  <a:lnTo>
                    <a:pt x="766" y="731"/>
                  </a:lnTo>
                  <a:lnTo>
                    <a:pt x="778" y="742"/>
                  </a:lnTo>
                  <a:lnTo>
                    <a:pt x="793" y="751"/>
                  </a:lnTo>
                  <a:lnTo>
                    <a:pt x="799" y="752"/>
                  </a:lnTo>
                  <a:lnTo>
                    <a:pt x="805" y="754"/>
                  </a:lnTo>
                  <a:lnTo>
                    <a:pt x="805" y="754"/>
                  </a:lnTo>
                  <a:lnTo>
                    <a:pt x="818" y="751"/>
                  </a:lnTo>
                  <a:lnTo>
                    <a:pt x="833" y="748"/>
                  </a:lnTo>
                  <a:lnTo>
                    <a:pt x="847" y="743"/>
                  </a:lnTo>
                  <a:lnTo>
                    <a:pt x="855" y="739"/>
                  </a:lnTo>
                  <a:lnTo>
                    <a:pt x="855" y="739"/>
                  </a:lnTo>
                  <a:lnTo>
                    <a:pt x="859" y="736"/>
                  </a:lnTo>
                  <a:lnTo>
                    <a:pt x="864" y="736"/>
                  </a:lnTo>
                  <a:lnTo>
                    <a:pt x="873" y="734"/>
                  </a:lnTo>
                  <a:lnTo>
                    <a:pt x="889" y="736"/>
                  </a:lnTo>
                  <a:lnTo>
                    <a:pt x="889" y="736"/>
                  </a:lnTo>
                  <a:lnTo>
                    <a:pt x="896" y="736"/>
                  </a:lnTo>
                  <a:lnTo>
                    <a:pt x="908" y="734"/>
                  </a:lnTo>
                  <a:lnTo>
                    <a:pt x="920" y="731"/>
                  </a:lnTo>
                  <a:lnTo>
                    <a:pt x="930" y="730"/>
                  </a:lnTo>
                  <a:lnTo>
                    <a:pt x="930" y="730"/>
                  </a:lnTo>
                  <a:lnTo>
                    <a:pt x="944" y="733"/>
                  </a:lnTo>
                  <a:lnTo>
                    <a:pt x="960" y="736"/>
                  </a:lnTo>
                  <a:lnTo>
                    <a:pt x="988" y="742"/>
                  </a:lnTo>
                  <a:lnTo>
                    <a:pt x="988" y="742"/>
                  </a:lnTo>
                  <a:lnTo>
                    <a:pt x="994" y="743"/>
                  </a:lnTo>
                  <a:lnTo>
                    <a:pt x="1001" y="742"/>
                  </a:lnTo>
                  <a:lnTo>
                    <a:pt x="1007" y="742"/>
                  </a:lnTo>
                  <a:lnTo>
                    <a:pt x="1012" y="742"/>
                  </a:lnTo>
                  <a:lnTo>
                    <a:pt x="1012" y="742"/>
                  </a:lnTo>
                  <a:lnTo>
                    <a:pt x="1018" y="734"/>
                  </a:lnTo>
                  <a:lnTo>
                    <a:pt x="1022" y="730"/>
                  </a:lnTo>
                  <a:lnTo>
                    <a:pt x="1027" y="726"/>
                  </a:lnTo>
                  <a:lnTo>
                    <a:pt x="1027" y="726"/>
                  </a:lnTo>
                  <a:lnTo>
                    <a:pt x="1030" y="723"/>
                  </a:lnTo>
                  <a:lnTo>
                    <a:pt x="1033" y="718"/>
                  </a:lnTo>
                  <a:lnTo>
                    <a:pt x="1038" y="706"/>
                  </a:lnTo>
                  <a:lnTo>
                    <a:pt x="1038" y="706"/>
                  </a:lnTo>
                  <a:lnTo>
                    <a:pt x="1040" y="700"/>
                  </a:lnTo>
                  <a:lnTo>
                    <a:pt x="1040" y="694"/>
                  </a:lnTo>
                  <a:lnTo>
                    <a:pt x="1037" y="686"/>
                  </a:lnTo>
                  <a:lnTo>
                    <a:pt x="1037" y="686"/>
                  </a:lnTo>
                  <a:lnTo>
                    <a:pt x="1037" y="681"/>
                  </a:lnTo>
                  <a:lnTo>
                    <a:pt x="1038" y="677"/>
                  </a:lnTo>
                  <a:lnTo>
                    <a:pt x="1041" y="669"/>
                  </a:lnTo>
                  <a:lnTo>
                    <a:pt x="1041" y="6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3" name="Freeform 92">
              <a:extLst>
                <a:ext uri="{FF2B5EF4-FFF2-40B4-BE49-F238E27FC236}">
                  <a16:creationId xmlns:a16="http://schemas.microsoft.com/office/drawing/2014/main" id="{F0CB9DC3-9F95-814B-BD9F-F805682E3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175" y="7377113"/>
              <a:ext cx="933450" cy="744537"/>
            </a:xfrm>
            <a:custGeom>
              <a:avLst/>
              <a:gdLst>
                <a:gd name="T0" fmla="*/ 581 w 588"/>
                <a:gd name="T1" fmla="*/ 286 h 469"/>
                <a:gd name="T2" fmla="*/ 588 w 588"/>
                <a:gd name="T3" fmla="*/ 266 h 469"/>
                <a:gd name="T4" fmla="*/ 573 w 588"/>
                <a:gd name="T5" fmla="*/ 231 h 469"/>
                <a:gd name="T6" fmla="*/ 579 w 588"/>
                <a:gd name="T7" fmla="*/ 219 h 469"/>
                <a:gd name="T8" fmla="*/ 578 w 588"/>
                <a:gd name="T9" fmla="*/ 195 h 469"/>
                <a:gd name="T10" fmla="*/ 557 w 588"/>
                <a:gd name="T11" fmla="*/ 154 h 469"/>
                <a:gd name="T12" fmla="*/ 525 w 588"/>
                <a:gd name="T13" fmla="*/ 109 h 469"/>
                <a:gd name="T14" fmla="*/ 513 w 588"/>
                <a:gd name="T15" fmla="*/ 96 h 469"/>
                <a:gd name="T16" fmla="*/ 496 w 588"/>
                <a:gd name="T17" fmla="*/ 83 h 469"/>
                <a:gd name="T18" fmla="*/ 464 w 588"/>
                <a:gd name="T19" fmla="*/ 93 h 469"/>
                <a:gd name="T20" fmla="*/ 449 w 588"/>
                <a:gd name="T21" fmla="*/ 90 h 469"/>
                <a:gd name="T22" fmla="*/ 384 w 588"/>
                <a:gd name="T23" fmla="*/ 80 h 469"/>
                <a:gd name="T24" fmla="*/ 332 w 588"/>
                <a:gd name="T25" fmla="*/ 101 h 469"/>
                <a:gd name="T26" fmla="*/ 313 w 588"/>
                <a:gd name="T27" fmla="*/ 126 h 469"/>
                <a:gd name="T28" fmla="*/ 276 w 588"/>
                <a:gd name="T29" fmla="*/ 104 h 469"/>
                <a:gd name="T30" fmla="*/ 279 w 588"/>
                <a:gd name="T31" fmla="*/ 80 h 469"/>
                <a:gd name="T32" fmla="*/ 276 w 588"/>
                <a:gd name="T33" fmla="*/ 62 h 469"/>
                <a:gd name="T34" fmla="*/ 265 w 588"/>
                <a:gd name="T35" fmla="*/ 52 h 469"/>
                <a:gd name="T36" fmla="*/ 243 w 588"/>
                <a:gd name="T37" fmla="*/ 24 h 469"/>
                <a:gd name="T38" fmla="*/ 233 w 588"/>
                <a:gd name="T39" fmla="*/ 1 h 469"/>
                <a:gd name="T40" fmla="*/ 220 w 588"/>
                <a:gd name="T41" fmla="*/ 19 h 469"/>
                <a:gd name="T42" fmla="*/ 194 w 588"/>
                <a:gd name="T43" fmla="*/ 24 h 469"/>
                <a:gd name="T44" fmla="*/ 171 w 588"/>
                <a:gd name="T45" fmla="*/ 18 h 469"/>
                <a:gd name="T46" fmla="*/ 150 w 588"/>
                <a:gd name="T47" fmla="*/ 32 h 469"/>
                <a:gd name="T48" fmla="*/ 134 w 588"/>
                <a:gd name="T49" fmla="*/ 37 h 469"/>
                <a:gd name="T50" fmla="*/ 107 w 588"/>
                <a:gd name="T51" fmla="*/ 43 h 469"/>
                <a:gd name="T52" fmla="*/ 67 w 588"/>
                <a:gd name="T53" fmla="*/ 35 h 469"/>
                <a:gd name="T54" fmla="*/ 49 w 588"/>
                <a:gd name="T55" fmla="*/ 43 h 469"/>
                <a:gd name="T56" fmla="*/ 39 w 588"/>
                <a:gd name="T57" fmla="*/ 27 h 469"/>
                <a:gd name="T58" fmla="*/ 24 w 588"/>
                <a:gd name="T59" fmla="*/ 32 h 469"/>
                <a:gd name="T60" fmla="*/ 6 w 588"/>
                <a:gd name="T61" fmla="*/ 38 h 469"/>
                <a:gd name="T62" fmla="*/ 8 w 588"/>
                <a:gd name="T63" fmla="*/ 81 h 469"/>
                <a:gd name="T64" fmla="*/ 49 w 588"/>
                <a:gd name="T65" fmla="*/ 333 h 469"/>
                <a:gd name="T66" fmla="*/ 64 w 588"/>
                <a:gd name="T67" fmla="*/ 376 h 469"/>
                <a:gd name="T68" fmla="*/ 107 w 588"/>
                <a:gd name="T69" fmla="*/ 352 h 469"/>
                <a:gd name="T70" fmla="*/ 137 w 588"/>
                <a:gd name="T71" fmla="*/ 370 h 469"/>
                <a:gd name="T72" fmla="*/ 163 w 588"/>
                <a:gd name="T73" fmla="*/ 412 h 469"/>
                <a:gd name="T74" fmla="*/ 203 w 588"/>
                <a:gd name="T75" fmla="*/ 425 h 469"/>
                <a:gd name="T76" fmla="*/ 267 w 588"/>
                <a:gd name="T77" fmla="*/ 415 h 469"/>
                <a:gd name="T78" fmla="*/ 304 w 588"/>
                <a:gd name="T79" fmla="*/ 432 h 469"/>
                <a:gd name="T80" fmla="*/ 319 w 588"/>
                <a:gd name="T81" fmla="*/ 469 h 469"/>
                <a:gd name="T82" fmla="*/ 365 w 588"/>
                <a:gd name="T83" fmla="*/ 460 h 469"/>
                <a:gd name="T84" fmla="*/ 365 w 588"/>
                <a:gd name="T85" fmla="*/ 438 h 469"/>
                <a:gd name="T86" fmla="*/ 332 w 588"/>
                <a:gd name="T87" fmla="*/ 416 h 469"/>
                <a:gd name="T88" fmla="*/ 348 w 588"/>
                <a:gd name="T89" fmla="*/ 404 h 469"/>
                <a:gd name="T90" fmla="*/ 368 w 588"/>
                <a:gd name="T91" fmla="*/ 395 h 469"/>
                <a:gd name="T92" fmla="*/ 409 w 588"/>
                <a:gd name="T93" fmla="*/ 394 h 469"/>
                <a:gd name="T94" fmla="*/ 425 w 588"/>
                <a:gd name="T95" fmla="*/ 389 h 469"/>
                <a:gd name="T96" fmla="*/ 445 w 588"/>
                <a:gd name="T97" fmla="*/ 388 h 469"/>
                <a:gd name="T98" fmla="*/ 455 w 588"/>
                <a:gd name="T99" fmla="*/ 378 h 469"/>
                <a:gd name="T100" fmla="*/ 476 w 588"/>
                <a:gd name="T101" fmla="*/ 364 h 469"/>
                <a:gd name="T102" fmla="*/ 485 w 588"/>
                <a:gd name="T103" fmla="*/ 355 h 469"/>
                <a:gd name="T104" fmla="*/ 480 w 588"/>
                <a:gd name="T105" fmla="*/ 336 h 469"/>
                <a:gd name="T106" fmla="*/ 499 w 588"/>
                <a:gd name="T107" fmla="*/ 338 h 469"/>
                <a:gd name="T108" fmla="*/ 533 w 588"/>
                <a:gd name="T109" fmla="*/ 348 h 469"/>
                <a:gd name="T110" fmla="*/ 553 w 588"/>
                <a:gd name="T111" fmla="*/ 348 h 469"/>
                <a:gd name="T112" fmla="*/ 559 w 588"/>
                <a:gd name="T113" fmla="*/ 321 h 469"/>
                <a:gd name="T114" fmla="*/ 566 w 588"/>
                <a:gd name="T115" fmla="*/ 29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8" h="469">
                  <a:moveTo>
                    <a:pt x="566" y="298"/>
                  </a:moveTo>
                  <a:lnTo>
                    <a:pt x="566" y="298"/>
                  </a:lnTo>
                  <a:lnTo>
                    <a:pt x="585" y="293"/>
                  </a:lnTo>
                  <a:lnTo>
                    <a:pt x="585" y="293"/>
                  </a:lnTo>
                  <a:lnTo>
                    <a:pt x="582" y="287"/>
                  </a:lnTo>
                  <a:lnTo>
                    <a:pt x="581" y="286"/>
                  </a:lnTo>
                  <a:lnTo>
                    <a:pt x="581" y="283"/>
                  </a:lnTo>
                  <a:lnTo>
                    <a:pt x="581" y="283"/>
                  </a:lnTo>
                  <a:lnTo>
                    <a:pt x="582" y="277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8" y="266"/>
                  </a:lnTo>
                  <a:lnTo>
                    <a:pt x="588" y="262"/>
                  </a:lnTo>
                  <a:lnTo>
                    <a:pt x="585" y="253"/>
                  </a:lnTo>
                  <a:lnTo>
                    <a:pt x="582" y="244"/>
                  </a:lnTo>
                  <a:lnTo>
                    <a:pt x="579" y="238"/>
                  </a:lnTo>
                  <a:lnTo>
                    <a:pt x="579" y="238"/>
                  </a:lnTo>
                  <a:lnTo>
                    <a:pt x="573" y="231"/>
                  </a:lnTo>
                  <a:lnTo>
                    <a:pt x="570" y="228"/>
                  </a:lnTo>
                  <a:lnTo>
                    <a:pt x="569" y="225"/>
                  </a:lnTo>
                  <a:lnTo>
                    <a:pt x="569" y="225"/>
                  </a:lnTo>
                  <a:lnTo>
                    <a:pt x="572" y="222"/>
                  </a:lnTo>
                  <a:lnTo>
                    <a:pt x="575" y="221"/>
                  </a:lnTo>
                  <a:lnTo>
                    <a:pt x="579" y="219"/>
                  </a:lnTo>
                  <a:lnTo>
                    <a:pt x="582" y="216"/>
                  </a:lnTo>
                  <a:lnTo>
                    <a:pt x="582" y="216"/>
                  </a:lnTo>
                  <a:lnTo>
                    <a:pt x="585" y="212"/>
                  </a:lnTo>
                  <a:lnTo>
                    <a:pt x="584" y="206"/>
                  </a:lnTo>
                  <a:lnTo>
                    <a:pt x="582" y="201"/>
                  </a:lnTo>
                  <a:lnTo>
                    <a:pt x="578" y="195"/>
                  </a:lnTo>
                  <a:lnTo>
                    <a:pt x="578" y="195"/>
                  </a:lnTo>
                  <a:lnTo>
                    <a:pt x="566" y="178"/>
                  </a:lnTo>
                  <a:lnTo>
                    <a:pt x="560" y="169"/>
                  </a:lnTo>
                  <a:lnTo>
                    <a:pt x="559" y="161"/>
                  </a:lnTo>
                  <a:lnTo>
                    <a:pt x="559" y="161"/>
                  </a:lnTo>
                  <a:lnTo>
                    <a:pt x="557" y="154"/>
                  </a:lnTo>
                  <a:lnTo>
                    <a:pt x="551" y="144"/>
                  </a:lnTo>
                  <a:lnTo>
                    <a:pt x="541" y="126"/>
                  </a:lnTo>
                  <a:lnTo>
                    <a:pt x="541" y="126"/>
                  </a:lnTo>
                  <a:lnTo>
                    <a:pt x="533" y="114"/>
                  </a:lnTo>
                  <a:lnTo>
                    <a:pt x="529" y="111"/>
                  </a:lnTo>
                  <a:lnTo>
                    <a:pt x="525" y="109"/>
                  </a:lnTo>
                  <a:lnTo>
                    <a:pt x="525" y="109"/>
                  </a:lnTo>
                  <a:lnTo>
                    <a:pt x="520" y="108"/>
                  </a:lnTo>
                  <a:lnTo>
                    <a:pt x="517" y="107"/>
                  </a:lnTo>
                  <a:lnTo>
                    <a:pt x="516" y="102"/>
                  </a:lnTo>
                  <a:lnTo>
                    <a:pt x="513" y="96"/>
                  </a:lnTo>
                  <a:lnTo>
                    <a:pt x="513" y="96"/>
                  </a:lnTo>
                  <a:lnTo>
                    <a:pt x="510" y="90"/>
                  </a:lnTo>
                  <a:lnTo>
                    <a:pt x="505" y="84"/>
                  </a:lnTo>
                  <a:lnTo>
                    <a:pt x="501" y="80"/>
                  </a:lnTo>
                  <a:lnTo>
                    <a:pt x="501" y="80"/>
                  </a:lnTo>
                  <a:lnTo>
                    <a:pt x="499" y="81"/>
                  </a:lnTo>
                  <a:lnTo>
                    <a:pt x="496" y="83"/>
                  </a:lnTo>
                  <a:lnTo>
                    <a:pt x="485" y="84"/>
                  </a:lnTo>
                  <a:lnTo>
                    <a:pt x="485" y="84"/>
                  </a:lnTo>
                  <a:lnTo>
                    <a:pt x="477" y="84"/>
                  </a:lnTo>
                  <a:lnTo>
                    <a:pt x="471" y="86"/>
                  </a:lnTo>
                  <a:lnTo>
                    <a:pt x="468" y="89"/>
                  </a:lnTo>
                  <a:lnTo>
                    <a:pt x="464" y="93"/>
                  </a:lnTo>
                  <a:lnTo>
                    <a:pt x="464" y="93"/>
                  </a:lnTo>
                  <a:lnTo>
                    <a:pt x="459" y="96"/>
                  </a:lnTo>
                  <a:lnTo>
                    <a:pt x="456" y="98"/>
                  </a:lnTo>
                  <a:lnTo>
                    <a:pt x="453" y="95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5" y="86"/>
                  </a:lnTo>
                  <a:lnTo>
                    <a:pt x="437" y="84"/>
                  </a:lnTo>
                  <a:lnTo>
                    <a:pt x="428" y="81"/>
                  </a:lnTo>
                  <a:lnTo>
                    <a:pt x="413" y="81"/>
                  </a:lnTo>
                  <a:lnTo>
                    <a:pt x="413" y="81"/>
                  </a:lnTo>
                  <a:lnTo>
                    <a:pt x="384" y="80"/>
                  </a:lnTo>
                  <a:lnTo>
                    <a:pt x="372" y="81"/>
                  </a:lnTo>
                  <a:lnTo>
                    <a:pt x="363" y="83"/>
                  </a:lnTo>
                  <a:lnTo>
                    <a:pt x="363" y="83"/>
                  </a:lnTo>
                  <a:lnTo>
                    <a:pt x="354" y="87"/>
                  </a:lnTo>
                  <a:lnTo>
                    <a:pt x="342" y="93"/>
                  </a:lnTo>
                  <a:lnTo>
                    <a:pt x="332" y="101"/>
                  </a:lnTo>
                  <a:lnTo>
                    <a:pt x="325" y="107"/>
                  </a:lnTo>
                  <a:lnTo>
                    <a:pt x="325" y="107"/>
                  </a:lnTo>
                  <a:lnTo>
                    <a:pt x="322" y="112"/>
                  </a:lnTo>
                  <a:lnTo>
                    <a:pt x="317" y="120"/>
                  </a:lnTo>
                  <a:lnTo>
                    <a:pt x="314" y="124"/>
                  </a:lnTo>
                  <a:lnTo>
                    <a:pt x="313" y="126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04" y="124"/>
                  </a:lnTo>
                  <a:lnTo>
                    <a:pt x="295" y="118"/>
                  </a:lnTo>
                  <a:lnTo>
                    <a:pt x="276" y="104"/>
                  </a:lnTo>
                  <a:lnTo>
                    <a:pt x="276" y="104"/>
                  </a:lnTo>
                  <a:lnTo>
                    <a:pt x="271" y="101"/>
                  </a:lnTo>
                  <a:lnTo>
                    <a:pt x="270" y="98"/>
                  </a:lnTo>
                  <a:lnTo>
                    <a:pt x="270" y="95"/>
                  </a:lnTo>
                  <a:lnTo>
                    <a:pt x="270" y="93"/>
                  </a:lnTo>
                  <a:lnTo>
                    <a:pt x="274" y="87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83" y="72"/>
                  </a:lnTo>
                  <a:lnTo>
                    <a:pt x="282" y="68"/>
                  </a:lnTo>
                  <a:lnTo>
                    <a:pt x="280" y="64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1" y="61"/>
                  </a:lnTo>
                  <a:lnTo>
                    <a:pt x="270" y="59"/>
                  </a:lnTo>
                  <a:lnTo>
                    <a:pt x="268" y="56"/>
                  </a:lnTo>
                  <a:lnTo>
                    <a:pt x="268" y="56"/>
                  </a:lnTo>
                  <a:lnTo>
                    <a:pt x="268" y="53"/>
                  </a:lnTo>
                  <a:lnTo>
                    <a:pt x="265" y="52"/>
                  </a:lnTo>
                  <a:lnTo>
                    <a:pt x="257" y="43"/>
                  </a:lnTo>
                  <a:lnTo>
                    <a:pt x="257" y="43"/>
                  </a:lnTo>
                  <a:lnTo>
                    <a:pt x="248" y="32"/>
                  </a:lnTo>
                  <a:lnTo>
                    <a:pt x="245" y="28"/>
                  </a:lnTo>
                  <a:lnTo>
                    <a:pt x="243" y="24"/>
                  </a:lnTo>
                  <a:lnTo>
                    <a:pt x="243" y="24"/>
                  </a:lnTo>
                  <a:lnTo>
                    <a:pt x="240" y="9"/>
                  </a:lnTo>
                  <a:lnTo>
                    <a:pt x="239" y="4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4" y="0"/>
                  </a:lnTo>
                  <a:lnTo>
                    <a:pt x="233" y="1"/>
                  </a:lnTo>
                  <a:lnTo>
                    <a:pt x="231" y="4"/>
                  </a:lnTo>
                  <a:lnTo>
                    <a:pt x="230" y="10"/>
                  </a:lnTo>
                  <a:lnTo>
                    <a:pt x="228" y="15"/>
                  </a:lnTo>
                  <a:lnTo>
                    <a:pt x="228" y="15"/>
                  </a:lnTo>
                  <a:lnTo>
                    <a:pt x="224" y="18"/>
                  </a:lnTo>
                  <a:lnTo>
                    <a:pt x="220" y="19"/>
                  </a:lnTo>
                  <a:lnTo>
                    <a:pt x="215" y="21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09" y="24"/>
                  </a:lnTo>
                  <a:lnTo>
                    <a:pt x="205" y="24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88" y="24"/>
                  </a:lnTo>
                  <a:lnTo>
                    <a:pt x="184" y="22"/>
                  </a:lnTo>
                  <a:lnTo>
                    <a:pt x="175" y="18"/>
                  </a:lnTo>
                  <a:lnTo>
                    <a:pt x="175" y="18"/>
                  </a:lnTo>
                  <a:lnTo>
                    <a:pt x="171" y="18"/>
                  </a:lnTo>
                  <a:lnTo>
                    <a:pt x="169" y="18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57" y="29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43" y="32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35" y="34"/>
                  </a:lnTo>
                  <a:lnTo>
                    <a:pt x="134" y="37"/>
                  </a:lnTo>
                  <a:lnTo>
                    <a:pt x="132" y="41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2" y="47"/>
                  </a:lnTo>
                  <a:lnTo>
                    <a:pt x="117" y="47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3" y="34"/>
                  </a:lnTo>
                  <a:lnTo>
                    <a:pt x="68" y="34"/>
                  </a:lnTo>
                  <a:lnTo>
                    <a:pt x="67" y="35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3" y="41"/>
                  </a:lnTo>
                  <a:lnTo>
                    <a:pt x="60" y="41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5" y="41"/>
                  </a:lnTo>
                  <a:lnTo>
                    <a:pt x="42" y="37"/>
                  </a:lnTo>
                  <a:lnTo>
                    <a:pt x="40" y="32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36" y="25"/>
                  </a:lnTo>
                  <a:lnTo>
                    <a:pt x="31" y="24"/>
                  </a:lnTo>
                  <a:lnTo>
                    <a:pt x="27" y="25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4" y="32"/>
                  </a:lnTo>
                  <a:lnTo>
                    <a:pt x="23" y="35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6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3" y="47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8" y="81"/>
                  </a:lnTo>
                  <a:lnTo>
                    <a:pt x="14" y="127"/>
                  </a:lnTo>
                  <a:lnTo>
                    <a:pt x="26" y="203"/>
                  </a:lnTo>
                  <a:lnTo>
                    <a:pt x="26" y="203"/>
                  </a:lnTo>
                  <a:lnTo>
                    <a:pt x="37" y="266"/>
                  </a:lnTo>
                  <a:lnTo>
                    <a:pt x="45" y="306"/>
                  </a:lnTo>
                  <a:lnTo>
                    <a:pt x="49" y="333"/>
                  </a:lnTo>
                  <a:lnTo>
                    <a:pt x="49" y="333"/>
                  </a:lnTo>
                  <a:lnTo>
                    <a:pt x="54" y="349"/>
                  </a:lnTo>
                  <a:lnTo>
                    <a:pt x="57" y="364"/>
                  </a:lnTo>
                  <a:lnTo>
                    <a:pt x="58" y="370"/>
                  </a:lnTo>
                  <a:lnTo>
                    <a:pt x="61" y="375"/>
                  </a:lnTo>
                  <a:lnTo>
                    <a:pt x="64" y="376"/>
                  </a:lnTo>
                  <a:lnTo>
                    <a:pt x="68" y="375"/>
                  </a:lnTo>
                  <a:lnTo>
                    <a:pt x="68" y="375"/>
                  </a:lnTo>
                  <a:lnTo>
                    <a:pt x="89" y="366"/>
                  </a:lnTo>
                  <a:lnTo>
                    <a:pt x="100" y="360"/>
                  </a:lnTo>
                  <a:lnTo>
                    <a:pt x="107" y="352"/>
                  </a:lnTo>
                  <a:lnTo>
                    <a:pt x="107" y="352"/>
                  </a:lnTo>
                  <a:lnTo>
                    <a:pt x="113" y="345"/>
                  </a:lnTo>
                  <a:lnTo>
                    <a:pt x="117" y="342"/>
                  </a:lnTo>
                  <a:lnTo>
                    <a:pt x="120" y="339"/>
                  </a:lnTo>
                  <a:lnTo>
                    <a:pt x="120" y="339"/>
                  </a:lnTo>
                  <a:lnTo>
                    <a:pt x="129" y="355"/>
                  </a:lnTo>
                  <a:lnTo>
                    <a:pt x="137" y="370"/>
                  </a:lnTo>
                  <a:lnTo>
                    <a:pt x="143" y="385"/>
                  </a:lnTo>
                  <a:lnTo>
                    <a:pt x="143" y="385"/>
                  </a:lnTo>
                  <a:lnTo>
                    <a:pt x="147" y="395"/>
                  </a:lnTo>
                  <a:lnTo>
                    <a:pt x="153" y="404"/>
                  </a:lnTo>
                  <a:lnTo>
                    <a:pt x="159" y="409"/>
                  </a:lnTo>
                  <a:lnTo>
                    <a:pt x="163" y="412"/>
                  </a:lnTo>
                  <a:lnTo>
                    <a:pt x="166" y="412"/>
                  </a:lnTo>
                  <a:lnTo>
                    <a:pt x="166" y="412"/>
                  </a:lnTo>
                  <a:lnTo>
                    <a:pt x="181" y="415"/>
                  </a:lnTo>
                  <a:lnTo>
                    <a:pt x="194" y="422"/>
                  </a:lnTo>
                  <a:lnTo>
                    <a:pt x="194" y="422"/>
                  </a:lnTo>
                  <a:lnTo>
                    <a:pt x="203" y="425"/>
                  </a:lnTo>
                  <a:lnTo>
                    <a:pt x="212" y="428"/>
                  </a:lnTo>
                  <a:lnTo>
                    <a:pt x="220" y="431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46" y="423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71" y="415"/>
                  </a:lnTo>
                  <a:lnTo>
                    <a:pt x="274" y="415"/>
                  </a:lnTo>
                  <a:lnTo>
                    <a:pt x="283" y="418"/>
                  </a:lnTo>
                  <a:lnTo>
                    <a:pt x="294" y="423"/>
                  </a:lnTo>
                  <a:lnTo>
                    <a:pt x="304" y="432"/>
                  </a:lnTo>
                  <a:lnTo>
                    <a:pt x="304" y="432"/>
                  </a:lnTo>
                  <a:lnTo>
                    <a:pt x="310" y="440"/>
                  </a:lnTo>
                  <a:lnTo>
                    <a:pt x="313" y="449"/>
                  </a:lnTo>
                  <a:lnTo>
                    <a:pt x="316" y="459"/>
                  </a:lnTo>
                  <a:lnTo>
                    <a:pt x="319" y="469"/>
                  </a:lnTo>
                  <a:lnTo>
                    <a:pt x="319" y="469"/>
                  </a:lnTo>
                  <a:lnTo>
                    <a:pt x="329" y="466"/>
                  </a:lnTo>
                  <a:lnTo>
                    <a:pt x="344" y="465"/>
                  </a:lnTo>
                  <a:lnTo>
                    <a:pt x="344" y="465"/>
                  </a:lnTo>
                  <a:lnTo>
                    <a:pt x="351" y="465"/>
                  </a:lnTo>
                  <a:lnTo>
                    <a:pt x="359" y="463"/>
                  </a:lnTo>
                  <a:lnTo>
                    <a:pt x="365" y="460"/>
                  </a:lnTo>
                  <a:lnTo>
                    <a:pt x="366" y="459"/>
                  </a:lnTo>
                  <a:lnTo>
                    <a:pt x="368" y="455"/>
                  </a:lnTo>
                  <a:lnTo>
                    <a:pt x="368" y="455"/>
                  </a:lnTo>
                  <a:lnTo>
                    <a:pt x="368" y="449"/>
                  </a:lnTo>
                  <a:lnTo>
                    <a:pt x="368" y="443"/>
                  </a:lnTo>
                  <a:lnTo>
                    <a:pt x="365" y="438"/>
                  </a:lnTo>
                  <a:lnTo>
                    <a:pt x="357" y="434"/>
                  </a:lnTo>
                  <a:lnTo>
                    <a:pt x="357" y="434"/>
                  </a:lnTo>
                  <a:lnTo>
                    <a:pt x="341" y="425"/>
                  </a:lnTo>
                  <a:lnTo>
                    <a:pt x="335" y="420"/>
                  </a:lnTo>
                  <a:lnTo>
                    <a:pt x="332" y="416"/>
                  </a:lnTo>
                  <a:lnTo>
                    <a:pt x="332" y="416"/>
                  </a:lnTo>
                  <a:lnTo>
                    <a:pt x="332" y="413"/>
                  </a:lnTo>
                  <a:lnTo>
                    <a:pt x="334" y="409"/>
                  </a:lnTo>
                  <a:lnTo>
                    <a:pt x="338" y="404"/>
                  </a:lnTo>
                  <a:lnTo>
                    <a:pt x="342" y="404"/>
                  </a:lnTo>
                  <a:lnTo>
                    <a:pt x="342" y="404"/>
                  </a:lnTo>
                  <a:lnTo>
                    <a:pt x="348" y="404"/>
                  </a:lnTo>
                  <a:lnTo>
                    <a:pt x="351" y="403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6" y="398"/>
                  </a:lnTo>
                  <a:lnTo>
                    <a:pt x="360" y="395"/>
                  </a:lnTo>
                  <a:lnTo>
                    <a:pt x="368" y="395"/>
                  </a:lnTo>
                  <a:lnTo>
                    <a:pt x="376" y="395"/>
                  </a:lnTo>
                  <a:lnTo>
                    <a:pt x="376" y="395"/>
                  </a:lnTo>
                  <a:lnTo>
                    <a:pt x="397" y="395"/>
                  </a:lnTo>
                  <a:lnTo>
                    <a:pt x="406" y="395"/>
                  </a:lnTo>
                  <a:lnTo>
                    <a:pt x="409" y="394"/>
                  </a:lnTo>
                  <a:lnTo>
                    <a:pt x="409" y="394"/>
                  </a:lnTo>
                  <a:lnTo>
                    <a:pt x="409" y="394"/>
                  </a:lnTo>
                  <a:lnTo>
                    <a:pt x="412" y="391"/>
                  </a:lnTo>
                  <a:lnTo>
                    <a:pt x="416" y="389"/>
                  </a:lnTo>
                  <a:lnTo>
                    <a:pt x="422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8" y="391"/>
                  </a:lnTo>
                  <a:lnTo>
                    <a:pt x="431" y="391"/>
                  </a:lnTo>
                  <a:lnTo>
                    <a:pt x="439" y="388"/>
                  </a:lnTo>
                  <a:lnTo>
                    <a:pt x="439" y="388"/>
                  </a:lnTo>
                  <a:lnTo>
                    <a:pt x="440" y="388"/>
                  </a:lnTo>
                  <a:lnTo>
                    <a:pt x="445" y="388"/>
                  </a:lnTo>
                  <a:lnTo>
                    <a:pt x="452" y="389"/>
                  </a:lnTo>
                  <a:lnTo>
                    <a:pt x="452" y="389"/>
                  </a:lnTo>
                  <a:lnTo>
                    <a:pt x="452" y="389"/>
                  </a:lnTo>
                  <a:lnTo>
                    <a:pt x="453" y="388"/>
                  </a:lnTo>
                  <a:lnTo>
                    <a:pt x="453" y="383"/>
                  </a:lnTo>
                  <a:lnTo>
                    <a:pt x="455" y="378"/>
                  </a:lnTo>
                  <a:lnTo>
                    <a:pt x="456" y="376"/>
                  </a:lnTo>
                  <a:lnTo>
                    <a:pt x="459" y="375"/>
                  </a:lnTo>
                  <a:lnTo>
                    <a:pt x="459" y="375"/>
                  </a:lnTo>
                  <a:lnTo>
                    <a:pt x="470" y="370"/>
                  </a:lnTo>
                  <a:lnTo>
                    <a:pt x="473" y="367"/>
                  </a:lnTo>
                  <a:lnTo>
                    <a:pt x="476" y="364"/>
                  </a:lnTo>
                  <a:lnTo>
                    <a:pt x="476" y="364"/>
                  </a:lnTo>
                  <a:lnTo>
                    <a:pt x="479" y="361"/>
                  </a:lnTo>
                  <a:lnTo>
                    <a:pt x="483" y="358"/>
                  </a:lnTo>
                  <a:lnTo>
                    <a:pt x="485" y="357"/>
                  </a:lnTo>
                  <a:lnTo>
                    <a:pt x="485" y="355"/>
                  </a:lnTo>
                  <a:lnTo>
                    <a:pt x="485" y="355"/>
                  </a:lnTo>
                  <a:lnTo>
                    <a:pt x="482" y="351"/>
                  </a:lnTo>
                  <a:lnTo>
                    <a:pt x="480" y="348"/>
                  </a:lnTo>
                  <a:lnTo>
                    <a:pt x="480" y="345"/>
                  </a:lnTo>
                  <a:lnTo>
                    <a:pt x="480" y="345"/>
                  </a:lnTo>
                  <a:lnTo>
                    <a:pt x="480" y="341"/>
                  </a:lnTo>
                  <a:lnTo>
                    <a:pt x="480" y="336"/>
                  </a:lnTo>
                  <a:lnTo>
                    <a:pt x="482" y="335"/>
                  </a:lnTo>
                  <a:lnTo>
                    <a:pt x="485" y="333"/>
                  </a:lnTo>
                  <a:lnTo>
                    <a:pt x="486" y="333"/>
                  </a:lnTo>
                  <a:lnTo>
                    <a:pt x="490" y="335"/>
                  </a:lnTo>
                  <a:lnTo>
                    <a:pt x="490" y="335"/>
                  </a:lnTo>
                  <a:lnTo>
                    <a:pt x="499" y="338"/>
                  </a:lnTo>
                  <a:lnTo>
                    <a:pt x="505" y="341"/>
                  </a:lnTo>
                  <a:lnTo>
                    <a:pt x="514" y="346"/>
                  </a:lnTo>
                  <a:lnTo>
                    <a:pt x="514" y="346"/>
                  </a:lnTo>
                  <a:lnTo>
                    <a:pt x="519" y="349"/>
                  </a:lnTo>
                  <a:lnTo>
                    <a:pt x="523" y="349"/>
                  </a:lnTo>
                  <a:lnTo>
                    <a:pt x="533" y="348"/>
                  </a:lnTo>
                  <a:lnTo>
                    <a:pt x="533" y="348"/>
                  </a:lnTo>
                  <a:lnTo>
                    <a:pt x="538" y="348"/>
                  </a:lnTo>
                  <a:lnTo>
                    <a:pt x="544" y="348"/>
                  </a:lnTo>
                  <a:lnTo>
                    <a:pt x="548" y="349"/>
                  </a:lnTo>
                  <a:lnTo>
                    <a:pt x="553" y="348"/>
                  </a:lnTo>
                  <a:lnTo>
                    <a:pt x="553" y="348"/>
                  </a:lnTo>
                  <a:lnTo>
                    <a:pt x="557" y="345"/>
                  </a:lnTo>
                  <a:lnTo>
                    <a:pt x="559" y="342"/>
                  </a:lnTo>
                  <a:lnTo>
                    <a:pt x="560" y="336"/>
                  </a:lnTo>
                  <a:lnTo>
                    <a:pt x="560" y="330"/>
                  </a:lnTo>
                  <a:lnTo>
                    <a:pt x="560" y="330"/>
                  </a:lnTo>
                  <a:lnTo>
                    <a:pt x="559" y="321"/>
                  </a:lnTo>
                  <a:lnTo>
                    <a:pt x="559" y="312"/>
                  </a:lnTo>
                  <a:lnTo>
                    <a:pt x="559" y="312"/>
                  </a:lnTo>
                  <a:lnTo>
                    <a:pt x="560" y="303"/>
                  </a:lnTo>
                  <a:lnTo>
                    <a:pt x="562" y="301"/>
                  </a:lnTo>
                  <a:lnTo>
                    <a:pt x="566" y="298"/>
                  </a:lnTo>
                  <a:lnTo>
                    <a:pt x="566" y="2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4" name="Freeform 93">
              <a:extLst>
                <a:ext uri="{FF2B5EF4-FFF2-40B4-BE49-F238E27FC236}">
                  <a16:creationId xmlns:a16="http://schemas.microsoft.com/office/drawing/2014/main" id="{90A5B3FC-F7ED-1244-81E6-C6B6B58206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8575" y="3627438"/>
              <a:ext cx="1385888" cy="1033462"/>
            </a:xfrm>
            <a:custGeom>
              <a:avLst/>
              <a:gdLst>
                <a:gd name="T0" fmla="*/ 233 w 873"/>
                <a:gd name="T1" fmla="*/ 391 h 651"/>
                <a:gd name="T2" fmla="*/ 296 w 873"/>
                <a:gd name="T3" fmla="*/ 392 h 651"/>
                <a:gd name="T4" fmla="*/ 463 w 873"/>
                <a:gd name="T5" fmla="*/ 545 h 651"/>
                <a:gd name="T6" fmla="*/ 611 w 873"/>
                <a:gd name="T7" fmla="*/ 648 h 651"/>
                <a:gd name="T8" fmla="*/ 687 w 873"/>
                <a:gd name="T9" fmla="*/ 635 h 651"/>
                <a:gd name="T10" fmla="*/ 738 w 873"/>
                <a:gd name="T11" fmla="*/ 626 h 651"/>
                <a:gd name="T12" fmla="*/ 784 w 873"/>
                <a:gd name="T13" fmla="*/ 610 h 651"/>
                <a:gd name="T14" fmla="*/ 830 w 873"/>
                <a:gd name="T15" fmla="*/ 608 h 651"/>
                <a:gd name="T16" fmla="*/ 844 w 873"/>
                <a:gd name="T17" fmla="*/ 594 h 651"/>
                <a:gd name="T18" fmla="*/ 827 w 873"/>
                <a:gd name="T19" fmla="*/ 552 h 651"/>
                <a:gd name="T20" fmla="*/ 864 w 873"/>
                <a:gd name="T21" fmla="*/ 530 h 651"/>
                <a:gd name="T22" fmla="*/ 823 w 873"/>
                <a:gd name="T23" fmla="*/ 432 h 651"/>
                <a:gd name="T24" fmla="*/ 771 w 873"/>
                <a:gd name="T25" fmla="*/ 386 h 651"/>
                <a:gd name="T26" fmla="*/ 728 w 873"/>
                <a:gd name="T27" fmla="*/ 398 h 651"/>
                <a:gd name="T28" fmla="*/ 698 w 873"/>
                <a:gd name="T29" fmla="*/ 475 h 651"/>
                <a:gd name="T30" fmla="*/ 657 w 873"/>
                <a:gd name="T31" fmla="*/ 482 h 651"/>
                <a:gd name="T32" fmla="*/ 623 w 873"/>
                <a:gd name="T33" fmla="*/ 474 h 651"/>
                <a:gd name="T34" fmla="*/ 658 w 873"/>
                <a:gd name="T35" fmla="*/ 402 h 651"/>
                <a:gd name="T36" fmla="*/ 618 w 873"/>
                <a:gd name="T37" fmla="*/ 397 h 651"/>
                <a:gd name="T38" fmla="*/ 578 w 873"/>
                <a:gd name="T39" fmla="*/ 397 h 651"/>
                <a:gd name="T40" fmla="*/ 539 w 873"/>
                <a:gd name="T41" fmla="*/ 357 h 651"/>
                <a:gd name="T42" fmla="*/ 500 w 873"/>
                <a:gd name="T43" fmla="*/ 346 h 651"/>
                <a:gd name="T44" fmla="*/ 463 w 873"/>
                <a:gd name="T45" fmla="*/ 346 h 651"/>
                <a:gd name="T46" fmla="*/ 435 w 873"/>
                <a:gd name="T47" fmla="*/ 331 h 651"/>
                <a:gd name="T48" fmla="*/ 456 w 873"/>
                <a:gd name="T49" fmla="*/ 325 h 651"/>
                <a:gd name="T50" fmla="*/ 481 w 873"/>
                <a:gd name="T51" fmla="*/ 300 h 651"/>
                <a:gd name="T52" fmla="*/ 488 w 873"/>
                <a:gd name="T53" fmla="*/ 266 h 651"/>
                <a:gd name="T54" fmla="*/ 433 w 873"/>
                <a:gd name="T55" fmla="*/ 259 h 651"/>
                <a:gd name="T56" fmla="*/ 417 w 873"/>
                <a:gd name="T57" fmla="*/ 283 h 651"/>
                <a:gd name="T58" fmla="*/ 398 w 873"/>
                <a:gd name="T59" fmla="*/ 253 h 651"/>
                <a:gd name="T60" fmla="*/ 361 w 873"/>
                <a:gd name="T61" fmla="*/ 237 h 651"/>
                <a:gd name="T62" fmla="*/ 268 w 873"/>
                <a:gd name="T63" fmla="*/ 220 h 651"/>
                <a:gd name="T64" fmla="*/ 244 w 873"/>
                <a:gd name="T65" fmla="*/ 234 h 651"/>
                <a:gd name="T66" fmla="*/ 191 w 873"/>
                <a:gd name="T67" fmla="*/ 228 h 651"/>
                <a:gd name="T68" fmla="*/ 145 w 873"/>
                <a:gd name="T69" fmla="*/ 248 h 651"/>
                <a:gd name="T70" fmla="*/ 111 w 873"/>
                <a:gd name="T71" fmla="*/ 231 h 651"/>
                <a:gd name="T72" fmla="*/ 115 w 873"/>
                <a:gd name="T73" fmla="*/ 149 h 651"/>
                <a:gd name="T74" fmla="*/ 183 w 873"/>
                <a:gd name="T75" fmla="*/ 152 h 651"/>
                <a:gd name="T76" fmla="*/ 214 w 873"/>
                <a:gd name="T77" fmla="*/ 152 h 651"/>
                <a:gd name="T78" fmla="*/ 220 w 873"/>
                <a:gd name="T79" fmla="*/ 103 h 651"/>
                <a:gd name="T80" fmla="*/ 226 w 873"/>
                <a:gd name="T81" fmla="*/ 65 h 651"/>
                <a:gd name="T82" fmla="*/ 189 w 873"/>
                <a:gd name="T83" fmla="*/ 6 h 651"/>
                <a:gd name="T84" fmla="*/ 168 w 873"/>
                <a:gd name="T85" fmla="*/ 29 h 651"/>
                <a:gd name="T86" fmla="*/ 136 w 873"/>
                <a:gd name="T87" fmla="*/ 69 h 651"/>
                <a:gd name="T88" fmla="*/ 66 w 873"/>
                <a:gd name="T89" fmla="*/ 115 h 651"/>
                <a:gd name="T90" fmla="*/ 66 w 873"/>
                <a:gd name="T91" fmla="*/ 154 h 651"/>
                <a:gd name="T92" fmla="*/ 0 w 873"/>
                <a:gd name="T93" fmla="*/ 194 h 651"/>
                <a:gd name="T94" fmla="*/ 19 w 873"/>
                <a:gd name="T95" fmla="*/ 269 h 651"/>
                <a:gd name="T96" fmla="*/ 40 w 873"/>
                <a:gd name="T97" fmla="*/ 328 h 651"/>
                <a:gd name="T98" fmla="*/ 77 w 873"/>
                <a:gd name="T99" fmla="*/ 346 h 651"/>
                <a:gd name="T100" fmla="*/ 134 w 873"/>
                <a:gd name="T101" fmla="*/ 370 h 651"/>
                <a:gd name="T102" fmla="*/ 376 w 873"/>
                <a:gd name="T103" fmla="*/ 174 h 651"/>
                <a:gd name="T104" fmla="*/ 411 w 873"/>
                <a:gd name="T105" fmla="*/ 170 h 651"/>
                <a:gd name="T106" fmla="*/ 414 w 873"/>
                <a:gd name="T107" fmla="*/ 109 h 651"/>
                <a:gd name="T108" fmla="*/ 365 w 873"/>
                <a:gd name="T109" fmla="*/ 100 h 651"/>
                <a:gd name="T110" fmla="*/ 334 w 873"/>
                <a:gd name="T111" fmla="*/ 157 h 651"/>
                <a:gd name="T112" fmla="*/ 732 w 873"/>
                <a:gd name="T113" fmla="*/ 343 h 651"/>
                <a:gd name="T114" fmla="*/ 750 w 873"/>
                <a:gd name="T115" fmla="*/ 380 h 651"/>
                <a:gd name="T116" fmla="*/ 753 w 873"/>
                <a:gd name="T117" fmla="*/ 274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3" h="651">
                  <a:moveTo>
                    <a:pt x="145" y="373"/>
                  </a:moveTo>
                  <a:lnTo>
                    <a:pt x="145" y="373"/>
                  </a:lnTo>
                  <a:lnTo>
                    <a:pt x="155" y="376"/>
                  </a:lnTo>
                  <a:lnTo>
                    <a:pt x="164" y="379"/>
                  </a:lnTo>
                  <a:lnTo>
                    <a:pt x="174" y="383"/>
                  </a:lnTo>
                  <a:lnTo>
                    <a:pt x="186" y="385"/>
                  </a:lnTo>
                  <a:lnTo>
                    <a:pt x="186" y="385"/>
                  </a:lnTo>
                  <a:lnTo>
                    <a:pt x="213" y="389"/>
                  </a:lnTo>
                  <a:lnTo>
                    <a:pt x="233" y="391"/>
                  </a:lnTo>
                  <a:lnTo>
                    <a:pt x="233" y="391"/>
                  </a:lnTo>
                  <a:lnTo>
                    <a:pt x="250" y="394"/>
                  </a:lnTo>
                  <a:lnTo>
                    <a:pt x="256" y="394"/>
                  </a:lnTo>
                  <a:lnTo>
                    <a:pt x="262" y="392"/>
                  </a:lnTo>
                  <a:lnTo>
                    <a:pt x="262" y="392"/>
                  </a:lnTo>
                  <a:lnTo>
                    <a:pt x="268" y="391"/>
                  </a:lnTo>
                  <a:lnTo>
                    <a:pt x="273" y="391"/>
                  </a:lnTo>
                  <a:lnTo>
                    <a:pt x="284" y="391"/>
                  </a:lnTo>
                  <a:lnTo>
                    <a:pt x="284" y="391"/>
                  </a:lnTo>
                  <a:lnTo>
                    <a:pt x="291" y="391"/>
                  </a:lnTo>
                  <a:lnTo>
                    <a:pt x="296" y="392"/>
                  </a:lnTo>
                  <a:lnTo>
                    <a:pt x="299" y="394"/>
                  </a:lnTo>
                  <a:lnTo>
                    <a:pt x="299" y="394"/>
                  </a:lnTo>
                  <a:lnTo>
                    <a:pt x="315" y="416"/>
                  </a:lnTo>
                  <a:lnTo>
                    <a:pt x="327" y="432"/>
                  </a:lnTo>
                  <a:lnTo>
                    <a:pt x="339" y="445"/>
                  </a:lnTo>
                  <a:lnTo>
                    <a:pt x="339" y="445"/>
                  </a:lnTo>
                  <a:lnTo>
                    <a:pt x="380" y="479"/>
                  </a:lnTo>
                  <a:lnTo>
                    <a:pt x="429" y="518"/>
                  </a:lnTo>
                  <a:lnTo>
                    <a:pt x="429" y="518"/>
                  </a:lnTo>
                  <a:lnTo>
                    <a:pt x="463" y="545"/>
                  </a:lnTo>
                  <a:lnTo>
                    <a:pt x="496" y="571"/>
                  </a:lnTo>
                  <a:lnTo>
                    <a:pt x="496" y="571"/>
                  </a:lnTo>
                  <a:lnTo>
                    <a:pt x="513" y="583"/>
                  </a:lnTo>
                  <a:lnTo>
                    <a:pt x="533" y="596"/>
                  </a:lnTo>
                  <a:lnTo>
                    <a:pt x="567" y="620"/>
                  </a:lnTo>
                  <a:lnTo>
                    <a:pt x="567" y="620"/>
                  </a:lnTo>
                  <a:lnTo>
                    <a:pt x="589" y="636"/>
                  </a:lnTo>
                  <a:lnTo>
                    <a:pt x="602" y="645"/>
                  </a:lnTo>
                  <a:lnTo>
                    <a:pt x="602" y="645"/>
                  </a:lnTo>
                  <a:lnTo>
                    <a:pt x="611" y="648"/>
                  </a:lnTo>
                  <a:lnTo>
                    <a:pt x="624" y="650"/>
                  </a:lnTo>
                  <a:lnTo>
                    <a:pt x="648" y="651"/>
                  </a:lnTo>
                  <a:lnTo>
                    <a:pt x="648" y="651"/>
                  </a:lnTo>
                  <a:lnTo>
                    <a:pt x="667" y="651"/>
                  </a:lnTo>
                  <a:lnTo>
                    <a:pt x="675" y="651"/>
                  </a:lnTo>
                  <a:lnTo>
                    <a:pt x="678" y="650"/>
                  </a:lnTo>
                  <a:lnTo>
                    <a:pt x="679" y="648"/>
                  </a:lnTo>
                  <a:lnTo>
                    <a:pt x="679" y="648"/>
                  </a:lnTo>
                  <a:lnTo>
                    <a:pt x="684" y="639"/>
                  </a:lnTo>
                  <a:lnTo>
                    <a:pt x="687" y="635"/>
                  </a:lnTo>
                  <a:lnTo>
                    <a:pt x="691" y="632"/>
                  </a:lnTo>
                  <a:lnTo>
                    <a:pt x="691" y="632"/>
                  </a:lnTo>
                  <a:lnTo>
                    <a:pt x="697" y="629"/>
                  </a:lnTo>
                  <a:lnTo>
                    <a:pt x="703" y="628"/>
                  </a:lnTo>
                  <a:lnTo>
                    <a:pt x="709" y="626"/>
                  </a:lnTo>
                  <a:lnTo>
                    <a:pt x="716" y="626"/>
                  </a:lnTo>
                  <a:lnTo>
                    <a:pt x="716" y="626"/>
                  </a:lnTo>
                  <a:lnTo>
                    <a:pt x="728" y="629"/>
                  </a:lnTo>
                  <a:lnTo>
                    <a:pt x="734" y="629"/>
                  </a:lnTo>
                  <a:lnTo>
                    <a:pt x="738" y="626"/>
                  </a:lnTo>
                  <a:lnTo>
                    <a:pt x="738" y="626"/>
                  </a:lnTo>
                  <a:lnTo>
                    <a:pt x="741" y="623"/>
                  </a:lnTo>
                  <a:lnTo>
                    <a:pt x="741" y="620"/>
                  </a:lnTo>
                  <a:lnTo>
                    <a:pt x="741" y="617"/>
                  </a:lnTo>
                  <a:lnTo>
                    <a:pt x="743" y="614"/>
                  </a:lnTo>
                  <a:lnTo>
                    <a:pt x="747" y="613"/>
                  </a:lnTo>
                  <a:lnTo>
                    <a:pt x="747" y="613"/>
                  </a:lnTo>
                  <a:lnTo>
                    <a:pt x="770" y="611"/>
                  </a:lnTo>
                  <a:lnTo>
                    <a:pt x="784" y="610"/>
                  </a:lnTo>
                  <a:lnTo>
                    <a:pt x="784" y="610"/>
                  </a:lnTo>
                  <a:lnTo>
                    <a:pt x="789" y="607"/>
                  </a:lnTo>
                  <a:lnTo>
                    <a:pt x="793" y="601"/>
                  </a:lnTo>
                  <a:lnTo>
                    <a:pt x="793" y="601"/>
                  </a:lnTo>
                  <a:lnTo>
                    <a:pt x="796" y="598"/>
                  </a:lnTo>
                  <a:lnTo>
                    <a:pt x="802" y="596"/>
                  </a:lnTo>
                  <a:lnTo>
                    <a:pt x="808" y="596"/>
                  </a:lnTo>
                  <a:lnTo>
                    <a:pt x="814" y="598"/>
                  </a:lnTo>
                  <a:lnTo>
                    <a:pt x="814" y="598"/>
                  </a:lnTo>
                  <a:lnTo>
                    <a:pt x="830" y="608"/>
                  </a:lnTo>
                  <a:lnTo>
                    <a:pt x="830" y="608"/>
                  </a:lnTo>
                  <a:lnTo>
                    <a:pt x="836" y="611"/>
                  </a:lnTo>
                  <a:lnTo>
                    <a:pt x="836" y="611"/>
                  </a:lnTo>
                  <a:lnTo>
                    <a:pt x="842" y="611"/>
                  </a:lnTo>
                  <a:lnTo>
                    <a:pt x="845" y="608"/>
                  </a:lnTo>
                  <a:lnTo>
                    <a:pt x="845" y="608"/>
                  </a:lnTo>
                  <a:lnTo>
                    <a:pt x="848" y="604"/>
                  </a:lnTo>
                  <a:lnTo>
                    <a:pt x="849" y="601"/>
                  </a:lnTo>
                  <a:lnTo>
                    <a:pt x="847" y="598"/>
                  </a:lnTo>
                  <a:lnTo>
                    <a:pt x="847" y="598"/>
                  </a:lnTo>
                  <a:lnTo>
                    <a:pt x="844" y="594"/>
                  </a:lnTo>
                  <a:lnTo>
                    <a:pt x="844" y="589"/>
                  </a:lnTo>
                  <a:lnTo>
                    <a:pt x="844" y="579"/>
                  </a:lnTo>
                  <a:lnTo>
                    <a:pt x="844" y="579"/>
                  </a:lnTo>
                  <a:lnTo>
                    <a:pt x="844" y="576"/>
                  </a:lnTo>
                  <a:lnTo>
                    <a:pt x="842" y="571"/>
                  </a:lnTo>
                  <a:lnTo>
                    <a:pt x="841" y="567"/>
                  </a:lnTo>
                  <a:lnTo>
                    <a:pt x="836" y="562"/>
                  </a:lnTo>
                  <a:lnTo>
                    <a:pt x="836" y="562"/>
                  </a:lnTo>
                  <a:lnTo>
                    <a:pt x="832" y="557"/>
                  </a:lnTo>
                  <a:lnTo>
                    <a:pt x="827" y="552"/>
                  </a:lnTo>
                  <a:lnTo>
                    <a:pt x="826" y="549"/>
                  </a:lnTo>
                  <a:lnTo>
                    <a:pt x="826" y="546"/>
                  </a:lnTo>
                  <a:lnTo>
                    <a:pt x="827" y="543"/>
                  </a:lnTo>
                  <a:lnTo>
                    <a:pt x="830" y="542"/>
                  </a:lnTo>
                  <a:lnTo>
                    <a:pt x="830" y="542"/>
                  </a:lnTo>
                  <a:lnTo>
                    <a:pt x="839" y="536"/>
                  </a:lnTo>
                  <a:lnTo>
                    <a:pt x="849" y="533"/>
                  </a:lnTo>
                  <a:lnTo>
                    <a:pt x="858" y="530"/>
                  </a:lnTo>
                  <a:lnTo>
                    <a:pt x="864" y="530"/>
                  </a:lnTo>
                  <a:lnTo>
                    <a:pt x="864" y="530"/>
                  </a:lnTo>
                  <a:lnTo>
                    <a:pt x="873" y="533"/>
                  </a:lnTo>
                  <a:lnTo>
                    <a:pt x="873" y="533"/>
                  </a:lnTo>
                  <a:lnTo>
                    <a:pt x="864" y="503"/>
                  </a:lnTo>
                  <a:lnTo>
                    <a:pt x="858" y="479"/>
                  </a:lnTo>
                  <a:lnTo>
                    <a:pt x="858" y="479"/>
                  </a:lnTo>
                  <a:lnTo>
                    <a:pt x="854" y="471"/>
                  </a:lnTo>
                  <a:lnTo>
                    <a:pt x="847" y="462"/>
                  </a:lnTo>
                  <a:lnTo>
                    <a:pt x="835" y="447"/>
                  </a:lnTo>
                  <a:lnTo>
                    <a:pt x="835" y="447"/>
                  </a:lnTo>
                  <a:lnTo>
                    <a:pt x="823" y="432"/>
                  </a:lnTo>
                  <a:lnTo>
                    <a:pt x="815" y="425"/>
                  </a:lnTo>
                  <a:lnTo>
                    <a:pt x="811" y="419"/>
                  </a:lnTo>
                  <a:lnTo>
                    <a:pt x="811" y="419"/>
                  </a:lnTo>
                  <a:lnTo>
                    <a:pt x="805" y="411"/>
                  </a:lnTo>
                  <a:lnTo>
                    <a:pt x="796" y="400"/>
                  </a:lnTo>
                  <a:lnTo>
                    <a:pt x="778" y="383"/>
                  </a:lnTo>
                  <a:lnTo>
                    <a:pt x="778" y="383"/>
                  </a:lnTo>
                  <a:lnTo>
                    <a:pt x="775" y="382"/>
                  </a:lnTo>
                  <a:lnTo>
                    <a:pt x="772" y="383"/>
                  </a:lnTo>
                  <a:lnTo>
                    <a:pt x="771" y="386"/>
                  </a:lnTo>
                  <a:lnTo>
                    <a:pt x="767" y="389"/>
                  </a:lnTo>
                  <a:lnTo>
                    <a:pt x="767" y="389"/>
                  </a:lnTo>
                  <a:lnTo>
                    <a:pt x="761" y="392"/>
                  </a:lnTo>
                  <a:lnTo>
                    <a:pt x="753" y="392"/>
                  </a:lnTo>
                  <a:lnTo>
                    <a:pt x="740" y="392"/>
                  </a:lnTo>
                  <a:lnTo>
                    <a:pt x="740" y="392"/>
                  </a:lnTo>
                  <a:lnTo>
                    <a:pt x="734" y="391"/>
                  </a:lnTo>
                  <a:lnTo>
                    <a:pt x="731" y="392"/>
                  </a:lnTo>
                  <a:lnTo>
                    <a:pt x="730" y="395"/>
                  </a:lnTo>
                  <a:lnTo>
                    <a:pt x="728" y="398"/>
                  </a:lnTo>
                  <a:lnTo>
                    <a:pt x="728" y="398"/>
                  </a:lnTo>
                  <a:lnTo>
                    <a:pt x="728" y="405"/>
                  </a:lnTo>
                  <a:lnTo>
                    <a:pt x="728" y="420"/>
                  </a:lnTo>
                  <a:lnTo>
                    <a:pt x="728" y="434"/>
                  </a:lnTo>
                  <a:lnTo>
                    <a:pt x="728" y="441"/>
                  </a:lnTo>
                  <a:lnTo>
                    <a:pt x="728" y="441"/>
                  </a:lnTo>
                  <a:lnTo>
                    <a:pt x="724" y="448"/>
                  </a:lnTo>
                  <a:lnTo>
                    <a:pt x="713" y="459"/>
                  </a:lnTo>
                  <a:lnTo>
                    <a:pt x="698" y="475"/>
                  </a:lnTo>
                  <a:lnTo>
                    <a:pt x="698" y="475"/>
                  </a:lnTo>
                  <a:lnTo>
                    <a:pt x="695" y="475"/>
                  </a:lnTo>
                  <a:lnTo>
                    <a:pt x="693" y="475"/>
                  </a:lnTo>
                  <a:lnTo>
                    <a:pt x="684" y="474"/>
                  </a:lnTo>
                  <a:lnTo>
                    <a:pt x="667" y="468"/>
                  </a:lnTo>
                  <a:lnTo>
                    <a:pt x="667" y="468"/>
                  </a:lnTo>
                  <a:lnTo>
                    <a:pt x="664" y="468"/>
                  </a:lnTo>
                  <a:lnTo>
                    <a:pt x="663" y="469"/>
                  </a:lnTo>
                  <a:lnTo>
                    <a:pt x="660" y="474"/>
                  </a:lnTo>
                  <a:lnTo>
                    <a:pt x="658" y="478"/>
                  </a:lnTo>
                  <a:lnTo>
                    <a:pt x="657" y="482"/>
                  </a:lnTo>
                  <a:lnTo>
                    <a:pt x="657" y="482"/>
                  </a:lnTo>
                  <a:lnTo>
                    <a:pt x="655" y="485"/>
                  </a:lnTo>
                  <a:lnTo>
                    <a:pt x="653" y="488"/>
                  </a:lnTo>
                  <a:lnTo>
                    <a:pt x="648" y="488"/>
                  </a:lnTo>
                  <a:lnTo>
                    <a:pt x="644" y="487"/>
                  </a:lnTo>
                  <a:lnTo>
                    <a:pt x="635" y="484"/>
                  </a:lnTo>
                  <a:lnTo>
                    <a:pt x="629" y="481"/>
                  </a:lnTo>
                  <a:lnTo>
                    <a:pt x="629" y="481"/>
                  </a:lnTo>
                  <a:lnTo>
                    <a:pt x="624" y="478"/>
                  </a:lnTo>
                  <a:lnTo>
                    <a:pt x="623" y="474"/>
                  </a:lnTo>
                  <a:lnTo>
                    <a:pt x="624" y="468"/>
                  </a:lnTo>
                  <a:lnTo>
                    <a:pt x="624" y="468"/>
                  </a:lnTo>
                  <a:lnTo>
                    <a:pt x="626" y="462"/>
                  </a:lnTo>
                  <a:lnTo>
                    <a:pt x="630" y="457"/>
                  </a:lnTo>
                  <a:lnTo>
                    <a:pt x="638" y="450"/>
                  </a:lnTo>
                  <a:lnTo>
                    <a:pt x="647" y="444"/>
                  </a:lnTo>
                  <a:lnTo>
                    <a:pt x="651" y="440"/>
                  </a:lnTo>
                  <a:lnTo>
                    <a:pt x="653" y="434"/>
                  </a:lnTo>
                  <a:lnTo>
                    <a:pt x="653" y="434"/>
                  </a:lnTo>
                  <a:lnTo>
                    <a:pt x="658" y="402"/>
                  </a:lnTo>
                  <a:lnTo>
                    <a:pt x="658" y="402"/>
                  </a:lnTo>
                  <a:lnTo>
                    <a:pt x="657" y="400"/>
                  </a:lnTo>
                  <a:lnTo>
                    <a:pt x="654" y="400"/>
                  </a:lnTo>
                  <a:lnTo>
                    <a:pt x="648" y="398"/>
                  </a:lnTo>
                  <a:lnTo>
                    <a:pt x="648" y="398"/>
                  </a:lnTo>
                  <a:lnTo>
                    <a:pt x="642" y="395"/>
                  </a:lnTo>
                  <a:lnTo>
                    <a:pt x="632" y="395"/>
                  </a:lnTo>
                  <a:lnTo>
                    <a:pt x="632" y="395"/>
                  </a:lnTo>
                  <a:lnTo>
                    <a:pt x="618" y="397"/>
                  </a:lnTo>
                  <a:lnTo>
                    <a:pt x="618" y="397"/>
                  </a:lnTo>
                  <a:lnTo>
                    <a:pt x="607" y="397"/>
                  </a:lnTo>
                  <a:lnTo>
                    <a:pt x="607" y="398"/>
                  </a:lnTo>
                  <a:lnTo>
                    <a:pt x="596" y="400"/>
                  </a:lnTo>
                  <a:lnTo>
                    <a:pt x="596" y="400"/>
                  </a:lnTo>
                  <a:lnTo>
                    <a:pt x="595" y="400"/>
                  </a:lnTo>
                  <a:lnTo>
                    <a:pt x="592" y="398"/>
                  </a:lnTo>
                  <a:lnTo>
                    <a:pt x="590" y="397"/>
                  </a:lnTo>
                  <a:lnTo>
                    <a:pt x="590" y="397"/>
                  </a:lnTo>
                  <a:lnTo>
                    <a:pt x="578" y="397"/>
                  </a:lnTo>
                  <a:lnTo>
                    <a:pt x="578" y="397"/>
                  </a:lnTo>
                  <a:lnTo>
                    <a:pt x="574" y="395"/>
                  </a:lnTo>
                  <a:lnTo>
                    <a:pt x="571" y="394"/>
                  </a:lnTo>
                  <a:lnTo>
                    <a:pt x="570" y="389"/>
                  </a:lnTo>
                  <a:lnTo>
                    <a:pt x="570" y="389"/>
                  </a:lnTo>
                  <a:lnTo>
                    <a:pt x="564" y="383"/>
                  </a:lnTo>
                  <a:lnTo>
                    <a:pt x="555" y="374"/>
                  </a:lnTo>
                  <a:lnTo>
                    <a:pt x="555" y="374"/>
                  </a:lnTo>
                  <a:lnTo>
                    <a:pt x="547" y="365"/>
                  </a:lnTo>
                  <a:lnTo>
                    <a:pt x="541" y="361"/>
                  </a:lnTo>
                  <a:lnTo>
                    <a:pt x="539" y="357"/>
                  </a:lnTo>
                  <a:lnTo>
                    <a:pt x="534" y="352"/>
                  </a:lnTo>
                  <a:lnTo>
                    <a:pt x="534" y="352"/>
                  </a:lnTo>
                  <a:lnTo>
                    <a:pt x="531" y="349"/>
                  </a:lnTo>
                  <a:lnTo>
                    <a:pt x="525" y="348"/>
                  </a:lnTo>
                  <a:lnTo>
                    <a:pt x="516" y="348"/>
                  </a:lnTo>
                  <a:lnTo>
                    <a:pt x="516" y="348"/>
                  </a:lnTo>
                  <a:lnTo>
                    <a:pt x="507" y="346"/>
                  </a:lnTo>
                  <a:lnTo>
                    <a:pt x="504" y="345"/>
                  </a:lnTo>
                  <a:lnTo>
                    <a:pt x="500" y="346"/>
                  </a:lnTo>
                  <a:lnTo>
                    <a:pt x="500" y="346"/>
                  </a:lnTo>
                  <a:lnTo>
                    <a:pt x="493" y="349"/>
                  </a:lnTo>
                  <a:lnTo>
                    <a:pt x="485" y="352"/>
                  </a:lnTo>
                  <a:lnTo>
                    <a:pt x="485" y="352"/>
                  </a:lnTo>
                  <a:lnTo>
                    <a:pt x="481" y="358"/>
                  </a:lnTo>
                  <a:lnTo>
                    <a:pt x="478" y="360"/>
                  </a:lnTo>
                  <a:lnTo>
                    <a:pt x="475" y="361"/>
                  </a:lnTo>
                  <a:lnTo>
                    <a:pt x="475" y="361"/>
                  </a:lnTo>
                  <a:lnTo>
                    <a:pt x="472" y="358"/>
                  </a:lnTo>
                  <a:lnTo>
                    <a:pt x="467" y="354"/>
                  </a:lnTo>
                  <a:lnTo>
                    <a:pt x="463" y="346"/>
                  </a:lnTo>
                  <a:lnTo>
                    <a:pt x="463" y="346"/>
                  </a:lnTo>
                  <a:lnTo>
                    <a:pt x="457" y="343"/>
                  </a:lnTo>
                  <a:lnTo>
                    <a:pt x="451" y="340"/>
                  </a:lnTo>
                  <a:lnTo>
                    <a:pt x="451" y="340"/>
                  </a:lnTo>
                  <a:lnTo>
                    <a:pt x="444" y="340"/>
                  </a:lnTo>
                  <a:lnTo>
                    <a:pt x="439" y="339"/>
                  </a:lnTo>
                  <a:lnTo>
                    <a:pt x="436" y="337"/>
                  </a:lnTo>
                  <a:lnTo>
                    <a:pt x="435" y="336"/>
                  </a:lnTo>
                  <a:lnTo>
                    <a:pt x="435" y="336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3" y="318"/>
                  </a:lnTo>
                  <a:lnTo>
                    <a:pt x="435" y="314"/>
                  </a:lnTo>
                  <a:lnTo>
                    <a:pt x="436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42" y="314"/>
                  </a:lnTo>
                  <a:lnTo>
                    <a:pt x="447" y="318"/>
                  </a:lnTo>
                  <a:lnTo>
                    <a:pt x="451" y="323"/>
                  </a:lnTo>
                  <a:lnTo>
                    <a:pt x="456" y="325"/>
                  </a:lnTo>
                  <a:lnTo>
                    <a:pt x="456" y="325"/>
                  </a:lnTo>
                  <a:lnTo>
                    <a:pt x="460" y="325"/>
                  </a:lnTo>
                  <a:lnTo>
                    <a:pt x="462" y="323"/>
                  </a:lnTo>
                  <a:lnTo>
                    <a:pt x="466" y="311"/>
                  </a:lnTo>
                  <a:lnTo>
                    <a:pt x="466" y="311"/>
                  </a:lnTo>
                  <a:lnTo>
                    <a:pt x="470" y="306"/>
                  </a:lnTo>
                  <a:lnTo>
                    <a:pt x="473" y="303"/>
                  </a:lnTo>
                  <a:lnTo>
                    <a:pt x="478" y="302"/>
                  </a:lnTo>
                  <a:lnTo>
                    <a:pt x="481" y="300"/>
                  </a:lnTo>
                  <a:lnTo>
                    <a:pt x="481" y="300"/>
                  </a:lnTo>
                  <a:lnTo>
                    <a:pt x="487" y="296"/>
                  </a:lnTo>
                  <a:lnTo>
                    <a:pt x="490" y="294"/>
                  </a:lnTo>
                  <a:lnTo>
                    <a:pt x="500" y="296"/>
                  </a:lnTo>
                  <a:lnTo>
                    <a:pt x="513" y="296"/>
                  </a:lnTo>
                  <a:lnTo>
                    <a:pt x="518" y="291"/>
                  </a:lnTo>
                  <a:lnTo>
                    <a:pt x="513" y="284"/>
                  </a:lnTo>
                  <a:lnTo>
                    <a:pt x="513" y="284"/>
                  </a:lnTo>
                  <a:lnTo>
                    <a:pt x="507" y="278"/>
                  </a:lnTo>
                  <a:lnTo>
                    <a:pt x="500" y="272"/>
                  </a:lnTo>
                  <a:lnTo>
                    <a:pt x="488" y="266"/>
                  </a:lnTo>
                  <a:lnTo>
                    <a:pt x="488" y="266"/>
                  </a:lnTo>
                  <a:lnTo>
                    <a:pt x="467" y="257"/>
                  </a:lnTo>
                  <a:lnTo>
                    <a:pt x="467" y="257"/>
                  </a:lnTo>
                  <a:lnTo>
                    <a:pt x="456" y="256"/>
                  </a:lnTo>
                  <a:lnTo>
                    <a:pt x="444" y="254"/>
                  </a:lnTo>
                  <a:lnTo>
                    <a:pt x="444" y="254"/>
                  </a:lnTo>
                  <a:lnTo>
                    <a:pt x="439" y="254"/>
                  </a:lnTo>
                  <a:lnTo>
                    <a:pt x="436" y="256"/>
                  </a:lnTo>
                  <a:lnTo>
                    <a:pt x="433" y="257"/>
                  </a:lnTo>
                  <a:lnTo>
                    <a:pt x="433" y="259"/>
                  </a:lnTo>
                  <a:lnTo>
                    <a:pt x="433" y="262"/>
                  </a:lnTo>
                  <a:lnTo>
                    <a:pt x="433" y="263"/>
                  </a:lnTo>
                  <a:lnTo>
                    <a:pt x="433" y="263"/>
                  </a:lnTo>
                  <a:lnTo>
                    <a:pt x="430" y="266"/>
                  </a:lnTo>
                  <a:lnTo>
                    <a:pt x="427" y="271"/>
                  </a:lnTo>
                  <a:lnTo>
                    <a:pt x="427" y="274"/>
                  </a:lnTo>
                  <a:lnTo>
                    <a:pt x="427" y="274"/>
                  </a:lnTo>
                  <a:lnTo>
                    <a:pt x="424" y="277"/>
                  </a:lnTo>
                  <a:lnTo>
                    <a:pt x="420" y="281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6" y="283"/>
                  </a:lnTo>
                  <a:lnTo>
                    <a:pt x="416" y="283"/>
                  </a:lnTo>
                  <a:lnTo>
                    <a:pt x="414" y="278"/>
                  </a:lnTo>
                  <a:lnTo>
                    <a:pt x="414" y="274"/>
                  </a:lnTo>
                  <a:lnTo>
                    <a:pt x="414" y="274"/>
                  </a:lnTo>
                  <a:lnTo>
                    <a:pt x="413" y="262"/>
                  </a:lnTo>
                  <a:lnTo>
                    <a:pt x="411" y="254"/>
                  </a:lnTo>
                  <a:lnTo>
                    <a:pt x="411" y="254"/>
                  </a:lnTo>
                  <a:lnTo>
                    <a:pt x="398" y="253"/>
                  </a:lnTo>
                  <a:lnTo>
                    <a:pt x="398" y="253"/>
                  </a:lnTo>
                  <a:lnTo>
                    <a:pt x="396" y="253"/>
                  </a:lnTo>
                  <a:lnTo>
                    <a:pt x="396" y="253"/>
                  </a:lnTo>
                  <a:lnTo>
                    <a:pt x="389" y="253"/>
                  </a:lnTo>
                  <a:lnTo>
                    <a:pt x="385" y="253"/>
                  </a:lnTo>
                  <a:lnTo>
                    <a:pt x="380" y="248"/>
                  </a:lnTo>
                  <a:lnTo>
                    <a:pt x="380" y="248"/>
                  </a:lnTo>
                  <a:lnTo>
                    <a:pt x="374" y="244"/>
                  </a:lnTo>
                  <a:lnTo>
                    <a:pt x="368" y="240"/>
                  </a:lnTo>
                  <a:lnTo>
                    <a:pt x="361" y="237"/>
                  </a:lnTo>
                  <a:lnTo>
                    <a:pt x="361" y="237"/>
                  </a:lnTo>
                  <a:lnTo>
                    <a:pt x="337" y="237"/>
                  </a:lnTo>
                  <a:lnTo>
                    <a:pt x="302" y="237"/>
                  </a:lnTo>
                  <a:lnTo>
                    <a:pt x="302" y="237"/>
                  </a:lnTo>
                  <a:lnTo>
                    <a:pt x="293" y="235"/>
                  </a:lnTo>
                  <a:lnTo>
                    <a:pt x="285" y="234"/>
                  </a:lnTo>
                  <a:lnTo>
                    <a:pt x="275" y="228"/>
                  </a:lnTo>
                  <a:lnTo>
                    <a:pt x="275" y="228"/>
                  </a:lnTo>
                  <a:lnTo>
                    <a:pt x="271" y="225"/>
                  </a:lnTo>
                  <a:lnTo>
                    <a:pt x="268" y="220"/>
                  </a:lnTo>
                  <a:lnTo>
                    <a:pt x="265" y="216"/>
                  </a:lnTo>
                  <a:lnTo>
                    <a:pt x="263" y="216"/>
                  </a:lnTo>
                  <a:lnTo>
                    <a:pt x="263" y="216"/>
                  </a:lnTo>
                  <a:lnTo>
                    <a:pt x="259" y="217"/>
                  </a:lnTo>
                  <a:lnTo>
                    <a:pt x="256" y="219"/>
                  </a:lnTo>
                  <a:lnTo>
                    <a:pt x="253" y="223"/>
                  </a:lnTo>
                  <a:lnTo>
                    <a:pt x="250" y="229"/>
                  </a:lnTo>
                  <a:lnTo>
                    <a:pt x="248" y="232"/>
                  </a:lnTo>
                  <a:lnTo>
                    <a:pt x="248" y="232"/>
                  </a:lnTo>
                  <a:lnTo>
                    <a:pt x="244" y="234"/>
                  </a:lnTo>
                  <a:lnTo>
                    <a:pt x="238" y="232"/>
                  </a:lnTo>
                  <a:lnTo>
                    <a:pt x="222" y="222"/>
                  </a:lnTo>
                  <a:lnTo>
                    <a:pt x="222" y="222"/>
                  </a:lnTo>
                  <a:lnTo>
                    <a:pt x="214" y="219"/>
                  </a:lnTo>
                  <a:lnTo>
                    <a:pt x="210" y="220"/>
                  </a:lnTo>
                  <a:lnTo>
                    <a:pt x="205" y="222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4" y="225"/>
                  </a:lnTo>
                  <a:lnTo>
                    <a:pt x="191" y="228"/>
                  </a:lnTo>
                  <a:lnTo>
                    <a:pt x="186" y="235"/>
                  </a:lnTo>
                  <a:lnTo>
                    <a:pt x="186" y="235"/>
                  </a:lnTo>
                  <a:lnTo>
                    <a:pt x="177" y="241"/>
                  </a:lnTo>
                  <a:lnTo>
                    <a:pt x="171" y="244"/>
                  </a:lnTo>
                  <a:lnTo>
                    <a:pt x="162" y="248"/>
                  </a:lnTo>
                  <a:lnTo>
                    <a:pt x="162" y="248"/>
                  </a:lnTo>
                  <a:lnTo>
                    <a:pt x="155" y="250"/>
                  </a:lnTo>
                  <a:lnTo>
                    <a:pt x="151" y="250"/>
                  </a:lnTo>
                  <a:lnTo>
                    <a:pt x="145" y="248"/>
                  </a:lnTo>
                  <a:lnTo>
                    <a:pt x="145" y="248"/>
                  </a:lnTo>
                  <a:lnTo>
                    <a:pt x="130" y="241"/>
                  </a:lnTo>
                  <a:lnTo>
                    <a:pt x="127" y="240"/>
                  </a:lnTo>
                  <a:lnTo>
                    <a:pt x="124" y="240"/>
                  </a:lnTo>
                  <a:lnTo>
                    <a:pt x="124" y="240"/>
                  </a:lnTo>
                  <a:lnTo>
                    <a:pt x="121" y="240"/>
                  </a:lnTo>
                  <a:lnTo>
                    <a:pt x="117" y="241"/>
                  </a:lnTo>
                  <a:lnTo>
                    <a:pt x="115" y="240"/>
                  </a:lnTo>
                  <a:lnTo>
                    <a:pt x="114" y="238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9" y="222"/>
                  </a:lnTo>
                  <a:lnTo>
                    <a:pt x="109" y="214"/>
                  </a:lnTo>
                  <a:lnTo>
                    <a:pt x="111" y="192"/>
                  </a:lnTo>
                  <a:lnTo>
                    <a:pt x="111" y="192"/>
                  </a:lnTo>
                  <a:lnTo>
                    <a:pt x="112" y="171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4" y="157"/>
                  </a:lnTo>
                  <a:lnTo>
                    <a:pt x="114" y="152"/>
                  </a:lnTo>
                  <a:lnTo>
                    <a:pt x="115" y="149"/>
                  </a:lnTo>
                  <a:lnTo>
                    <a:pt x="115" y="149"/>
                  </a:lnTo>
                  <a:lnTo>
                    <a:pt x="118" y="146"/>
                  </a:lnTo>
                  <a:lnTo>
                    <a:pt x="124" y="145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70" y="142"/>
                  </a:lnTo>
                  <a:lnTo>
                    <a:pt x="173" y="143"/>
                  </a:lnTo>
                  <a:lnTo>
                    <a:pt x="183" y="152"/>
                  </a:lnTo>
                  <a:lnTo>
                    <a:pt x="183" y="152"/>
                  </a:lnTo>
                  <a:lnTo>
                    <a:pt x="191" y="161"/>
                  </a:lnTo>
                  <a:lnTo>
                    <a:pt x="194" y="163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202" y="163"/>
                  </a:lnTo>
                  <a:lnTo>
                    <a:pt x="207" y="160"/>
                  </a:lnTo>
                  <a:lnTo>
                    <a:pt x="210" y="155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7" y="149"/>
                  </a:lnTo>
                  <a:lnTo>
                    <a:pt x="217" y="145"/>
                  </a:lnTo>
                  <a:lnTo>
                    <a:pt x="217" y="134"/>
                  </a:lnTo>
                  <a:lnTo>
                    <a:pt x="217" y="134"/>
                  </a:lnTo>
                  <a:lnTo>
                    <a:pt x="217" y="128"/>
                  </a:lnTo>
                  <a:lnTo>
                    <a:pt x="219" y="126"/>
                  </a:lnTo>
                  <a:lnTo>
                    <a:pt x="220" y="123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03"/>
                  </a:lnTo>
                  <a:lnTo>
                    <a:pt x="222" y="100"/>
                  </a:lnTo>
                  <a:lnTo>
                    <a:pt x="225" y="99"/>
                  </a:lnTo>
                  <a:lnTo>
                    <a:pt x="228" y="96"/>
                  </a:lnTo>
                  <a:lnTo>
                    <a:pt x="228" y="96"/>
                  </a:lnTo>
                  <a:lnTo>
                    <a:pt x="229" y="91"/>
                  </a:lnTo>
                  <a:lnTo>
                    <a:pt x="231" y="86"/>
                  </a:lnTo>
                  <a:lnTo>
                    <a:pt x="229" y="81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26" y="65"/>
                  </a:lnTo>
                  <a:lnTo>
                    <a:pt x="222" y="57"/>
                  </a:lnTo>
                  <a:lnTo>
                    <a:pt x="219" y="53"/>
                  </a:lnTo>
                  <a:lnTo>
                    <a:pt x="213" y="50"/>
                  </a:lnTo>
                  <a:lnTo>
                    <a:pt x="213" y="50"/>
                  </a:lnTo>
                  <a:lnTo>
                    <a:pt x="204" y="41"/>
                  </a:lnTo>
                  <a:lnTo>
                    <a:pt x="198" y="34"/>
                  </a:lnTo>
                  <a:lnTo>
                    <a:pt x="194" y="25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89" y="6"/>
                  </a:lnTo>
                  <a:lnTo>
                    <a:pt x="185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4" y="1"/>
                  </a:lnTo>
                  <a:lnTo>
                    <a:pt x="173" y="7"/>
                  </a:lnTo>
                  <a:lnTo>
                    <a:pt x="170" y="22"/>
                  </a:lnTo>
                  <a:lnTo>
                    <a:pt x="170" y="22"/>
                  </a:lnTo>
                  <a:lnTo>
                    <a:pt x="168" y="29"/>
                  </a:lnTo>
                  <a:lnTo>
                    <a:pt x="165" y="43"/>
                  </a:lnTo>
                  <a:lnTo>
                    <a:pt x="165" y="43"/>
                  </a:lnTo>
                  <a:lnTo>
                    <a:pt x="161" y="54"/>
                  </a:lnTo>
                  <a:lnTo>
                    <a:pt x="156" y="59"/>
                  </a:lnTo>
                  <a:lnTo>
                    <a:pt x="156" y="59"/>
                  </a:lnTo>
                  <a:lnTo>
                    <a:pt x="154" y="62"/>
                  </a:lnTo>
                  <a:lnTo>
                    <a:pt x="149" y="62"/>
                  </a:lnTo>
                  <a:lnTo>
                    <a:pt x="145" y="65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28" y="74"/>
                  </a:lnTo>
                  <a:lnTo>
                    <a:pt x="121" y="77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0" y="89"/>
                  </a:lnTo>
                  <a:lnTo>
                    <a:pt x="82" y="93"/>
                  </a:lnTo>
                  <a:lnTo>
                    <a:pt x="78" y="97"/>
                  </a:lnTo>
                  <a:lnTo>
                    <a:pt x="74" y="103"/>
                  </a:lnTo>
                  <a:lnTo>
                    <a:pt x="68" y="111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7"/>
                  </a:lnTo>
                  <a:lnTo>
                    <a:pt x="69" y="133"/>
                  </a:lnTo>
                  <a:lnTo>
                    <a:pt x="71" y="137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69" y="149"/>
                  </a:lnTo>
                  <a:lnTo>
                    <a:pt x="66" y="154"/>
                  </a:lnTo>
                  <a:lnTo>
                    <a:pt x="66" y="154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48" y="170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8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1" y="201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5" y="241"/>
                  </a:lnTo>
                  <a:lnTo>
                    <a:pt x="8" y="254"/>
                  </a:lnTo>
                  <a:lnTo>
                    <a:pt x="10" y="260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9" y="269"/>
                  </a:lnTo>
                  <a:lnTo>
                    <a:pt x="23" y="274"/>
                  </a:lnTo>
                  <a:lnTo>
                    <a:pt x="29" y="278"/>
                  </a:lnTo>
                  <a:lnTo>
                    <a:pt x="32" y="284"/>
                  </a:lnTo>
                  <a:lnTo>
                    <a:pt x="32" y="284"/>
                  </a:lnTo>
                  <a:lnTo>
                    <a:pt x="35" y="293"/>
                  </a:lnTo>
                  <a:lnTo>
                    <a:pt x="35" y="303"/>
                  </a:lnTo>
                  <a:lnTo>
                    <a:pt x="35" y="314"/>
                  </a:lnTo>
                  <a:lnTo>
                    <a:pt x="37" y="323"/>
                  </a:lnTo>
                  <a:lnTo>
                    <a:pt x="37" y="323"/>
                  </a:lnTo>
                  <a:lnTo>
                    <a:pt x="40" y="328"/>
                  </a:lnTo>
                  <a:lnTo>
                    <a:pt x="42" y="333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53" y="348"/>
                  </a:lnTo>
                  <a:lnTo>
                    <a:pt x="56" y="349"/>
                  </a:lnTo>
                  <a:lnTo>
                    <a:pt x="60" y="351"/>
                  </a:lnTo>
                  <a:lnTo>
                    <a:pt x="60" y="351"/>
                  </a:lnTo>
                  <a:lnTo>
                    <a:pt x="65" y="351"/>
                  </a:lnTo>
                  <a:lnTo>
                    <a:pt x="71" y="348"/>
                  </a:lnTo>
                  <a:lnTo>
                    <a:pt x="77" y="346"/>
                  </a:lnTo>
                  <a:lnTo>
                    <a:pt x="84" y="346"/>
                  </a:lnTo>
                  <a:lnTo>
                    <a:pt x="84" y="346"/>
                  </a:lnTo>
                  <a:lnTo>
                    <a:pt x="97" y="348"/>
                  </a:lnTo>
                  <a:lnTo>
                    <a:pt x="102" y="351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19" y="371"/>
                  </a:lnTo>
                  <a:lnTo>
                    <a:pt x="119" y="371"/>
                  </a:lnTo>
                  <a:lnTo>
                    <a:pt x="127" y="370"/>
                  </a:lnTo>
                  <a:lnTo>
                    <a:pt x="134" y="370"/>
                  </a:lnTo>
                  <a:lnTo>
                    <a:pt x="145" y="373"/>
                  </a:lnTo>
                  <a:lnTo>
                    <a:pt x="145" y="373"/>
                  </a:lnTo>
                  <a:close/>
                  <a:moveTo>
                    <a:pt x="346" y="166"/>
                  </a:moveTo>
                  <a:lnTo>
                    <a:pt x="346" y="166"/>
                  </a:lnTo>
                  <a:lnTo>
                    <a:pt x="350" y="168"/>
                  </a:lnTo>
                  <a:lnTo>
                    <a:pt x="358" y="171"/>
                  </a:lnTo>
                  <a:lnTo>
                    <a:pt x="368" y="176"/>
                  </a:lnTo>
                  <a:lnTo>
                    <a:pt x="368" y="176"/>
                  </a:lnTo>
                  <a:lnTo>
                    <a:pt x="373" y="176"/>
                  </a:lnTo>
                  <a:lnTo>
                    <a:pt x="376" y="174"/>
                  </a:lnTo>
                  <a:lnTo>
                    <a:pt x="380" y="173"/>
                  </a:lnTo>
                  <a:lnTo>
                    <a:pt x="383" y="171"/>
                  </a:lnTo>
                  <a:lnTo>
                    <a:pt x="383" y="171"/>
                  </a:lnTo>
                  <a:lnTo>
                    <a:pt x="393" y="170"/>
                  </a:lnTo>
                  <a:lnTo>
                    <a:pt x="393" y="170"/>
                  </a:lnTo>
                  <a:lnTo>
                    <a:pt x="398" y="170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8" y="171"/>
                  </a:lnTo>
                  <a:lnTo>
                    <a:pt x="411" y="170"/>
                  </a:lnTo>
                  <a:lnTo>
                    <a:pt x="413" y="168"/>
                  </a:lnTo>
                  <a:lnTo>
                    <a:pt x="413" y="168"/>
                  </a:lnTo>
                  <a:lnTo>
                    <a:pt x="414" y="166"/>
                  </a:lnTo>
                  <a:lnTo>
                    <a:pt x="416" y="163"/>
                  </a:lnTo>
                  <a:lnTo>
                    <a:pt x="416" y="151"/>
                  </a:lnTo>
                  <a:lnTo>
                    <a:pt x="416" y="151"/>
                  </a:lnTo>
                  <a:lnTo>
                    <a:pt x="416" y="115"/>
                  </a:lnTo>
                  <a:lnTo>
                    <a:pt x="416" y="115"/>
                  </a:lnTo>
                  <a:lnTo>
                    <a:pt x="416" y="112"/>
                  </a:lnTo>
                  <a:lnTo>
                    <a:pt x="414" y="109"/>
                  </a:lnTo>
                  <a:lnTo>
                    <a:pt x="410" y="106"/>
                  </a:lnTo>
                  <a:lnTo>
                    <a:pt x="404" y="103"/>
                  </a:lnTo>
                  <a:lnTo>
                    <a:pt x="399" y="99"/>
                  </a:lnTo>
                  <a:lnTo>
                    <a:pt x="399" y="99"/>
                  </a:lnTo>
                  <a:lnTo>
                    <a:pt x="396" y="97"/>
                  </a:lnTo>
                  <a:lnTo>
                    <a:pt x="393" y="96"/>
                  </a:lnTo>
                  <a:lnTo>
                    <a:pt x="386" y="96"/>
                  </a:lnTo>
                  <a:lnTo>
                    <a:pt x="376" y="99"/>
                  </a:lnTo>
                  <a:lnTo>
                    <a:pt x="365" y="100"/>
                  </a:lnTo>
                  <a:lnTo>
                    <a:pt x="365" y="100"/>
                  </a:lnTo>
                  <a:lnTo>
                    <a:pt x="359" y="100"/>
                  </a:lnTo>
                  <a:lnTo>
                    <a:pt x="355" y="102"/>
                  </a:lnTo>
                  <a:lnTo>
                    <a:pt x="346" y="108"/>
                  </a:lnTo>
                  <a:lnTo>
                    <a:pt x="340" y="112"/>
                  </a:lnTo>
                  <a:lnTo>
                    <a:pt x="339" y="114"/>
                  </a:lnTo>
                  <a:lnTo>
                    <a:pt x="325" y="131"/>
                  </a:lnTo>
                  <a:lnTo>
                    <a:pt x="324" y="142"/>
                  </a:lnTo>
                  <a:lnTo>
                    <a:pt x="328" y="149"/>
                  </a:lnTo>
                  <a:lnTo>
                    <a:pt x="328" y="149"/>
                  </a:lnTo>
                  <a:lnTo>
                    <a:pt x="334" y="157"/>
                  </a:lnTo>
                  <a:lnTo>
                    <a:pt x="334" y="157"/>
                  </a:lnTo>
                  <a:lnTo>
                    <a:pt x="340" y="161"/>
                  </a:lnTo>
                  <a:lnTo>
                    <a:pt x="346" y="166"/>
                  </a:lnTo>
                  <a:lnTo>
                    <a:pt x="346" y="166"/>
                  </a:lnTo>
                  <a:close/>
                  <a:moveTo>
                    <a:pt x="727" y="288"/>
                  </a:moveTo>
                  <a:lnTo>
                    <a:pt x="727" y="288"/>
                  </a:lnTo>
                  <a:lnTo>
                    <a:pt x="725" y="293"/>
                  </a:lnTo>
                  <a:lnTo>
                    <a:pt x="725" y="300"/>
                  </a:lnTo>
                  <a:lnTo>
                    <a:pt x="727" y="314"/>
                  </a:lnTo>
                  <a:lnTo>
                    <a:pt x="732" y="343"/>
                  </a:lnTo>
                  <a:lnTo>
                    <a:pt x="732" y="343"/>
                  </a:lnTo>
                  <a:lnTo>
                    <a:pt x="732" y="355"/>
                  </a:lnTo>
                  <a:lnTo>
                    <a:pt x="732" y="364"/>
                  </a:lnTo>
                  <a:lnTo>
                    <a:pt x="731" y="373"/>
                  </a:lnTo>
                  <a:lnTo>
                    <a:pt x="731" y="373"/>
                  </a:lnTo>
                  <a:lnTo>
                    <a:pt x="732" y="376"/>
                  </a:lnTo>
                  <a:lnTo>
                    <a:pt x="737" y="379"/>
                  </a:lnTo>
                  <a:lnTo>
                    <a:pt x="746" y="380"/>
                  </a:lnTo>
                  <a:lnTo>
                    <a:pt x="746" y="380"/>
                  </a:lnTo>
                  <a:lnTo>
                    <a:pt x="750" y="380"/>
                  </a:lnTo>
                  <a:lnTo>
                    <a:pt x="755" y="377"/>
                  </a:lnTo>
                  <a:lnTo>
                    <a:pt x="761" y="374"/>
                  </a:lnTo>
                  <a:lnTo>
                    <a:pt x="764" y="370"/>
                  </a:lnTo>
                  <a:lnTo>
                    <a:pt x="764" y="370"/>
                  </a:lnTo>
                  <a:lnTo>
                    <a:pt x="765" y="365"/>
                  </a:lnTo>
                  <a:lnTo>
                    <a:pt x="765" y="354"/>
                  </a:lnTo>
                  <a:lnTo>
                    <a:pt x="762" y="320"/>
                  </a:lnTo>
                  <a:lnTo>
                    <a:pt x="758" y="274"/>
                  </a:lnTo>
                  <a:lnTo>
                    <a:pt x="758" y="274"/>
                  </a:lnTo>
                  <a:lnTo>
                    <a:pt x="753" y="274"/>
                  </a:lnTo>
                  <a:lnTo>
                    <a:pt x="743" y="275"/>
                  </a:lnTo>
                  <a:lnTo>
                    <a:pt x="738" y="277"/>
                  </a:lnTo>
                  <a:lnTo>
                    <a:pt x="732" y="280"/>
                  </a:lnTo>
                  <a:lnTo>
                    <a:pt x="730" y="283"/>
                  </a:lnTo>
                  <a:lnTo>
                    <a:pt x="727" y="288"/>
                  </a:lnTo>
                  <a:lnTo>
                    <a:pt x="7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5" name="Freeform 94">
              <a:extLst>
                <a:ext uri="{FF2B5EF4-FFF2-40B4-BE49-F238E27FC236}">
                  <a16:creationId xmlns:a16="http://schemas.microsoft.com/office/drawing/2014/main" id="{B0C42C53-8B5B-674C-A5A1-66E5D46CF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288" y="3257550"/>
              <a:ext cx="69850" cy="122237"/>
            </a:xfrm>
            <a:custGeom>
              <a:avLst/>
              <a:gdLst>
                <a:gd name="T0" fmla="*/ 18 w 44"/>
                <a:gd name="T1" fmla="*/ 0 h 77"/>
                <a:gd name="T2" fmla="*/ 18 w 44"/>
                <a:gd name="T3" fmla="*/ 0 h 77"/>
                <a:gd name="T4" fmla="*/ 22 w 44"/>
                <a:gd name="T5" fmla="*/ 3 h 77"/>
                <a:gd name="T6" fmla="*/ 25 w 44"/>
                <a:gd name="T7" fmla="*/ 5 h 77"/>
                <a:gd name="T8" fmla="*/ 31 w 44"/>
                <a:gd name="T9" fmla="*/ 6 h 77"/>
                <a:gd name="T10" fmla="*/ 31 w 44"/>
                <a:gd name="T11" fmla="*/ 6 h 77"/>
                <a:gd name="T12" fmla="*/ 35 w 44"/>
                <a:gd name="T13" fmla="*/ 8 h 77"/>
                <a:gd name="T14" fmla="*/ 41 w 44"/>
                <a:gd name="T15" fmla="*/ 10 h 77"/>
                <a:gd name="T16" fmla="*/ 44 w 44"/>
                <a:gd name="T17" fmla="*/ 15 h 77"/>
                <a:gd name="T18" fmla="*/ 44 w 44"/>
                <a:gd name="T19" fmla="*/ 24 h 77"/>
                <a:gd name="T20" fmla="*/ 44 w 44"/>
                <a:gd name="T21" fmla="*/ 24 h 77"/>
                <a:gd name="T22" fmla="*/ 43 w 44"/>
                <a:gd name="T23" fmla="*/ 36 h 77"/>
                <a:gd name="T24" fmla="*/ 40 w 44"/>
                <a:gd name="T25" fmla="*/ 49 h 77"/>
                <a:gd name="T26" fmla="*/ 40 w 44"/>
                <a:gd name="T27" fmla="*/ 49 h 77"/>
                <a:gd name="T28" fmla="*/ 37 w 44"/>
                <a:gd name="T29" fmla="*/ 55 h 77"/>
                <a:gd name="T30" fmla="*/ 34 w 44"/>
                <a:gd name="T31" fmla="*/ 59 h 77"/>
                <a:gd name="T32" fmla="*/ 31 w 44"/>
                <a:gd name="T33" fmla="*/ 61 h 77"/>
                <a:gd name="T34" fmla="*/ 28 w 44"/>
                <a:gd name="T35" fmla="*/ 67 h 77"/>
                <a:gd name="T36" fmla="*/ 28 w 44"/>
                <a:gd name="T37" fmla="*/ 67 h 77"/>
                <a:gd name="T38" fmla="*/ 27 w 44"/>
                <a:gd name="T39" fmla="*/ 77 h 77"/>
                <a:gd name="T40" fmla="*/ 27 w 44"/>
                <a:gd name="T41" fmla="*/ 77 h 77"/>
                <a:gd name="T42" fmla="*/ 24 w 44"/>
                <a:gd name="T43" fmla="*/ 70 h 77"/>
                <a:gd name="T44" fmla="*/ 24 w 44"/>
                <a:gd name="T45" fmla="*/ 62 h 77"/>
                <a:gd name="T46" fmla="*/ 22 w 44"/>
                <a:gd name="T47" fmla="*/ 55 h 77"/>
                <a:gd name="T48" fmla="*/ 22 w 44"/>
                <a:gd name="T49" fmla="*/ 55 h 77"/>
                <a:gd name="T50" fmla="*/ 24 w 44"/>
                <a:gd name="T51" fmla="*/ 45 h 77"/>
                <a:gd name="T52" fmla="*/ 24 w 44"/>
                <a:gd name="T53" fmla="*/ 33 h 77"/>
                <a:gd name="T54" fmla="*/ 24 w 44"/>
                <a:gd name="T55" fmla="*/ 27 h 77"/>
                <a:gd name="T56" fmla="*/ 21 w 44"/>
                <a:gd name="T57" fmla="*/ 22 h 77"/>
                <a:gd name="T58" fmla="*/ 18 w 44"/>
                <a:gd name="T59" fmla="*/ 18 h 77"/>
                <a:gd name="T60" fmla="*/ 13 w 44"/>
                <a:gd name="T61" fmla="*/ 15 h 77"/>
                <a:gd name="T62" fmla="*/ 13 w 44"/>
                <a:gd name="T63" fmla="*/ 15 h 77"/>
                <a:gd name="T64" fmla="*/ 0 w 44"/>
                <a:gd name="T65" fmla="*/ 10 h 77"/>
                <a:gd name="T66" fmla="*/ 0 w 44"/>
                <a:gd name="T67" fmla="*/ 9 h 77"/>
                <a:gd name="T68" fmla="*/ 0 w 44"/>
                <a:gd name="T69" fmla="*/ 9 h 77"/>
                <a:gd name="T70" fmla="*/ 0 w 44"/>
                <a:gd name="T71" fmla="*/ 9 h 77"/>
                <a:gd name="T72" fmla="*/ 0 w 44"/>
                <a:gd name="T73" fmla="*/ 6 h 77"/>
                <a:gd name="T74" fmla="*/ 0 w 44"/>
                <a:gd name="T75" fmla="*/ 5 h 77"/>
                <a:gd name="T76" fmla="*/ 3 w 44"/>
                <a:gd name="T77" fmla="*/ 3 h 77"/>
                <a:gd name="T78" fmla="*/ 3 w 44"/>
                <a:gd name="T79" fmla="*/ 3 h 77"/>
                <a:gd name="T80" fmla="*/ 12 w 44"/>
                <a:gd name="T81" fmla="*/ 3 h 77"/>
                <a:gd name="T82" fmla="*/ 16 w 44"/>
                <a:gd name="T83" fmla="*/ 2 h 77"/>
                <a:gd name="T84" fmla="*/ 18 w 44"/>
                <a:gd name="T85" fmla="*/ 0 h 77"/>
                <a:gd name="T86" fmla="*/ 18 w 44"/>
                <a:gd name="T8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" h="77">
                  <a:moveTo>
                    <a:pt x="18" y="0"/>
                  </a:moveTo>
                  <a:lnTo>
                    <a:pt x="18" y="0"/>
                  </a:lnTo>
                  <a:lnTo>
                    <a:pt x="22" y="3"/>
                  </a:lnTo>
                  <a:lnTo>
                    <a:pt x="25" y="5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5" y="8"/>
                  </a:lnTo>
                  <a:lnTo>
                    <a:pt x="41" y="10"/>
                  </a:lnTo>
                  <a:lnTo>
                    <a:pt x="44" y="15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3" y="36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37" y="55"/>
                  </a:lnTo>
                  <a:lnTo>
                    <a:pt x="34" y="59"/>
                  </a:lnTo>
                  <a:lnTo>
                    <a:pt x="31" y="61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4" y="70"/>
                  </a:lnTo>
                  <a:lnTo>
                    <a:pt x="24" y="62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4" y="45"/>
                  </a:lnTo>
                  <a:lnTo>
                    <a:pt x="24" y="33"/>
                  </a:lnTo>
                  <a:lnTo>
                    <a:pt x="24" y="27"/>
                  </a:lnTo>
                  <a:lnTo>
                    <a:pt x="21" y="22"/>
                  </a:lnTo>
                  <a:lnTo>
                    <a:pt x="18" y="18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12" y="3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6" name="Freeform 95">
              <a:extLst>
                <a:ext uri="{FF2B5EF4-FFF2-40B4-BE49-F238E27FC236}">
                  <a16:creationId xmlns:a16="http://schemas.microsoft.com/office/drawing/2014/main" id="{B159B4D4-DF06-4F4A-88DF-14A9D00E5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8975" y="3170238"/>
              <a:ext cx="63500" cy="66675"/>
            </a:xfrm>
            <a:custGeom>
              <a:avLst/>
              <a:gdLst>
                <a:gd name="T0" fmla="*/ 7 w 40"/>
                <a:gd name="T1" fmla="*/ 42 h 42"/>
                <a:gd name="T2" fmla="*/ 7 w 40"/>
                <a:gd name="T3" fmla="*/ 42 h 42"/>
                <a:gd name="T4" fmla="*/ 7 w 40"/>
                <a:gd name="T5" fmla="*/ 37 h 42"/>
                <a:gd name="T6" fmla="*/ 6 w 40"/>
                <a:gd name="T7" fmla="*/ 33 h 42"/>
                <a:gd name="T8" fmla="*/ 3 w 40"/>
                <a:gd name="T9" fmla="*/ 30 h 42"/>
                <a:gd name="T10" fmla="*/ 3 w 40"/>
                <a:gd name="T11" fmla="*/ 30 h 42"/>
                <a:gd name="T12" fmla="*/ 1 w 40"/>
                <a:gd name="T13" fmla="*/ 27 h 42"/>
                <a:gd name="T14" fmla="*/ 0 w 40"/>
                <a:gd name="T15" fmla="*/ 25 h 42"/>
                <a:gd name="T16" fmla="*/ 1 w 40"/>
                <a:gd name="T17" fmla="*/ 18 h 42"/>
                <a:gd name="T18" fmla="*/ 1 w 40"/>
                <a:gd name="T19" fmla="*/ 18 h 42"/>
                <a:gd name="T20" fmla="*/ 4 w 40"/>
                <a:gd name="T21" fmla="*/ 11 h 42"/>
                <a:gd name="T22" fmla="*/ 9 w 40"/>
                <a:gd name="T23" fmla="*/ 5 h 42"/>
                <a:gd name="T24" fmla="*/ 9 w 40"/>
                <a:gd name="T25" fmla="*/ 5 h 42"/>
                <a:gd name="T26" fmla="*/ 15 w 40"/>
                <a:gd name="T27" fmla="*/ 2 h 42"/>
                <a:gd name="T28" fmla="*/ 19 w 40"/>
                <a:gd name="T29" fmla="*/ 0 h 42"/>
                <a:gd name="T30" fmla="*/ 24 w 40"/>
                <a:gd name="T31" fmla="*/ 2 h 42"/>
                <a:gd name="T32" fmla="*/ 24 w 40"/>
                <a:gd name="T33" fmla="*/ 2 h 42"/>
                <a:gd name="T34" fmla="*/ 30 w 40"/>
                <a:gd name="T35" fmla="*/ 5 h 42"/>
                <a:gd name="T36" fmla="*/ 34 w 40"/>
                <a:gd name="T37" fmla="*/ 8 h 42"/>
                <a:gd name="T38" fmla="*/ 34 w 40"/>
                <a:gd name="T39" fmla="*/ 8 h 42"/>
                <a:gd name="T40" fmla="*/ 39 w 40"/>
                <a:gd name="T41" fmla="*/ 12 h 42"/>
                <a:gd name="T42" fmla="*/ 40 w 40"/>
                <a:gd name="T43" fmla="*/ 14 h 42"/>
                <a:gd name="T44" fmla="*/ 40 w 40"/>
                <a:gd name="T45" fmla="*/ 14 h 42"/>
                <a:gd name="T46" fmla="*/ 37 w 40"/>
                <a:gd name="T47" fmla="*/ 17 h 42"/>
                <a:gd name="T48" fmla="*/ 31 w 40"/>
                <a:gd name="T49" fmla="*/ 21 h 42"/>
                <a:gd name="T50" fmla="*/ 31 w 40"/>
                <a:gd name="T51" fmla="*/ 21 h 42"/>
                <a:gd name="T52" fmla="*/ 25 w 40"/>
                <a:gd name="T53" fmla="*/ 24 h 42"/>
                <a:gd name="T54" fmla="*/ 21 w 40"/>
                <a:gd name="T55" fmla="*/ 27 h 42"/>
                <a:gd name="T56" fmla="*/ 21 w 40"/>
                <a:gd name="T57" fmla="*/ 27 h 42"/>
                <a:gd name="T58" fmla="*/ 18 w 40"/>
                <a:gd name="T59" fmla="*/ 31 h 42"/>
                <a:gd name="T60" fmla="*/ 16 w 40"/>
                <a:gd name="T61" fmla="*/ 33 h 42"/>
                <a:gd name="T62" fmla="*/ 16 w 40"/>
                <a:gd name="T63" fmla="*/ 36 h 42"/>
                <a:gd name="T64" fmla="*/ 16 w 40"/>
                <a:gd name="T65" fmla="*/ 36 h 42"/>
                <a:gd name="T66" fmla="*/ 15 w 40"/>
                <a:gd name="T67" fmla="*/ 39 h 42"/>
                <a:gd name="T68" fmla="*/ 12 w 40"/>
                <a:gd name="T69" fmla="*/ 40 h 42"/>
                <a:gd name="T70" fmla="*/ 7 w 40"/>
                <a:gd name="T71" fmla="*/ 42 h 42"/>
                <a:gd name="T72" fmla="*/ 7 w 40"/>
                <a:gd name="T7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42">
                  <a:moveTo>
                    <a:pt x="7" y="42"/>
                  </a:moveTo>
                  <a:lnTo>
                    <a:pt x="7" y="42"/>
                  </a:lnTo>
                  <a:lnTo>
                    <a:pt x="7" y="37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" y="27"/>
                  </a:lnTo>
                  <a:lnTo>
                    <a:pt x="0" y="25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4" y="11"/>
                  </a:lnTo>
                  <a:lnTo>
                    <a:pt x="9" y="5"/>
                  </a:lnTo>
                  <a:lnTo>
                    <a:pt x="9" y="5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30" y="5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9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7" y="17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5" y="24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8" y="31"/>
                  </a:lnTo>
                  <a:lnTo>
                    <a:pt x="16" y="33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5" y="39"/>
                  </a:lnTo>
                  <a:lnTo>
                    <a:pt x="12" y="40"/>
                  </a:lnTo>
                  <a:lnTo>
                    <a:pt x="7" y="42"/>
                  </a:lnTo>
                  <a:lnTo>
                    <a:pt x="7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7" name="Freeform 96">
              <a:extLst>
                <a:ext uri="{FF2B5EF4-FFF2-40B4-BE49-F238E27FC236}">
                  <a16:creationId xmlns:a16="http://schemas.microsoft.com/office/drawing/2014/main" id="{F5596A98-5A6A-A745-ACEA-79F62A794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3236913"/>
              <a:ext cx="6350" cy="20637"/>
            </a:xfrm>
            <a:custGeom>
              <a:avLst/>
              <a:gdLst>
                <a:gd name="T0" fmla="*/ 0 w 4"/>
                <a:gd name="T1" fmla="*/ 13 h 13"/>
                <a:gd name="T2" fmla="*/ 0 w 4"/>
                <a:gd name="T3" fmla="*/ 13 h 13"/>
                <a:gd name="T4" fmla="*/ 0 w 4"/>
                <a:gd name="T5" fmla="*/ 13 h 13"/>
                <a:gd name="T6" fmla="*/ 1 w 4"/>
                <a:gd name="T7" fmla="*/ 13 h 13"/>
                <a:gd name="T8" fmla="*/ 3 w 4"/>
                <a:gd name="T9" fmla="*/ 7 h 13"/>
                <a:gd name="T10" fmla="*/ 4 w 4"/>
                <a:gd name="T11" fmla="*/ 0 h 13"/>
                <a:gd name="T12" fmla="*/ 0 w 4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3" y="7"/>
                  </a:lnTo>
                  <a:lnTo>
                    <a:pt x="4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8" name="Freeform 97">
              <a:extLst>
                <a:ext uri="{FF2B5EF4-FFF2-40B4-BE49-F238E27FC236}">
                  <a16:creationId xmlns:a16="http://schemas.microsoft.com/office/drawing/2014/main" id="{EB823E3A-E09C-A443-BCFC-981DCF045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3236913"/>
              <a:ext cx="6350" cy="20637"/>
            </a:xfrm>
            <a:custGeom>
              <a:avLst/>
              <a:gdLst>
                <a:gd name="T0" fmla="*/ 0 w 4"/>
                <a:gd name="T1" fmla="*/ 13 h 13"/>
                <a:gd name="T2" fmla="*/ 0 w 4"/>
                <a:gd name="T3" fmla="*/ 13 h 13"/>
                <a:gd name="T4" fmla="*/ 0 w 4"/>
                <a:gd name="T5" fmla="*/ 13 h 13"/>
                <a:gd name="T6" fmla="*/ 1 w 4"/>
                <a:gd name="T7" fmla="*/ 13 h 13"/>
                <a:gd name="T8" fmla="*/ 3 w 4"/>
                <a:gd name="T9" fmla="*/ 7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3" y="7"/>
                  </a:lnTo>
                  <a:lnTo>
                    <a:pt x="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9" name="Freeform 98">
              <a:extLst>
                <a:ext uri="{FF2B5EF4-FFF2-40B4-BE49-F238E27FC236}">
                  <a16:creationId xmlns:a16="http://schemas.microsoft.com/office/drawing/2014/main" id="{4BC9F2F8-41C1-9E4E-A15D-3DB617B01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925" y="3257550"/>
              <a:ext cx="47625" cy="103187"/>
            </a:xfrm>
            <a:custGeom>
              <a:avLst/>
              <a:gdLst>
                <a:gd name="T0" fmla="*/ 9 w 30"/>
                <a:gd name="T1" fmla="*/ 8 h 65"/>
                <a:gd name="T2" fmla="*/ 9 w 30"/>
                <a:gd name="T3" fmla="*/ 8 h 65"/>
                <a:gd name="T4" fmla="*/ 8 w 30"/>
                <a:gd name="T5" fmla="*/ 25 h 65"/>
                <a:gd name="T6" fmla="*/ 8 w 30"/>
                <a:gd name="T7" fmla="*/ 25 h 65"/>
                <a:gd name="T8" fmla="*/ 6 w 30"/>
                <a:gd name="T9" fmla="*/ 30 h 65"/>
                <a:gd name="T10" fmla="*/ 3 w 30"/>
                <a:gd name="T11" fmla="*/ 34 h 65"/>
                <a:gd name="T12" fmla="*/ 3 w 30"/>
                <a:gd name="T13" fmla="*/ 34 h 65"/>
                <a:gd name="T14" fmla="*/ 0 w 30"/>
                <a:gd name="T15" fmla="*/ 39 h 65"/>
                <a:gd name="T16" fmla="*/ 0 w 30"/>
                <a:gd name="T17" fmla="*/ 42 h 65"/>
                <a:gd name="T18" fmla="*/ 0 w 30"/>
                <a:gd name="T19" fmla="*/ 46 h 65"/>
                <a:gd name="T20" fmla="*/ 0 w 30"/>
                <a:gd name="T21" fmla="*/ 46 h 65"/>
                <a:gd name="T22" fmla="*/ 0 w 30"/>
                <a:gd name="T23" fmla="*/ 55 h 65"/>
                <a:gd name="T24" fmla="*/ 2 w 30"/>
                <a:gd name="T25" fmla="*/ 58 h 65"/>
                <a:gd name="T26" fmla="*/ 5 w 30"/>
                <a:gd name="T27" fmla="*/ 61 h 65"/>
                <a:gd name="T28" fmla="*/ 5 w 30"/>
                <a:gd name="T29" fmla="*/ 61 h 65"/>
                <a:gd name="T30" fmla="*/ 9 w 30"/>
                <a:gd name="T31" fmla="*/ 64 h 65"/>
                <a:gd name="T32" fmla="*/ 11 w 30"/>
                <a:gd name="T33" fmla="*/ 65 h 65"/>
                <a:gd name="T34" fmla="*/ 12 w 30"/>
                <a:gd name="T35" fmla="*/ 64 h 65"/>
                <a:gd name="T36" fmla="*/ 13 w 30"/>
                <a:gd name="T37" fmla="*/ 59 h 65"/>
                <a:gd name="T38" fmla="*/ 13 w 30"/>
                <a:gd name="T39" fmla="*/ 59 h 65"/>
                <a:gd name="T40" fmla="*/ 12 w 30"/>
                <a:gd name="T41" fmla="*/ 53 h 65"/>
                <a:gd name="T42" fmla="*/ 11 w 30"/>
                <a:gd name="T43" fmla="*/ 50 h 65"/>
                <a:gd name="T44" fmla="*/ 11 w 30"/>
                <a:gd name="T45" fmla="*/ 49 h 65"/>
                <a:gd name="T46" fmla="*/ 13 w 30"/>
                <a:gd name="T47" fmla="*/ 48 h 65"/>
                <a:gd name="T48" fmla="*/ 13 w 30"/>
                <a:gd name="T49" fmla="*/ 48 h 65"/>
                <a:gd name="T50" fmla="*/ 18 w 30"/>
                <a:gd name="T51" fmla="*/ 48 h 65"/>
                <a:gd name="T52" fmla="*/ 21 w 30"/>
                <a:gd name="T53" fmla="*/ 49 h 65"/>
                <a:gd name="T54" fmla="*/ 21 w 30"/>
                <a:gd name="T55" fmla="*/ 49 h 65"/>
                <a:gd name="T56" fmla="*/ 21 w 30"/>
                <a:gd name="T57" fmla="*/ 45 h 65"/>
                <a:gd name="T58" fmla="*/ 21 w 30"/>
                <a:gd name="T59" fmla="*/ 45 h 65"/>
                <a:gd name="T60" fmla="*/ 21 w 30"/>
                <a:gd name="T61" fmla="*/ 36 h 65"/>
                <a:gd name="T62" fmla="*/ 22 w 30"/>
                <a:gd name="T63" fmla="*/ 31 h 65"/>
                <a:gd name="T64" fmla="*/ 22 w 30"/>
                <a:gd name="T65" fmla="*/ 31 h 65"/>
                <a:gd name="T66" fmla="*/ 27 w 30"/>
                <a:gd name="T67" fmla="*/ 19 h 65"/>
                <a:gd name="T68" fmla="*/ 27 w 30"/>
                <a:gd name="T69" fmla="*/ 19 h 65"/>
                <a:gd name="T70" fmla="*/ 30 w 30"/>
                <a:gd name="T71" fmla="*/ 15 h 65"/>
                <a:gd name="T72" fmla="*/ 30 w 30"/>
                <a:gd name="T73" fmla="*/ 9 h 65"/>
                <a:gd name="T74" fmla="*/ 30 w 30"/>
                <a:gd name="T75" fmla="*/ 9 h 65"/>
                <a:gd name="T76" fmla="*/ 28 w 30"/>
                <a:gd name="T77" fmla="*/ 3 h 65"/>
                <a:gd name="T78" fmla="*/ 27 w 30"/>
                <a:gd name="T79" fmla="*/ 2 h 65"/>
                <a:gd name="T80" fmla="*/ 24 w 30"/>
                <a:gd name="T81" fmla="*/ 0 h 65"/>
                <a:gd name="T82" fmla="*/ 24 w 30"/>
                <a:gd name="T83" fmla="*/ 0 h 65"/>
                <a:gd name="T84" fmla="*/ 15 w 30"/>
                <a:gd name="T85" fmla="*/ 0 h 65"/>
                <a:gd name="T86" fmla="*/ 9 w 30"/>
                <a:gd name="T87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" h="65">
                  <a:moveTo>
                    <a:pt x="9" y="8"/>
                  </a:moveTo>
                  <a:lnTo>
                    <a:pt x="9" y="8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9" y="64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2" y="53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8" y="48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36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30" y="15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0" name="Freeform 99">
              <a:extLst>
                <a:ext uri="{FF2B5EF4-FFF2-40B4-BE49-F238E27FC236}">
                  <a16:creationId xmlns:a16="http://schemas.microsoft.com/office/drawing/2014/main" id="{798EFF66-E5D7-D946-B29C-8FF6513E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5975" y="3178175"/>
              <a:ext cx="73025" cy="69850"/>
            </a:xfrm>
            <a:custGeom>
              <a:avLst/>
              <a:gdLst>
                <a:gd name="T0" fmla="*/ 15 w 46"/>
                <a:gd name="T1" fmla="*/ 0 h 44"/>
                <a:gd name="T2" fmla="*/ 15 w 46"/>
                <a:gd name="T3" fmla="*/ 0 h 44"/>
                <a:gd name="T4" fmla="*/ 16 w 46"/>
                <a:gd name="T5" fmla="*/ 1 h 44"/>
                <a:gd name="T6" fmla="*/ 18 w 46"/>
                <a:gd name="T7" fmla="*/ 1 h 44"/>
                <a:gd name="T8" fmla="*/ 19 w 46"/>
                <a:gd name="T9" fmla="*/ 4 h 44"/>
                <a:gd name="T10" fmla="*/ 19 w 46"/>
                <a:gd name="T11" fmla="*/ 9 h 44"/>
                <a:gd name="T12" fmla="*/ 19 w 46"/>
                <a:gd name="T13" fmla="*/ 9 h 44"/>
                <a:gd name="T14" fmla="*/ 18 w 46"/>
                <a:gd name="T15" fmla="*/ 18 h 44"/>
                <a:gd name="T16" fmla="*/ 16 w 46"/>
                <a:gd name="T17" fmla="*/ 20 h 44"/>
                <a:gd name="T18" fmla="*/ 13 w 46"/>
                <a:gd name="T19" fmla="*/ 22 h 44"/>
                <a:gd name="T20" fmla="*/ 13 w 46"/>
                <a:gd name="T21" fmla="*/ 22 h 44"/>
                <a:gd name="T22" fmla="*/ 10 w 46"/>
                <a:gd name="T23" fmla="*/ 22 h 44"/>
                <a:gd name="T24" fmla="*/ 6 w 46"/>
                <a:gd name="T25" fmla="*/ 20 h 44"/>
                <a:gd name="T26" fmla="*/ 3 w 46"/>
                <a:gd name="T27" fmla="*/ 22 h 44"/>
                <a:gd name="T28" fmla="*/ 1 w 46"/>
                <a:gd name="T29" fmla="*/ 23 h 44"/>
                <a:gd name="T30" fmla="*/ 1 w 46"/>
                <a:gd name="T31" fmla="*/ 23 h 44"/>
                <a:gd name="T32" fmla="*/ 0 w 46"/>
                <a:gd name="T33" fmla="*/ 31 h 44"/>
                <a:gd name="T34" fmla="*/ 0 w 46"/>
                <a:gd name="T35" fmla="*/ 32 h 44"/>
                <a:gd name="T36" fmla="*/ 1 w 46"/>
                <a:gd name="T37" fmla="*/ 35 h 44"/>
                <a:gd name="T38" fmla="*/ 1 w 46"/>
                <a:gd name="T39" fmla="*/ 35 h 44"/>
                <a:gd name="T40" fmla="*/ 4 w 46"/>
                <a:gd name="T41" fmla="*/ 40 h 44"/>
                <a:gd name="T42" fmla="*/ 7 w 46"/>
                <a:gd name="T43" fmla="*/ 43 h 44"/>
                <a:gd name="T44" fmla="*/ 9 w 46"/>
                <a:gd name="T45" fmla="*/ 44 h 44"/>
                <a:gd name="T46" fmla="*/ 12 w 46"/>
                <a:gd name="T47" fmla="*/ 43 h 44"/>
                <a:gd name="T48" fmla="*/ 12 w 46"/>
                <a:gd name="T49" fmla="*/ 43 h 44"/>
                <a:gd name="T50" fmla="*/ 16 w 46"/>
                <a:gd name="T51" fmla="*/ 38 h 44"/>
                <a:gd name="T52" fmla="*/ 18 w 46"/>
                <a:gd name="T53" fmla="*/ 34 h 44"/>
                <a:gd name="T54" fmla="*/ 19 w 46"/>
                <a:gd name="T55" fmla="*/ 31 h 44"/>
                <a:gd name="T56" fmla="*/ 19 w 46"/>
                <a:gd name="T57" fmla="*/ 31 h 44"/>
                <a:gd name="T58" fmla="*/ 22 w 46"/>
                <a:gd name="T59" fmla="*/ 29 h 44"/>
                <a:gd name="T60" fmla="*/ 30 w 46"/>
                <a:gd name="T61" fmla="*/ 29 h 44"/>
                <a:gd name="T62" fmla="*/ 30 w 46"/>
                <a:gd name="T63" fmla="*/ 29 h 44"/>
                <a:gd name="T64" fmla="*/ 37 w 46"/>
                <a:gd name="T65" fmla="*/ 31 h 44"/>
                <a:gd name="T66" fmla="*/ 40 w 46"/>
                <a:gd name="T67" fmla="*/ 32 h 44"/>
                <a:gd name="T68" fmla="*/ 43 w 46"/>
                <a:gd name="T69" fmla="*/ 31 h 44"/>
                <a:gd name="T70" fmla="*/ 43 w 46"/>
                <a:gd name="T71" fmla="*/ 31 h 44"/>
                <a:gd name="T72" fmla="*/ 44 w 46"/>
                <a:gd name="T73" fmla="*/ 31 h 44"/>
                <a:gd name="T74" fmla="*/ 46 w 46"/>
                <a:gd name="T75" fmla="*/ 29 h 44"/>
                <a:gd name="T76" fmla="*/ 44 w 46"/>
                <a:gd name="T77" fmla="*/ 25 h 44"/>
                <a:gd name="T78" fmla="*/ 40 w 46"/>
                <a:gd name="T79" fmla="*/ 19 h 44"/>
                <a:gd name="T80" fmla="*/ 40 w 46"/>
                <a:gd name="T81" fmla="*/ 19 h 44"/>
                <a:gd name="T82" fmla="*/ 40 w 46"/>
                <a:gd name="T83" fmla="*/ 15 h 44"/>
                <a:gd name="T84" fmla="*/ 40 w 46"/>
                <a:gd name="T85" fmla="*/ 10 h 44"/>
                <a:gd name="T86" fmla="*/ 40 w 46"/>
                <a:gd name="T87" fmla="*/ 10 h 44"/>
                <a:gd name="T88" fmla="*/ 40 w 46"/>
                <a:gd name="T89" fmla="*/ 6 h 44"/>
                <a:gd name="T90" fmla="*/ 37 w 46"/>
                <a:gd name="T91" fmla="*/ 3 h 44"/>
                <a:gd name="T92" fmla="*/ 37 w 46"/>
                <a:gd name="T93" fmla="*/ 3 h 44"/>
                <a:gd name="T94" fmla="*/ 27 w 46"/>
                <a:gd name="T95" fmla="*/ 1 h 44"/>
                <a:gd name="T96" fmla="*/ 27 w 46"/>
                <a:gd name="T97" fmla="*/ 1 h 44"/>
                <a:gd name="T98" fmla="*/ 21 w 46"/>
                <a:gd name="T99" fmla="*/ 0 h 44"/>
                <a:gd name="T100" fmla="*/ 16 w 46"/>
                <a:gd name="T101" fmla="*/ 0 h 44"/>
                <a:gd name="T102" fmla="*/ 15 w 46"/>
                <a:gd name="T103" fmla="*/ 0 h 44"/>
                <a:gd name="T104" fmla="*/ 15 w 46"/>
                <a:gd name="T10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" h="44">
                  <a:moveTo>
                    <a:pt x="15" y="0"/>
                  </a:moveTo>
                  <a:lnTo>
                    <a:pt x="15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9" y="4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3" y="22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4" y="40"/>
                  </a:lnTo>
                  <a:lnTo>
                    <a:pt x="7" y="43"/>
                  </a:lnTo>
                  <a:lnTo>
                    <a:pt x="9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6" y="38"/>
                  </a:lnTo>
                  <a:lnTo>
                    <a:pt x="18" y="34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2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7" y="31"/>
                  </a:lnTo>
                  <a:lnTo>
                    <a:pt x="40" y="32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6" y="29"/>
                  </a:lnTo>
                  <a:lnTo>
                    <a:pt x="44" y="25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5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1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1" name="Freeform 100">
              <a:extLst>
                <a:ext uri="{FF2B5EF4-FFF2-40B4-BE49-F238E27FC236}">
                  <a16:creationId xmlns:a16="http://schemas.microsoft.com/office/drawing/2014/main" id="{4EC7F805-7EBC-5047-AAA1-6AFFA32F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000" y="3468688"/>
              <a:ext cx="38100" cy="41275"/>
            </a:xfrm>
            <a:custGeom>
              <a:avLst/>
              <a:gdLst>
                <a:gd name="T0" fmla="*/ 2 w 24"/>
                <a:gd name="T1" fmla="*/ 12 h 26"/>
                <a:gd name="T2" fmla="*/ 2 w 24"/>
                <a:gd name="T3" fmla="*/ 12 h 26"/>
                <a:gd name="T4" fmla="*/ 5 w 24"/>
                <a:gd name="T5" fmla="*/ 9 h 26"/>
                <a:gd name="T6" fmla="*/ 8 w 24"/>
                <a:gd name="T7" fmla="*/ 6 h 26"/>
                <a:gd name="T8" fmla="*/ 11 w 24"/>
                <a:gd name="T9" fmla="*/ 5 h 26"/>
                <a:gd name="T10" fmla="*/ 11 w 24"/>
                <a:gd name="T11" fmla="*/ 5 h 26"/>
                <a:gd name="T12" fmla="*/ 15 w 24"/>
                <a:gd name="T13" fmla="*/ 3 h 26"/>
                <a:gd name="T14" fmla="*/ 18 w 24"/>
                <a:gd name="T15" fmla="*/ 0 h 26"/>
                <a:gd name="T16" fmla="*/ 18 w 24"/>
                <a:gd name="T17" fmla="*/ 0 h 26"/>
                <a:gd name="T18" fmla="*/ 21 w 24"/>
                <a:gd name="T19" fmla="*/ 2 h 26"/>
                <a:gd name="T20" fmla="*/ 22 w 24"/>
                <a:gd name="T21" fmla="*/ 5 h 26"/>
                <a:gd name="T22" fmla="*/ 24 w 24"/>
                <a:gd name="T23" fmla="*/ 6 h 26"/>
                <a:gd name="T24" fmla="*/ 24 w 24"/>
                <a:gd name="T25" fmla="*/ 6 h 26"/>
                <a:gd name="T26" fmla="*/ 21 w 24"/>
                <a:gd name="T27" fmla="*/ 12 h 26"/>
                <a:gd name="T28" fmla="*/ 18 w 24"/>
                <a:gd name="T29" fmla="*/ 18 h 26"/>
                <a:gd name="T30" fmla="*/ 18 w 24"/>
                <a:gd name="T31" fmla="*/ 18 h 26"/>
                <a:gd name="T32" fmla="*/ 18 w 24"/>
                <a:gd name="T33" fmla="*/ 21 h 26"/>
                <a:gd name="T34" fmla="*/ 18 w 24"/>
                <a:gd name="T35" fmla="*/ 24 h 26"/>
                <a:gd name="T36" fmla="*/ 16 w 24"/>
                <a:gd name="T37" fmla="*/ 26 h 26"/>
                <a:gd name="T38" fmla="*/ 13 w 24"/>
                <a:gd name="T39" fmla="*/ 26 h 26"/>
                <a:gd name="T40" fmla="*/ 13 w 24"/>
                <a:gd name="T41" fmla="*/ 26 h 26"/>
                <a:gd name="T42" fmla="*/ 8 w 24"/>
                <a:gd name="T43" fmla="*/ 24 h 26"/>
                <a:gd name="T44" fmla="*/ 5 w 24"/>
                <a:gd name="T45" fmla="*/ 23 h 26"/>
                <a:gd name="T46" fmla="*/ 0 w 24"/>
                <a:gd name="T47" fmla="*/ 21 h 26"/>
                <a:gd name="T48" fmla="*/ 2 w 24"/>
                <a:gd name="T4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26">
                  <a:moveTo>
                    <a:pt x="2" y="12"/>
                  </a:moveTo>
                  <a:lnTo>
                    <a:pt x="2" y="12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2"/>
                  </a:lnTo>
                  <a:lnTo>
                    <a:pt x="22" y="5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1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18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5" y="23"/>
                  </a:lnTo>
                  <a:lnTo>
                    <a:pt x="0" y="21"/>
                  </a:ln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2" name="Freeform 101">
              <a:extLst>
                <a:ext uri="{FF2B5EF4-FFF2-40B4-BE49-F238E27FC236}">
                  <a16:creationId xmlns:a16="http://schemas.microsoft.com/office/drawing/2014/main" id="{51F4CB4F-E89C-034A-B362-522006541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3436938"/>
              <a:ext cx="38100" cy="34925"/>
            </a:xfrm>
            <a:custGeom>
              <a:avLst/>
              <a:gdLst>
                <a:gd name="T0" fmla="*/ 0 w 24"/>
                <a:gd name="T1" fmla="*/ 7 h 22"/>
                <a:gd name="T2" fmla="*/ 0 w 24"/>
                <a:gd name="T3" fmla="*/ 7 h 22"/>
                <a:gd name="T4" fmla="*/ 0 w 24"/>
                <a:gd name="T5" fmla="*/ 10 h 22"/>
                <a:gd name="T6" fmla="*/ 0 w 24"/>
                <a:gd name="T7" fmla="*/ 14 h 22"/>
                <a:gd name="T8" fmla="*/ 3 w 24"/>
                <a:gd name="T9" fmla="*/ 16 h 22"/>
                <a:gd name="T10" fmla="*/ 3 w 24"/>
                <a:gd name="T11" fmla="*/ 16 h 22"/>
                <a:gd name="T12" fmla="*/ 11 w 24"/>
                <a:gd name="T13" fmla="*/ 20 h 22"/>
                <a:gd name="T14" fmla="*/ 15 w 24"/>
                <a:gd name="T15" fmla="*/ 22 h 22"/>
                <a:gd name="T16" fmla="*/ 15 w 24"/>
                <a:gd name="T17" fmla="*/ 22 h 22"/>
                <a:gd name="T18" fmla="*/ 21 w 24"/>
                <a:gd name="T19" fmla="*/ 20 h 22"/>
                <a:gd name="T20" fmla="*/ 23 w 24"/>
                <a:gd name="T21" fmla="*/ 19 h 22"/>
                <a:gd name="T22" fmla="*/ 24 w 24"/>
                <a:gd name="T23" fmla="*/ 17 h 22"/>
                <a:gd name="T24" fmla="*/ 24 w 24"/>
                <a:gd name="T25" fmla="*/ 17 h 22"/>
                <a:gd name="T26" fmla="*/ 21 w 24"/>
                <a:gd name="T27" fmla="*/ 13 h 22"/>
                <a:gd name="T28" fmla="*/ 20 w 24"/>
                <a:gd name="T29" fmla="*/ 12 h 22"/>
                <a:gd name="T30" fmla="*/ 20 w 24"/>
                <a:gd name="T31" fmla="*/ 12 h 22"/>
                <a:gd name="T32" fmla="*/ 14 w 24"/>
                <a:gd name="T33" fmla="*/ 9 h 22"/>
                <a:gd name="T34" fmla="*/ 14 w 24"/>
                <a:gd name="T35" fmla="*/ 9 h 22"/>
                <a:gd name="T36" fmla="*/ 12 w 24"/>
                <a:gd name="T37" fmla="*/ 9 h 22"/>
                <a:gd name="T38" fmla="*/ 11 w 24"/>
                <a:gd name="T39" fmla="*/ 7 h 22"/>
                <a:gd name="T40" fmla="*/ 11 w 24"/>
                <a:gd name="T41" fmla="*/ 7 h 22"/>
                <a:gd name="T42" fmla="*/ 5 w 24"/>
                <a:gd name="T43" fmla="*/ 1 h 22"/>
                <a:gd name="T44" fmla="*/ 5 w 24"/>
                <a:gd name="T45" fmla="*/ 1 h 22"/>
                <a:gd name="T46" fmla="*/ 3 w 24"/>
                <a:gd name="T47" fmla="*/ 0 h 22"/>
                <a:gd name="T48" fmla="*/ 3 w 24"/>
                <a:gd name="T49" fmla="*/ 0 h 22"/>
                <a:gd name="T50" fmla="*/ 2 w 24"/>
                <a:gd name="T51" fmla="*/ 0 h 22"/>
                <a:gd name="T52" fmla="*/ 2 w 24"/>
                <a:gd name="T53" fmla="*/ 0 h 22"/>
                <a:gd name="T54" fmla="*/ 0 w 24"/>
                <a:gd name="T55" fmla="*/ 4 h 22"/>
                <a:gd name="T56" fmla="*/ 0 w 24"/>
                <a:gd name="T57" fmla="*/ 7 h 22"/>
                <a:gd name="T58" fmla="*/ 0 w 24"/>
                <a:gd name="T5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22">
                  <a:moveTo>
                    <a:pt x="0" y="7"/>
                  </a:moveTo>
                  <a:lnTo>
                    <a:pt x="0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21" y="20"/>
                  </a:lnTo>
                  <a:lnTo>
                    <a:pt x="23" y="19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1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5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3" name="Freeform 102">
              <a:extLst>
                <a:ext uri="{FF2B5EF4-FFF2-40B4-BE49-F238E27FC236}">
                  <a16:creationId xmlns:a16="http://schemas.microsoft.com/office/drawing/2014/main" id="{EFBD12D6-EF95-574E-9378-2D804B9F6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5" y="3532188"/>
              <a:ext cx="263525" cy="273050"/>
            </a:xfrm>
            <a:custGeom>
              <a:avLst/>
              <a:gdLst>
                <a:gd name="T0" fmla="*/ 56 w 166"/>
                <a:gd name="T1" fmla="*/ 66 h 172"/>
                <a:gd name="T2" fmla="*/ 67 w 166"/>
                <a:gd name="T3" fmla="*/ 60 h 172"/>
                <a:gd name="T4" fmla="*/ 81 w 166"/>
                <a:gd name="T5" fmla="*/ 48 h 172"/>
                <a:gd name="T6" fmla="*/ 83 w 166"/>
                <a:gd name="T7" fmla="*/ 40 h 172"/>
                <a:gd name="T8" fmla="*/ 86 w 166"/>
                <a:gd name="T9" fmla="*/ 20 h 172"/>
                <a:gd name="T10" fmla="*/ 89 w 166"/>
                <a:gd name="T11" fmla="*/ 2 h 172"/>
                <a:gd name="T12" fmla="*/ 92 w 166"/>
                <a:gd name="T13" fmla="*/ 0 h 172"/>
                <a:gd name="T14" fmla="*/ 102 w 166"/>
                <a:gd name="T15" fmla="*/ 15 h 172"/>
                <a:gd name="T16" fmla="*/ 105 w 166"/>
                <a:gd name="T17" fmla="*/ 17 h 172"/>
                <a:gd name="T18" fmla="*/ 118 w 166"/>
                <a:gd name="T19" fmla="*/ 8 h 172"/>
                <a:gd name="T20" fmla="*/ 121 w 166"/>
                <a:gd name="T21" fmla="*/ 3 h 172"/>
                <a:gd name="T22" fmla="*/ 129 w 166"/>
                <a:gd name="T23" fmla="*/ 3 h 172"/>
                <a:gd name="T24" fmla="*/ 133 w 166"/>
                <a:gd name="T25" fmla="*/ 8 h 172"/>
                <a:gd name="T26" fmla="*/ 136 w 166"/>
                <a:gd name="T27" fmla="*/ 17 h 172"/>
                <a:gd name="T28" fmla="*/ 142 w 166"/>
                <a:gd name="T29" fmla="*/ 20 h 172"/>
                <a:gd name="T30" fmla="*/ 154 w 166"/>
                <a:gd name="T31" fmla="*/ 21 h 172"/>
                <a:gd name="T32" fmla="*/ 161 w 166"/>
                <a:gd name="T33" fmla="*/ 23 h 172"/>
                <a:gd name="T34" fmla="*/ 166 w 166"/>
                <a:gd name="T35" fmla="*/ 26 h 172"/>
                <a:gd name="T36" fmla="*/ 166 w 166"/>
                <a:gd name="T37" fmla="*/ 39 h 172"/>
                <a:gd name="T38" fmla="*/ 155 w 166"/>
                <a:gd name="T39" fmla="*/ 58 h 172"/>
                <a:gd name="T40" fmla="*/ 154 w 166"/>
                <a:gd name="T41" fmla="*/ 70 h 172"/>
                <a:gd name="T42" fmla="*/ 154 w 166"/>
                <a:gd name="T43" fmla="*/ 109 h 172"/>
                <a:gd name="T44" fmla="*/ 148 w 166"/>
                <a:gd name="T45" fmla="*/ 138 h 172"/>
                <a:gd name="T46" fmla="*/ 135 w 166"/>
                <a:gd name="T47" fmla="*/ 151 h 172"/>
                <a:gd name="T48" fmla="*/ 120 w 166"/>
                <a:gd name="T49" fmla="*/ 168 h 172"/>
                <a:gd name="T50" fmla="*/ 104 w 166"/>
                <a:gd name="T51" fmla="*/ 172 h 172"/>
                <a:gd name="T52" fmla="*/ 101 w 166"/>
                <a:gd name="T53" fmla="*/ 157 h 172"/>
                <a:gd name="T54" fmla="*/ 95 w 166"/>
                <a:gd name="T55" fmla="*/ 159 h 172"/>
                <a:gd name="T56" fmla="*/ 86 w 166"/>
                <a:gd name="T57" fmla="*/ 169 h 172"/>
                <a:gd name="T58" fmla="*/ 77 w 166"/>
                <a:gd name="T59" fmla="*/ 172 h 172"/>
                <a:gd name="T60" fmla="*/ 62 w 166"/>
                <a:gd name="T61" fmla="*/ 169 h 172"/>
                <a:gd name="T62" fmla="*/ 61 w 166"/>
                <a:gd name="T63" fmla="*/ 162 h 172"/>
                <a:gd name="T64" fmla="*/ 55 w 166"/>
                <a:gd name="T65" fmla="*/ 159 h 172"/>
                <a:gd name="T66" fmla="*/ 50 w 166"/>
                <a:gd name="T67" fmla="*/ 154 h 172"/>
                <a:gd name="T68" fmla="*/ 47 w 166"/>
                <a:gd name="T69" fmla="*/ 138 h 172"/>
                <a:gd name="T70" fmla="*/ 37 w 166"/>
                <a:gd name="T71" fmla="*/ 135 h 172"/>
                <a:gd name="T72" fmla="*/ 31 w 166"/>
                <a:gd name="T73" fmla="*/ 141 h 172"/>
                <a:gd name="T74" fmla="*/ 25 w 166"/>
                <a:gd name="T75" fmla="*/ 149 h 172"/>
                <a:gd name="T76" fmla="*/ 7 w 166"/>
                <a:gd name="T77" fmla="*/ 147 h 172"/>
                <a:gd name="T78" fmla="*/ 1 w 166"/>
                <a:gd name="T79" fmla="*/ 143 h 172"/>
                <a:gd name="T80" fmla="*/ 0 w 166"/>
                <a:gd name="T81" fmla="*/ 132 h 172"/>
                <a:gd name="T82" fmla="*/ 6 w 166"/>
                <a:gd name="T83" fmla="*/ 125 h 172"/>
                <a:gd name="T84" fmla="*/ 16 w 166"/>
                <a:gd name="T85" fmla="*/ 117 h 172"/>
                <a:gd name="T86" fmla="*/ 25 w 166"/>
                <a:gd name="T87" fmla="*/ 111 h 172"/>
                <a:gd name="T88" fmla="*/ 37 w 166"/>
                <a:gd name="T89" fmla="*/ 100 h 172"/>
                <a:gd name="T90" fmla="*/ 44 w 166"/>
                <a:gd name="T91" fmla="*/ 80 h 172"/>
                <a:gd name="T92" fmla="*/ 49 w 166"/>
                <a:gd name="T93" fmla="*/ 73 h 172"/>
                <a:gd name="T94" fmla="*/ 55 w 166"/>
                <a:gd name="T95" fmla="*/ 7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6" h="172">
                  <a:moveTo>
                    <a:pt x="55" y="70"/>
                  </a:moveTo>
                  <a:lnTo>
                    <a:pt x="55" y="70"/>
                  </a:lnTo>
                  <a:lnTo>
                    <a:pt x="56" y="66"/>
                  </a:lnTo>
                  <a:lnTo>
                    <a:pt x="61" y="63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77" y="54"/>
                  </a:lnTo>
                  <a:lnTo>
                    <a:pt x="80" y="52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3" y="43"/>
                  </a:lnTo>
                  <a:lnTo>
                    <a:pt x="83" y="40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6" y="20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9" y="2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4" y="17"/>
                  </a:lnTo>
                  <a:lnTo>
                    <a:pt x="105" y="17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5"/>
                  </a:lnTo>
                  <a:lnTo>
                    <a:pt x="121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9" y="3"/>
                  </a:lnTo>
                  <a:lnTo>
                    <a:pt x="130" y="5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5" y="12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2" y="20"/>
                  </a:lnTo>
                  <a:lnTo>
                    <a:pt x="145" y="21"/>
                  </a:lnTo>
                  <a:lnTo>
                    <a:pt x="145" y="21"/>
                  </a:lnTo>
                  <a:lnTo>
                    <a:pt x="154" y="21"/>
                  </a:lnTo>
                  <a:lnTo>
                    <a:pt x="154" y="21"/>
                  </a:lnTo>
                  <a:lnTo>
                    <a:pt x="158" y="21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3" y="24"/>
                  </a:lnTo>
                  <a:lnTo>
                    <a:pt x="166" y="26"/>
                  </a:lnTo>
                  <a:lnTo>
                    <a:pt x="166" y="30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3" y="46"/>
                  </a:lnTo>
                  <a:lnTo>
                    <a:pt x="160" y="51"/>
                  </a:lnTo>
                  <a:lnTo>
                    <a:pt x="155" y="58"/>
                  </a:lnTo>
                  <a:lnTo>
                    <a:pt x="155" y="63"/>
                  </a:lnTo>
                  <a:lnTo>
                    <a:pt x="154" y="70"/>
                  </a:lnTo>
                  <a:lnTo>
                    <a:pt x="154" y="70"/>
                  </a:lnTo>
                  <a:lnTo>
                    <a:pt x="154" y="92"/>
                  </a:lnTo>
                  <a:lnTo>
                    <a:pt x="154" y="109"/>
                  </a:lnTo>
                  <a:lnTo>
                    <a:pt x="154" y="109"/>
                  </a:lnTo>
                  <a:lnTo>
                    <a:pt x="153" y="126"/>
                  </a:lnTo>
                  <a:lnTo>
                    <a:pt x="150" y="132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35" y="151"/>
                  </a:lnTo>
                  <a:lnTo>
                    <a:pt x="135" y="151"/>
                  </a:lnTo>
                  <a:lnTo>
                    <a:pt x="127" y="162"/>
                  </a:lnTo>
                  <a:lnTo>
                    <a:pt x="124" y="165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1" y="157"/>
                  </a:lnTo>
                  <a:lnTo>
                    <a:pt x="99" y="156"/>
                  </a:lnTo>
                  <a:lnTo>
                    <a:pt x="99" y="156"/>
                  </a:lnTo>
                  <a:lnTo>
                    <a:pt x="95" y="159"/>
                  </a:lnTo>
                  <a:lnTo>
                    <a:pt x="95" y="159"/>
                  </a:lnTo>
                  <a:lnTo>
                    <a:pt x="89" y="168"/>
                  </a:lnTo>
                  <a:lnTo>
                    <a:pt x="86" y="169"/>
                  </a:lnTo>
                  <a:lnTo>
                    <a:pt x="81" y="172"/>
                  </a:lnTo>
                  <a:lnTo>
                    <a:pt x="81" y="172"/>
                  </a:lnTo>
                  <a:lnTo>
                    <a:pt x="77" y="172"/>
                  </a:lnTo>
                  <a:lnTo>
                    <a:pt x="71" y="172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1" y="168"/>
                  </a:lnTo>
                  <a:lnTo>
                    <a:pt x="61" y="165"/>
                  </a:lnTo>
                  <a:lnTo>
                    <a:pt x="61" y="162"/>
                  </a:lnTo>
                  <a:lnTo>
                    <a:pt x="61" y="160"/>
                  </a:lnTo>
                  <a:lnTo>
                    <a:pt x="61" y="160"/>
                  </a:lnTo>
                  <a:lnTo>
                    <a:pt x="55" y="159"/>
                  </a:lnTo>
                  <a:lnTo>
                    <a:pt x="52" y="157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0" y="144"/>
                  </a:lnTo>
                  <a:lnTo>
                    <a:pt x="49" y="140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1" y="135"/>
                  </a:lnTo>
                  <a:lnTo>
                    <a:pt x="37" y="135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1" y="141"/>
                  </a:lnTo>
                  <a:lnTo>
                    <a:pt x="30" y="144"/>
                  </a:lnTo>
                  <a:lnTo>
                    <a:pt x="27" y="147"/>
                  </a:lnTo>
                  <a:lnTo>
                    <a:pt x="25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0" y="135"/>
                  </a:lnTo>
                  <a:lnTo>
                    <a:pt x="0" y="132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6" y="125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6" y="117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5" y="111"/>
                  </a:lnTo>
                  <a:lnTo>
                    <a:pt x="28" y="110"/>
                  </a:lnTo>
                  <a:lnTo>
                    <a:pt x="33" y="107"/>
                  </a:lnTo>
                  <a:lnTo>
                    <a:pt x="37" y="100"/>
                  </a:lnTo>
                  <a:lnTo>
                    <a:pt x="37" y="100"/>
                  </a:lnTo>
                  <a:lnTo>
                    <a:pt x="43" y="86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6" y="76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55" y="70"/>
                  </a:lnTo>
                  <a:lnTo>
                    <a:pt x="55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4" name="Freeform 103">
              <a:extLst>
                <a:ext uri="{FF2B5EF4-FFF2-40B4-BE49-F238E27FC236}">
                  <a16:creationId xmlns:a16="http://schemas.microsoft.com/office/drawing/2014/main" id="{A5BEAD29-74F8-B942-97FD-435189AA3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675" y="3502025"/>
              <a:ext cx="171450" cy="190500"/>
            </a:xfrm>
            <a:custGeom>
              <a:avLst/>
              <a:gdLst>
                <a:gd name="T0" fmla="*/ 108 w 108"/>
                <a:gd name="T1" fmla="*/ 31 h 120"/>
                <a:gd name="T2" fmla="*/ 105 w 108"/>
                <a:gd name="T3" fmla="*/ 24 h 120"/>
                <a:gd name="T4" fmla="*/ 101 w 108"/>
                <a:gd name="T5" fmla="*/ 18 h 120"/>
                <a:gd name="T6" fmla="*/ 87 w 108"/>
                <a:gd name="T7" fmla="*/ 3 h 120"/>
                <a:gd name="T8" fmla="*/ 84 w 108"/>
                <a:gd name="T9" fmla="*/ 2 h 120"/>
                <a:gd name="T10" fmla="*/ 71 w 108"/>
                <a:gd name="T11" fmla="*/ 0 h 120"/>
                <a:gd name="T12" fmla="*/ 69 w 108"/>
                <a:gd name="T13" fmla="*/ 3 h 120"/>
                <a:gd name="T14" fmla="*/ 68 w 108"/>
                <a:gd name="T15" fmla="*/ 9 h 120"/>
                <a:gd name="T16" fmla="*/ 65 w 108"/>
                <a:gd name="T17" fmla="*/ 16 h 120"/>
                <a:gd name="T18" fmla="*/ 61 w 108"/>
                <a:gd name="T19" fmla="*/ 21 h 120"/>
                <a:gd name="T20" fmla="*/ 53 w 108"/>
                <a:gd name="T21" fmla="*/ 27 h 120"/>
                <a:gd name="T22" fmla="*/ 47 w 108"/>
                <a:gd name="T23" fmla="*/ 34 h 120"/>
                <a:gd name="T24" fmla="*/ 44 w 108"/>
                <a:gd name="T25" fmla="*/ 37 h 120"/>
                <a:gd name="T26" fmla="*/ 37 w 108"/>
                <a:gd name="T27" fmla="*/ 37 h 120"/>
                <a:gd name="T28" fmla="*/ 32 w 108"/>
                <a:gd name="T29" fmla="*/ 43 h 120"/>
                <a:gd name="T30" fmla="*/ 32 w 108"/>
                <a:gd name="T31" fmla="*/ 51 h 120"/>
                <a:gd name="T32" fmla="*/ 31 w 108"/>
                <a:gd name="T33" fmla="*/ 52 h 120"/>
                <a:gd name="T34" fmla="*/ 26 w 108"/>
                <a:gd name="T35" fmla="*/ 56 h 120"/>
                <a:gd name="T36" fmla="*/ 24 w 108"/>
                <a:gd name="T37" fmla="*/ 58 h 120"/>
                <a:gd name="T38" fmla="*/ 19 w 108"/>
                <a:gd name="T39" fmla="*/ 56 h 120"/>
                <a:gd name="T40" fmla="*/ 10 w 108"/>
                <a:gd name="T41" fmla="*/ 61 h 120"/>
                <a:gd name="T42" fmla="*/ 6 w 108"/>
                <a:gd name="T43" fmla="*/ 65 h 120"/>
                <a:gd name="T44" fmla="*/ 3 w 108"/>
                <a:gd name="T45" fmla="*/ 73 h 120"/>
                <a:gd name="T46" fmla="*/ 1 w 108"/>
                <a:gd name="T47" fmla="*/ 80 h 120"/>
                <a:gd name="T48" fmla="*/ 0 w 108"/>
                <a:gd name="T49" fmla="*/ 105 h 120"/>
                <a:gd name="T50" fmla="*/ 1 w 108"/>
                <a:gd name="T51" fmla="*/ 116 h 120"/>
                <a:gd name="T52" fmla="*/ 6 w 108"/>
                <a:gd name="T53" fmla="*/ 119 h 120"/>
                <a:gd name="T54" fmla="*/ 12 w 108"/>
                <a:gd name="T55" fmla="*/ 120 h 120"/>
                <a:gd name="T56" fmla="*/ 15 w 108"/>
                <a:gd name="T57" fmla="*/ 116 h 120"/>
                <a:gd name="T58" fmla="*/ 18 w 108"/>
                <a:gd name="T59" fmla="*/ 110 h 120"/>
                <a:gd name="T60" fmla="*/ 21 w 108"/>
                <a:gd name="T61" fmla="*/ 105 h 120"/>
                <a:gd name="T62" fmla="*/ 26 w 108"/>
                <a:gd name="T63" fmla="*/ 92 h 120"/>
                <a:gd name="T64" fmla="*/ 25 w 108"/>
                <a:gd name="T65" fmla="*/ 77 h 120"/>
                <a:gd name="T66" fmla="*/ 25 w 108"/>
                <a:gd name="T67" fmla="*/ 71 h 120"/>
                <a:gd name="T68" fmla="*/ 25 w 108"/>
                <a:gd name="T69" fmla="*/ 68 h 120"/>
                <a:gd name="T70" fmla="*/ 28 w 108"/>
                <a:gd name="T71" fmla="*/ 65 h 120"/>
                <a:gd name="T72" fmla="*/ 32 w 108"/>
                <a:gd name="T73" fmla="*/ 65 h 120"/>
                <a:gd name="T74" fmla="*/ 41 w 108"/>
                <a:gd name="T75" fmla="*/ 65 h 120"/>
                <a:gd name="T76" fmla="*/ 49 w 108"/>
                <a:gd name="T77" fmla="*/ 68 h 120"/>
                <a:gd name="T78" fmla="*/ 58 w 108"/>
                <a:gd name="T79" fmla="*/ 68 h 120"/>
                <a:gd name="T80" fmla="*/ 65 w 108"/>
                <a:gd name="T81" fmla="*/ 65 h 120"/>
                <a:gd name="T82" fmla="*/ 75 w 108"/>
                <a:gd name="T83" fmla="*/ 59 h 120"/>
                <a:gd name="T84" fmla="*/ 84 w 108"/>
                <a:gd name="T85" fmla="*/ 53 h 120"/>
                <a:gd name="T86" fmla="*/ 92 w 108"/>
                <a:gd name="T87" fmla="*/ 48 h 120"/>
                <a:gd name="T88" fmla="*/ 102 w 108"/>
                <a:gd name="T89" fmla="*/ 39 h 120"/>
                <a:gd name="T90" fmla="*/ 106 w 108"/>
                <a:gd name="T91" fmla="*/ 34 h 120"/>
                <a:gd name="T92" fmla="*/ 108 w 108"/>
                <a:gd name="T93" fmla="*/ 3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120">
                  <a:moveTo>
                    <a:pt x="108" y="31"/>
                  </a:moveTo>
                  <a:lnTo>
                    <a:pt x="108" y="31"/>
                  </a:lnTo>
                  <a:lnTo>
                    <a:pt x="108" y="28"/>
                  </a:lnTo>
                  <a:lnTo>
                    <a:pt x="105" y="24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90" y="6"/>
                  </a:lnTo>
                  <a:lnTo>
                    <a:pt x="87" y="3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71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68" y="12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1" y="21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0" y="30"/>
                  </a:lnTo>
                  <a:lnTo>
                    <a:pt x="47" y="34"/>
                  </a:lnTo>
                  <a:lnTo>
                    <a:pt x="47" y="36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37" y="37"/>
                  </a:lnTo>
                  <a:lnTo>
                    <a:pt x="34" y="39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9" y="55"/>
                  </a:lnTo>
                  <a:lnTo>
                    <a:pt x="26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1" y="58"/>
                  </a:lnTo>
                  <a:lnTo>
                    <a:pt x="19" y="56"/>
                  </a:lnTo>
                  <a:lnTo>
                    <a:pt x="15" y="58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6" y="65"/>
                  </a:lnTo>
                  <a:lnTo>
                    <a:pt x="4" y="68"/>
                  </a:lnTo>
                  <a:lnTo>
                    <a:pt x="3" y="73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0" y="93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1" y="116"/>
                  </a:lnTo>
                  <a:lnTo>
                    <a:pt x="3" y="117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12" y="120"/>
                  </a:lnTo>
                  <a:lnTo>
                    <a:pt x="13" y="120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8" y="110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5" y="99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8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5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9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2" y="67"/>
                  </a:lnTo>
                  <a:lnTo>
                    <a:pt x="65" y="65"/>
                  </a:lnTo>
                  <a:lnTo>
                    <a:pt x="69" y="62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84" y="53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8" y="42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08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5" name="Freeform 104">
              <a:extLst>
                <a:ext uri="{FF2B5EF4-FFF2-40B4-BE49-F238E27FC236}">
                  <a16:creationId xmlns:a16="http://schemas.microsoft.com/office/drawing/2014/main" id="{6B6D50B4-A85C-FD4A-9F9E-1E6A3FC95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9700" y="3700463"/>
              <a:ext cx="239713" cy="300037"/>
            </a:xfrm>
            <a:custGeom>
              <a:avLst/>
              <a:gdLst>
                <a:gd name="T0" fmla="*/ 16 w 151"/>
                <a:gd name="T1" fmla="*/ 188 h 189"/>
                <a:gd name="T2" fmla="*/ 32 w 151"/>
                <a:gd name="T3" fmla="*/ 188 h 189"/>
                <a:gd name="T4" fmla="*/ 57 w 151"/>
                <a:gd name="T5" fmla="*/ 185 h 189"/>
                <a:gd name="T6" fmla="*/ 63 w 151"/>
                <a:gd name="T7" fmla="*/ 179 h 189"/>
                <a:gd name="T8" fmla="*/ 66 w 151"/>
                <a:gd name="T9" fmla="*/ 170 h 189"/>
                <a:gd name="T10" fmla="*/ 71 w 151"/>
                <a:gd name="T11" fmla="*/ 157 h 189"/>
                <a:gd name="T12" fmla="*/ 88 w 151"/>
                <a:gd name="T13" fmla="*/ 134 h 189"/>
                <a:gd name="T14" fmla="*/ 91 w 151"/>
                <a:gd name="T15" fmla="*/ 125 h 189"/>
                <a:gd name="T16" fmla="*/ 87 w 151"/>
                <a:gd name="T17" fmla="*/ 111 h 189"/>
                <a:gd name="T18" fmla="*/ 94 w 151"/>
                <a:gd name="T19" fmla="*/ 108 h 189"/>
                <a:gd name="T20" fmla="*/ 128 w 151"/>
                <a:gd name="T21" fmla="*/ 99 h 189"/>
                <a:gd name="T22" fmla="*/ 146 w 151"/>
                <a:gd name="T23" fmla="*/ 82 h 189"/>
                <a:gd name="T24" fmla="*/ 149 w 151"/>
                <a:gd name="T25" fmla="*/ 62 h 189"/>
                <a:gd name="T26" fmla="*/ 151 w 151"/>
                <a:gd name="T27" fmla="*/ 47 h 189"/>
                <a:gd name="T28" fmla="*/ 149 w 151"/>
                <a:gd name="T29" fmla="*/ 8 h 189"/>
                <a:gd name="T30" fmla="*/ 145 w 151"/>
                <a:gd name="T31" fmla="*/ 0 h 189"/>
                <a:gd name="T32" fmla="*/ 140 w 151"/>
                <a:gd name="T33" fmla="*/ 4 h 189"/>
                <a:gd name="T34" fmla="*/ 133 w 151"/>
                <a:gd name="T35" fmla="*/ 25 h 189"/>
                <a:gd name="T36" fmla="*/ 130 w 151"/>
                <a:gd name="T37" fmla="*/ 34 h 189"/>
                <a:gd name="T38" fmla="*/ 133 w 151"/>
                <a:gd name="T39" fmla="*/ 47 h 189"/>
                <a:gd name="T40" fmla="*/ 133 w 151"/>
                <a:gd name="T41" fmla="*/ 71 h 189"/>
                <a:gd name="T42" fmla="*/ 127 w 151"/>
                <a:gd name="T43" fmla="*/ 85 h 189"/>
                <a:gd name="T44" fmla="*/ 111 w 151"/>
                <a:gd name="T45" fmla="*/ 90 h 189"/>
                <a:gd name="T46" fmla="*/ 97 w 151"/>
                <a:gd name="T47" fmla="*/ 84 h 189"/>
                <a:gd name="T48" fmla="*/ 96 w 151"/>
                <a:gd name="T49" fmla="*/ 75 h 189"/>
                <a:gd name="T50" fmla="*/ 99 w 151"/>
                <a:gd name="T51" fmla="*/ 66 h 189"/>
                <a:gd name="T52" fmla="*/ 109 w 151"/>
                <a:gd name="T53" fmla="*/ 50 h 189"/>
                <a:gd name="T54" fmla="*/ 115 w 151"/>
                <a:gd name="T55" fmla="*/ 31 h 189"/>
                <a:gd name="T56" fmla="*/ 111 w 151"/>
                <a:gd name="T57" fmla="*/ 29 h 189"/>
                <a:gd name="T58" fmla="*/ 102 w 151"/>
                <a:gd name="T59" fmla="*/ 37 h 189"/>
                <a:gd name="T60" fmla="*/ 87 w 151"/>
                <a:gd name="T61" fmla="*/ 51 h 189"/>
                <a:gd name="T62" fmla="*/ 81 w 151"/>
                <a:gd name="T63" fmla="*/ 53 h 189"/>
                <a:gd name="T64" fmla="*/ 78 w 151"/>
                <a:gd name="T65" fmla="*/ 48 h 189"/>
                <a:gd name="T66" fmla="*/ 71 w 151"/>
                <a:gd name="T67" fmla="*/ 35 h 189"/>
                <a:gd name="T68" fmla="*/ 66 w 151"/>
                <a:gd name="T69" fmla="*/ 38 h 189"/>
                <a:gd name="T70" fmla="*/ 68 w 151"/>
                <a:gd name="T71" fmla="*/ 62 h 189"/>
                <a:gd name="T72" fmla="*/ 66 w 151"/>
                <a:gd name="T73" fmla="*/ 69 h 189"/>
                <a:gd name="T74" fmla="*/ 59 w 151"/>
                <a:gd name="T75" fmla="*/ 71 h 189"/>
                <a:gd name="T76" fmla="*/ 50 w 151"/>
                <a:gd name="T77" fmla="*/ 66 h 189"/>
                <a:gd name="T78" fmla="*/ 42 w 151"/>
                <a:gd name="T79" fmla="*/ 65 h 189"/>
                <a:gd name="T80" fmla="*/ 34 w 151"/>
                <a:gd name="T81" fmla="*/ 81 h 189"/>
                <a:gd name="T82" fmla="*/ 34 w 151"/>
                <a:gd name="T83" fmla="*/ 112 h 189"/>
                <a:gd name="T84" fmla="*/ 35 w 151"/>
                <a:gd name="T85" fmla="*/ 133 h 189"/>
                <a:gd name="T86" fmla="*/ 29 w 151"/>
                <a:gd name="T87" fmla="*/ 148 h 189"/>
                <a:gd name="T88" fmla="*/ 20 w 151"/>
                <a:gd name="T89" fmla="*/ 157 h 189"/>
                <a:gd name="T90" fmla="*/ 0 w 151"/>
                <a:gd name="T91" fmla="*/ 17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" h="189">
                  <a:moveTo>
                    <a:pt x="10" y="186"/>
                  </a:moveTo>
                  <a:lnTo>
                    <a:pt x="10" y="186"/>
                  </a:lnTo>
                  <a:lnTo>
                    <a:pt x="16" y="188"/>
                  </a:lnTo>
                  <a:lnTo>
                    <a:pt x="2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53" y="185"/>
                  </a:lnTo>
                  <a:lnTo>
                    <a:pt x="53" y="185"/>
                  </a:lnTo>
                  <a:lnTo>
                    <a:pt x="57" y="185"/>
                  </a:lnTo>
                  <a:lnTo>
                    <a:pt x="59" y="186"/>
                  </a:lnTo>
                  <a:lnTo>
                    <a:pt x="60" y="185"/>
                  </a:lnTo>
                  <a:lnTo>
                    <a:pt x="63" y="179"/>
                  </a:lnTo>
                  <a:lnTo>
                    <a:pt x="63" y="179"/>
                  </a:lnTo>
                  <a:lnTo>
                    <a:pt x="65" y="174"/>
                  </a:lnTo>
                  <a:lnTo>
                    <a:pt x="66" y="170"/>
                  </a:lnTo>
                  <a:lnTo>
                    <a:pt x="68" y="164"/>
                  </a:lnTo>
                  <a:lnTo>
                    <a:pt x="71" y="157"/>
                  </a:lnTo>
                  <a:lnTo>
                    <a:pt x="71" y="157"/>
                  </a:lnTo>
                  <a:lnTo>
                    <a:pt x="77" y="148"/>
                  </a:lnTo>
                  <a:lnTo>
                    <a:pt x="82" y="140"/>
                  </a:lnTo>
                  <a:lnTo>
                    <a:pt x="88" y="134"/>
                  </a:lnTo>
                  <a:lnTo>
                    <a:pt x="90" y="130"/>
                  </a:lnTo>
                  <a:lnTo>
                    <a:pt x="91" y="125"/>
                  </a:lnTo>
                  <a:lnTo>
                    <a:pt x="91" y="125"/>
                  </a:lnTo>
                  <a:lnTo>
                    <a:pt x="90" y="118"/>
                  </a:lnTo>
                  <a:lnTo>
                    <a:pt x="87" y="112"/>
                  </a:lnTo>
                  <a:lnTo>
                    <a:pt x="87" y="111"/>
                  </a:lnTo>
                  <a:lnTo>
                    <a:pt x="88" y="109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112" y="106"/>
                  </a:lnTo>
                  <a:lnTo>
                    <a:pt x="119" y="105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42" y="87"/>
                  </a:lnTo>
                  <a:lnTo>
                    <a:pt x="146" y="82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9" y="62"/>
                  </a:lnTo>
                  <a:lnTo>
                    <a:pt x="149" y="56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9" y="8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39" y="13"/>
                  </a:lnTo>
                  <a:lnTo>
                    <a:pt x="137" y="19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0" y="31"/>
                  </a:lnTo>
                  <a:lnTo>
                    <a:pt x="130" y="34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33" y="47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71"/>
                  </a:lnTo>
                  <a:lnTo>
                    <a:pt x="133" y="78"/>
                  </a:lnTo>
                  <a:lnTo>
                    <a:pt x="130" y="82"/>
                  </a:lnTo>
                  <a:lnTo>
                    <a:pt x="127" y="85"/>
                  </a:lnTo>
                  <a:lnTo>
                    <a:pt x="127" y="85"/>
                  </a:lnTo>
                  <a:lnTo>
                    <a:pt x="115" y="90"/>
                  </a:lnTo>
                  <a:lnTo>
                    <a:pt x="111" y="90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97" y="84"/>
                  </a:lnTo>
                  <a:lnTo>
                    <a:pt x="96" y="81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7" y="71"/>
                  </a:lnTo>
                  <a:lnTo>
                    <a:pt x="97" y="68"/>
                  </a:lnTo>
                  <a:lnTo>
                    <a:pt x="99" y="66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9" y="5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5" y="31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1" y="29"/>
                  </a:lnTo>
                  <a:lnTo>
                    <a:pt x="106" y="32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94" y="45"/>
                  </a:lnTo>
                  <a:lnTo>
                    <a:pt x="91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4" y="53"/>
                  </a:lnTo>
                  <a:lnTo>
                    <a:pt x="81" y="53"/>
                  </a:lnTo>
                  <a:lnTo>
                    <a:pt x="79" y="53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1" y="35"/>
                  </a:lnTo>
                  <a:lnTo>
                    <a:pt x="68" y="35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8" y="51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6"/>
                  </a:lnTo>
                  <a:lnTo>
                    <a:pt x="66" y="69"/>
                  </a:lnTo>
                  <a:lnTo>
                    <a:pt x="63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4" y="69"/>
                  </a:lnTo>
                  <a:lnTo>
                    <a:pt x="51" y="68"/>
                  </a:lnTo>
                  <a:lnTo>
                    <a:pt x="50" y="66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2" y="65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4" y="81"/>
                  </a:lnTo>
                  <a:lnTo>
                    <a:pt x="34" y="91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5" y="120"/>
                  </a:lnTo>
                  <a:lnTo>
                    <a:pt x="35" y="127"/>
                  </a:lnTo>
                  <a:lnTo>
                    <a:pt x="35" y="133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29" y="148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0" y="157"/>
                  </a:lnTo>
                  <a:lnTo>
                    <a:pt x="17" y="158"/>
                  </a:lnTo>
                  <a:lnTo>
                    <a:pt x="13" y="160"/>
                  </a:lnTo>
                  <a:lnTo>
                    <a:pt x="0" y="174"/>
                  </a:lnTo>
                  <a:lnTo>
                    <a:pt x="10" y="186"/>
                  </a:lnTo>
                  <a:lnTo>
                    <a:pt x="10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6" name="Freeform 105">
              <a:extLst>
                <a:ext uri="{FF2B5EF4-FFF2-40B4-BE49-F238E27FC236}">
                  <a16:creationId xmlns:a16="http://schemas.microsoft.com/office/drawing/2014/main" id="{08747F6A-BCCE-2F48-BC1A-CD28E3EB6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000" y="3584575"/>
              <a:ext cx="42863" cy="68262"/>
            </a:xfrm>
            <a:custGeom>
              <a:avLst/>
              <a:gdLst>
                <a:gd name="T0" fmla="*/ 2 w 27"/>
                <a:gd name="T1" fmla="*/ 7 h 43"/>
                <a:gd name="T2" fmla="*/ 2 w 27"/>
                <a:gd name="T3" fmla="*/ 7 h 43"/>
                <a:gd name="T4" fmla="*/ 3 w 27"/>
                <a:gd name="T5" fmla="*/ 1 h 43"/>
                <a:gd name="T6" fmla="*/ 4 w 27"/>
                <a:gd name="T7" fmla="*/ 0 h 43"/>
                <a:gd name="T8" fmla="*/ 9 w 27"/>
                <a:gd name="T9" fmla="*/ 0 h 43"/>
                <a:gd name="T10" fmla="*/ 9 w 27"/>
                <a:gd name="T11" fmla="*/ 0 h 43"/>
                <a:gd name="T12" fmla="*/ 15 w 27"/>
                <a:gd name="T13" fmla="*/ 1 h 43"/>
                <a:gd name="T14" fmla="*/ 21 w 27"/>
                <a:gd name="T15" fmla="*/ 7 h 43"/>
                <a:gd name="T16" fmla="*/ 21 w 27"/>
                <a:gd name="T17" fmla="*/ 7 h 43"/>
                <a:gd name="T18" fmla="*/ 27 w 27"/>
                <a:gd name="T19" fmla="*/ 16 h 43"/>
                <a:gd name="T20" fmla="*/ 27 w 27"/>
                <a:gd name="T21" fmla="*/ 19 h 43"/>
                <a:gd name="T22" fmla="*/ 25 w 27"/>
                <a:gd name="T23" fmla="*/ 21 h 43"/>
                <a:gd name="T24" fmla="*/ 25 w 27"/>
                <a:gd name="T25" fmla="*/ 21 h 43"/>
                <a:gd name="T26" fmla="*/ 21 w 27"/>
                <a:gd name="T27" fmla="*/ 28 h 43"/>
                <a:gd name="T28" fmla="*/ 19 w 27"/>
                <a:gd name="T29" fmla="*/ 34 h 43"/>
                <a:gd name="T30" fmla="*/ 19 w 27"/>
                <a:gd name="T31" fmla="*/ 34 h 43"/>
                <a:gd name="T32" fmla="*/ 19 w 27"/>
                <a:gd name="T33" fmla="*/ 38 h 43"/>
                <a:gd name="T34" fmla="*/ 18 w 27"/>
                <a:gd name="T35" fmla="*/ 41 h 43"/>
                <a:gd name="T36" fmla="*/ 16 w 27"/>
                <a:gd name="T37" fmla="*/ 43 h 43"/>
                <a:gd name="T38" fmla="*/ 16 w 27"/>
                <a:gd name="T39" fmla="*/ 43 h 43"/>
                <a:gd name="T40" fmla="*/ 13 w 27"/>
                <a:gd name="T41" fmla="*/ 43 h 43"/>
                <a:gd name="T42" fmla="*/ 10 w 27"/>
                <a:gd name="T43" fmla="*/ 41 h 43"/>
                <a:gd name="T44" fmla="*/ 7 w 27"/>
                <a:gd name="T45" fmla="*/ 38 h 43"/>
                <a:gd name="T46" fmla="*/ 6 w 27"/>
                <a:gd name="T47" fmla="*/ 34 h 43"/>
                <a:gd name="T48" fmla="*/ 6 w 27"/>
                <a:gd name="T49" fmla="*/ 34 h 43"/>
                <a:gd name="T50" fmla="*/ 2 w 27"/>
                <a:gd name="T51" fmla="*/ 25 h 43"/>
                <a:gd name="T52" fmla="*/ 0 w 27"/>
                <a:gd name="T53" fmla="*/ 18 h 43"/>
                <a:gd name="T54" fmla="*/ 0 w 27"/>
                <a:gd name="T55" fmla="*/ 18 h 43"/>
                <a:gd name="T56" fmla="*/ 2 w 27"/>
                <a:gd name="T57" fmla="*/ 7 h 43"/>
                <a:gd name="T58" fmla="*/ 2 w 27"/>
                <a:gd name="T59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43">
                  <a:moveTo>
                    <a:pt x="2" y="7"/>
                  </a:moveTo>
                  <a:lnTo>
                    <a:pt x="2" y="7"/>
                  </a:lnTo>
                  <a:lnTo>
                    <a:pt x="3" y="1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1" y="28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8"/>
                  </a:lnTo>
                  <a:lnTo>
                    <a:pt x="18" y="41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0" y="41"/>
                  </a:lnTo>
                  <a:lnTo>
                    <a:pt x="7" y="38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25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7"/>
                  </a:lnTo>
                  <a:lnTo>
                    <a:pt x="2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7" name="Freeform 106">
              <a:extLst>
                <a:ext uri="{FF2B5EF4-FFF2-40B4-BE49-F238E27FC236}">
                  <a16:creationId xmlns:a16="http://schemas.microsoft.com/office/drawing/2014/main" id="{2FA12B8D-3CC1-9F47-8478-4849ADADB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3605213"/>
              <a:ext cx="93663" cy="112712"/>
            </a:xfrm>
            <a:custGeom>
              <a:avLst/>
              <a:gdLst>
                <a:gd name="T0" fmla="*/ 28 w 59"/>
                <a:gd name="T1" fmla="*/ 31 h 71"/>
                <a:gd name="T2" fmla="*/ 28 w 59"/>
                <a:gd name="T3" fmla="*/ 31 h 71"/>
                <a:gd name="T4" fmla="*/ 37 w 59"/>
                <a:gd name="T5" fmla="*/ 23 h 71"/>
                <a:gd name="T6" fmla="*/ 46 w 59"/>
                <a:gd name="T7" fmla="*/ 12 h 71"/>
                <a:gd name="T8" fmla="*/ 46 w 59"/>
                <a:gd name="T9" fmla="*/ 12 h 71"/>
                <a:gd name="T10" fmla="*/ 47 w 59"/>
                <a:gd name="T11" fmla="*/ 5 h 71"/>
                <a:gd name="T12" fmla="*/ 49 w 59"/>
                <a:gd name="T13" fmla="*/ 2 h 71"/>
                <a:gd name="T14" fmla="*/ 50 w 59"/>
                <a:gd name="T15" fmla="*/ 0 h 71"/>
                <a:gd name="T16" fmla="*/ 50 w 59"/>
                <a:gd name="T17" fmla="*/ 0 h 71"/>
                <a:gd name="T18" fmla="*/ 53 w 59"/>
                <a:gd name="T19" fmla="*/ 2 h 71"/>
                <a:gd name="T20" fmla="*/ 56 w 59"/>
                <a:gd name="T21" fmla="*/ 3 h 71"/>
                <a:gd name="T22" fmla="*/ 57 w 59"/>
                <a:gd name="T23" fmla="*/ 6 h 71"/>
                <a:gd name="T24" fmla="*/ 59 w 59"/>
                <a:gd name="T25" fmla="*/ 12 h 71"/>
                <a:gd name="T26" fmla="*/ 59 w 59"/>
                <a:gd name="T27" fmla="*/ 12 h 71"/>
                <a:gd name="T28" fmla="*/ 59 w 59"/>
                <a:gd name="T29" fmla="*/ 18 h 71"/>
                <a:gd name="T30" fmla="*/ 57 w 59"/>
                <a:gd name="T31" fmla="*/ 24 h 71"/>
                <a:gd name="T32" fmla="*/ 53 w 59"/>
                <a:gd name="T33" fmla="*/ 33 h 71"/>
                <a:gd name="T34" fmla="*/ 53 w 59"/>
                <a:gd name="T35" fmla="*/ 33 h 71"/>
                <a:gd name="T36" fmla="*/ 52 w 59"/>
                <a:gd name="T37" fmla="*/ 36 h 71"/>
                <a:gd name="T38" fmla="*/ 49 w 59"/>
                <a:gd name="T39" fmla="*/ 37 h 71"/>
                <a:gd name="T40" fmla="*/ 47 w 59"/>
                <a:gd name="T41" fmla="*/ 40 h 71"/>
                <a:gd name="T42" fmla="*/ 46 w 59"/>
                <a:gd name="T43" fmla="*/ 45 h 71"/>
                <a:gd name="T44" fmla="*/ 46 w 59"/>
                <a:gd name="T45" fmla="*/ 45 h 71"/>
                <a:gd name="T46" fmla="*/ 46 w 59"/>
                <a:gd name="T47" fmla="*/ 54 h 71"/>
                <a:gd name="T48" fmla="*/ 47 w 59"/>
                <a:gd name="T49" fmla="*/ 57 h 71"/>
                <a:gd name="T50" fmla="*/ 49 w 59"/>
                <a:gd name="T51" fmla="*/ 61 h 71"/>
                <a:gd name="T52" fmla="*/ 49 w 59"/>
                <a:gd name="T53" fmla="*/ 61 h 71"/>
                <a:gd name="T54" fmla="*/ 50 w 59"/>
                <a:gd name="T55" fmla="*/ 65 h 71"/>
                <a:gd name="T56" fmla="*/ 50 w 59"/>
                <a:gd name="T57" fmla="*/ 68 h 71"/>
                <a:gd name="T58" fmla="*/ 49 w 59"/>
                <a:gd name="T59" fmla="*/ 71 h 71"/>
                <a:gd name="T60" fmla="*/ 47 w 59"/>
                <a:gd name="T61" fmla="*/ 71 h 71"/>
                <a:gd name="T62" fmla="*/ 47 w 59"/>
                <a:gd name="T63" fmla="*/ 71 h 71"/>
                <a:gd name="T64" fmla="*/ 41 w 59"/>
                <a:gd name="T65" fmla="*/ 70 h 71"/>
                <a:gd name="T66" fmla="*/ 38 w 59"/>
                <a:gd name="T67" fmla="*/ 67 h 71"/>
                <a:gd name="T68" fmla="*/ 37 w 59"/>
                <a:gd name="T69" fmla="*/ 65 h 71"/>
                <a:gd name="T70" fmla="*/ 37 w 59"/>
                <a:gd name="T71" fmla="*/ 65 h 71"/>
                <a:gd name="T72" fmla="*/ 34 w 59"/>
                <a:gd name="T73" fmla="*/ 57 h 71"/>
                <a:gd name="T74" fmla="*/ 34 w 59"/>
                <a:gd name="T75" fmla="*/ 52 h 71"/>
                <a:gd name="T76" fmla="*/ 34 w 59"/>
                <a:gd name="T77" fmla="*/ 52 h 71"/>
                <a:gd name="T78" fmla="*/ 29 w 59"/>
                <a:gd name="T79" fmla="*/ 52 h 71"/>
                <a:gd name="T80" fmla="*/ 26 w 59"/>
                <a:gd name="T81" fmla="*/ 54 h 71"/>
                <a:gd name="T82" fmla="*/ 25 w 59"/>
                <a:gd name="T83" fmla="*/ 54 h 71"/>
                <a:gd name="T84" fmla="*/ 25 w 59"/>
                <a:gd name="T85" fmla="*/ 54 h 71"/>
                <a:gd name="T86" fmla="*/ 20 w 59"/>
                <a:gd name="T87" fmla="*/ 61 h 71"/>
                <a:gd name="T88" fmla="*/ 17 w 59"/>
                <a:gd name="T89" fmla="*/ 65 h 71"/>
                <a:gd name="T90" fmla="*/ 13 w 59"/>
                <a:gd name="T91" fmla="*/ 67 h 71"/>
                <a:gd name="T92" fmla="*/ 13 w 59"/>
                <a:gd name="T93" fmla="*/ 67 h 71"/>
                <a:gd name="T94" fmla="*/ 6 w 59"/>
                <a:gd name="T95" fmla="*/ 65 h 71"/>
                <a:gd name="T96" fmla="*/ 1 w 59"/>
                <a:gd name="T97" fmla="*/ 64 h 71"/>
                <a:gd name="T98" fmla="*/ 0 w 59"/>
                <a:gd name="T99" fmla="*/ 63 h 71"/>
                <a:gd name="T100" fmla="*/ 0 w 59"/>
                <a:gd name="T101" fmla="*/ 63 h 71"/>
                <a:gd name="T102" fmla="*/ 1 w 59"/>
                <a:gd name="T103" fmla="*/ 57 h 71"/>
                <a:gd name="T104" fmla="*/ 3 w 59"/>
                <a:gd name="T105" fmla="*/ 54 h 71"/>
                <a:gd name="T106" fmla="*/ 4 w 59"/>
                <a:gd name="T107" fmla="*/ 51 h 71"/>
                <a:gd name="T108" fmla="*/ 4 w 59"/>
                <a:gd name="T109" fmla="*/ 51 h 71"/>
                <a:gd name="T110" fmla="*/ 17 w 59"/>
                <a:gd name="T111" fmla="*/ 45 h 71"/>
                <a:gd name="T112" fmla="*/ 23 w 59"/>
                <a:gd name="T113" fmla="*/ 37 h 71"/>
                <a:gd name="T114" fmla="*/ 28 w 59"/>
                <a:gd name="T115" fmla="*/ 31 h 71"/>
                <a:gd name="T116" fmla="*/ 28 w 59"/>
                <a:gd name="T117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9" h="71">
                  <a:moveTo>
                    <a:pt x="28" y="31"/>
                  </a:moveTo>
                  <a:lnTo>
                    <a:pt x="28" y="31"/>
                  </a:lnTo>
                  <a:lnTo>
                    <a:pt x="37" y="2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5"/>
                  </a:lnTo>
                  <a:lnTo>
                    <a:pt x="49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2"/>
                  </a:lnTo>
                  <a:lnTo>
                    <a:pt x="56" y="3"/>
                  </a:lnTo>
                  <a:lnTo>
                    <a:pt x="57" y="6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8"/>
                  </a:lnTo>
                  <a:lnTo>
                    <a:pt x="57" y="24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7" y="40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6" y="54"/>
                  </a:lnTo>
                  <a:lnTo>
                    <a:pt x="47" y="57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50" y="65"/>
                  </a:lnTo>
                  <a:lnTo>
                    <a:pt x="50" y="68"/>
                  </a:lnTo>
                  <a:lnTo>
                    <a:pt x="49" y="71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1" y="70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4" y="57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9" y="52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0" y="61"/>
                  </a:lnTo>
                  <a:lnTo>
                    <a:pt x="17" y="65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6" y="65"/>
                  </a:lnTo>
                  <a:lnTo>
                    <a:pt x="1" y="64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3" y="54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17" y="45"/>
                  </a:lnTo>
                  <a:lnTo>
                    <a:pt x="23" y="37"/>
                  </a:lnTo>
                  <a:lnTo>
                    <a:pt x="28" y="31"/>
                  </a:lnTo>
                  <a:lnTo>
                    <a:pt x="28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8" name="Freeform 107">
              <a:extLst>
                <a:ext uri="{FF2B5EF4-FFF2-40B4-BE49-F238E27FC236}">
                  <a16:creationId xmlns:a16="http://schemas.microsoft.com/office/drawing/2014/main" id="{9CC7C6D3-3A2F-AC47-81B3-28EE944F5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088" y="3121025"/>
              <a:ext cx="166688" cy="92075"/>
            </a:xfrm>
            <a:custGeom>
              <a:avLst/>
              <a:gdLst>
                <a:gd name="T0" fmla="*/ 6 w 105"/>
                <a:gd name="T1" fmla="*/ 31 h 58"/>
                <a:gd name="T2" fmla="*/ 0 w 105"/>
                <a:gd name="T3" fmla="*/ 24 h 58"/>
                <a:gd name="T4" fmla="*/ 2 w 105"/>
                <a:gd name="T5" fmla="*/ 17 h 58"/>
                <a:gd name="T6" fmla="*/ 8 w 105"/>
                <a:gd name="T7" fmla="*/ 9 h 58"/>
                <a:gd name="T8" fmla="*/ 11 w 105"/>
                <a:gd name="T9" fmla="*/ 5 h 58"/>
                <a:gd name="T10" fmla="*/ 14 w 105"/>
                <a:gd name="T11" fmla="*/ 0 h 58"/>
                <a:gd name="T12" fmla="*/ 15 w 105"/>
                <a:gd name="T13" fmla="*/ 5 h 58"/>
                <a:gd name="T14" fmla="*/ 24 w 105"/>
                <a:gd name="T15" fmla="*/ 18 h 58"/>
                <a:gd name="T16" fmla="*/ 26 w 105"/>
                <a:gd name="T17" fmla="*/ 21 h 58"/>
                <a:gd name="T18" fmla="*/ 27 w 105"/>
                <a:gd name="T19" fmla="*/ 25 h 58"/>
                <a:gd name="T20" fmla="*/ 30 w 105"/>
                <a:gd name="T21" fmla="*/ 28 h 58"/>
                <a:gd name="T22" fmla="*/ 42 w 105"/>
                <a:gd name="T23" fmla="*/ 37 h 58"/>
                <a:gd name="T24" fmla="*/ 45 w 105"/>
                <a:gd name="T25" fmla="*/ 37 h 58"/>
                <a:gd name="T26" fmla="*/ 54 w 105"/>
                <a:gd name="T27" fmla="*/ 39 h 58"/>
                <a:gd name="T28" fmla="*/ 58 w 105"/>
                <a:gd name="T29" fmla="*/ 37 h 58"/>
                <a:gd name="T30" fmla="*/ 67 w 105"/>
                <a:gd name="T31" fmla="*/ 30 h 58"/>
                <a:gd name="T32" fmla="*/ 73 w 105"/>
                <a:gd name="T33" fmla="*/ 30 h 58"/>
                <a:gd name="T34" fmla="*/ 82 w 105"/>
                <a:gd name="T35" fmla="*/ 30 h 58"/>
                <a:gd name="T36" fmla="*/ 98 w 105"/>
                <a:gd name="T37" fmla="*/ 30 h 58"/>
                <a:gd name="T38" fmla="*/ 105 w 105"/>
                <a:gd name="T39" fmla="*/ 34 h 58"/>
                <a:gd name="T40" fmla="*/ 105 w 105"/>
                <a:gd name="T41" fmla="*/ 36 h 58"/>
                <a:gd name="T42" fmla="*/ 98 w 105"/>
                <a:gd name="T43" fmla="*/ 37 h 58"/>
                <a:gd name="T44" fmla="*/ 83 w 105"/>
                <a:gd name="T45" fmla="*/ 40 h 58"/>
                <a:gd name="T46" fmla="*/ 79 w 105"/>
                <a:gd name="T47" fmla="*/ 40 h 58"/>
                <a:gd name="T48" fmla="*/ 68 w 105"/>
                <a:gd name="T49" fmla="*/ 42 h 58"/>
                <a:gd name="T50" fmla="*/ 65 w 105"/>
                <a:gd name="T51" fmla="*/ 43 h 58"/>
                <a:gd name="T52" fmla="*/ 54 w 105"/>
                <a:gd name="T53" fmla="*/ 54 h 58"/>
                <a:gd name="T54" fmla="*/ 48 w 105"/>
                <a:gd name="T55" fmla="*/ 56 h 58"/>
                <a:gd name="T56" fmla="*/ 39 w 105"/>
                <a:gd name="T57" fmla="*/ 55 h 58"/>
                <a:gd name="T58" fmla="*/ 33 w 105"/>
                <a:gd name="T59" fmla="*/ 49 h 58"/>
                <a:gd name="T60" fmla="*/ 30 w 105"/>
                <a:gd name="T61" fmla="*/ 43 h 58"/>
                <a:gd name="T62" fmla="*/ 26 w 105"/>
                <a:gd name="T63" fmla="*/ 39 h 58"/>
                <a:gd name="T64" fmla="*/ 20 w 105"/>
                <a:gd name="T65" fmla="*/ 37 h 58"/>
                <a:gd name="T66" fmla="*/ 14 w 105"/>
                <a:gd name="T67" fmla="*/ 37 h 58"/>
                <a:gd name="T68" fmla="*/ 6 w 105"/>
                <a:gd name="T69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58">
                  <a:moveTo>
                    <a:pt x="6" y="31"/>
                  </a:moveTo>
                  <a:lnTo>
                    <a:pt x="6" y="31"/>
                  </a:lnTo>
                  <a:lnTo>
                    <a:pt x="3" y="27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8" y="9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20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21"/>
                  </a:lnTo>
                  <a:lnTo>
                    <a:pt x="26" y="24"/>
                  </a:lnTo>
                  <a:lnTo>
                    <a:pt x="27" y="25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9" y="34"/>
                  </a:lnTo>
                  <a:lnTo>
                    <a:pt x="42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51" y="39"/>
                  </a:lnTo>
                  <a:lnTo>
                    <a:pt x="54" y="39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64" y="33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73" y="30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104" y="33"/>
                  </a:lnTo>
                  <a:lnTo>
                    <a:pt x="105" y="34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7"/>
                  </a:lnTo>
                  <a:lnTo>
                    <a:pt x="98" y="37"/>
                  </a:lnTo>
                  <a:lnTo>
                    <a:pt x="91" y="39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79" y="40"/>
                  </a:lnTo>
                  <a:lnTo>
                    <a:pt x="73" y="40"/>
                  </a:lnTo>
                  <a:lnTo>
                    <a:pt x="68" y="42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0" y="49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8" y="56"/>
                  </a:lnTo>
                  <a:lnTo>
                    <a:pt x="43" y="58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3" y="49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8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0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9" y="34"/>
                  </a:lnTo>
                  <a:lnTo>
                    <a:pt x="6" y="31"/>
                  </a:lnTo>
                  <a:lnTo>
                    <a:pt x="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9" name="Freeform 108">
              <a:extLst>
                <a:ext uri="{FF2B5EF4-FFF2-40B4-BE49-F238E27FC236}">
                  <a16:creationId xmlns:a16="http://schemas.microsoft.com/office/drawing/2014/main" id="{856686A3-443C-8847-90E8-0402D31B3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7788" y="7348538"/>
              <a:ext cx="571500" cy="830262"/>
            </a:xfrm>
            <a:custGeom>
              <a:avLst/>
              <a:gdLst>
                <a:gd name="T0" fmla="*/ 333 w 360"/>
                <a:gd name="T1" fmla="*/ 16 h 523"/>
                <a:gd name="T2" fmla="*/ 341 w 360"/>
                <a:gd name="T3" fmla="*/ 0 h 523"/>
                <a:gd name="T4" fmla="*/ 358 w 360"/>
                <a:gd name="T5" fmla="*/ 12 h 523"/>
                <a:gd name="T6" fmla="*/ 355 w 360"/>
                <a:gd name="T7" fmla="*/ 30 h 523"/>
                <a:gd name="T8" fmla="*/ 358 w 360"/>
                <a:gd name="T9" fmla="*/ 105 h 523"/>
                <a:gd name="T10" fmla="*/ 352 w 360"/>
                <a:gd name="T11" fmla="*/ 178 h 523"/>
                <a:gd name="T12" fmla="*/ 358 w 360"/>
                <a:gd name="T13" fmla="*/ 202 h 523"/>
                <a:gd name="T14" fmla="*/ 346 w 360"/>
                <a:gd name="T15" fmla="*/ 228 h 523"/>
                <a:gd name="T16" fmla="*/ 343 w 360"/>
                <a:gd name="T17" fmla="*/ 247 h 523"/>
                <a:gd name="T18" fmla="*/ 339 w 360"/>
                <a:gd name="T19" fmla="*/ 231 h 523"/>
                <a:gd name="T20" fmla="*/ 329 w 360"/>
                <a:gd name="T21" fmla="*/ 230 h 523"/>
                <a:gd name="T22" fmla="*/ 308 w 360"/>
                <a:gd name="T23" fmla="*/ 259 h 523"/>
                <a:gd name="T24" fmla="*/ 312 w 360"/>
                <a:gd name="T25" fmla="*/ 268 h 523"/>
                <a:gd name="T26" fmla="*/ 330 w 360"/>
                <a:gd name="T27" fmla="*/ 262 h 523"/>
                <a:gd name="T28" fmla="*/ 332 w 360"/>
                <a:gd name="T29" fmla="*/ 277 h 523"/>
                <a:gd name="T30" fmla="*/ 311 w 360"/>
                <a:gd name="T31" fmla="*/ 287 h 523"/>
                <a:gd name="T32" fmla="*/ 298 w 360"/>
                <a:gd name="T33" fmla="*/ 311 h 523"/>
                <a:gd name="T34" fmla="*/ 299 w 360"/>
                <a:gd name="T35" fmla="*/ 327 h 523"/>
                <a:gd name="T36" fmla="*/ 281 w 360"/>
                <a:gd name="T37" fmla="*/ 347 h 523"/>
                <a:gd name="T38" fmla="*/ 268 w 360"/>
                <a:gd name="T39" fmla="*/ 366 h 523"/>
                <a:gd name="T40" fmla="*/ 235 w 360"/>
                <a:gd name="T41" fmla="*/ 376 h 523"/>
                <a:gd name="T42" fmla="*/ 210 w 360"/>
                <a:gd name="T43" fmla="*/ 406 h 523"/>
                <a:gd name="T44" fmla="*/ 192 w 360"/>
                <a:gd name="T45" fmla="*/ 416 h 523"/>
                <a:gd name="T46" fmla="*/ 170 w 360"/>
                <a:gd name="T47" fmla="*/ 418 h 523"/>
                <a:gd name="T48" fmla="*/ 163 w 360"/>
                <a:gd name="T49" fmla="*/ 452 h 523"/>
                <a:gd name="T50" fmla="*/ 152 w 360"/>
                <a:gd name="T51" fmla="*/ 478 h 523"/>
                <a:gd name="T52" fmla="*/ 111 w 360"/>
                <a:gd name="T53" fmla="*/ 508 h 523"/>
                <a:gd name="T54" fmla="*/ 56 w 360"/>
                <a:gd name="T55" fmla="*/ 523 h 523"/>
                <a:gd name="T56" fmla="*/ 9 w 360"/>
                <a:gd name="T57" fmla="*/ 510 h 523"/>
                <a:gd name="T58" fmla="*/ 4 w 360"/>
                <a:gd name="T59" fmla="*/ 496 h 523"/>
                <a:gd name="T60" fmla="*/ 49 w 360"/>
                <a:gd name="T61" fmla="*/ 490 h 523"/>
                <a:gd name="T62" fmla="*/ 71 w 360"/>
                <a:gd name="T63" fmla="*/ 477 h 523"/>
                <a:gd name="T64" fmla="*/ 98 w 360"/>
                <a:gd name="T65" fmla="*/ 470 h 523"/>
                <a:gd name="T66" fmla="*/ 115 w 360"/>
                <a:gd name="T67" fmla="*/ 444 h 523"/>
                <a:gd name="T68" fmla="*/ 133 w 360"/>
                <a:gd name="T69" fmla="*/ 434 h 523"/>
                <a:gd name="T70" fmla="*/ 157 w 360"/>
                <a:gd name="T71" fmla="*/ 394 h 523"/>
                <a:gd name="T72" fmla="*/ 184 w 360"/>
                <a:gd name="T73" fmla="*/ 369 h 523"/>
                <a:gd name="T74" fmla="*/ 203 w 360"/>
                <a:gd name="T75" fmla="*/ 354 h 523"/>
                <a:gd name="T76" fmla="*/ 204 w 360"/>
                <a:gd name="T77" fmla="*/ 341 h 523"/>
                <a:gd name="T78" fmla="*/ 201 w 360"/>
                <a:gd name="T79" fmla="*/ 327 h 523"/>
                <a:gd name="T80" fmla="*/ 224 w 360"/>
                <a:gd name="T81" fmla="*/ 308 h 523"/>
                <a:gd name="T82" fmla="*/ 243 w 360"/>
                <a:gd name="T83" fmla="*/ 273 h 523"/>
                <a:gd name="T84" fmla="*/ 274 w 360"/>
                <a:gd name="T85" fmla="*/ 234 h 523"/>
                <a:gd name="T86" fmla="*/ 283 w 360"/>
                <a:gd name="T87" fmla="*/ 207 h 523"/>
                <a:gd name="T88" fmla="*/ 292 w 360"/>
                <a:gd name="T89" fmla="*/ 184 h 523"/>
                <a:gd name="T90" fmla="*/ 303 w 360"/>
                <a:gd name="T91" fmla="*/ 153 h 523"/>
                <a:gd name="T92" fmla="*/ 315 w 360"/>
                <a:gd name="T93" fmla="*/ 127 h 523"/>
                <a:gd name="T94" fmla="*/ 308 w 360"/>
                <a:gd name="T95" fmla="*/ 108 h 523"/>
                <a:gd name="T96" fmla="*/ 323 w 360"/>
                <a:gd name="T97" fmla="*/ 86 h 523"/>
                <a:gd name="T98" fmla="*/ 315 w 360"/>
                <a:gd name="T99" fmla="*/ 46 h 523"/>
                <a:gd name="T100" fmla="*/ 317 w 360"/>
                <a:gd name="T101" fmla="*/ 3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0" h="523">
                  <a:moveTo>
                    <a:pt x="321" y="25"/>
                  </a:moveTo>
                  <a:lnTo>
                    <a:pt x="321" y="25"/>
                  </a:lnTo>
                  <a:lnTo>
                    <a:pt x="327" y="22"/>
                  </a:lnTo>
                  <a:lnTo>
                    <a:pt x="332" y="18"/>
                  </a:lnTo>
                  <a:lnTo>
                    <a:pt x="333" y="16"/>
                  </a:lnTo>
                  <a:lnTo>
                    <a:pt x="335" y="13"/>
                  </a:lnTo>
                  <a:lnTo>
                    <a:pt x="335" y="13"/>
                  </a:lnTo>
                  <a:lnTo>
                    <a:pt x="335" y="9"/>
                  </a:lnTo>
                  <a:lnTo>
                    <a:pt x="338" y="3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5" y="2"/>
                  </a:lnTo>
                  <a:lnTo>
                    <a:pt x="345" y="2"/>
                  </a:lnTo>
                  <a:lnTo>
                    <a:pt x="355" y="9"/>
                  </a:lnTo>
                  <a:lnTo>
                    <a:pt x="358" y="12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58" y="22"/>
                  </a:lnTo>
                  <a:lnTo>
                    <a:pt x="355" y="30"/>
                  </a:lnTo>
                  <a:lnTo>
                    <a:pt x="355" y="30"/>
                  </a:lnTo>
                  <a:lnTo>
                    <a:pt x="357" y="40"/>
                  </a:lnTo>
                  <a:lnTo>
                    <a:pt x="358" y="49"/>
                  </a:lnTo>
                  <a:lnTo>
                    <a:pt x="358" y="49"/>
                  </a:lnTo>
                  <a:lnTo>
                    <a:pt x="358" y="105"/>
                  </a:lnTo>
                  <a:lnTo>
                    <a:pt x="358" y="105"/>
                  </a:lnTo>
                  <a:lnTo>
                    <a:pt x="354" y="144"/>
                  </a:lnTo>
                  <a:lnTo>
                    <a:pt x="354" y="144"/>
                  </a:lnTo>
                  <a:lnTo>
                    <a:pt x="352" y="162"/>
                  </a:lnTo>
                  <a:lnTo>
                    <a:pt x="351" y="172"/>
                  </a:lnTo>
                  <a:lnTo>
                    <a:pt x="352" y="178"/>
                  </a:lnTo>
                  <a:lnTo>
                    <a:pt x="352" y="178"/>
                  </a:lnTo>
                  <a:lnTo>
                    <a:pt x="355" y="182"/>
                  </a:lnTo>
                  <a:lnTo>
                    <a:pt x="358" y="187"/>
                  </a:lnTo>
                  <a:lnTo>
                    <a:pt x="360" y="193"/>
                  </a:lnTo>
                  <a:lnTo>
                    <a:pt x="358" y="202"/>
                  </a:lnTo>
                  <a:lnTo>
                    <a:pt x="358" y="202"/>
                  </a:lnTo>
                  <a:lnTo>
                    <a:pt x="351" y="216"/>
                  </a:lnTo>
                  <a:lnTo>
                    <a:pt x="346" y="224"/>
                  </a:lnTo>
                  <a:lnTo>
                    <a:pt x="346" y="228"/>
                  </a:lnTo>
                  <a:lnTo>
                    <a:pt x="346" y="228"/>
                  </a:lnTo>
                  <a:lnTo>
                    <a:pt x="346" y="237"/>
                  </a:lnTo>
                  <a:lnTo>
                    <a:pt x="346" y="242"/>
                  </a:lnTo>
                  <a:lnTo>
                    <a:pt x="345" y="246"/>
                  </a:lnTo>
                  <a:lnTo>
                    <a:pt x="345" y="246"/>
                  </a:lnTo>
                  <a:lnTo>
                    <a:pt x="343" y="247"/>
                  </a:lnTo>
                  <a:lnTo>
                    <a:pt x="341" y="247"/>
                  </a:lnTo>
                  <a:lnTo>
                    <a:pt x="339" y="246"/>
                  </a:lnTo>
                  <a:lnTo>
                    <a:pt x="339" y="243"/>
                  </a:lnTo>
                  <a:lnTo>
                    <a:pt x="339" y="243"/>
                  </a:lnTo>
                  <a:lnTo>
                    <a:pt x="339" y="231"/>
                  </a:lnTo>
                  <a:lnTo>
                    <a:pt x="338" y="227"/>
                  </a:lnTo>
                  <a:lnTo>
                    <a:pt x="336" y="225"/>
                  </a:lnTo>
                  <a:lnTo>
                    <a:pt x="333" y="225"/>
                  </a:lnTo>
                  <a:lnTo>
                    <a:pt x="333" y="225"/>
                  </a:lnTo>
                  <a:lnTo>
                    <a:pt x="329" y="230"/>
                  </a:lnTo>
                  <a:lnTo>
                    <a:pt x="321" y="237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1" y="253"/>
                  </a:lnTo>
                  <a:lnTo>
                    <a:pt x="308" y="259"/>
                  </a:lnTo>
                  <a:lnTo>
                    <a:pt x="306" y="265"/>
                  </a:lnTo>
                  <a:lnTo>
                    <a:pt x="306" y="268"/>
                  </a:lnTo>
                  <a:lnTo>
                    <a:pt x="308" y="270"/>
                  </a:lnTo>
                  <a:lnTo>
                    <a:pt x="308" y="270"/>
                  </a:lnTo>
                  <a:lnTo>
                    <a:pt x="312" y="268"/>
                  </a:lnTo>
                  <a:lnTo>
                    <a:pt x="318" y="265"/>
                  </a:lnTo>
                  <a:lnTo>
                    <a:pt x="323" y="262"/>
                  </a:lnTo>
                  <a:lnTo>
                    <a:pt x="327" y="259"/>
                  </a:lnTo>
                  <a:lnTo>
                    <a:pt x="327" y="259"/>
                  </a:lnTo>
                  <a:lnTo>
                    <a:pt x="330" y="262"/>
                  </a:lnTo>
                  <a:lnTo>
                    <a:pt x="335" y="267"/>
                  </a:lnTo>
                  <a:lnTo>
                    <a:pt x="335" y="270"/>
                  </a:lnTo>
                  <a:lnTo>
                    <a:pt x="336" y="273"/>
                  </a:lnTo>
                  <a:lnTo>
                    <a:pt x="335" y="276"/>
                  </a:lnTo>
                  <a:lnTo>
                    <a:pt x="332" y="277"/>
                  </a:lnTo>
                  <a:lnTo>
                    <a:pt x="332" y="277"/>
                  </a:lnTo>
                  <a:lnTo>
                    <a:pt x="321" y="283"/>
                  </a:lnTo>
                  <a:lnTo>
                    <a:pt x="314" y="286"/>
                  </a:lnTo>
                  <a:lnTo>
                    <a:pt x="314" y="286"/>
                  </a:lnTo>
                  <a:lnTo>
                    <a:pt x="311" y="287"/>
                  </a:lnTo>
                  <a:lnTo>
                    <a:pt x="308" y="290"/>
                  </a:lnTo>
                  <a:lnTo>
                    <a:pt x="303" y="298"/>
                  </a:lnTo>
                  <a:lnTo>
                    <a:pt x="303" y="298"/>
                  </a:lnTo>
                  <a:lnTo>
                    <a:pt x="299" y="307"/>
                  </a:lnTo>
                  <a:lnTo>
                    <a:pt x="298" y="311"/>
                  </a:lnTo>
                  <a:lnTo>
                    <a:pt x="298" y="316"/>
                  </a:lnTo>
                  <a:lnTo>
                    <a:pt x="298" y="316"/>
                  </a:lnTo>
                  <a:lnTo>
                    <a:pt x="301" y="321"/>
                  </a:lnTo>
                  <a:lnTo>
                    <a:pt x="301" y="323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292" y="336"/>
                  </a:lnTo>
                  <a:lnTo>
                    <a:pt x="284" y="344"/>
                  </a:lnTo>
                  <a:lnTo>
                    <a:pt x="284" y="344"/>
                  </a:lnTo>
                  <a:lnTo>
                    <a:pt x="281" y="347"/>
                  </a:lnTo>
                  <a:lnTo>
                    <a:pt x="278" y="353"/>
                  </a:lnTo>
                  <a:lnTo>
                    <a:pt x="275" y="363"/>
                  </a:lnTo>
                  <a:lnTo>
                    <a:pt x="275" y="363"/>
                  </a:lnTo>
                  <a:lnTo>
                    <a:pt x="272" y="366"/>
                  </a:lnTo>
                  <a:lnTo>
                    <a:pt x="268" y="366"/>
                  </a:lnTo>
                  <a:lnTo>
                    <a:pt x="255" y="366"/>
                  </a:lnTo>
                  <a:lnTo>
                    <a:pt x="255" y="366"/>
                  </a:lnTo>
                  <a:lnTo>
                    <a:pt x="249" y="367"/>
                  </a:lnTo>
                  <a:lnTo>
                    <a:pt x="241" y="372"/>
                  </a:lnTo>
                  <a:lnTo>
                    <a:pt x="235" y="376"/>
                  </a:lnTo>
                  <a:lnTo>
                    <a:pt x="231" y="381"/>
                  </a:lnTo>
                  <a:lnTo>
                    <a:pt x="231" y="381"/>
                  </a:lnTo>
                  <a:lnTo>
                    <a:pt x="221" y="393"/>
                  </a:lnTo>
                  <a:lnTo>
                    <a:pt x="215" y="400"/>
                  </a:lnTo>
                  <a:lnTo>
                    <a:pt x="210" y="406"/>
                  </a:lnTo>
                  <a:lnTo>
                    <a:pt x="210" y="406"/>
                  </a:lnTo>
                  <a:lnTo>
                    <a:pt x="209" y="409"/>
                  </a:lnTo>
                  <a:lnTo>
                    <a:pt x="204" y="413"/>
                  </a:lnTo>
                  <a:lnTo>
                    <a:pt x="198" y="416"/>
                  </a:lnTo>
                  <a:lnTo>
                    <a:pt x="192" y="416"/>
                  </a:lnTo>
                  <a:lnTo>
                    <a:pt x="192" y="416"/>
                  </a:lnTo>
                  <a:lnTo>
                    <a:pt x="178" y="415"/>
                  </a:lnTo>
                  <a:lnTo>
                    <a:pt x="172" y="415"/>
                  </a:lnTo>
                  <a:lnTo>
                    <a:pt x="170" y="416"/>
                  </a:lnTo>
                  <a:lnTo>
                    <a:pt x="170" y="418"/>
                  </a:lnTo>
                  <a:lnTo>
                    <a:pt x="170" y="418"/>
                  </a:lnTo>
                  <a:lnTo>
                    <a:pt x="170" y="437"/>
                  </a:lnTo>
                  <a:lnTo>
                    <a:pt x="170" y="437"/>
                  </a:lnTo>
                  <a:lnTo>
                    <a:pt x="167" y="443"/>
                  </a:lnTo>
                  <a:lnTo>
                    <a:pt x="163" y="452"/>
                  </a:lnTo>
                  <a:lnTo>
                    <a:pt x="163" y="452"/>
                  </a:lnTo>
                  <a:lnTo>
                    <a:pt x="161" y="465"/>
                  </a:lnTo>
                  <a:lnTo>
                    <a:pt x="161" y="465"/>
                  </a:lnTo>
                  <a:lnTo>
                    <a:pt x="158" y="471"/>
                  </a:lnTo>
                  <a:lnTo>
                    <a:pt x="152" y="478"/>
                  </a:lnTo>
                  <a:lnTo>
                    <a:pt x="144" y="489"/>
                  </a:lnTo>
                  <a:lnTo>
                    <a:pt x="135" y="495"/>
                  </a:lnTo>
                  <a:lnTo>
                    <a:pt x="135" y="495"/>
                  </a:lnTo>
                  <a:lnTo>
                    <a:pt x="121" y="504"/>
                  </a:lnTo>
                  <a:lnTo>
                    <a:pt x="111" y="508"/>
                  </a:lnTo>
                  <a:lnTo>
                    <a:pt x="111" y="508"/>
                  </a:lnTo>
                  <a:lnTo>
                    <a:pt x="86" y="521"/>
                  </a:lnTo>
                  <a:lnTo>
                    <a:pt x="86" y="521"/>
                  </a:lnTo>
                  <a:lnTo>
                    <a:pt x="75" y="523"/>
                  </a:lnTo>
                  <a:lnTo>
                    <a:pt x="56" y="523"/>
                  </a:lnTo>
                  <a:lnTo>
                    <a:pt x="37" y="523"/>
                  </a:lnTo>
                  <a:lnTo>
                    <a:pt x="30" y="521"/>
                  </a:lnTo>
                  <a:lnTo>
                    <a:pt x="25" y="520"/>
                  </a:lnTo>
                  <a:lnTo>
                    <a:pt x="25" y="520"/>
                  </a:lnTo>
                  <a:lnTo>
                    <a:pt x="9" y="510"/>
                  </a:lnTo>
                  <a:lnTo>
                    <a:pt x="1" y="502"/>
                  </a:lnTo>
                  <a:lnTo>
                    <a:pt x="0" y="499"/>
                  </a:lnTo>
                  <a:lnTo>
                    <a:pt x="1" y="498"/>
                  </a:lnTo>
                  <a:lnTo>
                    <a:pt x="1" y="498"/>
                  </a:lnTo>
                  <a:lnTo>
                    <a:pt x="4" y="496"/>
                  </a:lnTo>
                  <a:lnTo>
                    <a:pt x="9" y="495"/>
                  </a:lnTo>
                  <a:lnTo>
                    <a:pt x="21" y="495"/>
                  </a:lnTo>
                  <a:lnTo>
                    <a:pt x="34" y="493"/>
                  </a:lnTo>
                  <a:lnTo>
                    <a:pt x="49" y="490"/>
                  </a:lnTo>
                  <a:lnTo>
                    <a:pt x="49" y="490"/>
                  </a:lnTo>
                  <a:lnTo>
                    <a:pt x="59" y="486"/>
                  </a:lnTo>
                  <a:lnTo>
                    <a:pt x="64" y="481"/>
                  </a:lnTo>
                  <a:lnTo>
                    <a:pt x="68" y="478"/>
                  </a:lnTo>
                  <a:lnTo>
                    <a:pt x="71" y="477"/>
                  </a:lnTo>
                  <a:lnTo>
                    <a:pt x="71" y="477"/>
                  </a:lnTo>
                  <a:lnTo>
                    <a:pt x="77" y="477"/>
                  </a:lnTo>
                  <a:lnTo>
                    <a:pt x="84" y="477"/>
                  </a:lnTo>
                  <a:lnTo>
                    <a:pt x="92" y="474"/>
                  </a:lnTo>
                  <a:lnTo>
                    <a:pt x="98" y="470"/>
                  </a:lnTo>
                  <a:lnTo>
                    <a:pt x="98" y="470"/>
                  </a:lnTo>
                  <a:lnTo>
                    <a:pt x="104" y="464"/>
                  </a:lnTo>
                  <a:lnTo>
                    <a:pt x="108" y="456"/>
                  </a:lnTo>
                  <a:lnTo>
                    <a:pt x="114" y="446"/>
                  </a:lnTo>
                  <a:lnTo>
                    <a:pt x="114" y="446"/>
                  </a:lnTo>
                  <a:lnTo>
                    <a:pt x="115" y="444"/>
                  </a:lnTo>
                  <a:lnTo>
                    <a:pt x="118" y="444"/>
                  </a:lnTo>
                  <a:lnTo>
                    <a:pt x="123" y="443"/>
                  </a:lnTo>
                  <a:lnTo>
                    <a:pt x="127" y="441"/>
                  </a:lnTo>
                  <a:lnTo>
                    <a:pt x="127" y="441"/>
                  </a:lnTo>
                  <a:lnTo>
                    <a:pt x="133" y="434"/>
                  </a:lnTo>
                  <a:lnTo>
                    <a:pt x="139" y="424"/>
                  </a:lnTo>
                  <a:lnTo>
                    <a:pt x="148" y="404"/>
                  </a:lnTo>
                  <a:lnTo>
                    <a:pt x="148" y="404"/>
                  </a:lnTo>
                  <a:lnTo>
                    <a:pt x="151" y="400"/>
                  </a:lnTo>
                  <a:lnTo>
                    <a:pt x="157" y="39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75" y="381"/>
                  </a:lnTo>
                  <a:lnTo>
                    <a:pt x="179" y="376"/>
                  </a:lnTo>
                  <a:lnTo>
                    <a:pt x="184" y="369"/>
                  </a:lnTo>
                  <a:lnTo>
                    <a:pt x="184" y="369"/>
                  </a:lnTo>
                  <a:lnTo>
                    <a:pt x="187" y="366"/>
                  </a:lnTo>
                  <a:lnTo>
                    <a:pt x="192" y="361"/>
                  </a:lnTo>
                  <a:lnTo>
                    <a:pt x="203" y="354"/>
                  </a:lnTo>
                  <a:lnTo>
                    <a:pt x="203" y="354"/>
                  </a:lnTo>
                  <a:lnTo>
                    <a:pt x="204" y="351"/>
                  </a:lnTo>
                  <a:lnTo>
                    <a:pt x="206" y="347"/>
                  </a:lnTo>
                  <a:lnTo>
                    <a:pt x="206" y="342"/>
                  </a:lnTo>
                  <a:lnTo>
                    <a:pt x="204" y="341"/>
                  </a:lnTo>
                  <a:lnTo>
                    <a:pt x="204" y="341"/>
                  </a:lnTo>
                  <a:lnTo>
                    <a:pt x="198" y="339"/>
                  </a:lnTo>
                  <a:lnTo>
                    <a:pt x="197" y="338"/>
                  </a:lnTo>
                  <a:lnTo>
                    <a:pt x="197" y="336"/>
                  </a:lnTo>
                  <a:lnTo>
                    <a:pt x="197" y="336"/>
                  </a:lnTo>
                  <a:lnTo>
                    <a:pt x="201" y="327"/>
                  </a:lnTo>
                  <a:lnTo>
                    <a:pt x="204" y="324"/>
                  </a:lnTo>
                  <a:lnTo>
                    <a:pt x="209" y="321"/>
                  </a:lnTo>
                  <a:lnTo>
                    <a:pt x="209" y="321"/>
                  </a:lnTo>
                  <a:lnTo>
                    <a:pt x="215" y="317"/>
                  </a:lnTo>
                  <a:lnTo>
                    <a:pt x="224" y="308"/>
                  </a:lnTo>
                  <a:lnTo>
                    <a:pt x="232" y="299"/>
                  </a:lnTo>
                  <a:lnTo>
                    <a:pt x="237" y="293"/>
                  </a:lnTo>
                  <a:lnTo>
                    <a:pt x="237" y="293"/>
                  </a:lnTo>
                  <a:lnTo>
                    <a:pt x="240" y="283"/>
                  </a:lnTo>
                  <a:lnTo>
                    <a:pt x="243" y="273"/>
                  </a:lnTo>
                  <a:lnTo>
                    <a:pt x="243" y="273"/>
                  </a:lnTo>
                  <a:lnTo>
                    <a:pt x="256" y="253"/>
                  </a:lnTo>
                  <a:lnTo>
                    <a:pt x="266" y="242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7" y="231"/>
                  </a:lnTo>
                  <a:lnTo>
                    <a:pt x="278" y="228"/>
                  </a:lnTo>
                  <a:lnTo>
                    <a:pt x="280" y="222"/>
                  </a:lnTo>
                  <a:lnTo>
                    <a:pt x="280" y="222"/>
                  </a:lnTo>
                  <a:lnTo>
                    <a:pt x="283" y="207"/>
                  </a:lnTo>
                  <a:lnTo>
                    <a:pt x="286" y="199"/>
                  </a:lnTo>
                  <a:lnTo>
                    <a:pt x="287" y="194"/>
                  </a:lnTo>
                  <a:lnTo>
                    <a:pt x="287" y="194"/>
                  </a:lnTo>
                  <a:lnTo>
                    <a:pt x="290" y="190"/>
                  </a:lnTo>
                  <a:lnTo>
                    <a:pt x="292" y="184"/>
                  </a:lnTo>
                  <a:lnTo>
                    <a:pt x="293" y="172"/>
                  </a:lnTo>
                  <a:lnTo>
                    <a:pt x="293" y="172"/>
                  </a:lnTo>
                  <a:lnTo>
                    <a:pt x="296" y="162"/>
                  </a:lnTo>
                  <a:lnTo>
                    <a:pt x="299" y="157"/>
                  </a:lnTo>
                  <a:lnTo>
                    <a:pt x="303" y="153"/>
                  </a:lnTo>
                  <a:lnTo>
                    <a:pt x="303" y="153"/>
                  </a:lnTo>
                  <a:lnTo>
                    <a:pt x="308" y="147"/>
                  </a:lnTo>
                  <a:lnTo>
                    <a:pt x="311" y="141"/>
                  </a:lnTo>
                  <a:lnTo>
                    <a:pt x="314" y="133"/>
                  </a:lnTo>
                  <a:lnTo>
                    <a:pt x="315" y="127"/>
                  </a:lnTo>
                  <a:lnTo>
                    <a:pt x="315" y="127"/>
                  </a:lnTo>
                  <a:lnTo>
                    <a:pt x="314" y="123"/>
                  </a:lnTo>
                  <a:lnTo>
                    <a:pt x="311" y="117"/>
                  </a:lnTo>
                  <a:lnTo>
                    <a:pt x="308" y="113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14" y="99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3" y="86"/>
                  </a:lnTo>
                  <a:lnTo>
                    <a:pt x="323" y="77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0" y="53"/>
                  </a:lnTo>
                  <a:lnTo>
                    <a:pt x="315" y="46"/>
                  </a:lnTo>
                  <a:lnTo>
                    <a:pt x="315" y="46"/>
                  </a:lnTo>
                  <a:lnTo>
                    <a:pt x="315" y="43"/>
                  </a:lnTo>
                  <a:lnTo>
                    <a:pt x="314" y="39"/>
                  </a:lnTo>
                  <a:lnTo>
                    <a:pt x="315" y="33"/>
                  </a:lnTo>
                  <a:lnTo>
                    <a:pt x="317" y="30"/>
                  </a:lnTo>
                  <a:lnTo>
                    <a:pt x="321" y="25"/>
                  </a:lnTo>
                  <a:lnTo>
                    <a:pt x="321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0" name="Freeform 109">
              <a:extLst>
                <a:ext uri="{FF2B5EF4-FFF2-40B4-BE49-F238E27FC236}">
                  <a16:creationId xmlns:a16="http://schemas.microsoft.com/office/drawing/2014/main" id="{4ECB64E5-F879-6849-94FB-D7FF89282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4003675"/>
              <a:ext cx="306388" cy="230187"/>
            </a:xfrm>
            <a:custGeom>
              <a:avLst/>
              <a:gdLst>
                <a:gd name="T0" fmla="*/ 42 w 193"/>
                <a:gd name="T1" fmla="*/ 41 h 145"/>
                <a:gd name="T2" fmla="*/ 44 w 193"/>
                <a:gd name="T3" fmla="*/ 53 h 145"/>
                <a:gd name="T4" fmla="*/ 55 w 193"/>
                <a:gd name="T5" fmla="*/ 63 h 145"/>
                <a:gd name="T6" fmla="*/ 83 w 193"/>
                <a:gd name="T7" fmla="*/ 66 h 145"/>
                <a:gd name="T8" fmla="*/ 104 w 193"/>
                <a:gd name="T9" fmla="*/ 62 h 145"/>
                <a:gd name="T10" fmla="*/ 110 w 193"/>
                <a:gd name="T11" fmla="*/ 56 h 145"/>
                <a:gd name="T12" fmla="*/ 123 w 193"/>
                <a:gd name="T13" fmla="*/ 53 h 145"/>
                <a:gd name="T14" fmla="*/ 138 w 193"/>
                <a:gd name="T15" fmla="*/ 41 h 145"/>
                <a:gd name="T16" fmla="*/ 151 w 193"/>
                <a:gd name="T17" fmla="*/ 32 h 145"/>
                <a:gd name="T18" fmla="*/ 148 w 193"/>
                <a:gd name="T19" fmla="*/ 29 h 145"/>
                <a:gd name="T20" fmla="*/ 144 w 193"/>
                <a:gd name="T21" fmla="*/ 26 h 145"/>
                <a:gd name="T22" fmla="*/ 145 w 193"/>
                <a:gd name="T23" fmla="*/ 3 h 145"/>
                <a:gd name="T24" fmla="*/ 148 w 193"/>
                <a:gd name="T25" fmla="*/ 0 h 145"/>
                <a:gd name="T26" fmla="*/ 157 w 193"/>
                <a:gd name="T27" fmla="*/ 8 h 145"/>
                <a:gd name="T28" fmla="*/ 172 w 193"/>
                <a:gd name="T29" fmla="*/ 23 h 145"/>
                <a:gd name="T30" fmla="*/ 188 w 193"/>
                <a:gd name="T31" fmla="*/ 23 h 145"/>
                <a:gd name="T32" fmla="*/ 193 w 193"/>
                <a:gd name="T33" fmla="*/ 29 h 145"/>
                <a:gd name="T34" fmla="*/ 184 w 193"/>
                <a:gd name="T35" fmla="*/ 32 h 145"/>
                <a:gd name="T36" fmla="*/ 169 w 193"/>
                <a:gd name="T37" fmla="*/ 35 h 145"/>
                <a:gd name="T38" fmla="*/ 160 w 193"/>
                <a:gd name="T39" fmla="*/ 50 h 145"/>
                <a:gd name="T40" fmla="*/ 154 w 193"/>
                <a:gd name="T41" fmla="*/ 56 h 145"/>
                <a:gd name="T42" fmla="*/ 148 w 193"/>
                <a:gd name="T43" fmla="*/ 53 h 145"/>
                <a:gd name="T44" fmla="*/ 142 w 193"/>
                <a:gd name="T45" fmla="*/ 57 h 145"/>
                <a:gd name="T46" fmla="*/ 138 w 193"/>
                <a:gd name="T47" fmla="*/ 66 h 145"/>
                <a:gd name="T48" fmla="*/ 124 w 193"/>
                <a:gd name="T49" fmla="*/ 71 h 145"/>
                <a:gd name="T50" fmla="*/ 102 w 193"/>
                <a:gd name="T51" fmla="*/ 77 h 145"/>
                <a:gd name="T52" fmla="*/ 92 w 193"/>
                <a:gd name="T53" fmla="*/ 77 h 145"/>
                <a:gd name="T54" fmla="*/ 83 w 193"/>
                <a:gd name="T55" fmla="*/ 80 h 145"/>
                <a:gd name="T56" fmla="*/ 83 w 193"/>
                <a:gd name="T57" fmla="*/ 88 h 145"/>
                <a:gd name="T58" fmla="*/ 89 w 193"/>
                <a:gd name="T59" fmla="*/ 100 h 145"/>
                <a:gd name="T60" fmla="*/ 86 w 193"/>
                <a:gd name="T61" fmla="*/ 106 h 145"/>
                <a:gd name="T62" fmla="*/ 70 w 193"/>
                <a:gd name="T63" fmla="*/ 96 h 145"/>
                <a:gd name="T64" fmla="*/ 68 w 193"/>
                <a:gd name="T65" fmla="*/ 84 h 145"/>
                <a:gd name="T66" fmla="*/ 64 w 193"/>
                <a:gd name="T67" fmla="*/ 80 h 145"/>
                <a:gd name="T68" fmla="*/ 49 w 193"/>
                <a:gd name="T69" fmla="*/ 86 h 145"/>
                <a:gd name="T70" fmla="*/ 44 w 193"/>
                <a:gd name="T71" fmla="*/ 90 h 145"/>
                <a:gd name="T72" fmla="*/ 47 w 193"/>
                <a:gd name="T73" fmla="*/ 94 h 145"/>
                <a:gd name="T74" fmla="*/ 56 w 193"/>
                <a:gd name="T75" fmla="*/ 112 h 145"/>
                <a:gd name="T76" fmla="*/ 59 w 193"/>
                <a:gd name="T77" fmla="*/ 121 h 145"/>
                <a:gd name="T78" fmla="*/ 68 w 193"/>
                <a:gd name="T79" fmla="*/ 130 h 145"/>
                <a:gd name="T80" fmla="*/ 68 w 193"/>
                <a:gd name="T81" fmla="*/ 143 h 145"/>
                <a:gd name="T82" fmla="*/ 64 w 193"/>
                <a:gd name="T83" fmla="*/ 145 h 145"/>
                <a:gd name="T84" fmla="*/ 61 w 193"/>
                <a:gd name="T85" fmla="*/ 142 h 145"/>
                <a:gd name="T86" fmla="*/ 46 w 193"/>
                <a:gd name="T87" fmla="*/ 118 h 145"/>
                <a:gd name="T88" fmla="*/ 44 w 193"/>
                <a:gd name="T89" fmla="*/ 105 h 145"/>
                <a:gd name="T90" fmla="*/ 42 w 193"/>
                <a:gd name="T91" fmla="*/ 102 h 145"/>
                <a:gd name="T92" fmla="*/ 25 w 193"/>
                <a:gd name="T93" fmla="*/ 99 h 145"/>
                <a:gd name="T94" fmla="*/ 21 w 193"/>
                <a:gd name="T95" fmla="*/ 115 h 145"/>
                <a:gd name="T96" fmla="*/ 25 w 193"/>
                <a:gd name="T97" fmla="*/ 125 h 145"/>
                <a:gd name="T98" fmla="*/ 22 w 193"/>
                <a:gd name="T99" fmla="*/ 134 h 145"/>
                <a:gd name="T100" fmla="*/ 13 w 193"/>
                <a:gd name="T101" fmla="*/ 134 h 145"/>
                <a:gd name="T102" fmla="*/ 9 w 193"/>
                <a:gd name="T103" fmla="*/ 128 h 145"/>
                <a:gd name="T104" fmla="*/ 7 w 193"/>
                <a:gd name="T105" fmla="*/ 105 h 145"/>
                <a:gd name="T106" fmla="*/ 2 w 193"/>
                <a:gd name="T107" fmla="*/ 91 h 145"/>
                <a:gd name="T108" fmla="*/ 2 w 193"/>
                <a:gd name="T109" fmla="*/ 86 h 145"/>
                <a:gd name="T110" fmla="*/ 7 w 193"/>
                <a:gd name="T111" fmla="*/ 84 h 145"/>
                <a:gd name="T112" fmla="*/ 25 w 193"/>
                <a:gd name="T113" fmla="*/ 86 h 145"/>
                <a:gd name="T114" fmla="*/ 36 w 193"/>
                <a:gd name="T115" fmla="*/ 77 h 145"/>
                <a:gd name="T116" fmla="*/ 39 w 193"/>
                <a:gd name="T117" fmla="*/ 71 h 145"/>
                <a:gd name="T118" fmla="*/ 33 w 193"/>
                <a:gd name="T119" fmla="*/ 53 h 145"/>
                <a:gd name="T120" fmla="*/ 31 w 193"/>
                <a:gd name="T121" fmla="*/ 43 h 145"/>
                <a:gd name="T122" fmla="*/ 36 w 193"/>
                <a:gd name="T123" fmla="*/ 37 h 145"/>
                <a:gd name="T124" fmla="*/ 42 w 193"/>
                <a:gd name="T125" fmla="*/ 3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145">
                  <a:moveTo>
                    <a:pt x="42" y="31"/>
                  </a:moveTo>
                  <a:lnTo>
                    <a:pt x="42" y="3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7"/>
                  </a:lnTo>
                  <a:lnTo>
                    <a:pt x="44" y="53"/>
                  </a:lnTo>
                  <a:lnTo>
                    <a:pt x="47" y="59"/>
                  </a:lnTo>
                  <a:lnTo>
                    <a:pt x="52" y="62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67" y="65"/>
                  </a:lnTo>
                  <a:lnTo>
                    <a:pt x="83" y="66"/>
                  </a:lnTo>
                  <a:lnTo>
                    <a:pt x="96" y="65"/>
                  </a:lnTo>
                  <a:lnTo>
                    <a:pt x="101" y="63"/>
                  </a:lnTo>
                  <a:lnTo>
                    <a:pt x="104" y="62"/>
                  </a:lnTo>
                  <a:lnTo>
                    <a:pt x="104" y="62"/>
                  </a:lnTo>
                  <a:lnTo>
                    <a:pt x="107" y="57"/>
                  </a:lnTo>
                  <a:lnTo>
                    <a:pt x="110" y="56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23" y="53"/>
                  </a:lnTo>
                  <a:lnTo>
                    <a:pt x="129" y="48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47" y="37"/>
                  </a:lnTo>
                  <a:lnTo>
                    <a:pt x="150" y="34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1" y="29"/>
                  </a:lnTo>
                  <a:lnTo>
                    <a:pt x="148" y="29"/>
                  </a:lnTo>
                  <a:lnTo>
                    <a:pt x="145" y="28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2" y="22"/>
                  </a:lnTo>
                  <a:lnTo>
                    <a:pt x="142" y="14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7" y="1"/>
                  </a:lnTo>
                  <a:lnTo>
                    <a:pt x="148" y="0"/>
                  </a:lnTo>
                  <a:lnTo>
                    <a:pt x="153" y="3"/>
                  </a:lnTo>
                  <a:lnTo>
                    <a:pt x="157" y="8"/>
                  </a:lnTo>
                  <a:lnTo>
                    <a:pt x="157" y="8"/>
                  </a:lnTo>
                  <a:lnTo>
                    <a:pt x="161" y="14"/>
                  </a:lnTo>
                  <a:lnTo>
                    <a:pt x="166" y="19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9" y="23"/>
                  </a:lnTo>
                  <a:lnTo>
                    <a:pt x="188" y="23"/>
                  </a:lnTo>
                  <a:lnTo>
                    <a:pt x="188" y="23"/>
                  </a:lnTo>
                  <a:lnTo>
                    <a:pt x="191" y="26"/>
                  </a:lnTo>
                  <a:lnTo>
                    <a:pt x="193" y="29"/>
                  </a:lnTo>
                  <a:lnTo>
                    <a:pt x="190" y="32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8" y="32"/>
                  </a:lnTo>
                  <a:lnTo>
                    <a:pt x="173" y="34"/>
                  </a:lnTo>
                  <a:lnTo>
                    <a:pt x="169" y="35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0" y="50"/>
                  </a:lnTo>
                  <a:lnTo>
                    <a:pt x="157" y="53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1" y="56"/>
                  </a:lnTo>
                  <a:lnTo>
                    <a:pt x="150" y="54"/>
                  </a:lnTo>
                  <a:lnTo>
                    <a:pt x="148" y="53"/>
                  </a:lnTo>
                  <a:lnTo>
                    <a:pt x="147" y="53"/>
                  </a:lnTo>
                  <a:lnTo>
                    <a:pt x="147" y="53"/>
                  </a:lnTo>
                  <a:lnTo>
                    <a:pt x="142" y="57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38" y="66"/>
                  </a:lnTo>
                  <a:lnTo>
                    <a:pt x="135" y="68"/>
                  </a:lnTo>
                  <a:lnTo>
                    <a:pt x="130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13" y="74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98" y="77"/>
                  </a:lnTo>
                  <a:lnTo>
                    <a:pt x="92" y="77"/>
                  </a:lnTo>
                  <a:lnTo>
                    <a:pt x="87" y="77"/>
                  </a:lnTo>
                  <a:lnTo>
                    <a:pt x="84" y="78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96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89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76" y="100"/>
                  </a:lnTo>
                  <a:lnTo>
                    <a:pt x="70" y="96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8" y="84"/>
                  </a:lnTo>
                  <a:lnTo>
                    <a:pt x="67" y="81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1" y="81"/>
                  </a:lnTo>
                  <a:lnTo>
                    <a:pt x="56" y="81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7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52" y="99"/>
                  </a:lnTo>
                  <a:lnTo>
                    <a:pt x="53" y="103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8" y="117"/>
                  </a:lnTo>
                  <a:lnTo>
                    <a:pt x="59" y="121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8" y="130"/>
                  </a:lnTo>
                  <a:lnTo>
                    <a:pt x="68" y="136"/>
                  </a:lnTo>
                  <a:lnTo>
                    <a:pt x="68" y="140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7" y="145"/>
                  </a:lnTo>
                  <a:lnTo>
                    <a:pt x="64" y="145"/>
                  </a:lnTo>
                  <a:lnTo>
                    <a:pt x="62" y="143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52" y="130"/>
                  </a:lnTo>
                  <a:lnTo>
                    <a:pt x="47" y="124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09"/>
                  </a:lnTo>
                  <a:lnTo>
                    <a:pt x="44" y="105"/>
                  </a:lnTo>
                  <a:lnTo>
                    <a:pt x="43" y="103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31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1" y="105"/>
                  </a:lnTo>
                  <a:lnTo>
                    <a:pt x="19" y="111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2" y="120"/>
                  </a:lnTo>
                  <a:lnTo>
                    <a:pt x="25" y="125"/>
                  </a:lnTo>
                  <a:lnTo>
                    <a:pt x="25" y="131"/>
                  </a:lnTo>
                  <a:lnTo>
                    <a:pt x="24" y="133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18" y="134"/>
                  </a:lnTo>
                  <a:lnTo>
                    <a:pt x="13" y="134"/>
                  </a:lnTo>
                  <a:lnTo>
                    <a:pt x="10" y="131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7" y="11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0"/>
                  </a:lnTo>
                  <a:lnTo>
                    <a:pt x="5" y="97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0" y="88"/>
                  </a:lnTo>
                  <a:lnTo>
                    <a:pt x="2" y="86"/>
                  </a:lnTo>
                  <a:lnTo>
                    <a:pt x="3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18" y="87"/>
                  </a:lnTo>
                  <a:lnTo>
                    <a:pt x="22" y="87"/>
                  </a:lnTo>
                  <a:lnTo>
                    <a:pt x="25" y="86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6" y="77"/>
                  </a:lnTo>
                  <a:lnTo>
                    <a:pt x="39" y="74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9" y="66"/>
                  </a:lnTo>
                  <a:lnTo>
                    <a:pt x="37" y="60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1" y="46"/>
                  </a:lnTo>
                  <a:lnTo>
                    <a:pt x="31" y="43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6" y="37"/>
                  </a:lnTo>
                  <a:lnTo>
                    <a:pt x="36" y="34"/>
                  </a:lnTo>
                  <a:lnTo>
                    <a:pt x="37" y="32"/>
                  </a:lnTo>
                  <a:lnTo>
                    <a:pt x="42" y="31"/>
                  </a:lnTo>
                  <a:lnTo>
                    <a:pt x="4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1" name="Freeform 110">
              <a:extLst>
                <a:ext uri="{FF2B5EF4-FFF2-40B4-BE49-F238E27FC236}">
                  <a16:creationId xmlns:a16="http://schemas.microsoft.com/office/drawing/2014/main" id="{DE469692-3CE5-3C4D-ACE7-206E0030E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0850" y="3730625"/>
              <a:ext cx="33338" cy="38100"/>
            </a:xfrm>
            <a:custGeom>
              <a:avLst/>
              <a:gdLst>
                <a:gd name="T0" fmla="*/ 0 w 21"/>
                <a:gd name="T1" fmla="*/ 12 h 24"/>
                <a:gd name="T2" fmla="*/ 0 w 21"/>
                <a:gd name="T3" fmla="*/ 12 h 24"/>
                <a:gd name="T4" fmla="*/ 1 w 21"/>
                <a:gd name="T5" fmla="*/ 7 h 24"/>
                <a:gd name="T6" fmla="*/ 3 w 21"/>
                <a:gd name="T7" fmla="*/ 3 h 24"/>
                <a:gd name="T8" fmla="*/ 4 w 21"/>
                <a:gd name="T9" fmla="*/ 0 h 24"/>
                <a:gd name="T10" fmla="*/ 4 w 21"/>
                <a:gd name="T11" fmla="*/ 0 h 24"/>
                <a:gd name="T12" fmla="*/ 7 w 21"/>
                <a:gd name="T13" fmla="*/ 0 h 24"/>
                <a:gd name="T14" fmla="*/ 13 w 21"/>
                <a:gd name="T15" fmla="*/ 1 h 24"/>
                <a:gd name="T16" fmla="*/ 18 w 21"/>
                <a:gd name="T17" fmla="*/ 3 h 24"/>
                <a:gd name="T18" fmla="*/ 19 w 21"/>
                <a:gd name="T19" fmla="*/ 4 h 24"/>
                <a:gd name="T20" fmla="*/ 21 w 21"/>
                <a:gd name="T21" fmla="*/ 4 h 24"/>
                <a:gd name="T22" fmla="*/ 21 w 21"/>
                <a:gd name="T23" fmla="*/ 4 h 24"/>
                <a:gd name="T24" fmla="*/ 19 w 21"/>
                <a:gd name="T25" fmla="*/ 7 h 24"/>
                <a:gd name="T26" fmla="*/ 18 w 21"/>
                <a:gd name="T27" fmla="*/ 10 h 24"/>
                <a:gd name="T28" fmla="*/ 13 w 21"/>
                <a:gd name="T29" fmla="*/ 16 h 24"/>
                <a:gd name="T30" fmla="*/ 13 w 21"/>
                <a:gd name="T31" fmla="*/ 16 h 24"/>
                <a:gd name="T32" fmla="*/ 10 w 21"/>
                <a:gd name="T33" fmla="*/ 21 h 24"/>
                <a:gd name="T34" fmla="*/ 9 w 21"/>
                <a:gd name="T35" fmla="*/ 22 h 24"/>
                <a:gd name="T36" fmla="*/ 6 w 21"/>
                <a:gd name="T37" fmla="*/ 24 h 24"/>
                <a:gd name="T38" fmla="*/ 6 w 21"/>
                <a:gd name="T39" fmla="*/ 24 h 24"/>
                <a:gd name="T40" fmla="*/ 4 w 21"/>
                <a:gd name="T41" fmla="*/ 22 h 24"/>
                <a:gd name="T42" fmla="*/ 3 w 21"/>
                <a:gd name="T43" fmla="*/ 21 h 24"/>
                <a:gd name="T44" fmla="*/ 1 w 21"/>
                <a:gd name="T45" fmla="*/ 16 h 24"/>
                <a:gd name="T46" fmla="*/ 0 w 21"/>
                <a:gd name="T47" fmla="*/ 12 h 24"/>
                <a:gd name="T48" fmla="*/ 0 w 21"/>
                <a:gd name="T4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24">
                  <a:moveTo>
                    <a:pt x="0" y="12"/>
                  </a:move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13" y="1"/>
                  </a:lnTo>
                  <a:lnTo>
                    <a:pt x="18" y="3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7"/>
                  </a:lnTo>
                  <a:lnTo>
                    <a:pt x="18" y="10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0" y="21"/>
                  </a:lnTo>
                  <a:lnTo>
                    <a:pt x="9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2" name="Freeform 111">
              <a:extLst>
                <a:ext uri="{FF2B5EF4-FFF2-40B4-BE49-F238E27FC236}">
                  <a16:creationId xmlns:a16="http://schemas.microsoft.com/office/drawing/2014/main" id="{A715EE42-D9CD-284F-8484-8F93C7F8A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8988" y="3536950"/>
              <a:ext cx="30163" cy="38100"/>
            </a:xfrm>
            <a:custGeom>
              <a:avLst/>
              <a:gdLst>
                <a:gd name="T0" fmla="*/ 6 w 19"/>
                <a:gd name="T1" fmla="*/ 0 h 24"/>
                <a:gd name="T2" fmla="*/ 6 w 19"/>
                <a:gd name="T3" fmla="*/ 0 h 24"/>
                <a:gd name="T4" fmla="*/ 12 w 19"/>
                <a:gd name="T5" fmla="*/ 3 h 24"/>
                <a:gd name="T6" fmla="*/ 16 w 19"/>
                <a:gd name="T7" fmla="*/ 6 h 24"/>
                <a:gd name="T8" fmla="*/ 19 w 19"/>
                <a:gd name="T9" fmla="*/ 9 h 24"/>
                <a:gd name="T10" fmla="*/ 19 w 19"/>
                <a:gd name="T11" fmla="*/ 9 h 24"/>
                <a:gd name="T12" fmla="*/ 19 w 19"/>
                <a:gd name="T13" fmla="*/ 18 h 24"/>
                <a:gd name="T14" fmla="*/ 19 w 19"/>
                <a:gd name="T15" fmla="*/ 23 h 24"/>
                <a:gd name="T16" fmla="*/ 19 w 19"/>
                <a:gd name="T17" fmla="*/ 24 h 24"/>
                <a:gd name="T18" fmla="*/ 19 w 19"/>
                <a:gd name="T19" fmla="*/ 24 h 24"/>
                <a:gd name="T20" fmla="*/ 16 w 19"/>
                <a:gd name="T21" fmla="*/ 24 h 24"/>
                <a:gd name="T22" fmla="*/ 14 w 19"/>
                <a:gd name="T23" fmla="*/ 23 h 24"/>
                <a:gd name="T24" fmla="*/ 6 w 19"/>
                <a:gd name="T25" fmla="*/ 17 h 24"/>
                <a:gd name="T26" fmla="*/ 6 w 19"/>
                <a:gd name="T27" fmla="*/ 17 h 24"/>
                <a:gd name="T28" fmla="*/ 3 w 19"/>
                <a:gd name="T29" fmla="*/ 12 h 24"/>
                <a:gd name="T30" fmla="*/ 2 w 19"/>
                <a:gd name="T31" fmla="*/ 6 h 24"/>
                <a:gd name="T32" fmla="*/ 0 w 19"/>
                <a:gd name="T33" fmla="*/ 3 h 24"/>
                <a:gd name="T34" fmla="*/ 2 w 19"/>
                <a:gd name="T35" fmla="*/ 0 h 24"/>
                <a:gd name="T36" fmla="*/ 3 w 19"/>
                <a:gd name="T37" fmla="*/ 0 h 24"/>
                <a:gd name="T38" fmla="*/ 6 w 19"/>
                <a:gd name="T39" fmla="*/ 0 h 24"/>
                <a:gd name="T40" fmla="*/ 6 w 19"/>
                <a:gd name="T4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" h="24">
                  <a:moveTo>
                    <a:pt x="6" y="0"/>
                  </a:moveTo>
                  <a:lnTo>
                    <a:pt x="6" y="0"/>
                  </a:lnTo>
                  <a:lnTo>
                    <a:pt x="12" y="3"/>
                  </a:lnTo>
                  <a:lnTo>
                    <a:pt x="16" y="6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8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14" y="23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3" y="12"/>
                  </a:lnTo>
                  <a:lnTo>
                    <a:pt x="2" y="6"/>
                  </a:lnTo>
                  <a:lnTo>
                    <a:pt x="0" y="3"/>
                  </a:lnTo>
                  <a:lnTo>
                    <a:pt x="2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3" name="Freeform 112">
              <a:extLst>
                <a:ext uri="{FF2B5EF4-FFF2-40B4-BE49-F238E27FC236}">
                  <a16:creationId xmlns:a16="http://schemas.microsoft.com/office/drawing/2014/main" id="{ACF8EC32-EC27-2740-ABDB-43CDD0D16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3150" y="8216900"/>
              <a:ext cx="127000" cy="131762"/>
            </a:xfrm>
            <a:custGeom>
              <a:avLst/>
              <a:gdLst>
                <a:gd name="T0" fmla="*/ 9 w 80"/>
                <a:gd name="T1" fmla="*/ 16 h 83"/>
                <a:gd name="T2" fmla="*/ 9 w 80"/>
                <a:gd name="T3" fmla="*/ 16 h 83"/>
                <a:gd name="T4" fmla="*/ 12 w 80"/>
                <a:gd name="T5" fmla="*/ 11 h 83"/>
                <a:gd name="T6" fmla="*/ 22 w 80"/>
                <a:gd name="T7" fmla="*/ 6 h 83"/>
                <a:gd name="T8" fmla="*/ 28 w 80"/>
                <a:gd name="T9" fmla="*/ 3 h 83"/>
                <a:gd name="T10" fmla="*/ 34 w 80"/>
                <a:gd name="T11" fmla="*/ 0 h 83"/>
                <a:gd name="T12" fmla="*/ 40 w 80"/>
                <a:gd name="T13" fmla="*/ 0 h 83"/>
                <a:gd name="T14" fmla="*/ 46 w 80"/>
                <a:gd name="T15" fmla="*/ 1 h 83"/>
                <a:gd name="T16" fmla="*/ 46 w 80"/>
                <a:gd name="T17" fmla="*/ 1 h 83"/>
                <a:gd name="T18" fmla="*/ 55 w 80"/>
                <a:gd name="T19" fmla="*/ 6 h 83"/>
                <a:gd name="T20" fmla="*/ 62 w 80"/>
                <a:gd name="T21" fmla="*/ 11 h 83"/>
                <a:gd name="T22" fmla="*/ 67 w 80"/>
                <a:gd name="T23" fmla="*/ 19 h 83"/>
                <a:gd name="T24" fmla="*/ 70 w 80"/>
                <a:gd name="T25" fmla="*/ 26 h 83"/>
                <a:gd name="T26" fmla="*/ 70 w 80"/>
                <a:gd name="T27" fmla="*/ 26 h 83"/>
                <a:gd name="T28" fmla="*/ 73 w 80"/>
                <a:gd name="T29" fmla="*/ 47 h 83"/>
                <a:gd name="T30" fmla="*/ 74 w 80"/>
                <a:gd name="T31" fmla="*/ 56 h 83"/>
                <a:gd name="T32" fmla="*/ 77 w 80"/>
                <a:gd name="T33" fmla="*/ 62 h 83"/>
                <a:gd name="T34" fmla="*/ 77 w 80"/>
                <a:gd name="T35" fmla="*/ 62 h 83"/>
                <a:gd name="T36" fmla="*/ 80 w 80"/>
                <a:gd name="T37" fmla="*/ 69 h 83"/>
                <a:gd name="T38" fmla="*/ 80 w 80"/>
                <a:gd name="T39" fmla="*/ 75 h 83"/>
                <a:gd name="T40" fmla="*/ 77 w 80"/>
                <a:gd name="T41" fmla="*/ 81 h 83"/>
                <a:gd name="T42" fmla="*/ 74 w 80"/>
                <a:gd name="T43" fmla="*/ 83 h 83"/>
                <a:gd name="T44" fmla="*/ 71 w 80"/>
                <a:gd name="T45" fmla="*/ 83 h 83"/>
                <a:gd name="T46" fmla="*/ 71 w 80"/>
                <a:gd name="T47" fmla="*/ 83 h 83"/>
                <a:gd name="T48" fmla="*/ 64 w 80"/>
                <a:gd name="T49" fmla="*/ 83 h 83"/>
                <a:gd name="T50" fmla="*/ 55 w 80"/>
                <a:gd name="T51" fmla="*/ 83 h 83"/>
                <a:gd name="T52" fmla="*/ 47 w 80"/>
                <a:gd name="T53" fmla="*/ 81 h 83"/>
                <a:gd name="T54" fmla="*/ 41 w 80"/>
                <a:gd name="T55" fmla="*/ 81 h 83"/>
                <a:gd name="T56" fmla="*/ 41 w 80"/>
                <a:gd name="T57" fmla="*/ 81 h 83"/>
                <a:gd name="T58" fmla="*/ 37 w 80"/>
                <a:gd name="T59" fmla="*/ 81 h 83"/>
                <a:gd name="T60" fmla="*/ 33 w 80"/>
                <a:gd name="T61" fmla="*/ 80 h 83"/>
                <a:gd name="T62" fmla="*/ 31 w 80"/>
                <a:gd name="T63" fmla="*/ 77 h 83"/>
                <a:gd name="T64" fmla="*/ 30 w 80"/>
                <a:gd name="T65" fmla="*/ 71 h 83"/>
                <a:gd name="T66" fmla="*/ 30 w 80"/>
                <a:gd name="T67" fmla="*/ 71 h 83"/>
                <a:gd name="T68" fmla="*/ 30 w 80"/>
                <a:gd name="T69" fmla="*/ 63 h 83"/>
                <a:gd name="T70" fmla="*/ 28 w 80"/>
                <a:gd name="T71" fmla="*/ 56 h 83"/>
                <a:gd name="T72" fmla="*/ 25 w 80"/>
                <a:gd name="T73" fmla="*/ 50 h 83"/>
                <a:gd name="T74" fmla="*/ 22 w 80"/>
                <a:gd name="T75" fmla="*/ 48 h 83"/>
                <a:gd name="T76" fmla="*/ 19 w 80"/>
                <a:gd name="T77" fmla="*/ 47 h 83"/>
                <a:gd name="T78" fmla="*/ 19 w 80"/>
                <a:gd name="T79" fmla="*/ 47 h 83"/>
                <a:gd name="T80" fmla="*/ 13 w 80"/>
                <a:gd name="T81" fmla="*/ 47 h 83"/>
                <a:gd name="T82" fmla="*/ 7 w 80"/>
                <a:gd name="T83" fmla="*/ 44 h 83"/>
                <a:gd name="T84" fmla="*/ 3 w 80"/>
                <a:gd name="T85" fmla="*/ 40 h 83"/>
                <a:gd name="T86" fmla="*/ 1 w 80"/>
                <a:gd name="T87" fmla="*/ 37 h 83"/>
                <a:gd name="T88" fmla="*/ 0 w 80"/>
                <a:gd name="T89" fmla="*/ 34 h 83"/>
                <a:gd name="T90" fmla="*/ 0 w 80"/>
                <a:gd name="T91" fmla="*/ 34 h 83"/>
                <a:gd name="T92" fmla="*/ 1 w 80"/>
                <a:gd name="T93" fmla="*/ 28 h 83"/>
                <a:gd name="T94" fmla="*/ 4 w 80"/>
                <a:gd name="T95" fmla="*/ 22 h 83"/>
                <a:gd name="T96" fmla="*/ 9 w 80"/>
                <a:gd name="T97" fmla="*/ 16 h 83"/>
                <a:gd name="T98" fmla="*/ 9 w 80"/>
                <a:gd name="T99" fmla="*/ 1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0" h="83">
                  <a:moveTo>
                    <a:pt x="9" y="16"/>
                  </a:moveTo>
                  <a:lnTo>
                    <a:pt x="9" y="16"/>
                  </a:lnTo>
                  <a:lnTo>
                    <a:pt x="12" y="11"/>
                  </a:lnTo>
                  <a:lnTo>
                    <a:pt x="22" y="6"/>
                  </a:lnTo>
                  <a:lnTo>
                    <a:pt x="28" y="3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55" y="6"/>
                  </a:lnTo>
                  <a:lnTo>
                    <a:pt x="62" y="11"/>
                  </a:lnTo>
                  <a:lnTo>
                    <a:pt x="67" y="19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3" y="47"/>
                  </a:lnTo>
                  <a:lnTo>
                    <a:pt x="74" y="56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80" y="69"/>
                  </a:lnTo>
                  <a:lnTo>
                    <a:pt x="80" y="75"/>
                  </a:lnTo>
                  <a:lnTo>
                    <a:pt x="77" y="81"/>
                  </a:lnTo>
                  <a:lnTo>
                    <a:pt x="74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64" y="83"/>
                  </a:lnTo>
                  <a:lnTo>
                    <a:pt x="55" y="83"/>
                  </a:lnTo>
                  <a:lnTo>
                    <a:pt x="47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7" y="81"/>
                  </a:lnTo>
                  <a:lnTo>
                    <a:pt x="33" y="80"/>
                  </a:lnTo>
                  <a:lnTo>
                    <a:pt x="31" y="77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63"/>
                  </a:lnTo>
                  <a:lnTo>
                    <a:pt x="28" y="56"/>
                  </a:lnTo>
                  <a:lnTo>
                    <a:pt x="25" y="50"/>
                  </a:lnTo>
                  <a:lnTo>
                    <a:pt x="22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3" y="47"/>
                  </a:lnTo>
                  <a:lnTo>
                    <a:pt x="7" y="44"/>
                  </a:lnTo>
                  <a:lnTo>
                    <a:pt x="3" y="40"/>
                  </a:lnTo>
                  <a:lnTo>
                    <a:pt x="1" y="3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22"/>
                  </a:lnTo>
                  <a:lnTo>
                    <a:pt x="9" y="16"/>
                  </a:lnTo>
                  <a:lnTo>
                    <a:pt x="9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4" name="Freeform 113">
              <a:extLst>
                <a:ext uri="{FF2B5EF4-FFF2-40B4-BE49-F238E27FC236}">
                  <a16:creationId xmlns:a16="http://schemas.microsoft.com/office/drawing/2014/main" id="{7A00262F-9184-5B48-AD2F-176711422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2750" y="8281988"/>
              <a:ext cx="66675" cy="122237"/>
            </a:xfrm>
            <a:custGeom>
              <a:avLst/>
              <a:gdLst>
                <a:gd name="T0" fmla="*/ 11 w 42"/>
                <a:gd name="T1" fmla="*/ 28 h 77"/>
                <a:gd name="T2" fmla="*/ 11 w 42"/>
                <a:gd name="T3" fmla="*/ 28 h 77"/>
                <a:gd name="T4" fmla="*/ 11 w 42"/>
                <a:gd name="T5" fmla="*/ 19 h 77"/>
                <a:gd name="T6" fmla="*/ 12 w 42"/>
                <a:gd name="T7" fmla="*/ 10 h 77"/>
                <a:gd name="T8" fmla="*/ 14 w 42"/>
                <a:gd name="T9" fmla="*/ 5 h 77"/>
                <a:gd name="T10" fmla="*/ 14 w 42"/>
                <a:gd name="T11" fmla="*/ 5 h 77"/>
                <a:gd name="T12" fmla="*/ 15 w 42"/>
                <a:gd name="T13" fmla="*/ 3 h 77"/>
                <a:gd name="T14" fmla="*/ 20 w 42"/>
                <a:gd name="T15" fmla="*/ 2 h 77"/>
                <a:gd name="T16" fmla="*/ 27 w 42"/>
                <a:gd name="T17" fmla="*/ 0 h 77"/>
                <a:gd name="T18" fmla="*/ 34 w 42"/>
                <a:gd name="T19" fmla="*/ 2 h 77"/>
                <a:gd name="T20" fmla="*/ 37 w 42"/>
                <a:gd name="T21" fmla="*/ 3 h 77"/>
                <a:gd name="T22" fmla="*/ 39 w 42"/>
                <a:gd name="T23" fmla="*/ 6 h 77"/>
                <a:gd name="T24" fmla="*/ 39 w 42"/>
                <a:gd name="T25" fmla="*/ 6 h 77"/>
                <a:gd name="T26" fmla="*/ 40 w 42"/>
                <a:gd name="T27" fmla="*/ 13 h 77"/>
                <a:gd name="T28" fmla="*/ 42 w 42"/>
                <a:gd name="T29" fmla="*/ 22 h 77"/>
                <a:gd name="T30" fmla="*/ 40 w 42"/>
                <a:gd name="T31" fmla="*/ 31 h 77"/>
                <a:gd name="T32" fmla="*/ 39 w 42"/>
                <a:gd name="T33" fmla="*/ 34 h 77"/>
                <a:gd name="T34" fmla="*/ 37 w 42"/>
                <a:gd name="T35" fmla="*/ 37 h 77"/>
                <a:gd name="T36" fmla="*/ 37 w 42"/>
                <a:gd name="T37" fmla="*/ 37 h 77"/>
                <a:gd name="T38" fmla="*/ 34 w 42"/>
                <a:gd name="T39" fmla="*/ 42 h 77"/>
                <a:gd name="T40" fmla="*/ 33 w 42"/>
                <a:gd name="T41" fmla="*/ 47 h 77"/>
                <a:gd name="T42" fmla="*/ 34 w 42"/>
                <a:gd name="T43" fmla="*/ 58 h 77"/>
                <a:gd name="T44" fmla="*/ 34 w 42"/>
                <a:gd name="T45" fmla="*/ 58 h 77"/>
                <a:gd name="T46" fmla="*/ 33 w 42"/>
                <a:gd name="T47" fmla="*/ 65 h 77"/>
                <a:gd name="T48" fmla="*/ 31 w 42"/>
                <a:gd name="T49" fmla="*/ 73 h 77"/>
                <a:gd name="T50" fmla="*/ 27 w 42"/>
                <a:gd name="T51" fmla="*/ 77 h 77"/>
                <a:gd name="T52" fmla="*/ 25 w 42"/>
                <a:gd name="T53" fmla="*/ 77 h 77"/>
                <a:gd name="T54" fmla="*/ 22 w 42"/>
                <a:gd name="T55" fmla="*/ 76 h 77"/>
                <a:gd name="T56" fmla="*/ 22 w 42"/>
                <a:gd name="T57" fmla="*/ 76 h 77"/>
                <a:gd name="T58" fmla="*/ 17 w 42"/>
                <a:gd name="T59" fmla="*/ 73 h 77"/>
                <a:gd name="T60" fmla="*/ 12 w 42"/>
                <a:gd name="T61" fmla="*/ 70 h 77"/>
                <a:gd name="T62" fmla="*/ 5 w 42"/>
                <a:gd name="T63" fmla="*/ 68 h 77"/>
                <a:gd name="T64" fmla="*/ 5 w 42"/>
                <a:gd name="T65" fmla="*/ 68 h 77"/>
                <a:gd name="T66" fmla="*/ 3 w 42"/>
                <a:gd name="T67" fmla="*/ 67 h 77"/>
                <a:gd name="T68" fmla="*/ 2 w 42"/>
                <a:gd name="T69" fmla="*/ 62 h 77"/>
                <a:gd name="T70" fmla="*/ 0 w 42"/>
                <a:gd name="T71" fmla="*/ 58 h 77"/>
                <a:gd name="T72" fmla="*/ 0 w 42"/>
                <a:gd name="T73" fmla="*/ 53 h 77"/>
                <a:gd name="T74" fmla="*/ 2 w 42"/>
                <a:gd name="T75" fmla="*/ 50 h 77"/>
                <a:gd name="T76" fmla="*/ 2 w 42"/>
                <a:gd name="T77" fmla="*/ 50 h 77"/>
                <a:gd name="T78" fmla="*/ 8 w 42"/>
                <a:gd name="T79" fmla="*/ 39 h 77"/>
                <a:gd name="T80" fmla="*/ 11 w 42"/>
                <a:gd name="T81" fmla="*/ 28 h 77"/>
                <a:gd name="T82" fmla="*/ 11 w 42"/>
                <a:gd name="T83" fmla="*/ 2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" h="77">
                  <a:moveTo>
                    <a:pt x="11" y="28"/>
                  </a:moveTo>
                  <a:lnTo>
                    <a:pt x="11" y="28"/>
                  </a:lnTo>
                  <a:lnTo>
                    <a:pt x="11" y="19"/>
                  </a:lnTo>
                  <a:lnTo>
                    <a:pt x="12" y="10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3"/>
                  </a:lnTo>
                  <a:lnTo>
                    <a:pt x="20" y="2"/>
                  </a:lnTo>
                  <a:lnTo>
                    <a:pt x="27" y="0"/>
                  </a:lnTo>
                  <a:lnTo>
                    <a:pt x="34" y="2"/>
                  </a:lnTo>
                  <a:lnTo>
                    <a:pt x="37" y="3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13"/>
                  </a:lnTo>
                  <a:lnTo>
                    <a:pt x="42" y="22"/>
                  </a:lnTo>
                  <a:lnTo>
                    <a:pt x="40" y="31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4" y="42"/>
                  </a:lnTo>
                  <a:lnTo>
                    <a:pt x="33" y="4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65"/>
                  </a:lnTo>
                  <a:lnTo>
                    <a:pt x="31" y="73"/>
                  </a:lnTo>
                  <a:lnTo>
                    <a:pt x="27" y="77"/>
                  </a:lnTo>
                  <a:lnTo>
                    <a:pt x="25" y="77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17" y="73"/>
                  </a:lnTo>
                  <a:lnTo>
                    <a:pt x="12" y="70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3" y="67"/>
                  </a:lnTo>
                  <a:lnTo>
                    <a:pt x="2" y="62"/>
                  </a:lnTo>
                  <a:lnTo>
                    <a:pt x="0" y="58"/>
                  </a:lnTo>
                  <a:lnTo>
                    <a:pt x="0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8" y="39"/>
                  </a:lnTo>
                  <a:lnTo>
                    <a:pt x="11" y="28"/>
                  </a:lnTo>
                  <a:lnTo>
                    <a:pt x="1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5" name="Freeform 114">
              <a:extLst>
                <a:ext uri="{FF2B5EF4-FFF2-40B4-BE49-F238E27FC236}">
                  <a16:creationId xmlns:a16="http://schemas.microsoft.com/office/drawing/2014/main" id="{9B834741-763A-9949-9A54-CA86BB46B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0675" y="3375025"/>
              <a:ext cx="34925" cy="23812"/>
            </a:xfrm>
            <a:custGeom>
              <a:avLst/>
              <a:gdLst>
                <a:gd name="T0" fmla="*/ 9 w 22"/>
                <a:gd name="T1" fmla="*/ 2 h 15"/>
                <a:gd name="T2" fmla="*/ 9 w 22"/>
                <a:gd name="T3" fmla="*/ 2 h 15"/>
                <a:gd name="T4" fmla="*/ 15 w 22"/>
                <a:gd name="T5" fmla="*/ 0 h 15"/>
                <a:gd name="T6" fmla="*/ 19 w 22"/>
                <a:gd name="T7" fmla="*/ 0 h 15"/>
                <a:gd name="T8" fmla="*/ 22 w 22"/>
                <a:gd name="T9" fmla="*/ 2 h 15"/>
                <a:gd name="T10" fmla="*/ 22 w 22"/>
                <a:gd name="T11" fmla="*/ 2 h 15"/>
                <a:gd name="T12" fmla="*/ 22 w 22"/>
                <a:gd name="T13" fmla="*/ 5 h 15"/>
                <a:gd name="T14" fmla="*/ 21 w 22"/>
                <a:gd name="T15" fmla="*/ 9 h 15"/>
                <a:gd name="T16" fmla="*/ 18 w 22"/>
                <a:gd name="T17" fmla="*/ 12 h 15"/>
                <a:gd name="T18" fmla="*/ 15 w 22"/>
                <a:gd name="T19" fmla="*/ 15 h 15"/>
                <a:gd name="T20" fmla="*/ 15 w 22"/>
                <a:gd name="T21" fmla="*/ 15 h 15"/>
                <a:gd name="T22" fmla="*/ 9 w 22"/>
                <a:gd name="T23" fmla="*/ 15 h 15"/>
                <a:gd name="T24" fmla="*/ 5 w 22"/>
                <a:gd name="T25" fmla="*/ 15 h 15"/>
                <a:gd name="T26" fmla="*/ 2 w 22"/>
                <a:gd name="T27" fmla="*/ 13 h 15"/>
                <a:gd name="T28" fmla="*/ 0 w 22"/>
                <a:gd name="T29" fmla="*/ 12 h 15"/>
                <a:gd name="T30" fmla="*/ 0 w 22"/>
                <a:gd name="T31" fmla="*/ 12 h 15"/>
                <a:gd name="T32" fmla="*/ 0 w 22"/>
                <a:gd name="T33" fmla="*/ 11 h 15"/>
                <a:gd name="T34" fmla="*/ 0 w 22"/>
                <a:gd name="T35" fmla="*/ 8 h 15"/>
                <a:gd name="T36" fmla="*/ 3 w 22"/>
                <a:gd name="T37" fmla="*/ 5 h 15"/>
                <a:gd name="T38" fmla="*/ 9 w 22"/>
                <a:gd name="T39" fmla="*/ 2 h 15"/>
                <a:gd name="T40" fmla="*/ 9 w 22"/>
                <a:gd name="T4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5">
                  <a:moveTo>
                    <a:pt x="9" y="2"/>
                  </a:moveTo>
                  <a:lnTo>
                    <a:pt x="9" y="2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5"/>
                  </a:lnTo>
                  <a:lnTo>
                    <a:pt x="21" y="9"/>
                  </a:lnTo>
                  <a:lnTo>
                    <a:pt x="18" y="12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9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8"/>
                  </a:lnTo>
                  <a:lnTo>
                    <a:pt x="3" y="5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6" name="Freeform 115">
              <a:extLst>
                <a:ext uri="{FF2B5EF4-FFF2-40B4-BE49-F238E27FC236}">
                  <a16:creationId xmlns:a16="http://schemas.microsoft.com/office/drawing/2014/main" id="{3487D2EA-04D1-B640-B257-9A3995155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0038" y="3359150"/>
              <a:ext cx="34925" cy="25400"/>
            </a:xfrm>
            <a:custGeom>
              <a:avLst/>
              <a:gdLst>
                <a:gd name="T0" fmla="*/ 4 w 22"/>
                <a:gd name="T1" fmla="*/ 1 h 16"/>
                <a:gd name="T2" fmla="*/ 4 w 22"/>
                <a:gd name="T3" fmla="*/ 1 h 16"/>
                <a:gd name="T4" fmla="*/ 12 w 22"/>
                <a:gd name="T5" fmla="*/ 0 h 16"/>
                <a:gd name="T6" fmla="*/ 18 w 22"/>
                <a:gd name="T7" fmla="*/ 1 h 16"/>
                <a:gd name="T8" fmla="*/ 21 w 22"/>
                <a:gd name="T9" fmla="*/ 3 h 16"/>
                <a:gd name="T10" fmla="*/ 21 w 22"/>
                <a:gd name="T11" fmla="*/ 3 h 16"/>
                <a:gd name="T12" fmla="*/ 22 w 22"/>
                <a:gd name="T13" fmla="*/ 7 h 16"/>
                <a:gd name="T14" fmla="*/ 22 w 22"/>
                <a:gd name="T15" fmla="*/ 9 h 16"/>
                <a:gd name="T16" fmla="*/ 22 w 22"/>
                <a:gd name="T17" fmla="*/ 12 h 16"/>
                <a:gd name="T18" fmla="*/ 22 w 22"/>
                <a:gd name="T19" fmla="*/ 12 h 16"/>
                <a:gd name="T20" fmla="*/ 16 w 22"/>
                <a:gd name="T21" fmla="*/ 15 h 16"/>
                <a:gd name="T22" fmla="*/ 9 w 22"/>
                <a:gd name="T23" fmla="*/ 16 h 16"/>
                <a:gd name="T24" fmla="*/ 9 w 22"/>
                <a:gd name="T25" fmla="*/ 16 h 16"/>
                <a:gd name="T26" fmla="*/ 3 w 22"/>
                <a:gd name="T27" fmla="*/ 13 h 16"/>
                <a:gd name="T28" fmla="*/ 1 w 22"/>
                <a:gd name="T29" fmla="*/ 10 h 16"/>
                <a:gd name="T30" fmla="*/ 0 w 22"/>
                <a:gd name="T31" fmla="*/ 9 h 16"/>
                <a:gd name="T32" fmla="*/ 0 w 22"/>
                <a:gd name="T33" fmla="*/ 9 h 16"/>
                <a:gd name="T34" fmla="*/ 0 w 22"/>
                <a:gd name="T35" fmla="*/ 4 h 16"/>
                <a:gd name="T36" fmla="*/ 1 w 22"/>
                <a:gd name="T37" fmla="*/ 3 h 16"/>
                <a:gd name="T38" fmla="*/ 4 w 22"/>
                <a:gd name="T39" fmla="*/ 1 h 16"/>
                <a:gd name="T40" fmla="*/ 4 w 22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6">
                  <a:moveTo>
                    <a:pt x="4" y="1"/>
                  </a:moveTo>
                  <a:lnTo>
                    <a:pt x="4" y="1"/>
                  </a:lnTo>
                  <a:lnTo>
                    <a:pt x="12" y="0"/>
                  </a:lnTo>
                  <a:lnTo>
                    <a:pt x="18" y="1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6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4"/>
                  </a:lnTo>
                  <a:lnTo>
                    <a:pt x="1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7" name="Freeform 116">
              <a:extLst>
                <a:ext uri="{FF2B5EF4-FFF2-40B4-BE49-F238E27FC236}">
                  <a16:creationId xmlns:a16="http://schemas.microsoft.com/office/drawing/2014/main" id="{06C2F775-4785-024A-8250-040F4D7A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3032125"/>
              <a:ext cx="139700" cy="244475"/>
            </a:xfrm>
            <a:custGeom>
              <a:avLst/>
              <a:gdLst>
                <a:gd name="T0" fmla="*/ 0 w 88"/>
                <a:gd name="T1" fmla="*/ 0 h 154"/>
                <a:gd name="T2" fmla="*/ 0 w 88"/>
                <a:gd name="T3" fmla="*/ 0 h 154"/>
                <a:gd name="T4" fmla="*/ 9 w 88"/>
                <a:gd name="T5" fmla="*/ 21 h 154"/>
                <a:gd name="T6" fmla="*/ 18 w 88"/>
                <a:gd name="T7" fmla="*/ 35 h 154"/>
                <a:gd name="T8" fmla="*/ 25 w 88"/>
                <a:gd name="T9" fmla="*/ 47 h 154"/>
                <a:gd name="T10" fmla="*/ 25 w 88"/>
                <a:gd name="T11" fmla="*/ 47 h 154"/>
                <a:gd name="T12" fmla="*/ 31 w 88"/>
                <a:gd name="T13" fmla="*/ 55 h 154"/>
                <a:gd name="T14" fmla="*/ 36 w 88"/>
                <a:gd name="T15" fmla="*/ 64 h 154"/>
                <a:gd name="T16" fmla="*/ 39 w 88"/>
                <a:gd name="T17" fmla="*/ 73 h 154"/>
                <a:gd name="T18" fmla="*/ 40 w 88"/>
                <a:gd name="T19" fmla="*/ 81 h 154"/>
                <a:gd name="T20" fmla="*/ 40 w 88"/>
                <a:gd name="T21" fmla="*/ 81 h 154"/>
                <a:gd name="T22" fmla="*/ 40 w 88"/>
                <a:gd name="T23" fmla="*/ 90 h 154"/>
                <a:gd name="T24" fmla="*/ 37 w 88"/>
                <a:gd name="T25" fmla="*/ 102 h 154"/>
                <a:gd name="T26" fmla="*/ 37 w 88"/>
                <a:gd name="T27" fmla="*/ 102 h 154"/>
                <a:gd name="T28" fmla="*/ 37 w 88"/>
                <a:gd name="T29" fmla="*/ 111 h 154"/>
                <a:gd name="T30" fmla="*/ 39 w 88"/>
                <a:gd name="T31" fmla="*/ 118 h 154"/>
                <a:gd name="T32" fmla="*/ 42 w 88"/>
                <a:gd name="T33" fmla="*/ 126 h 154"/>
                <a:gd name="T34" fmla="*/ 48 w 88"/>
                <a:gd name="T35" fmla="*/ 132 h 154"/>
                <a:gd name="T36" fmla="*/ 48 w 88"/>
                <a:gd name="T37" fmla="*/ 132 h 154"/>
                <a:gd name="T38" fmla="*/ 64 w 88"/>
                <a:gd name="T39" fmla="*/ 141 h 154"/>
                <a:gd name="T40" fmla="*/ 70 w 88"/>
                <a:gd name="T41" fmla="*/ 145 h 154"/>
                <a:gd name="T42" fmla="*/ 74 w 88"/>
                <a:gd name="T43" fmla="*/ 148 h 154"/>
                <a:gd name="T44" fmla="*/ 74 w 88"/>
                <a:gd name="T45" fmla="*/ 148 h 154"/>
                <a:gd name="T46" fmla="*/ 76 w 88"/>
                <a:gd name="T47" fmla="*/ 150 h 154"/>
                <a:gd name="T48" fmla="*/ 79 w 88"/>
                <a:gd name="T49" fmla="*/ 151 h 154"/>
                <a:gd name="T50" fmla="*/ 88 w 88"/>
                <a:gd name="T5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8" h="154">
                  <a:moveTo>
                    <a:pt x="0" y="0"/>
                  </a:moveTo>
                  <a:lnTo>
                    <a:pt x="0" y="0"/>
                  </a:lnTo>
                  <a:lnTo>
                    <a:pt x="9" y="21"/>
                  </a:lnTo>
                  <a:lnTo>
                    <a:pt x="18" y="35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31" y="55"/>
                  </a:lnTo>
                  <a:lnTo>
                    <a:pt x="36" y="64"/>
                  </a:lnTo>
                  <a:lnTo>
                    <a:pt x="39" y="73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90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11"/>
                  </a:lnTo>
                  <a:lnTo>
                    <a:pt x="39" y="118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64" y="141"/>
                  </a:lnTo>
                  <a:lnTo>
                    <a:pt x="70" y="145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6" y="150"/>
                  </a:lnTo>
                  <a:lnTo>
                    <a:pt x="79" y="151"/>
                  </a:lnTo>
                  <a:lnTo>
                    <a:pt x="88" y="154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8" name="Freeform 117">
              <a:extLst>
                <a:ext uri="{FF2B5EF4-FFF2-40B4-BE49-F238E27FC236}">
                  <a16:creationId xmlns:a16="http://schemas.microsoft.com/office/drawing/2014/main" id="{4924090A-FEE1-034D-A443-24282853B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6775" y="6130925"/>
              <a:ext cx="171450" cy="234950"/>
            </a:xfrm>
            <a:custGeom>
              <a:avLst/>
              <a:gdLst>
                <a:gd name="T0" fmla="*/ 44 w 108"/>
                <a:gd name="T1" fmla="*/ 0 h 148"/>
                <a:gd name="T2" fmla="*/ 44 w 108"/>
                <a:gd name="T3" fmla="*/ 0 h 148"/>
                <a:gd name="T4" fmla="*/ 47 w 108"/>
                <a:gd name="T5" fmla="*/ 1 h 148"/>
                <a:gd name="T6" fmla="*/ 52 w 108"/>
                <a:gd name="T7" fmla="*/ 6 h 148"/>
                <a:gd name="T8" fmla="*/ 53 w 108"/>
                <a:gd name="T9" fmla="*/ 9 h 148"/>
                <a:gd name="T10" fmla="*/ 55 w 108"/>
                <a:gd name="T11" fmla="*/ 12 h 148"/>
                <a:gd name="T12" fmla="*/ 55 w 108"/>
                <a:gd name="T13" fmla="*/ 16 h 148"/>
                <a:gd name="T14" fmla="*/ 55 w 108"/>
                <a:gd name="T15" fmla="*/ 21 h 148"/>
                <a:gd name="T16" fmla="*/ 55 w 108"/>
                <a:gd name="T17" fmla="*/ 21 h 148"/>
                <a:gd name="T18" fmla="*/ 50 w 108"/>
                <a:gd name="T19" fmla="*/ 30 h 148"/>
                <a:gd name="T20" fmla="*/ 49 w 108"/>
                <a:gd name="T21" fmla="*/ 37 h 148"/>
                <a:gd name="T22" fmla="*/ 49 w 108"/>
                <a:gd name="T23" fmla="*/ 40 h 148"/>
                <a:gd name="T24" fmla="*/ 52 w 108"/>
                <a:gd name="T25" fmla="*/ 43 h 148"/>
                <a:gd name="T26" fmla="*/ 55 w 108"/>
                <a:gd name="T27" fmla="*/ 46 h 148"/>
                <a:gd name="T28" fmla="*/ 58 w 108"/>
                <a:gd name="T29" fmla="*/ 47 h 148"/>
                <a:gd name="T30" fmla="*/ 58 w 108"/>
                <a:gd name="T31" fmla="*/ 47 h 148"/>
                <a:gd name="T32" fmla="*/ 66 w 108"/>
                <a:gd name="T33" fmla="*/ 50 h 148"/>
                <a:gd name="T34" fmla="*/ 69 w 108"/>
                <a:gd name="T35" fmla="*/ 53 h 148"/>
                <a:gd name="T36" fmla="*/ 72 w 108"/>
                <a:gd name="T37" fmla="*/ 56 h 148"/>
                <a:gd name="T38" fmla="*/ 74 w 108"/>
                <a:gd name="T39" fmla="*/ 62 h 148"/>
                <a:gd name="T40" fmla="*/ 74 w 108"/>
                <a:gd name="T41" fmla="*/ 62 h 148"/>
                <a:gd name="T42" fmla="*/ 77 w 108"/>
                <a:gd name="T43" fmla="*/ 70 h 148"/>
                <a:gd name="T44" fmla="*/ 81 w 108"/>
                <a:gd name="T45" fmla="*/ 72 h 148"/>
                <a:gd name="T46" fmla="*/ 95 w 108"/>
                <a:gd name="T47" fmla="*/ 75 h 148"/>
                <a:gd name="T48" fmla="*/ 95 w 108"/>
                <a:gd name="T49" fmla="*/ 75 h 148"/>
                <a:gd name="T50" fmla="*/ 102 w 108"/>
                <a:gd name="T51" fmla="*/ 78 h 148"/>
                <a:gd name="T52" fmla="*/ 108 w 108"/>
                <a:gd name="T53" fmla="*/ 83 h 148"/>
                <a:gd name="T54" fmla="*/ 108 w 108"/>
                <a:gd name="T55" fmla="*/ 84 h 148"/>
                <a:gd name="T56" fmla="*/ 108 w 108"/>
                <a:gd name="T57" fmla="*/ 86 h 148"/>
                <a:gd name="T58" fmla="*/ 106 w 108"/>
                <a:gd name="T59" fmla="*/ 87 h 148"/>
                <a:gd name="T60" fmla="*/ 103 w 108"/>
                <a:gd name="T61" fmla="*/ 89 h 148"/>
                <a:gd name="T62" fmla="*/ 103 w 108"/>
                <a:gd name="T63" fmla="*/ 89 h 148"/>
                <a:gd name="T64" fmla="*/ 87 w 108"/>
                <a:gd name="T65" fmla="*/ 92 h 148"/>
                <a:gd name="T66" fmla="*/ 81 w 108"/>
                <a:gd name="T67" fmla="*/ 95 h 148"/>
                <a:gd name="T68" fmla="*/ 80 w 108"/>
                <a:gd name="T69" fmla="*/ 96 h 148"/>
                <a:gd name="T70" fmla="*/ 80 w 108"/>
                <a:gd name="T71" fmla="*/ 99 h 148"/>
                <a:gd name="T72" fmla="*/ 80 w 108"/>
                <a:gd name="T73" fmla="*/ 99 h 148"/>
                <a:gd name="T74" fmla="*/ 78 w 108"/>
                <a:gd name="T75" fmla="*/ 105 h 148"/>
                <a:gd name="T76" fmla="*/ 74 w 108"/>
                <a:gd name="T77" fmla="*/ 112 h 148"/>
                <a:gd name="T78" fmla="*/ 66 w 108"/>
                <a:gd name="T79" fmla="*/ 120 h 148"/>
                <a:gd name="T80" fmla="*/ 56 w 108"/>
                <a:gd name="T81" fmla="*/ 126 h 148"/>
                <a:gd name="T82" fmla="*/ 56 w 108"/>
                <a:gd name="T83" fmla="*/ 126 h 148"/>
                <a:gd name="T84" fmla="*/ 22 w 108"/>
                <a:gd name="T85" fmla="*/ 139 h 148"/>
                <a:gd name="T86" fmla="*/ 0 w 108"/>
                <a:gd name="T8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8" h="148">
                  <a:moveTo>
                    <a:pt x="44" y="0"/>
                  </a:moveTo>
                  <a:lnTo>
                    <a:pt x="44" y="0"/>
                  </a:lnTo>
                  <a:lnTo>
                    <a:pt x="47" y="1"/>
                  </a:lnTo>
                  <a:lnTo>
                    <a:pt x="52" y="6"/>
                  </a:lnTo>
                  <a:lnTo>
                    <a:pt x="53" y="9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0" y="30"/>
                  </a:lnTo>
                  <a:lnTo>
                    <a:pt x="49" y="37"/>
                  </a:lnTo>
                  <a:lnTo>
                    <a:pt x="49" y="40"/>
                  </a:lnTo>
                  <a:lnTo>
                    <a:pt x="52" y="43"/>
                  </a:lnTo>
                  <a:lnTo>
                    <a:pt x="55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66" y="50"/>
                  </a:lnTo>
                  <a:lnTo>
                    <a:pt x="69" y="53"/>
                  </a:lnTo>
                  <a:lnTo>
                    <a:pt x="72" y="56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7" y="70"/>
                  </a:lnTo>
                  <a:lnTo>
                    <a:pt x="81" y="72"/>
                  </a:lnTo>
                  <a:lnTo>
                    <a:pt x="95" y="75"/>
                  </a:lnTo>
                  <a:lnTo>
                    <a:pt x="95" y="75"/>
                  </a:lnTo>
                  <a:lnTo>
                    <a:pt x="102" y="78"/>
                  </a:lnTo>
                  <a:lnTo>
                    <a:pt x="108" y="83"/>
                  </a:lnTo>
                  <a:lnTo>
                    <a:pt x="108" y="84"/>
                  </a:lnTo>
                  <a:lnTo>
                    <a:pt x="108" y="86"/>
                  </a:lnTo>
                  <a:lnTo>
                    <a:pt x="106" y="87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87" y="92"/>
                  </a:lnTo>
                  <a:lnTo>
                    <a:pt x="81" y="95"/>
                  </a:lnTo>
                  <a:lnTo>
                    <a:pt x="80" y="96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78" y="105"/>
                  </a:lnTo>
                  <a:lnTo>
                    <a:pt x="74" y="112"/>
                  </a:lnTo>
                  <a:lnTo>
                    <a:pt x="66" y="120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22" y="139"/>
                  </a:lnTo>
                  <a:lnTo>
                    <a:pt x="0" y="14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9" name="Freeform 118">
              <a:extLst>
                <a:ext uri="{FF2B5EF4-FFF2-40B4-BE49-F238E27FC236}">
                  <a16:creationId xmlns:a16="http://schemas.microsoft.com/office/drawing/2014/main" id="{1FD8CEE5-9722-654F-8419-9D56FEF3D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350" y="6621463"/>
              <a:ext cx="166688" cy="177800"/>
            </a:xfrm>
            <a:custGeom>
              <a:avLst/>
              <a:gdLst>
                <a:gd name="T0" fmla="*/ 0 w 105"/>
                <a:gd name="T1" fmla="*/ 112 h 112"/>
                <a:gd name="T2" fmla="*/ 0 w 105"/>
                <a:gd name="T3" fmla="*/ 112 h 112"/>
                <a:gd name="T4" fmla="*/ 9 w 105"/>
                <a:gd name="T5" fmla="*/ 104 h 112"/>
                <a:gd name="T6" fmla="*/ 22 w 105"/>
                <a:gd name="T7" fmla="*/ 94 h 112"/>
                <a:gd name="T8" fmla="*/ 22 w 105"/>
                <a:gd name="T9" fmla="*/ 94 h 112"/>
                <a:gd name="T10" fmla="*/ 28 w 105"/>
                <a:gd name="T11" fmla="*/ 91 h 112"/>
                <a:gd name="T12" fmla="*/ 34 w 105"/>
                <a:gd name="T13" fmla="*/ 91 h 112"/>
                <a:gd name="T14" fmla="*/ 40 w 105"/>
                <a:gd name="T15" fmla="*/ 89 h 112"/>
                <a:gd name="T16" fmla="*/ 47 w 105"/>
                <a:gd name="T17" fmla="*/ 85 h 112"/>
                <a:gd name="T18" fmla="*/ 47 w 105"/>
                <a:gd name="T19" fmla="*/ 85 h 112"/>
                <a:gd name="T20" fmla="*/ 51 w 105"/>
                <a:gd name="T21" fmla="*/ 80 h 112"/>
                <a:gd name="T22" fmla="*/ 56 w 105"/>
                <a:gd name="T23" fmla="*/ 75 h 112"/>
                <a:gd name="T24" fmla="*/ 59 w 105"/>
                <a:gd name="T25" fmla="*/ 69 h 112"/>
                <a:gd name="T26" fmla="*/ 63 w 105"/>
                <a:gd name="T27" fmla="*/ 66 h 112"/>
                <a:gd name="T28" fmla="*/ 63 w 105"/>
                <a:gd name="T29" fmla="*/ 66 h 112"/>
                <a:gd name="T30" fmla="*/ 68 w 105"/>
                <a:gd name="T31" fmla="*/ 61 h 112"/>
                <a:gd name="T32" fmla="*/ 72 w 105"/>
                <a:gd name="T33" fmla="*/ 55 h 112"/>
                <a:gd name="T34" fmla="*/ 84 w 105"/>
                <a:gd name="T35" fmla="*/ 42 h 112"/>
                <a:gd name="T36" fmla="*/ 84 w 105"/>
                <a:gd name="T37" fmla="*/ 42 h 112"/>
                <a:gd name="T38" fmla="*/ 90 w 105"/>
                <a:gd name="T39" fmla="*/ 37 h 112"/>
                <a:gd name="T40" fmla="*/ 96 w 105"/>
                <a:gd name="T41" fmla="*/ 33 h 112"/>
                <a:gd name="T42" fmla="*/ 100 w 105"/>
                <a:gd name="T43" fmla="*/ 30 h 112"/>
                <a:gd name="T44" fmla="*/ 103 w 105"/>
                <a:gd name="T45" fmla="*/ 26 h 112"/>
                <a:gd name="T46" fmla="*/ 103 w 105"/>
                <a:gd name="T47" fmla="*/ 26 h 112"/>
                <a:gd name="T48" fmla="*/ 103 w 105"/>
                <a:gd name="T49" fmla="*/ 20 h 112"/>
                <a:gd name="T50" fmla="*/ 103 w 105"/>
                <a:gd name="T51" fmla="*/ 15 h 112"/>
                <a:gd name="T52" fmla="*/ 103 w 105"/>
                <a:gd name="T53" fmla="*/ 15 h 112"/>
                <a:gd name="T54" fmla="*/ 105 w 105"/>
                <a:gd name="T55" fmla="*/ 9 h 112"/>
                <a:gd name="T56" fmla="*/ 105 w 105"/>
                <a:gd name="T57" fmla="*/ 6 h 112"/>
                <a:gd name="T58" fmla="*/ 103 w 105"/>
                <a:gd name="T59" fmla="*/ 5 h 112"/>
                <a:gd name="T60" fmla="*/ 103 w 105"/>
                <a:gd name="T61" fmla="*/ 5 h 112"/>
                <a:gd name="T62" fmla="*/ 100 w 105"/>
                <a:gd name="T63" fmla="*/ 3 h 112"/>
                <a:gd name="T64" fmla="*/ 94 w 105"/>
                <a:gd name="T65" fmla="*/ 3 h 112"/>
                <a:gd name="T66" fmla="*/ 86 w 105"/>
                <a:gd name="T67" fmla="*/ 5 h 112"/>
                <a:gd name="T68" fmla="*/ 86 w 105"/>
                <a:gd name="T69" fmla="*/ 5 h 112"/>
                <a:gd name="T70" fmla="*/ 80 w 105"/>
                <a:gd name="T71" fmla="*/ 3 h 112"/>
                <a:gd name="T72" fmla="*/ 75 w 105"/>
                <a:gd name="T7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5" h="112">
                  <a:moveTo>
                    <a:pt x="0" y="112"/>
                  </a:moveTo>
                  <a:lnTo>
                    <a:pt x="0" y="112"/>
                  </a:lnTo>
                  <a:lnTo>
                    <a:pt x="9" y="10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8" y="91"/>
                  </a:lnTo>
                  <a:lnTo>
                    <a:pt x="34" y="91"/>
                  </a:lnTo>
                  <a:lnTo>
                    <a:pt x="40" y="89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51" y="80"/>
                  </a:lnTo>
                  <a:lnTo>
                    <a:pt x="56" y="75"/>
                  </a:lnTo>
                  <a:lnTo>
                    <a:pt x="59" y="69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8" y="61"/>
                  </a:lnTo>
                  <a:lnTo>
                    <a:pt x="72" y="55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37"/>
                  </a:lnTo>
                  <a:lnTo>
                    <a:pt x="96" y="33"/>
                  </a:lnTo>
                  <a:lnTo>
                    <a:pt x="100" y="30"/>
                  </a:lnTo>
                  <a:lnTo>
                    <a:pt x="103" y="26"/>
                  </a:lnTo>
                  <a:lnTo>
                    <a:pt x="103" y="26"/>
                  </a:lnTo>
                  <a:lnTo>
                    <a:pt x="103" y="20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5" y="9"/>
                  </a:lnTo>
                  <a:lnTo>
                    <a:pt x="105" y="6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0" y="3"/>
                  </a:lnTo>
                  <a:lnTo>
                    <a:pt x="94" y="3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0" y="3"/>
                  </a:lnTo>
                  <a:lnTo>
                    <a:pt x="75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0" name="Freeform 119">
              <a:extLst>
                <a:ext uri="{FF2B5EF4-FFF2-40B4-BE49-F238E27FC236}">
                  <a16:creationId xmlns:a16="http://schemas.microsoft.com/office/drawing/2014/main" id="{47CF5F1A-DC6C-D744-AAAB-83EE936D9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088" y="6565900"/>
              <a:ext cx="196850" cy="160337"/>
            </a:xfrm>
            <a:custGeom>
              <a:avLst/>
              <a:gdLst>
                <a:gd name="T0" fmla="*/ 99 w 124"/>
                <a:gd name="T1" fmla="*/ 0 h 101"/>
                <a:gd name="T2" fmla="*/ 99 w 124"/>
                <a:gd name="T3" fmla="*/ 0 h 101"/>
                <a:gd name="T4" fmla="*/ 112 w 124"/>
                <a:gd name="T5" fmla="*/ 9 h 101"/>
                <a:gd name="T6" fmla="*/ 121 w 124"/>
                <a:gd name="T7" fmla="*/ 18 h 101"/>
                <a:gd name="T8" fmla="*/ 123 w 124"/>
                <a:gd name="T9" fmla="*/ 21 h 101"/>
                <a:gd name="T10" fmla="*/ 124 w 124"/>
                <a:gd name="T11" fmla="*/ 24 h 101"/>
                <a:gd name="T12" fmla="*/ 124 w 124"/>
                <a:gd name="T13" fmla="*/ 24 h 101"/>
                <a:gd name="T14" fmla="*/ 121 w 124"/>
                <a:gd name="T15" fmla="*/ 30 h 101"/>
                <a:gd name="T16" fmla="*/ 118 w 124"/>
                <a:gd name="T17" fmla="*/ 35 h 101"/>
                <a:gd name="T18" fmla="*/ 118 w 124"/>
                <a:gd name="T19" fmla="*/ 35 h 101"/>
                <a:gd name="T20" fmla="*/ 115 w 124"/>
                <a:gd name="T21" fmla="*/ 40 h 101"/>
                <a:gd name="T22" fmla="*/ 112 w 124"/>
                <a:gd name="T23" fmla="*/ 44 h 101"/>
                <a:gd name="T24" fmla="*/ 108 w 124"/>
                <a:gd name="T25" fmla="*/ 46 h 101"/>
                <a:gd name="T26" fmla="*/ 105 w 124"/>
                <a:gd name="T27" fmla="*/ 46 h 101"/>
                <a:gd name="T28" fmla="*/ 105 w 124"/>
                <a:gd name="T29" fmla="*/ 46 h 101"/>
                <a:gd name="T30" fmla="*/ 93 w 124"/>
                <a:gd name="T31" fmla="*/ 38 h 101"/>
                <a:gd name="T32" fmla="*/ 87 w 124"/>
                <a:gd name="T33" fmla="*/ 35 h 101"/>
                <a:gd name="T34" fmla="*/ 83 w 124"/>
                <a:gd name="T35" fmla="*/ 35 h 101"/>
                <a:gd name="T36" fmla="*/ 83 w 124"/>
                <a:gd name="T37" fmla="*/ 35 h 101"/>
                <a:gd name="T38" fmla="*/ 78 w 124"/>
                <a:gd name="T39" fmla="*/ 38 h 101"/>
                <a:gd name="T40" fmla="*/ 74 w 124"/>
                <a:gd name="T41" fmla="*/ 41 h 101"/>
                <a:gd name="T42" fmla="*/ 71 w 124"/>
                <a:gd name="T43" fmla="*/ 46 h 101"/>
                <a:gd name="T44" fmla="*/ 71 w 124"/>
                <a:gd name="T45" fmla="*/ 52 h 101"/>
                <a:gd name="T46" fmla="*/ 71 w 124"/>
                <a:gd name="T47" fmla="*/ 52 h 101"/>
                <a:gd name="T48" fmla="*/ 71 w 124"/>
                <a:gd name="T49" fmla="*/ 61 h 101"/>
                <a:gd name="T50" fmla="*/ 68 w 124"/>
                <a:gd name="T51" fmla="*/ 77 h 101"/>
                <a:gd name="T52" fmla="*/ 62 w 124"/>
                <a:gd name="T53" fmla="*/ 93 h 101"/>
                <a:gd name="T54" fmla="*/ 59 w 124"/>
                <a:gd name="T55" fmla="*/ 98 h 101"/>
                <a:gd name="T56" fmla="*/ 57 w 124"/>
                <a:gd name="T57" fmla="*/ 101 h 101"/>
                <a:gd name="T58" fmla="*/ 57 w 124"/>
                <a:gd name="T59" fmla="*/ 101 h 101"/>
                <a:gd name="T60" fmla="*/ 52 w 124"/>
                <a:gd name="T61" fmla="*/ 99 h 101"/>
                <a:gd name="T62" fmla="*/ 46 w 124"/>
                <a:gd name="T63" fmla="*/ 96 h 101"/>
                <a:gd name="T64" fmla="*/ 40 w 124"/>
                <a:gd name="T65" fmla="*/ 93 h 101"/>
                <a:gd name="T66" fmla="*/ 40 w 124"/>
                <a:gd name="T67" fmla="*/ 93 h 101"/>
                <a:gd name="T68" fmla="*/ 0 w 124"/>
                <a:gd name="T69" fmla="*/ 9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01">
                  <a:moveTo>
                    <a:pt x="99" y="0"/>
                  </a:moveTo>
                  <a:lnTo>
                    <a:pt x="99" y="0"/>
                  </a:lnTo>
                  <a:lnTo>
                    <a:pt x="112" y="9"/>
                  </a:lnTo>
                  <a:lnTo>
                    <a:pt x="121" y="18"/>
                  </a:lnTo>
                  <a:lnTo>
                    <a:pt x="123" y="21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1" y="30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5" y="40"/>
                  </a:lnTo>
                  <a:lnTo>
                    <a:pt x="112" y="44"/>
                  </a:lnTo>
                  <a:lnTo>
                    <a:pt x="108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93" y="38"/>
                  </a:lnTo>
                  <a:lnTo>
                    <a:pt x="87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78" y="38"/>
                  </a:lnTo>
                  <a:lnTo>
                    <a:pt x="74" y="41"/>
                  </a:lnTo>
                  <a:lnTo>
                    <a:pt x="71" y="46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1" y="61"/>
                  </a:lnTo>
                  <a:lnTo>
                    <a:pt x="68" y="77"/>
                  </a:lnTo>
                  <a:lnTo>
                    <a:pt x="62" y="93"/>
                  </a:lnTo>
                  <a:lnTo>
                    <a:pt x="59" y="98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2" y="99"/>
                  </a:lnTo>
                  <a:lnTo>
                    <a:pt x="46" y="96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0" y="9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1" name="Freeform 120">
              <a:extLst>
                <a:ext uri="{FF2B5EF4-FFF2-40B4-BE49-F238E27FC236}">
                  <a16:creationId xmlns:a16="http://schemas.microsoft.com/office/drawing/2014/main" id="{23E8FE31-C5EC-5F43-A7AA-11FDC2746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700" y="6410325"/>
              <a:ext cx="230188" cy="198437"/>
            </a:xfrm>
            <a:custGeom>
              <a:avLst/>
              <a:gdLst>
                <a:gd name="T0" fmla="*/ 52 w 145"/>
                <a:gd name="T1" fmla="*/ 0 h 125"/>
                <a:gd name="T2" fmla="*/ 55 w 145"/>
                <a:gd name="T3" fmla="*/ 11 h 125"/>
                <a:gd name="T4" fmla="*/ 59 w 145"/>
                <a:gd name="T5" fmla="*/ 11 h 125"/>
                <a:gd name="T6" fmla="*/ 65 w 145"/>
                <a:gd name="T7" fmla="*/ 8 h 125"/>
                <a:gd name="T8" fmla="*/ 74 w 145"/>
                <a:gd name="T9" fmla="*/ 8 h 125"/>
                <a:gd name="T10" fmla="*/ 79 w 145"/>
                <a:gd name="T11" fmla="*/ 11 h 125"/>
                <a:gd name="T12" fmla="*/ 83 w 145"/>
                <a:gd name="T13" fmla="*/ 18 h 125"/>
                <a:gd name="T14" fmla="*/ 82 w 145"/>
                <a:gd name="T15" fmla="*/ 28 h 125"/>
                <a:gd name="T16" fmla="*/ 86 w 145"/>
                <a:gd name="T17" fmla="*/ 40 h 125"/>
                <a:gd name="T18" fmla="*/ 95 w 145"/>
                <a:gd name="T19" fmla="*/ 48 h 125"/>
                <a:gd name="T20" fmla="*/ 101 w 145"/>
                <a:gd name="T21" fmla="*/ 49 h 125"/>
                <a:gd name="T22" fmla="*/ 114 w 145"/>
                <a:gd name="T23" fmla="*/ 53 h 125"/>
                <a:gd name="T24" fmla="*/ 120 w 145"/>
                <a:gd name="T25" fmla="*/ 58 h 125"/>
                <a:gd name="T26" fmla="*/ 136 w 145"/>
                <a:gd name="T27" fmla="*/ 74 h 125"/>
                <a:gd name="T28" fmla="*/ 141 w 145"/>
                <a:gd name="T29" fmla="*/ 77 h 125"/>
                <a:gd name="T30" fmla="*/ 145 w 145"/>
                <a:gd name="T31" fmla="*/ 83 h 125"/>
                <a:gd name="T32" fmla="*/ 139 w 145"/>
                <a:gd name="T33" fmla="*/ 91 h 125"/>
                <a:gd name="T34" fmla="*/ 135 w 145"/>
                <a:gd name="T35" fmla="*/ 93 h 125"/>
                <a:gd name="T36" fmla="*/ 132 w 145"/>
                <a:gd name="T37" fmla="*/ 98 h 125"/>
                <a:gd name="T38" fmla="*/ 130 w 145"/>
                <a:gd name="T39" fmla="*/ 108 h 125"/>
                <a:gd name="T40" fmla="*/ 130 w 145"/>
                <a:gd name="T41" fmla="*/ 113 h 125"/>
                <a:gd name="T42" fmla="*/ 125 w 145"/>
                <a:gd name="T43" fmla="*/ 123 h 125"/>
                <a:gd name="T44" fmla="*/ 117 w 145"/>
                <a:gd name="T45" fmla="*/ 125 h 125"/>
                <a:gd name="T46" fmla="*/ 92 w 145"/>
                <a:gd name="T47" fmla="*/ 120 h 125"/>
                <a:gd name="T48" fmla="*/ 82 w 145"/>
                <a:gd name="T49" fmla="*/ 117 h 125"/>
                <a:gd name="T50" fmla="*/ 71 w 145"/>
                <a:gd name="T51" fmla="*/ 114 h 125"/>
                <a:gd name="T52" fmla="*/ 58 w 145"/>
                <a:gd name="T53" fmla="*/ 116 h 125"/>
                <a:gd name="T54" fmla="*/ 48 w 145"/>
                <a:gd name="T55" fmla="*/ 114 h 125"/>
                <a:gd name="T56" fmla="*/ 43 w 145"/>
                <a:gd name="T57" fmla="*/ 113 h 125"/>
                <a:gd name="T58" fmla="*/ 27 w 145"/>
                <a:gd name="T59" fmla="*/ 110 h 125"/>
                <a:gd name="T60" fmla="*/ 21 w 145"/>
                <a:gd name="T61" fmla="*/ 108 h 125"/>
                <a:gd name="T62" fmla="*/ 0 w 145"/>
                <a:gd name="T63" fmla="*/ 9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25">
                  <a:moveTo>
                    <a:pt x="52" y="0"/>
                  </a:moveTo>
                  <a:lnTo>
                    <a:pt x="52" y="0"/>
                  </a:lnTo>
                  <a:lnTo>
                    <a:pt x="52" y="8"/>
                  </a:lnTo>
                  <a:lnTo>
                    <a:pt x="55" y="11"/>
                  </a:lnTo>
                  <a:lnTo>
                    <a:pt x="56" y="12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5" y="8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2" y="13"/>
                  </a:lnTo>
                  <a:lnTo>
                    <a:pt x="83" y="1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3" y="34"/>
                  </a:lnTo>
                  <a:lnTo>
                    <a:pt x="86" y="40"/>
                  </a:lnTo>
                  <a:lnTo>
                    <a:pt x="90" y="45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101" y="49"/>
                  </a:lnTo>
                  <a:lnTo>
                    <a:pt x="107" y="51"/>
                  </a:lnTo>
                  <a:lnTo>
                    <a:pt x="114" y="53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30" y="70"/>
                  </a:lnTo>
                  <a:lnTo>
                    <a:pt x="136" y="74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44" y="80"/>
                  </a:lnTo>
                  <a:lnTo>
                    <a:pt x="145" y="83"/>
                  </a:lnTo>
                  <a:lnTo>
                    <a:pt x="145" y="86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35" y="93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0" y="102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13"/>
                  </a:lnTo>
                  <a:lnTo>
                    <a:pt x="129" y="119"/>
                  </a:lnTo>
                  <a:lnTo>
                    <a:pt x="125" y="123"/>
                  </a:lnTo>
                  <a:lnTo>
                    <a:pt x="122" y="123"/>
                  </a:lnTo>
                  <a:lnTo>
                    <a:pt x="117" y="125"/>
                  </a:lnTo>
                  <a:lnTo>
                    <a:pt x="117" y="125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82" y="117"/>
                  </a:lnTo>
                  <a:lnTo>
                    <a:pt x="76" y="114"/>
                  </a:lnTo>
                  <a:lnTo>
                    <a:pt x="71" y="114"/>
                  </a:lnTo>
                  <a:lnTo>
                    <a:pt x="71" y="114"/>
                  </a:lnTo>
                  <a:lnTo>
                    <a:pt x="58" y="116"/>
                  </a:lnTo>
                  <a:lnTo>
                    <a:pt x="50" y="116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3" y="113"/>
                  </a:lnTo>
                  <a:lnTo>
                    <a:pt x="34" y="111"/>
                  </a:lnTo>
                  <a:lnTo>
                    <a:pt x="27" y="11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9" y="101"/>
                  </a:lnTo>
                  <a:lnTo>
                    <a:pt x="0" y="9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2" name="Freeform 121">
              <a:extLst>
                <a:ext uri="{FF2B5EF4-FFF2-40B4-BE49-F238E27FC236}">
                  <a16:creationId xmlns:a16="http://schemas.microsoft.com/office/drawing/2014/main" id="{5923C22C-D9F8-6943-931D-4AAD8E34F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488" y="6223000"/>
              <a:ext cx="187325" cy="217487"/>
            </a:xfrm>
            <a:custGeom>
              <a:avLst/>
              <a:gdLst>
                <a:gd name="T0" fmla="*/ 80 w 118"/>
                <a:gd name="T1" fmla="*/ 0 h 137"/>
                <a:gd name="T2" fmla="*/ 101 w 118"/>
                <a:gd name="T3" fmla="*/ 19 h 137"/>
                <a:gd name="T4" fmla="*/ 101 w 118"/>
                <a:gd name="T5" fmla="*/ 19 h 137"/>
                <a:gd name="T6" fmla="*/ 98 w 118"/>
                <a:gd name="T7" fmla="*/ 23 h 137"/>
                <a:gd name="T8" fmla="*/ 95 w 118"/>
                <a:gd name="T9" fmla="*/ 28 h 137"/>
                <a:gd name="T10" fmla="*/ 93 w 118"/>
                <a:gd name="T11" fmla="*/ 32 h 137"/>
                <a:gd name="T12" fmla="*/ 93 w 118"/>
                <a:gd name="T13" fmla="*/ 32 h 137"/>
                <a:gd name="T14" fmla="*/ 93 w 118"/>
                <a:gd name="T15" fmla="*/ 34 h 137"/>
                <a:gd name="T16" fmla="*/ 95 w 118"/>
                <a:gd name="T17" fmla="*/ 37 h 137"/>
                <a:gd name="T18" fmla="*/ 101 w 118"/>
                <a:gd name="T19" fmla="*/ 44 h 137"/>
                <a:gd name="T20" fmla="*/ 101 w 118"/>
                <a:gd name="T21" fmla="*/ 44 h 137"/>
                <a:gd name="T22" fmla="*/ 113 w 118"/>
                <a:gd name="T23" fmla="*/ 57 h 137"/>
                <a:gd name="T24" fmla="*/ 117 w 118"/>
                <a:gd name="T25" fmla="*/ 63 h 137"/>
                <a:gd name="T26" fmla="*/ 118 w 118"/>
                <a:gd name="T27" fmla="*/ 68 h 137"/>
                <a:gd name="T28" fmla="*/ 118 w 118"/>
                <a:gd name="T29" fmla="*/ 68 h 137"/>
                <a:gd name="T30" fmla="*/ 117 w 118"/>
                <a:gd name="T31" fmla="*/ 71 h 137"/>
                <a:gd name="T32" fmla="*/ 116 w 118"/>
                <a:gd name="T33" fmla="*/ 74 h 137"/>
                <a:gd name="T34" fmla="*/ 111 w 118"/>
                <a:gd name="T35" fmla="*/ 77 h 137"/>
                <a:gd name="T36" fmla="*/ 104 w 118"/>
                <a:gd name="T37" fmla="*/ 77 h 137"/>
                <a:gd name="T38" fmla="*/ 104 w 118"/>
                <a:gd name="T39" fmla="*/ 77 h 137"/>
                <a:gd name="T40" fmla="*/ 95 w 118"/>
                <a:gd name="T41" fmla="*/ 80 h 137"/>
                <a:gd name="T42" fmla="*/ 89 w 118"/>
                <a:gd name="T43" fmla="*/ 83 h 137"/>
                <a:gd name="T44" fmla="*/ 87 w 118"/>
                <a:gd name="T45" fmla="*/ 86 h 137"/>
                <a:gd name="T46" fmla="*/ 86 w 118"/>
                <a:gd name="T47" fmla="*/ 89 h 137"/>
                <a:gd name="T48" fmla="*/ 86 w 118"/>
                <a:gd name="T49" fmla="*/ 90 h 137"/>
                <a:gd name="T50" fmla="*/ 87 w 118"/>
                <a:gd name="T51" fmla="*/ 93 h 137"/>
                <a:gd name="T52" fmla="*/ 87 w 118"/>
                <a:gd name="T53" fmla="*/ 93 h 137"/>
                <a:gd name="T54" fmla="*/ 93 w 118"/>
                <a:gd name="T55" fmla="*/ 96 h 137"/>
                <a:gd name="T56" fmla="*/ 96 w 118"/>
                <a:gd name="T57" fmla="*/ 102 h 137"/>
                <a:gd name="T58" fmla="*/ 98 w 118"/>
                <a:gd name="T59" fmla="*/ 108 h 137"/>
                <a:gd name="T60" fmla="*/ 96 w 118"/>
                <a:gd name="T61" fmla="*/ 109 h 137"/>
                <a:gd name="T62" fmla="*/ 95 w 118"/>
                <a:gd name="T63" fmla="*/ 111 h 137"/>
                <a:gd name="T64" fmla="*/ 95 w 118"/>
                <a:gd name="T65" fmla="*/ 111 h 137"/>
                <a:gd name="T66" fmla="*/ 87 w 118"/>
                <a:gd name="T67" fmla="*/ 115 h 137"/>
                <a:gd name="T68" fmla="*/ 83 w 118"/>
                <a:gd name="T69" fmla="*/ 118 h 137"/>
                <a:gd name="T70" fmla="*/ 83 w 118"/>
                <a:gd name="T71" fmla="*/ 118 h 137"/>
                <a:gd name="T72" fmla="*/ 79 w 118"/>
                <a:gd name="T73" fmla="*/ 118 h 137"/>
                <a:gd name="T74" fmla="*/ 73 w 118"/>
                <a:gd name="T75" fmla="*/ 118 h 137"/>
                <a:gd name="T76" fmla="*/ 73 w 118"/>
                <a:gd name="T77" fmla="*/ 118 h 137"/>
                <a:gd name="T78" fmla="*/ 55 w 118"/>
                <a:gd name="T79" fmla="*/ 114 h 137"/>
                <a:gd name="T80" fmla="*/ 44 w 118"/>
                <a:gd name="T81" fmla="*/ 112 h 137"/>
                <a:gd name="T82" fmla="*/ 41 w 118"/>
                <a:gd name="T83" fmla="*/ 114 h 137"/>
                <a:gd name="T84" fmla="*/ 37 w 118"/>
                <a:gd name="T85" fmla="*/ 115 h 137"/>
                <a:gd name="T86" fmla="*/ 37 w 118"/>
                <a:gd name="T87" fmla="*/ 115 h 137"/>
                <a:gd name="T88" fmla="*/ 33 w 118"/>
                <a:gd name="T89" fmla="*/ 121 h 137"/>
                <a:gd name="T90" fmla="*/ 28 w 118"/>
                <a:gd name="T91" fmla="*/ 126 h 137"/>
                <a:gd name="T92" fmla="*/ 27 w 118"/>
                <a:gd name="T93" fmla="*/ 129 h 137"/>
                <a:gd name="T94" fmla="*/ 24 w 118"/>
                <a:gd name="T95" fmla="*/ 131 h 137"/>
                <a:gd name="T96" fmla="*/ 24 w 118"/>
                <a:gd name="T97" fmla="*/ 131 h 137"/>
                <a:gd name="T98" fmla="*/ 10 w 118"/>
                <a:gd name="T99" fmla="*/ 136 h 137"/>
                <a:gd name="T100" fmla="*/ 0 w 118"/>
                <a:gd name="T101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37">
                  <a:moveTo>
                    <a:pt x="80" y="0"/>
                  </a:moveTo>
                  <a:lnTo>
                    <a:pt x="101" y="19"/>
                  </a:lnTo>
                  <a:lnTo>
                    <a:pt x="101" y="19"/>
                  </a:lnTo>
                  <a:lnTo>
                    <a:pt x="98" y="23"/>
                  </a:lnTo>
                  <a:lnTo>
                    <a:pt x="95" y="28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4"/>
                  </a:lnTo>
                  <a:lnTo>
                    <a:pt x="95" y="37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13" y="57"/>
                  </a:lnTo>
                  <a:lnTo>
                    <a:pt x="117" y="63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7" y="71"/>
                  </a:lnTo>
                  <a:lnTo>
                    <a:pt x="116" y="74"/>
                  </a:lnTo>
                  <a:lnTo>
                    <a:pt x="111" y="77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95" y="80"/>
                  </a:lnTo>
                  <a:lnTo>
                    <a:pt x="89" y="83"/>
                  </a:lnTo>
                  <a:lnTo>
                    <a:pt x="87" y="86"/>
                  </a:lnTo>
                  <a:lnTo>
                    <a:pt x="86" y="89"/>
                  </a:lnTo>
                  <a:lnTo>
                    <a:pt x="86" y="90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93" y="96"/>
                  </a:lnTo>
                  <a:lnTo>
                    <a:pt x="96" y="102"/>
                  </a:lnTo>
                  <a:lnTo>
                    <a:pt x="98" y="108"/>
                  </a:lnTo>
                  <a:lnTo>
                    <a:pt x="96" y="109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87" y="115"/>
                  </a:lnTo>
                  <a:lnTo>
                    <a:pt x="83" y="118"/>
                  </a:lnTo>
                  <a:lnTo>
                    <a:pt x="83" y="118"/>
                  </a:lnTo>
                  <a:lnTo>
                    <a:pt x="79" y="118"/>
                  </a:lnTo>
                  <a:lnTo>
                    <a:pt x="73" y="118"/>
                  </a:lnTo>
                  <a:lnTo>
                    <a:pt x="73" y="118"/>
                  </a:lnTo>
                  <a:lnTo>
                    <a:pt x="55" y="114"/>
                  </a:lnTo>
                  <a:lnTo>
                    <a:pt x="44" y="112"/>
                  </a:lnTo>
                  <a:lnTo>
                    <a:pt x="41" y="114"/>
                  </a:lnTo>
                  <a:lnTo>
                    <a:pt x="37" y="115"/>
                  </a:lnTo>
                  <a:lnTo>
                    <a:pt x="37" y="115"/>
                  </a:lnTo>
                  <a:lnTo>
                    <a:pt x="33" y="121"/>
                  </a:lnTo>
                  <a:lnTo>
                    <a:pt x="28" y="126"/>
                  </a:lnTo>
                  <a:lnTo>
                    <a:pt x="27" y="129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10" y="136"/>
                  </a:lnTo>
                  <a:lnTo>
                    <a:pt x="0" y="13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3" name="Freeform 122">
              <a:extLst>
                <a:ext uri="{FF2B5EF4-FFF2-40B4-BE49-F238E27FC236}">
                  <a16:creationId xmlns:a16="http://schemas.microsoft.com/office/drawing/2014/main" id="{ABA650F4-6DF1-B747-BBEA-E66D975D3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5867400"/>
              <a:ext cx="196850" cy="279400"/>
            </a:xfrm>
            <a:custGeom>
              <a:avLst/>
              <a:gdLst>
                <a:gd name="T0" fmla="*/ 40 w 124"/>
                <a:gd name="T1" fmla="*/ 0 h 176"/>
                <a:gd name="T2" fmla="*/ 28 w 124"/>
                <a:gd name="T3" fmla="*/ 12 h 176"/>
                <a:gd name="T4" fmla="*/ 26 w 124"/>
                <a:gd name="T5" fmla="*/ 19 h 176"/>
                <a:gd name="T6" fmla="*/ 31 w 124"/>
                <a:gd name="T7" fmla="*/ 28 h 176"/>
                <a:gd name="T8" fmla="*/ 44 w 124"/>
                <a:gd name="T9" fmla="*/ 49 h 176"/>
                <a:gd name="T10" fmla="*/ 52 w 124"/>
                <a:gd name="T11" fmla="*/ 55 h 176"/>
                <a:gd name="T12" fmla="*/ 56 w 124"/>
                <a:gd name="T13" fmla="*/ 55 h 176"/>
                <a:gd name="T14" fmla="*/ 63 w 124"/>
                <a:gd name="T15" fmla="*/ 52 h 176"/>
                <a:gd name="T16" fmla="*/ 69 w 124"/>
                <a:gd name="T17" fmla="*/ 53 h 176"/>
                <a:gd name="T18" fmla="*/ 75 w 124"/>
                <a:gd name="T19" fmla="*/ 56 h 176"/>
                <a:gd name="T20" fmla="*/ 80 w 124"/>
                <a:gd name="T21" fmla="*/ 65 h 176"/>
                <a:gd name="T22" fmla="*/ 83 w 124"/>
                <a:gd name="T23" fmla="*/ 70 h 176"/>
                <a:gd name="T24" fmla="*/ 89 w 124"/>
                <a:gd name="T25" fmla="*/ 74 h 176"/>
                <a:gd name="T26" fmla="*/ 90 w 124"/>
                <a:gd name="T27" fmla="*/ 82 h 176"/>
                <a:gd name="T28" fmla="*/ 87 w 124"/>
                <a:gd name="T29" fmla="*/ 87 h 176"/>
                <a:gd name="T30" fmla="*/ 77 w 124"/>
                <a:gd name="T31" fmla="*/ 90 h 176"/>
                <a:gd name="T32" fmla="*/ 68 w 124"/>
                <a:gd name="T33" fmla="*/ 96 h 176"/>
                <a:gd name="T34" fmla="*/ 60 w 124"/>
                <a:gd name="T35" fmla="*/ 105 h 176"/>
                <a:gd name="T36" fmla="*/ 49 w 124"/>
                <a:gd name="T37" fmla="*/ 123 h 176"/>
                <a:gd name="T38" fmla="*/ 43 w 124"/>
                <a:gd name="T39" fmla="*/ 127 h 176"/>
                <a:gd name="T40" fmla="*/ 34 w 124"/>
                <a:gd name="T41" fmla="*/ 127 h 176"/>
                <a:gd name="T42" fmla="*/ 25 w 124"/>
                <a:gd name="T43" fmla="*/ 124 h 176"/>
                <a:gd name="T44" fmla="*/ 12 w 124"/>
                <a:gd name="T45" fmla="*/ 119 h 176"/>
                <a:gd name="T46" fmla="*/ 6 w 124"/>
                <a:gd name="T47" fmla="*/ 120 h 176"/>
                <a:gd name="T48" fmla="*/ 4 w 124"/>
                <a:gd name="T49" fmla="*/ 132 h 176"/>
                <a:gd name="T50" fmla="*/ 3 w 124"/>
                <a:gd name="T51" fmla="*/ 148 h 176"/>
                <a:gd name="T52" fmla="*/ 0 w 124"/>
                <a:gd name="T53" fmla="*/ 167 h 176"/>
                <a:gd name="T54" fmla="*/ 3 w 124"/>
                <a:gd name="T55" fmla="*/ 175 h 176"/>
                <a:gd name="T56" fmla="*/ 7 w 124"/>
                <a:gd name="T57" fmla="*/ 176 h 176"/>
                <a:gd name="T58" fmla="*/ 28 w 124"/>
                <a:gd name="T59" fmla="*/ 175 h 176"/>
                <a:gd name="T60" fmla="*/ 41 w 124"/>
                <a:gd name="T61" fmla="*/ 169 h 176"/>
                <a:gd name="T62" fmla="*/ 43 w 124"/>
                <a:gd name="T63" fmla="*/ 166 h 176"/>
                <a:gd name="T64" fmla="*/ 46 w 124"/>
                <a:gd name="T65" fmla="*/ 157 h 176"/>
                <a:gd name="T66" fmla="*/ 52 w 124"/>
                <a:gd name="T67" fmla="*/ 154 h 176"/>
                <a:gd name="T68" fmla="*/ 54 w 124"/>
                <a:gd name="T69" fmla="*/ 154 h 176"/>
                <a:gd name="T70" fmla="*/ 60 w 124"/>
                <a:gd name="T71" fmla="*/ 147 h 176"/>
                <a:gd name="T72" fmla="*/ 69 w 124"/>
                <a:gd name="T73" fmla="*/ 136 h 176"/>
                <a:gd name="T74" fmla="*/ 72 w 124"/>
                <a:gd name="T75" fmla="*/ 136 h 176"/>
                <a:gd name="T76" fmla="*/ 75 w 124"/>
                <a:gd name="T77" fmla="*/ 136 h 176"/>
                <a:gd name="T78" fmla="*/ 80 w 124"/>
                <a:gd name="T79" fmla="*/ 144 h 176"/>
                <a:gd name="T80" fmla="*/ 80 w 124"/>
                <a:gd name="T81" fmla="*/ 151 h 176"/>
                <a:gd name="T82" fmla="*/ 83 w 124"/>
                <a:gd name="T83" fmla="*/ 159 h 176"/>
                <a:gd name="T84" fmla="*/ 89 w 124"/>
                <a:gd name="T85" fmla="*/ 163 h 176"/>
                <a:gd name="T86" fmla="*/ 96 w 124"/>
                <a:gd name="T87" fmla="*/ 166 h 176"/>
                <a:gd name="T88" fmla="*/ 102 w 124"/>
                <a:gd name="T89" fmla="*/ 163 h 176"/>
                <a:gd name="T90" fmla="*/ 115 w 124"/>
                <a:gd name="T91" fmla="*/ 139 h 176"/>
                <a:gd name="T92" fmla="*/ 124 w 124"/>
                <a:gd name="T93" fmla="*/ 117 h 176"/>
                <a:gd name="T94" fmla="*/ 123 w 124"/>
                <a:gd name="T95" fmla="*/ 110 h 176"/>
                <a:gd name="T96" fmla="*/ 111 w 124"/>
                <a:gd name="T97" fmla="*/ 84 h 176"/>
                <a:gd name="T98" fmla="*/ 106 w 124"/>
                <a:gd name="T99" fmla="*/ 76 h 176"/>
                <a:gd name="T100" fmla="*/ 100 w 124"/>
                <a:gd name="T101" fmla="*/ 56 h 176"/>
                <a:gd name="T102" fmla="*/ 97 w 124"/>
                <a:gd name="T103" fmla="*/ 52 h 176"/>
                <a:gd name="T104" fmla="*/ 86 w 124"/>
                <a:gd name="T105" fmla="*/ 44 h 176"/>
                <a:gd name="T106" fmla="*/ 57 w 124"/>
                <a:gd name="T107" fmla="*/ 31 h 176"/>
                <a:gd name="T108" fmla="*/ 47 w 124"/>
                <a:gd name="T109" fmla="*/ 22 h 176"/>
                <a:gd name="T110" fmla="*/ 43 w 124"/>
                <a:gd name="T111" fmla="*/ 15 h 176"/>
                <a:gd name="T112" fmla="*/ 40 w 124"/>
                <a:gd name="T113" fmla="*/ 2 h 176"/>
                <a:gd name="T114" fmla="*/ 40 w 124"/>
                <a:gd name="T1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4" h="176">
                  <a:moveTo>
                    <a:pt x="40" y="0"/>
                  </a:moveTo>
                  <a:lnTo>
                    <a:pt x="40" y="0"/>
                  </a:lnTo>
                  <a:lnTo>
                    <a:pt x="32" y="6"/>
                  </a:lnTo>
                  <a:lnTo>
                    <a:pt x="28" y="12"/>
                  </a:lnTo>
                  <a:lnTo>
                    <a:pt x="26" y="15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31" y="28"/>
                  </a:lnTo>
                  <a:lnTo>
                    <a:pt x="37" y="39"/>
                  </a:lnTo>
                  <a:lnTo>
                    <a:pt x="44" y="49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60" y="53"/>
                  </a:lnTo>
                  <a:lnTo>
                    <a:pt x="63" y="52"/>
                  </a:lnTo>
                  <a:lnTo>
                    <a:pt x="66" y="52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75" y="56"/>
                  </a:lnTo>
                  <a:lnTo>
                    <a:pt x="77" y="58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3" y="70"/>
                  </a:lnTo>
                  <a:lnTo>
                    <a:pt x="87" y="71"/>
                  </a:lnTo>
                  <a:lnTo>
                    <a:pt x="89" y="7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9" y="84"/>
                  </a:lnTo>
                  <a:lnTo>
                    <a:pt x="87" y="87"/>
                  </a:lnTo>
                  <a:lnTo>
                    <a:pt x="83" y="89"/>
                  </a:lnTo>
                  <a:lnTo>
                    <a:pt x="77" y="90"/>
                  </a:lnTo>
                  <a:lnTo>
                    <a:pt x="72" y="93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105"/>
                  </a:lnTo>
                  <a:lnTo>
                    <a:pt x="54" y="114"/>
                  </a:lnTo>
                  <a:lnTo>
                    <a:pt x="49" y="123"/>
                  </a:lnTo>
                  <a:lnTo>
                    <a:pt x="43" y="127"/>
                  </a:lnTo>
                  <a:lnTo>
                    <a:pt x="43" y="127"/>
                  </a:lnTo>
                  <a:lnTo>
                    <a:pt x="38" y="129"/>
                  </a:lnTo>
                  <a:lnTo>
                    <a:pt x="34" y="127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17" y="121"/>
                  </a:lnTo>
                  <a:lnTo>
                    <a:pt x="12" y="119"/>
                  </a:lnTo>
                  <a:lnTo>
                    <a:pt x="9" y="119"/>
                  </a:lnTo>
                  <a:lnTo>
                    <a:pt x="6" y="120"/>
                  </a:lnTo>
                  <a:lnTo>
                    <a:pt x="4" y="124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3" y="148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2"/>
                  </a:lnTo>
                  <a:lnTo>
                    <a:pt x="3" y="175"/>
                  </a:lnTo>
                  <a:lnTo>
                    <a:pt x="7" y="176"/>
                  </a:lnTo>
                  <a:lnTo>
                    <a:pt x="7" y="176"/>
                  </a:lnTo>
                  <a:lnTo>
                    <a:pt x="17" y="176"/>
                  </a:lnTo>
                  <a:lnTo>
                    <a:pt x="28" y="175"/>
                  </a:lnTo>
                  <a:lnTo>
                    <a:pt x="38" y="172"/>
                  </a:lnTo>
                  <a:lnTo>
                    <a:pt x="41" y="169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4" y="160"/>
                  </a:lnTo>
                  <a:lnTo>
                    <a:pt x="46" y="157"/>
                  </a:lnTo>
                  <a:lnTo>
                    <a:pt x="49" y="156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4" y="154"/>
                  </a:lnTo>
                  <a:lnTo>
                    <a:pt x="56" y="153"/>
                  </a:lnTo>
                  <a:lnTo>
                    <a:pt x="60" y="147"/>
                  </a:lnTo>
                  <a:lnTo>
                    <a:pt x="65" y="142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72" y="136"/>
                  </a:lnTo>
                  <a:lnTo>
                    <a:pt x="74" y="136"/>
                  </a:lnTo>
                  <a:lnTo>
                    <a:pt x="75" y="136"/>
                  </a:lnTo>
                  <a:lnTo>
                    <a:pt x="77" y="138"/>
                  </a:lnTo>
                  <a:lnTo>
                    <a:pt x="80" y="144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1" y="156"/>
                  </a:lnTo>
                  <a:lnTo>
                    <a:pt x="83" y="159"/>
                  </a:lnTo>
                  <a:lnTo>
                    <a:pt x="86" y="161"/>
                  </a:lnTo>
                  <a:lnTo>
                    <a:pt x="89" y="163"/>
                  </a:lnTo>
                  <a:lnTo>
                    <a:pt x="93" y="164"/>
                  </a:lnTo>
                  <a:lnTo>
                    <a:pt x="96" y="166"/>
                  </a:lnTo>
                  <a:lnTo>
                    <a:pt x="99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15" y="139"/>
                  </a:lnTo>
                  <a:lnTo>
                    <a:pt x="121" y="126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3" y="110"/>
                  </a:lnTo>
                  <a:lnTo>
                    <a:pt x="120" y="102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06" y="76"/>
                  </a:lnTo>
                  <a:lnTo>
                    <a:pt x="103" y="65"/>
                  </a:lnTo>
                  <a:lnTo>
                    <a:pt x="100" y="56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1" y="47"/>
                  </a:lnTo>
                  <a:lnTo>
                    <a:pt x="86" y="44"/>
                  </a:lnTo>
                  <a:lnTo>
                    <a:pt x="71" y="37"/>
                  </a:lnTo>
                  <a:lnTo>
                    <a:pt x="57" y="31"/>
                  </a:lnTo>
                  <a:lnTo>
                    <a:pt x="52" y="27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3" y="15"/>
                  </a:lnTo>
                  <a:lnTo>
                    <a:pt x="41" y="7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4" name="Freeform 123">
              <a:extLst>
                <a:ext uri="{FF2B5EF4-FFF2-40B4-BE49-F238E27FC236}">
                  <a16:creationId xmlns:a16="http://schemas.microsoft.com/office/drawing/2014/main" id="{D40972F4-42AD-344C-A84B-9A7EDBF07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6003925"/>
              <a:ext cx="422275" cy="249237"/>
            </a:xfrm>
            <a:custGeom>
              <a:avLst/>
              <a:gdLst>
                <a:gd name="T0" fmla="*/ 0 w 266"/>
                <a:gd name="T1" fmla="*/ 115 h 157"/>
                <a:gd name="T2" fmla="*/ 19 w 266"/>
                <a:gd name="T3" fmla="*/ 114 h 157"/>
                <a:gd name="T4" fmla="*/ 23 w 266"/>
                <a:gd name="T5" fmla="*/ 115 h 157"/>
                <a:gd name="T6" fmla="*/ 25 w 266"/>
                <a:gd name="T7" fmla="*/ 123 h 157"/>
                <a:gd name="T8" fmla="*/ 31 w 266"/>
                <a:gd name="T9" fmla="*/ 132 h 157"/>
                <a:gd name="T10" fmla="*/ 37 w 266"/>
                <a:gd name="T11" fmla="*/ 133 h 157"/>
                <a:gd name="T12" fmla="*/ 49 w 266"/>
                <a:gd name="T13" fmla="*/ 129 h 157"/>
                <a:gd name="T14" fmla="*/ 53 w 266"/>
                <a:gd name="T15" fmla="*/ 127 h 157"/>
                <a:gd name="T16" fmla="*/ 68 w 266"/>
                <a:gd name="T17" fmla="*/ 129 h 157"/>
                <a:gd name="T18" fmla="*/ 72 w 266"/>
                <a:gd name="T19" fmla="*/ 127 h 157"/>
                <a:gd name="T20" fmla="*/ 80 w 266"/>
                <a:gd name="T21" fmla="*/ 121 h 157"/>
                <a:gd name="T22" fmla="*/ 84 w 266"/>
                <a:gd name="T23" fmla="*/ 121 h 157"/>
                <a:gd name="T24" fmla="*/ 93 w 266"/>
                <a:gd name="T25" fmla="*/ 126 h 157"/>
                <a:gd name="T26" fmla="*/ 100 w 266"/>
                <a:gd name="T27" fmla="*/ 133 h 157"/>
                <a:gd name="T28" fmla="*/ 100 w 266"/>
                <a:gd name="T29" fmla="*/ 139 h 157"/>
                <a:gd name="T30" fmla="*/ 102 w 266"/>
                <a:gd name="T31" fmla="*/ 148 h 157"/>
                <a:gd name="T32" fmla="*/ 105 w 266"/>
                <a:gd name="T33" fmla="*/ 151 h 157"/>
                <a:gd name="T34" fmla="*/ 115 w 266"/>
                <a:gd name="T35" fmla="*/ 155 h 157"/>
                <a:gd name="T36" fmla="*/ 128 w 266"/>
                <a:gd name="T37" fmla="*/ 155 h 157"/>
                <a:gd name="T38" fmla="*/ 133 w 266"/>
                <a:gd name="T39" fmla="*/ 152 h 157"/>
                <a:gd name="T40" fmla="*/ 139 w 266"/>
                <a:gd name="T41" fmla="*/ 145 h 157"/>
                <a:gd name="T42" fmla="*/ 142 w 266"/>
                <a:gd name="T43" fmla="*/ 142 h 157"/>
                <a:gd name="T44" fmla="*/ 152 w 266"/>
                <a:gd name="T45" fmla="*/ 142 h 157"/>
                <a:gd name="T46" fmla="*/ 163 w 266"/>
                <a:gd name="T47" fmla="*/ 141 h 157"/>
                <a:gd name="T48" fmla="*/ 167 w 266"/>
                <a:gd name="T49" fmla="*/ 138 h 157"/>
                <a:gd name="T50" fmla="*/ 170 w 266"/>
                <a:gd name="T51" fmla="*/ 133 h 157"/>
                <a:gd name="T52" fmla="*/ 173 w 266"/>
                <a:gd name="T53" fmla="*/ 129 h 157"/>
                <a:gd name="T54" fmla="*/ 179 w 266"/>
                <a:gd name="T55" fmla="*/ 120 h 157"/>
                <a:gd name="T56" fmla="*/ 189 w 266"/>
                <a:gd name="T57" fmla="*/ 115 h 157"/>
                <a:gd name="T58" fmla="*/ 194 w 266"/>
                <a:gd name="T59" fmla="*/ 114 h 157"/>
                <a:gd name="T60" fmla="*/ 200 w 266"/>
                <a:gd name="T61" fmla="*/ 108 h 157"/>
                <a:gd name="T62" fmla="*/ 201 w 266"/>
                <a:gd name="T63" fmla="*/ 104 h 157"/>
                <a:gd name="T64" fmla="*/ 200 w 266"/>
                <a:gd name="T65" fmla="*/ 98 h 157"/>
                <a:gd name="T66" fmla="*/ 203 w 266"/>
                <a:gd name="T67" fmla="*/ 89 h 157"/>
                <a:gd name="T68" fmla="*/ 211 w 266"/>
                <a:gd name="T69" fmla="*/ 74 h 157"/>
                <a:gd name="T70" fmla="*/ 216 w 266"/>
                <a:gd name="T71" fmla="*/ 67 h 157"/>
                <a:gd name="T72" fmla="*/ 214 w 266"/>
                <a:gd name="T73" fmla="*/ 65 h 157"/>
                <a:gd name="T74" fmla="*/ 216 w 266"/>
                <a:gd name="T75" fmla="*/ 52 h 157"/>
                <a:gd name="T76" fmla="*/ 216 w 266"/>
                <a:gd name="T77" fmla="*/ 38 h 157"/>
                <a:gd name="T78" fmla="*/ 214 w 266"/>
                <a:gd name="T79" fmla="*/ 33 h 157"/>
                <a:gd name="T80" fmla="*/ 208 w 266"/>
                <a:gd name="T81" fmla="*/ 15 h 157"/>
                <a:gd name="T82" fmla="*/ 211 w 266"/>
                <a:gd name="T83" fmla="*/ 10 h 157"/>
                <a:gd name="T84" fmla="*/ 222 w 266"/>
                <a:gd name="T85" fmla="*/ 1 h 157"/>
                <a:gd name="T86" fmla="*/ 229 w 266"/>
                <a:gd name="T87" fmla="*/ 0 h 157"/>
                <a:gd name="T88" fmla="*/ 231 w 266"/>
                <a:gd name="T89" fmla="*/ 3 h 157"/>
                <a:gd name="T90" fmla="*/ 241 w 266"/>
                <a:gd name="T91" fmla="*/ 15 h 157"/>
                <a:gd name="T92" fmla="*/ 247 w 266"/>
                <a:gd name="T93" fmla="*/ 13 h 157"/>
                <a:gd name="T94" fmla="*/ 266 w 266"/>
                <a:gd name="T95" fmla="*/ 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157">
                  <a:moveTo>
                    <a:pt x="0" y="115"/>
                  </a:moveTo>
                  <a:lnTo>
                    <a:pt x="0" y="115"/>
                  </a:lnTo>
                  <a:lnTo>
                    <a:pt x="12" y="114"/>
                  </a:lnTo>
                  <a:lnTo>
                    <a:pt x="19" y="114"/>
                  </a:lnTo>
                  <a:lnTo>
                    <a:pt x="22" y="114"/>
                  </a:lnTo>
                  <a:lnTo>
                    <a:pt x="23" y="115"/>
                  </a:lnTo>
                  <a:lnTo>
                    <a:pt x="23" y="115"/>
                  </a:lnTo>
                  <a:lnTo>
                    <a:pt x="25" y="123"/>
                  </a:lnTo>
                  <a:lnTo>
                    <a:pt x="26" y="127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53" y="127"/>
                  </a:lnTo>
                  <a:lnTo>
                    <a:pt x="59" y="127"/>
                  </a:lnTo>
                  <a:lnTo>
                    <a:pt x="68" y="129"/>
                  </a:lnTo>
                  <a:lnTo>
                    <a:pt x="68" y="129"/>
                  </a:lnTo>
                  <a:lnTo>
                    <a:pt x="72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4" y="121"/>
                  </a:lnTo>
                  <a:lnTo>
                    <a:pt x="84" y="121"/>
                  </a:lnTo>
                  <a:lnTo>
                    <a:pt x="87" y="123"/>
                  </a:lnTo>
                  <a:lnTo>
                    <a:pt x="93" y="126"/>
                  </a:lnTo>
                  <a:lnTo>
                    <a:pt x="97" y="129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9"/>
                  </a:lnTo>
                  <a:lnTo>
                    <a:pt x="100" y="144"/>
                  </a:lnTo>
                  <a:lnTo>
                    <a:pt x="102" y="148"/>
                  </a:lnTo>
                  <a:lnTo>
                    <a:pt x="102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15" y="155"/>
                  </a:lnTo>
                  <a:lnTo>
                    <a:pt x="121" y="157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33" y="152"/>
                  </a:lnTo>
                  <a:lnTo>
                    <a:pt x="136" y="150"/>
                  </a:lnTo>
                  <a:lnTo>
                    <a:pt x="139" y="145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6" y="142"/>
                  </a:lnTo>
                  <a:lnTo>
                    <a:pt x="152" y="142"/>
                  </a:lnTo>
                  <a:lnTo>
                    <a:pt x="163" y="141"/>
                  </a:lnTo>
                  <a:lnTo>
                    <a:pt x="163" y="141"/>
                  </a:lnTo>
                  <a:lnTo>
                    <a:pt x="164" y="139"/>
                  </a:lnTo>
                  <a:lnTo>
                    <a:pt x="167" y="138"/>
                  </a:lnTo>
                  <a:lnTo>
                    <a:pt x="167" y="138"/>
                  </a:lnTo>
                  <a:lnTo>
                    <a:pt x="170" y="133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4" y="124"/>
                  </a:lnTo>
                  <a:lnTo>
                    <a:pt x="179" y="120"/>
                  </a:lnTo>
                  <a:lnTo>
                    <a:pt x="185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94" y="114"/>
                  </a:lnTo>
                  <a:lnTo>
                    <a:pt x="197" y="113"/>
                  </a:lnTo>
                  <a:lnTo>
                    <a:pt x="200" y="108"/>
                  </a:lnTo>
                  <a:lnTo>
                    <a:pt x="201" y="104"/>
                  </a:lnTo>
                  <a:lnTo>
                    <a:pt x="201" y="104"/>
                  </a:lnTo>
                  <a:lnTo>
                    <a:pt x="201" y="101"/>
                  </a:lnTo>
                  <a:lnTo>
                    <a:pt x="200" y="98"/>
                  </a:lnTo>
                  <a:lnTo>
                    <a:pt x="200" y="95"/>
                  </a:lnTo>
                  <a:lnTo>
                    <a:pt x="203" y="89"/>
                  </a:lnTo>
                  <a:lnTo>
                    <a:pt x="203" y="89"/>
                  </a:lnTo>
                  <a:lnTo>
                    <a:pt x="211" y="74"/>
                  </a:lnTo>
                  <a:lnTo>
                    <a:pt x="214" y="68"/>
                  </a:lnTo>
                  <a:lnTo>
                    <a:pt x="216" y="67"/>
                  </a:lnTo>
                  <a:lnTo>
                    <a:pt x="214" y="65"/>
                  </a:lnTo>
                  <a:lnTo>
                    <a:pt x="214" y="65"/>
                  </a:lnTo>
                  <a:lnTo>
                    <a:pt x="214" y="59"/>
                  </a:lnTo>
                  <a:lnTo>
                    <a:pt x="216" y="52"/>
                  </a:lnTo>
                  <a:lnTo>
                    <a:pt x="216" y="43"/>
                  </a:lnTo>
                  <a:lnTo>
                    <a:pt x="216" y="38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08" y="19"/>
                  </a:lnTo>
                  <a:lnTo>
                    <a:pt x="208" y="15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6" y="4"/>
                  </a:lnTo>
                  <a:lnTo>
                    <a:pt x="222" y="1"/>
                  </a:lnTo>
                  <a:lnTo>
                    <a:pt x="226" y="0"/>
                  </a:lnTo>
                  <a:lnTo>
                    <a:pt x="229" y="0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8" y="12"/>
                  </a:lnTo>
                  <a:lnTo>
                    <a:pt x="241" y="15"/>
                  </a:lnTo>
                  <a:lnTo>
                    <a:pt x="244" y="15"/>
                  </a:lnTo>
                  <a:lnTo>
                    <a:pt x="247" y="13"/>
                  </a:lnTo>
                  <a:lnTo>
                    <a:pt x="247" y="13"/>
                  </a:lnTo>
                  <a:lnTo>
                    <a:pt x="266" y="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5" name="Freeform 124">
              <a:extLst>
                <a:ext uri="{FF2B5EF4-FFF2-40B4-BE49-F238E27FC236}">
                  <a16:creationId xmlns:a16="http://schemas.microsoft.com/office/drawing/2014/main" id="{2CD01C6F-ED10-2B4B-9FAB-001A86070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7763" y="7373938"/>
              <a:ext cx="447675" cy="574675"/>
            </a:xfrm>
            <a:custGeom>
              <a:avLst/>
              <a:gdLst>
                <a:gd name="T0" fmla="*/ 20 w 282"/>
                <a:gd name="T1" fmla="*/ 350 h 362"/>
                <a:gd name="T2" fmla="*/ 45 w 282"/>
                <a:gd name="T3" fmla="*/ 328 h 362"/>
                <a:gd name="T4" fmla="*/ 48 w 282"/>
                <a:gd name="T5" fmla="*/ 317 h 362"/>
                <a:gd name="T6" fmla="*/ 39 w 282"/>
                <a:gd name="T7" fmla="*/ 300 h 362"/>
                <a:gd name="T8" fmla="*/ 37 w 282"/>
                <a:gd name="T9" fmla="*/ 286 h 362"/>
                <a:gd name="T10" fmla="*/ 39 w 282"/>
                <a:gd name="T11" fmla="*/ 267 h 362"/>
                <a:gd name="T12" fmla="*/ 55 w 282"/>
                <a:gd name="T13" fmla="*/ 267 h 362"/>
                <a:gd name="T14" fmla="*/ 66 w 282"/>
                <a:gd name="T15" fmla="*/ 246 h 362"/>
                <a:gd name="T16" fmla="*/ 80 w 282"/>
                <a:gd name="T17" fmla="*/ 251 h 362"/>
                <a:gd name="T18" fmla="*/ 88 w 282"/>
                <a:gd name="T19" fmla="*/ 268 h 362"/>
                <a:gd name="T20" fmla="*/ 92 w 282"/>
                <a:gd name="T21" fmla="*/ 271 h 362"/>
                <a:gd name="T22" fmla="*/ 104 w 282"/>
                <a:gd name="T23" fmla="*/ 260 h 362"/>
                <a:gd name="T24" fmla="*/ 117 w 282"/>
                <a:gd name="T25" fmla="*/ 260 h 362"/>
                <a:gd name="T26" fmla="*/ 129 w 282"/>
                <a:gd name="T27" fmla="*/ 252 h 362"/>
                <a:gd name="T28" fmla="*/ 143 w 282"/>
                <a:gd name="T29" fmla="*/ 245 h 362"/>
                <a:gd name="T30" fmla="*/ 166 w 282"/>
                <a:gd name="T31" fmla="*/ 240 h 362"/>
                <a:gd name="T32" fmla="*/ 162 w 282"/>
                <a:gd name="T33" fmla="*/ 230 h 362"/>
                <a:gd name="T34" fmla="*/ 174 w 282"/>
                <a:gd name="T35" fmla="*/ 224 h 362"/>
                <a:gd name="T36" fmla="*/ 178 w 282"/>
                <a:gd name="T37" fmla="*/ 205 h 362"/>
                <a:gd name="T38" fmla="*/ 172 w 282"/>
                <a:gd name="T39" fmla="*/ 196 h 362"/>
                <a:gd name="T40" fmla="*/ 168 w 282"/>
                <a:gd name="T41" fmla="*/ 188 h 362"/>
                <a:gd name="T42" fmla="*/ 166 w 282"/>
                <a:gd name="T43" fmla="*/ 171 h 362"/>
                <a:gd name="T44" fmla="*/ 181 w 282"/>
                <a:gd name="T45" fmla="*/ 156 h 362"/>
                <a:gd name="T46" fmla="*/ 197 w 282"/>
                <a:gd name="T47" fmla="*/ 154 h 362"/>
                <a:gd name="T48" fmla="*/ 205 w 282"/>
                <a:gd name="T49" fmla="*/ 137 h 362"/>
                <a:gd name="T50" fmla="*/ 211 w 282"/>
                <a:gd name="T51" fmla="*/ 128 h 362"/>
                <a:gd name="T52" fmla="*/ 225 w 282"/>
                <a:gd name="T53" fmla="*/ 117 h 362"/>
                <a:gd name="T54" fmla="*/ 230 w 282"/>
                <a:gd name="T55" fmla="*/ 109 h 362"/>
                <a:gd name="T56" fmla="*/ 224 w 282"/>
                <a:gd name="T57" fmla="*/ 103 h 362"/>
                <a:gd name="T58" fmla="*/ 218 w 282"/>
                <a:gd name="T59" fmla="*/ 89 h 362"/>
                <a:gd name="T60" fmla="*/ 212 w 282"/>
                <a:gd name="T61" fmla="*/ 85 h 362"/>
                <a:gd name="T62" fmla="*/ 202 w 282"/>
                <a:gd name="T63" fmla="*/ 95 h 362"/>
                <a:gd name="T64" fmla="*/ 185 w 282"/>
                <a:gd name="T65" fmla="*/ 97 h 362"/>
                <a:gd name="T66" fmla="*/ 166 w 282"/>
                <a:gd name="T67" fmla="*/ 101 h 362"/>
                <a:gd name="T68" fmla="*/ 171 w 282"/>
                <a:gd name="T69" fmla="*/ 94 h 362"/>
                <a:gd name="T70" fmla="*/ 171 w 282"/>
                <a:gd name="T71" fmla="*/ 89 h 362"/>
                <a:gd name="T72" fmla="*/ 145 w 282"/>
                <a:gd name="T73" fmla="*/ 89 h 362"/>
                <a:gd name="T74" fmla="*/ 141 w 282"/>
                <a:gd name="T75" fmla="*/ 69 h 362"/>
                <a:gd name="T76" fmla="*/ 145 w 282"/>
                <a:gd name="T77" fmla="*/ 55 h 362"/>
                <a:gd name="T78" fmla="*/ 171 w 282"/>
                <a:gd name="T79" fmla="*/ 42 h 362"/>
                <a:gd name="T80" fmla="*/ 183 w 282"/>
                <a:gd name="T81" fmla="*/ 21 h 362"/>
                <a:gd name="T82" fmla="*/ 180 w 282"/>
                <a:gd name="T83" fmla="*/ 0 h 362"/>
                <a:gd name="T84" fmla="*/ 190 w 282"/>
                <a:gd name="T85" fmla="*/ 8 h 362"/>
                <a:gd name="T86" fmla="*/ 202 w 282"/>
                <a:gd name="T87" fmla="*/ 12 h 362"/>
                <a:gd name="T88" fmla="*/ 217 w 282"/>
                <a:gd name="T89" fmla="*/ 9 h 362"/>
                <a:gd name="T90" fmla="*/ 227 w 282"/>
                <a:gd name="T91" fmla="*/ 23 h 362"/>
                <a:gd name="T92" fmla="*/ 227 w 282"/>
                <a:gd name="T93" fmla="*/ 33 h 362"/>
                <a:gd name="T94" fmla="*/ 251 w 282"/>
                <a:gd name="T95" fmla="*/ 36 h 362"/>
                <a:gd name="T96" fmla="*/ 255 w 282"/>
                <a:gd name="T97" fmla="*/ 48 h 362"/>
                <a:gd name="T98" fmla="*/ 248 w 282"/>
                <a:gd name="T99" fmla="*/ 66 h 362"/>
                <a:gd name="T100" fmla="*/ 254 w 282"/>
                <a:gd name="T101" fmla="*/ 70 h 362"/>
                <a:gd name="T102" fmla="*/ 261 w 282"/>
                <a:gd name="T103" fmla="*/ 73 h 362"/>
                <a:gd name="T104" fmla="*/ 270 w 282"/>
                <a:gd name="T105" fmla="*/ 74 h 362"/>
                <a:gd name="T106" fmla="*/ 279 w 282"/>
                <a:gd name="T107" fmla="*/ 6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2" h="362">
                  <a:moveTo>
                    <a:pt x="0" y="362"/>
                  </a:moveTo>
                  <a:lnTo>
                    <a:pt x="0" y="362"/>
                  </a:lnTo>
                  <a:lnTo>
                    <a:pt x="11" y="354"/>
                  </a:lnTo>
                  <a:lnTo>
                    <a:pt x="20" y="350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39" y="334"/>
                  </a:lnTo>
                  <a:lnTo>
                    <a:pt x="45" y="328"/>
                  </a:lnTo>
                  <a:lnTo>
                    <a:pt x="48" y="322"/>
                  </a:lnTo>
                  <a:lnTo>
                    <a:pt x="48" y="322"/>
                  </a:lnTo>
                  <a:lnTo>
                    <a:pt x="48" y="320"/>
                  </a:lnTo>
                  <a:lnTo>
                    <a:pt x="48" y="317"/>
                  </a:lnTo>
                  <a:lnTo>
                    <a:pt x="43" y="310"/>
                  </a:lnTo>
                  <a:lnTo>
                    <a:pt x="40" y="304"/>
                  </a:lnTo>
                  <a:lnTo>
                    <a:pt x="39" y="301"/>
                  </a:lnTo>
                  <a:lnTo>
                    <a:pt x="39" y="300"/>
                  </a:lnTo>
                  <a:lnTo>
                    <a:pt x="39" y="300"/>
                  </a:lnTo>
                  <a:lnTo>
                    <a:pt x="39" y="294"/>
                  </a:lnTo>
                  <a:lnTo>
                    <a:pt x="37" y="286"/>
                  </a:lnTo>
                  <a:lnTo>
                    <a:pt x="37" y="286"/>
                  </a:lnTo>
                  <a:lnTo>
                    <a:pt x="36" y="280"/>
                  </a:lnTo>
                  <a:lnTo>
                    <a:pt x="36" y="274"/>
                  </a:lnTo>
                  <a:lnTo>
                    <a:pt x="37" y="268"/>
                  </a:lnTo>
                  <a:lnTo>
                    <a:pt x="39" y="267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51" y="268"/>
                  </a:lnTo>
                  <a:lnTo>
                    <a:pt x="55" y="267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63" y="251"/>
                  </a:lnTo>
                  <a:lnTo>
                    <a:pt x="66" y="246"/>
                  </a:lnTo>
                  <a:lnTo>
                    <a:pt x="68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80" y="251"/>
                  </a:lnTo>
                  <a:lnTo>
                    <a:pt x="85" y="254"/>
                  </a:lnTo>
                  <a:lnTo>
                    <a:pt x="86" y="258"/>
                  </a:lnTo>
                  <a:lnTo>
                    <a:pt x="86" y="258"/>
                  </a:lnTo>
                  <a:lnTo>
                    <a:pt x="88" y="268"/>
                  </a:lnTo>
                  <a:lnTo>
                    <a:pt x="89" y="271"/>
                  </a:lnTo>
                  <a:lnTo>
                    <a:pt x="91" y="271"/>
                  </a:lnTo>
                  <a:lnTo>
                    <a:pt x="92" y="271"/>
                  </a:lnTo>
                  <a:lnTo>
                    <a:pt x="92" y="271"/>
                  </a:lnTo>
                  <a:lnTo>
                    <a:pt x="95" y="270"/>
                  </a:lnTo>
                  <a:lnTo>
                    <a:pt x="98" y="265"/>
                  </a:lnTo>
                  <a:lnTo>
                    <a:pt x="100" y="263"/>
                  </a:lnTo>
                  <a:lnTo>
                    <a:pt x="104" y="260"/>
                  </a:lnTo>
                  <a:lnTo>
                    <a:pt x="104" y="260"/>
                  </a:lnTo>
                  <a:lnTo>
                    <a:pt x="108" y="258"/>
                  </a:lnTo>
                  <a:lnTo>
                    <a:pt x="113" y="260"/>
                  </a:lnTo>
                  <a:lnTo>
                    <a:pt x="117" y="260"/>
                  </a:lnTo>
                  <a:lnTo>
                    <a:pt x="125" y="257"/>
                  </a:lnTo>
                  <a:lnTo>
                    <a:pt x="125" y="257"/>
                  </a:lnTo>
                  <a:lnTo>
                    <a:pt x="128" y="255"/>
                  </a:lnTo>
                  <a:lnTo>
                    <a:pt x="129" y="252"/>
                  </a:lnTo>
                  <a:lnTo>
                    <a:pt x="132" y="249"/>
                  </a:lnTo>
                  <a:lnTo>
                    <a:pt x="135" y="245"/>
                  </a:lnTo>
                  <a:lnTo>
                    <a:pt x="138" y="245"/>
                  </a:lnTo>
                  <a:lnTo>
                    <a:pt x="143" y="245"/>
                  </a:lnTo>
                  <a:lnTo>
                    <a:pt x="143" y="245"/>
                  </a:lnTo>
                  <a:lnTo>
                    <a:pt x="159" y="243"/>
                  </a:lnTo>
                  <a:lnTo>
                    <a:pt x="163" y="242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5" y="237"/>
                  </a:lnTo>
                  <a:lnTo>
                    <a:pt x="163" y="233"/>
                  </a:lnTo>
                  <a:lnTo>
                    <a:pt x="162" y="230"/>
                  </a:lnTo>
                  <a:lnTo>
                    <a:pt x="163" y="228"/>
                  </a:lnTo>
                  <a:lnTo>
                    <a:pt x="165" y="227"/>
                  </a:lnTo>
                  <a:lnTo>
                    <a:pt x="165" y="227"/>
                  </a:lnTo>
                  <a:lnTo>
                    <a:pt x="174" y="224"/>
                  </a:lnTo>
                  <a:lnTo>
                    <a:pt x="175" y="223"/>
                  </a:lnTo>
                  <a:lnTo>
                    <a:pt x="177" y="217"/>
                  </a:lnTo>
                  <a:lnTo>
                    <a:pt x="177" y="217"/>
                  </a:lnTo>
                  <a:lnTo>
                    <a:pt x="178" y="205"/>
                  </a:lnTo>
                  <a:lnTo>
                    <a:pt x="178" y="202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2" y="196"/>
                  </a:lnTo>
                  <a:lnTo>
                    <a:pt x="169" y="194"/>
                  </a:lnTo>
                  <a:lnTo>
                    <a:pt x="168" y="191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69" y="183"/>
                  </a:lnTo>
                  <a:lnTo>
                    <a:pt x="168" y="178"/>
                  </a:lnTo>
                  <a:lnTo>
                    <a:pt x="166" y="174"/>
                  </a:lnTo>
                  <a:lnTo>
                    <a:pt x="166" y="171"/>
                  </a:lnTo>
                  <a:lnTo>
                    <a:pt x="168" y="169"/>
                  </a:lnTo>
                  <a:lnTo>
                    <a:pt x="168" y="169"/>
                  </a:lnTo>
                  <a:lnTo>
                    <a:pt x="177" y="160"/>
                  </a:lnTo>
                  <a:lnTo>
                    <a:pt x="181" y="156"/>
                  </a:lnTo>
                  <a:lnTo>
                    <a:pt x="184" y="154"/>
                  </a:lnTo>
                  <a:lnTo>
                    <a:pt x="187" y="154"/>
                  </a:lnTo>
                  <a:lnTo>
                    <a:pt x="187" y="154"/>
                  </a:lnTo>
                  <a:lnTo>
                    <a:pt x="197" y="154"/>
                  </a:lnTo>
                  <a:lnTo>
                    <a:pt x="200" y="153"/>
                  </a:lnTo>
                  <a:lnTo>
                    <a:pt x="202" y="150"/>
                  </a:lnTo>
                  <a:lnTo>
                    <a:pt x="202" y="150"/>
                  </a:lnTo>
                  <a:lnTo>
                    <a:pt x="205" y="137"/>
                  </a:lnTo>
                  <a:lnTo>
                    <a:pt x="208" y="131"/>
                  </a:lnTo>
                  <a:lnTo>
                    <a:pt x="209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5" y="126"/>
                  </a:lnTo>
                  <a:lnTo>
                    <a:pt x="220" y="125"/>
                  </a:lnTo>
                  <a:lnTo>
                    <a:pt x="222" y="122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7" y="114"/>
                  </a:lnTo>
                  <a:lnTo>
                    <a:pt x="228" y="111"/>
                  </a:lnTo>
                  <a:lnTo>
                    <a:pt x="230" y="109"/>
                  </a:lnTo>
                  <a:lnTo>
                    <a:pt x="230" y="106"/>
                  </a:lnTo>
                  <a:lnTo>
                    <a:pt x="230" y="106"/>
                  </a:lnTo>
                  <a:lnTo>
                    <a:pt x="227" y="104"/>
                  </a:lnTo>
                  <a:lnTo>
                    <a:pt x="224" y="103"/>
                  </a:lnTo>
                  <a:lnTo>
                    <a:pt x="221" y="103"/>
                  </a:lnTo>
                  <a:lnTo>
                    <a:pt x="220" y="100"/>
                  </a:lnTo>
                  <a:lnTo>
                    <a:pt x="220" y="100"/>
                  </a:lnTo>
                  <a:lnTo>
                    <a:pt x="218" y="89"/>
                  </a:lnTo>
                  <a:lnTo>
                    <a:pt x="217" y="85"/>
                  </a:lnTo>
                  <a:lnTo>
                    <a:pt x="215" y="85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209" y="88"/>
                  </a:lnTo>
                  <a:lnTo>
                    <a:pt x="208" y="91"/>
                  </a:lnTo>
                  <a:lnTo>
                    <a:pt x="206" y="94"/>
                  </a:lnTo>
                  <a:lnTo>
                    <a:pt x="202" y="95"/>
                  </a:lnTo>
                  <a:lnTo>
                    <a:pt x="202" y="95"/>
                  </a:lnTo>
                  <a:lnTo>
                    <a:pt x="191" y="95"/>
                  </a:lnTo>
                  <a:lnTo>
                    <a:pt x="188" y="95"/>
                  </a:lnTo>
                  <a:lnTo>
                    <a:pt x="185" y="97"/>
                  </a:lnTo>
                  <a:lnTo>
                    <a:pt x="185" y="97"/>
                  </a:lnTo>
                  <a:lnTo>
                    <a:pt x="174" y="101"/>
                  </a:lnTo>
                  <a:lnTo>
                    <a:pt x="168" y="103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8" y="97"/>
                  </a:lnTo>
                  <a:lnTo>
                    <a:pt x="171" y="94"/>
                  </a:lnTo>
                  <a:lnTo>
                    <a:pt x="172" y="91"/>
                  </a:lnTo>
                  <a:lnTo>
                    <a:pt x="172" y="89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63" y="89"/>
                  </a:lnTo>
                  <a:lnTo>
                    <a:pt x="156" y="91"/>
                  </a:lnTo>
                  <a:lnTo>
                    <a:pt x="147" y="91"/>
                  </a:lnTo>
                  <a:lnTo>
                    <a:pt x="145" y="89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1" y="79"/>
                  </a:lnTo>
                  <a:lnTo>
                    <a:pt x="141" y="69"/>
                  </a:lnTo>
                  <a:lnTo>
                    <a:pt x="143" y="60"/>
                  </a:lnTo>
                  <a:lnTo>
                    <a:pt x="144" y="57"/>
                  </a:lnTo>
                  <a:lnTo>
                    <a:pt x="145" y="55"/>
                  </a:lnTo>
                  <a:lnTo>
                    <a:pt x="145" y="55"/>
                  </a:lnTo>
                  <a:lnTo>
                    <a:pt x="151" y="54"/>
                  </a:lnTo>
                  <a:lnTo>
                    <a:pt x="159" y="51"/>
                  </a:lnTo>
                  <a:lnTo>
                    <a:pt x="165" y="48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80" y="30"/>
                  </a:lnTo>
                  <a:lnTo>
                    <a:pt x="183" y="26"/>
                  </a:lnTo>
                  <a:lnTo>
                    <a:pt x="183" y="21"/>
                  </a:lnTo>
                  <a:lnTo>
                    <a:pt x="183" y="21"/>
                  </a:lnTo>
                  <a:lnTo>
                    <a:pt x="178" y="8"/>
                  </a:lnTo>
                  <a:lnTo>
                    <a:pt x="178" y="2"/>
                  </a:lnTo>
                  <a:lnTo>
                    <a:pt x="180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5" y="3"/>
                  </a:lnTo>
                  <a:lnTo>
                    <a:pt x="190" y="8"/>
                  </a:lnTo>
                  <a:lnTo>
                    <a:pt x="193" y="11"/>
                  </a:lnTo>
                  <a:lnTo>
                    <a:pt x="197" y="12"/>
                  </a:lnTo>
                  <a:lnTo>
                    <a:pt x="197" y="12"/>
                  </a:lnTo>
                  <a:lnTo>
                    <a:pt x="202" y="12"/>
                  </a:lnTo>
                  <a:lnTo>
                    <a:pt x="206" y="11"/>
                  </a:lnTo>
                  <a:lnTo>
                    <a:pt x="211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22" y="12"/>
                  </a:lnTo>
                  <a:lnTo>
                    <a:pt x="225" y="15"/>
                  </a:lnTo>
                  <a:lnTo>
                    <a:pt x="227" y="18"/>
                  </a:lnTo>
                  <a:lnTo>
                    <a:pt x="227" y="23"/>
                  </a:lnTo>
                  <a:lnTo>
                    <a:pt x="227" y="23"/>
                  </a:lnTo>
                  <a:lnTo>
                    <a:pt x="225" y="27"/>
                  </a:lnTo>
                  <a:lnTo>
                    <a:pt x="225" y="31"/>
                  </a:lnTo>
                  <a:lnTo>
                    <a:pt x="227" y="33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45" y="34"/>
                  </a:lnTo>
                  <a:lnTo>
                    <a:pt x="251" y="36"/>
                  </a:lnTo>
                  <a:lnTo>
                    <a:pt x="252" y="36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5" y="48"/>
                  </a:lnTo>
                  <a:lnTo>
                    <a:pt x="254" y="52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48" y="66"/>
                  </a:lnTo>
                  <a:lnTo>
                    <a:pt x="248" y="67"/>
                  </a:lnTo>
                  <a:lnTo>
                    <a:pt x="249" y="70"/>
                  </a:lnTo>
                  <a:lnTo>
                    <a:pt x="249" y="70"/>
                  </a:lnTo>
                  <a:lnTo>
                    <a:pt x="254" y="70"/>
                  </a:lnTo>
                  <a:lnTo>
                    <a:pt x="257" y="70"/>
                  </a:lnTo>
                  <a:lnTo>
                    <a:pt x="258" y="70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2" y="76"/>
                  </a:lnTo>
                  <a:lnTo>
                    <a:pt x="265" y="77"/>
                  </a:lnTo>
                  <a:lnTo>
                    <a:pt x="268" y="77"/>
                  </a:lnTo>
                  <a:lnTo>
                    <a:pt x="270" y="74"/>
                  </a:lnTo>
                  <a:lnTo>
                    <a:pt x="270" y="74"/>
                  </a:lnTo>
                  <a:lnTo>
                    <a:pt x="274" y="69"/>
                  </a:lnTo>
                  <a:lnTo>
                    <a:pt x="276" y="66"/>
                  </a:lnTo>
                  <a:lnTo>
                    <a:pt x="279" y="64"/>
                  </a:lnTo>
                  <a:lnTo>
                    <a:pt x="279" y="64"/>
                  </a:lnTo>
                  <a:lnTo>
                    <a:pt x="282" y="64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6" name="Freeform 125">
              <a:extLst>
                <a:ext uri="{FF2B5EF4-FFF2-40B4-BE49-F238E27FC236}">
                  <a16:creationId xmlns:a16="http://schemas.microsoft.com/office/drawing/2014/main" id="{D6D746AC-C494-0045-A106-1C767C04B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0300" y="3133725"/>
              <a:ext cx="900113" cy="544512"/>
            </a:xfrm>
            <a:custGeom>
              <a:avLst/>
              <a:gdLst>
                <a:gd name="T0" fmla="*/ 0 w 567"/>
                <a:gd name="T1" fmla="*/ 331 h 343"/>
                <a:gd name="T2" fmla="*/ 8 w 567"/>
                <a:gd name="T3" fmla="*/ 309 h 343"/>
                <a:gd name="T4" fmla="*/ 19 w 567"/>
                <a:gd name="T5" fmla="*/ 294 h 343"/>
                <a:gd name="T6" fmla="*/ 41 w 567"/>
                <a:gd name="T7" fmla="*/ 281 h 343"/>
                <a:gd name="T8" fmla="*/ 63 w 567"/>
                <a:gd name="T9" fmla="*/ 275 h 343"/>
                <a:gd name="T10" fmla="*/ 57 w 567"/>
                <a:gd name="T11" fmla="*/ 268 h 343"/>
                <a:gd name="T12" fmla="*/ 51 w 567"/>
                <a:gd name="T13" fmla="*/ 257 h 343"/>
                <a:gd name="T14" fmla="*/ 57 w 567"/>
                <a:gd name="T15" fmla="*/ 248 h 343"/>
                <a:gd name="T16" fmla="*/ 63 w 567"/>
                <a:gd name="T17" fmla="*/ 240 h 343"/>
                <a:gd name="T18" fmla="*/ 72 w 567"/>
                <a:gd name="T19" fmla="*/ 237 h 343"/>
                <a:gd name="T20" fmla="*/ 88 w 567"/>
                <a:gd name="T21" fmla="*/ 243 h 343"/>
                <a:gd name="T22" fmla="*/ 100 w 567"/>
                <a:gd name="T23" fmla="*/ 235 h 343"/>
                <a:gd name="T24" fmla="*/ 109 w 567"/>
                <a:gd name="T25" fmla="*/ 217 h 343"/>
                <a:gd name="T26" fmla="*/ 119 w 567"/>
                <a:gd name="T27" fmla="*/ 200 h 343"/>
                <a:gd name="T28" fmla="*/ 125 w 567"/>
                <a:gd name="T29" fmla="*/ 183 h 343"/>
                <a:gd name="T30" fmla="*/ 142 w 567"/>
                <a:gd name="T31" fmla="*/ 182 h 343"/>
                <a:gd name="T32" fmla="*/ 152 w 567"/>
                <a:gd name="T33" fmla="*/ 179 h 343"/>
                <a:gd name="T34" fmla="*/ 165 w 567"/>
                <a:gd name="T35" fmla="*/ 176 h 343"/>
                <a:gd name="T36" fmla="*/ 182 w 567"/>
                <a:gd name="T37" fmla="*/ 152 h 343"/>
                <a:gd name="T38" fmla="*/ 198 w 567"/>
                <a:gd name="T39" fmla="*/ 149 h 343"/>
                <a:gd name="T40" fmla="*/ 232 w 567"/>
                <a:gd name="T41" fmla="*/ 151 h 343"/>
                <a:gd name="T42" fmla="*/ 262 w 567"/>
                <a:gd name="T43" fmla="*/ 137 h 343"/>
                <a:gd name="T44" fmla="*/ 273 w 567"/>
                <a:gd name="T45" fmla="*/ 139 h 343"/>
                <a:gd name="T46" fmla="*/ 282 w 567"/>
                <a:gd name="T47" fmla="*/ 165 h 343"/>
                <a:gd name="T48" fmla="*/ 297 w 567"/>
                <a:gd name="T49" fmla="*/ 194 h 343"/>
                <a:gd name="T50" fmla="*/ 305 w 567"/>
                <a:gd name="T51" fmla="*/ 205 h 343"/>
                <a:gd name="T52" fmla="*/ 319 w 567"/>
                <a:gd name="T53" fmla="*/ 225 h 343"/>
                <a:gd name="T54" fmla="*/ 336 w 567"/>
                <a:gd name="T55" fmla="*/ 207 h 343"/>
                <a:gd name="T56" fmla="*/ 353 w 567"/>
                <a:gd name="T57" fmla="*/ 195 h 343"/>
                <a:gd name="T58" fmla="*/ 374 w 567"/>
                <a:gd name="T59" fmla="*/ 189 h 343"/>
                <a:gd name="T60" fmla="*/ 383 w 567"/>
                <a:gd name="T61" fmla="*/ 177 h 343"/>
                <a:gd name="T62" fmla="*/ 399 w 567"/>
                <a:gd name="T63" fmla="*/ 179 h 343"/>
                <a:gd name="T64" fmla="*/ 416 w 567"/>
                <a:gd name="T65" fmla="*/ 186 h 343"/>
                <a:gd name="T66" fmla="*/ 425 w 567"/>
                <a:gd name="T67" fmla="*/ 179 h 343"/>
                <a:gd name="T68" fmla="*/ 435 w 567"/>
                <a:gd name="T69" fmla="*/ 168 h 343"/>
                <a:gd name="T70" fmla="*/ 441 w 567"/>
                <a:gd name="T71" fmla="*/ 151 h 343"/>
                <a:gd name="T72" fmla="*/ 445 w 567"/>
                <a:gd name="T73" fmla="*/ 131 h 343"/>
                <a:gd name="T74" fmla="*/ 456 w 567"/>
                <a:gd name="T75" fmla="*/ 117 h 343"/>
                <a:gd name="T76" fmla="*/ 460 w 567"/>
                <a:gd name="T77" fmla="*/ 99 h 343"/>
                <a:gd name="T78" fmla="*/ 469 w 567"/>
                <a:gd name="T79" fmla="*/ 91 h 343"/>
                <a:gd name="T80" fmla="*/ 478 w 567"/>
                <a:gd name="T81" fmla="*/ 74 h 343"/>
                <a:gd name="T82" fmla="*/ 484 w 567"/>
                <a:gd name="T83" fmla="*/ 63 h 343"/>
                <a:gd name="T84" fmla="*/ 494 w 567"/>
                <a:gd name="T85" fmla="*/ 54 h 343"/>
                <a:gd name="T86" fmla="*/ 496 w 567"/>
                <a:gd name="T87" fmla="*/ 41 h 343"/>
                <a:gd name="T88" fmla="*/ 490 w 567"/>
                <a:gd name="T89" fmla="*/ 28 h 343"/>
                <a:gd name="T90" fmla="*/ 491 w 567"/>
                <a:gd name="T91" fmla="*/ 11 h 343"/>
                <a:gd name="T92" fmla="*/ 510 w 567"/>
                <a:gd name="T93" fmla="*/ 0 h 343"/>
                <a:gd name="T94" fmla="*/ 518 w 567"/>
                <a:gd name="T95" fmla="*/ 7 h 343"/>
                <a:gd name="T96" fmla="*/ 540 w 567"/>
                <a:gd name="T97" fmla="*/ 9 h 343"/>
                <a:gd name="T98" fmla="*/ 556 w 567"/>
                <a:gd name="T99" fmla="*/ 7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7" h="343">
                  <a:moveTo>
                    <a:pt x="4" y="343"/>
                  </a:moveTo>
                  <a:lnTo>
                    <a:pt x="4" y="343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0" y="327"/>
                  </a:lnTo>
                  <a:lnTo>
                    <a:pt x="1" y="321"/>
                  </a:lnTo>
                  <a:lnTo>
                    <a:pt x="4" y="315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14" y="302"/>
                  </a:lnTo>
                  <a:lnTo>
                    <a:pt x="19" y="294"/>
                  </a:lnTo>
                  <a:lnTo>
                    <a:pt x="19" y="294"/>
                  </a:lnTo>
                  <a:lnTo>
                    <a:pt x="20" y="290"/>
                  </a:lnTo>
                  <a:lnTo>
                    <a:pt x="26" y="287"/>
                  </a:lnTo>
                  <a:lnTo>
                    <a:pt x="32" y="284"/>
                  </a:lnTo>
                  <a:lnTo>
                    <a:pt x="41" y="281"/>
                  </a:lnTo>
                  <a:lnTo>
                    <a:pt x="41" y="281"/>
                  </a:lnTo>
                  <a:lnTo>
                    <a:pt x="56" y="278"/>
                  </a:lnTo>
                  <a:lnTo>
                    <a:pt x="62" y="277"/>
                  </a:lnTo>
                  <a:lnTo>
                    <a:pt x="63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2" y="271"/>
                  </a:lnTo>
                  <a:lnTo>
                    <a:pt x="57" y="268"/>
                  </a:lnTo>
                  <a:lnTo>
                    <a:pt x="53" y="263"/>
                  </a:lnTo>
                  <a:lnTo>
                    <a:pt x="51" y="260"/>
                  </a:lnTo>
                  <a:lnTo>
                    <a:pt x="51" y="260"/>
                  </a:lnTo>
                  <a:lnTo>
                    <a:pt x="51" y="257"/>
                  </a:lnTo>
                  <a:lnTo>
                    <a:pt x="51" y="253"/>
                  </a:lnTo>
                  <a:lnTo>
                    <a:pt x="54" y="250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59" y="248"/>
                  </a:lnTo>
                  <a:lnTo>
                    <a:pt x="60" y="247"/>
                  </a:lnTo>
                  <a:lnTo>
                    <a:pt x="62" y="244"/>
                  </a:lnTo>
                  <a:lnTo>
                    <a:pt x="63" y="240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9" y="237"/>
                  </a:lnTo>
                  <a:lnTo>
                    <a:pt x="72" y="237"/>
                  </a:lnTo>
                  <a:lnTo>
                    <a:pt x="75" y="238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8" y="243"/>
                  </a:lnTo>
                  <a:lnTo>
                    <a:pt x="94" y="243"/>
                  </a:lnTo>
                  <a:lnTo>
                    <a:pt x="97" y="240"/>
                  </a:lnTo>
                  <a:lnTo>
                    <a:pt x="100" y="235"/>
                  </a:lnTo>
                  <a:lnTo>
                    <a:pt x="100" y="235"/>
                  </a:lnTo>
                  <a:lnTo>
                    <a:pt x="102" y="226"/>
                  </a:lnTo>
                  <a:lnTo>
                    <a:pt x="103" y="222"/>
                  </a:lnTo>
                  <a:lnTo>
                    <a:pt x="109" y="217"/>
                  </a:lnTo>
                  <a:lnTo>
                    <a:pt x="109" y="217"/>
                  </a:lnTo>
                  <a:lnTo>
                    <a:pt x="115" y="213"/>
                  </a:lnTo>
                  <a:lnTo>
                    <a:pt x="118" y="210"/>
                  </a:lnTo>
                  <a:lnTo>
                    <a:pt x="119" y="207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21" y="192"/>
                  </a:lnTo>
                  <a:lnTo>
                    <a:pt x="122" y="186"/>
                  </a:lnTo>
                  <a:lnTo>
                    <a:pt x="125" y="183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5" y="179"/>
                  </a:lnTo>
                  <a:lnTo>
                    <a:pt x="145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1" y="179"/>
                  </a:lnTo>
                  <a:lnTo>
                    <a:pt x="161" y="179"/>
                  </a:lnTo>
                  <a:lnTo>
                    <a:pt x="165" y="176"/>
                  </a:lnTo>
                  <a:lnTo>
                    <a:pt x="170" y="171"/>
                  </a:lnTo>
                  <a:lnTo>
                    <a:pt x="179" y="160"/>
                  </a:lnTo>
                  <a:lnTo>
                    <a:pt x="179" y="160"/>
                  </a:lnTo>
                  <a:lnTo>
                    <a:pt x="182" y="152"/>
                  </a:lnTo>
                  <a:lnTo>
                    <a:pt x="185" y="149"/>
                  </a:lnTo>
                  <a:lnTo>
                    <a:pt x="189" y="148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208" y="152"/>
                  </a:lnTo>
                  <a:lnTo>
                    <a:pt x="217" y="154"/>
                  </a:lnTo>
                  <a:lnTo>
                    <a:pt x="226" y="154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41" y="145"/>
                  </a:lnTo>
                  <a:lnTo>
                    <a:pt x="251" y="140"/>
                  </a:lnTo>
                  <a:lnTo>
                    <a:pt x="262" y="137"/>
                  </a:lnTo>
                  <a:lnTo>
                    <a:pt x="266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3" y="139"/>
                  </a:lnTo>
                  <a:lnTo>
                    <a:pt x="275" y="142"/>
                  </a:lnTo>
                  <a:lnTo>
                    <a:pt x="278" y="149"/>
                  </a:lnTo>
                  <a:lnTo>
                    <a:pt x="279" y="157"/>
                  </a:lnTo>
                  <a:lnTo>
                    <a:pt x="282" y="165"/>
                  </a:lnTo>
                  <a:lnTo>
                    <a:pt x="282" y="165"/>
                  </a:lnTo>
                  <a:lnTo>
                    <a:pt x="293" y="182"/>
                  </a:lnTo>
                  <a:lnTo>
                    <a:pt x="296" y="188"/>
                  </a:lnTo>
                  <a:lnTo>
                    <a:pt x="297" y="194"/>
                  </a:lnTo>
                  <a:lnTo>
                    <a:pt x="297" y="194"/>
                  </a:lnTo>
                  <a:lnTo>
                    <a:pt x="299" y="198"/>
                  </a:lnTo>
                  <a:lnTo>
                    <a:pt x="302" y="201"/>
                  </a:lnTo>
                  <a:lnTo>
                    <a:pt x="305" y="205"/>
                  </a:lnTo>
                  <a:lnTo>
                    <a:pt x="309" y="211"/>
                  </a:lnTo>
                  <a:lnTo>
                    <a:pt x="309" y="211"/>
                  </a:lnTo>
                  <a:lnTo>
                    <a:pt x="316" y="223"/>
                  </a:lnTo>
                  <a:lnTo>
                    <a:pt x="319" y="225"/>
                  </a:lnTo>
                  <a:lnTo>
                    <a:pt x="322" y="225"/>
                  </a:lnTo>
                  <a:lnTo>
                    <a:pt x="322" y="225"/>
                  </a:lnTo>
                  <a:lnTo>
                    <a:pt x="328" y="219"/>
                  </a:lnTo>
                  <a:lnTo>
                    <a:pt x="336" y="207"/>
                  </a:lnTo>
                  <a:lnTo>
                    <a:pt x="336" y="207"/>
                  </a:lnTo>
                  <a:lnTo>
                    <a:pt x="340" y="203"/>
                  </a:lnTo>
                  <a:lnTo>
                    <a:pt x="346" y="198"/>
                  </a:lnTo>
                  <a:lnTo>
                    <a:pt x="353" y="195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70" y="191"/>
                  </a:lnTo>
                  <a:lnTo>
                    <a:pt x="374" y="189"/>
                  </a:lnTo>
                  <a:lnTo>
                    <a:pt x="379" y="185"/>
                  </a:lnTo>
                  <a:lnTo>
                    <a:pt x="380" y="180"/>
                  </a:lnTo>
                  <a:lnTo>
                    <a:pt x="380" y="180"/>
                  </a:lnTo>
                  <a:lnTo>
                    <a:pt x="383" y="177"/>
                  </a:lnTo>
                  <a:lnTo>
                    <a:pt x="387" y="174"/>
                  </a:lnTo>
                  <a:lnTo>
                    <a:pt x="393" y="174"/>
                  </a:lnTo>
                  <a:lnTo>
                    <a:pt x="396" y="176"/>
                  </a:lnTo>
                  <a:lnTo>
                    <a:pt x="399" y="179"/>
                  </a:lnTo>
                  <a:lnTo>
                    <a:pt x="399" y="179"/>
                  </a:lnTo>
                  <a:lnTo>
                    <a:pt x="405" y="183"/>
                  </a:lnTo>
                  <a:lnTo>
                    <a:pt x="411" y="186"/>
                  </a:lnTo>
                  <a:lnTo>
                    <a:pt x="416" y="186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23" y="182"/>
                  </a:lnTo>
                  <a:lnTo>
                    <a:pt x="425" y="179"/>
                  </a:lnTo>
                  <a:lnTo>
                    <a:pt x="427" y="173"/>
                  </a:lnTo>
                  <a:lnTo>
                    <a:pt x="427" y="173"/>
                  </a:lnTo>
                  <a:lnTo>
                    <a:pt x="430" y="170"/>
                  </a:lnTo>
                  <a:lnTo>
                    <a:pt x="435" y="168"/>
                  </a:lnTo>
                  <a:lnTo>
                    <a:pt x="438" y="167"/>
                  </a:lnTo>
                  <a:lnTo>
                    <a:pt x="439" y="163"/>
                  </a:lnTo>
                  <a:lnTo>
                    <a:pt x="439" y="163"/>
                  </a:lnTo>
                  <a:lnTo>
                    <a:pt x="441" y="151"/>
                  </a:lnTo>
                  <a:lnTo>
                    <a:pt x="441" y="139"/>
                  </a:lnTo>
                  <a:lnTo>
                    <a:pt x="441" y="139"/>
                  </a:lnTo>
                  <a:lnTo>
                    <a:pt x="442" y="134"/>
                  </a:lnTo>
                  <a:lnTo>
                    <a:pt x="445" y="131"/>
                  </a:lnTo>
                  <a:lnTo>
                    <a:pt x="448" y="130"/>
                  </a:lnTo>
                  <a:lnTo>
                    <a:pt x="450" y="126"/>
                  </a:lnTo>
                  <a:lnTo>
                    <a:pt x="450" y="126"/>
                  </a:lnTo>
                  <a:lnTo>
                    <a:pt x="456" y="117"/>
                  </a:lnTo>
                  <a:lnTo>
                    <a:pt x="457" y="111"/>
                  </a:lnTo>
                  <a:lnTo>
                    <a:pt x="459" y="105"/>
                  </a:lnTo>
                  <a:lnTo>
                    <a:pt x="459" y="105"/>
                  </a:lnTo>
                  <a:lnTo>
                    <a:pt x="460" y="99"/>
                  </a:lnTo>
                  <a:lnTo>
                    <a:pt x="462" y="97"/>
                  </a:lnTo>
                  <a:lnTo>
                    <a:pt x="466" y="94"/>
                  </a:lnTo>
                  <a:lnTo>
                    <a:pt x="469" y="91"/>
                  </a:lnTo>
                  <a:lnTo>
                    <a:pt x="469" y="91"/>
                  </a:lnTo>
                  <a:lnTo>
                    <a:pt x="472" y="86"/>
                  </a:lnTo>
                  <a:lnTo>
                    <a:pt x="473" y="81"/>
                  </a:lnTo>
                  <a:lnTo>
                    <a:pt x="475" y="78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82" y="69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5" y="60"/>
                  </a:lnTo>
                  <a:lnTo>
                    <a:pt x="490" y="57"/>
                  </a:lnTo>
                  <a:lnTo>
                    <a:pt x="493" y="56"/>
                  </a:lnTo>
                  <a:lnTo>
                    <a:pt x="494" y="54"/>
                  </a:lnTo>
                  <a:lnTo>
                    <a:pt x="496" y="51"/>
                  </a:lnTo>
                  <a:lnTo>
                    <a:pt x="496" y="51"/>
                  </a:lnTo>
                  <a:lnTo>
                    <a:pt x="496" y="47"/>
                  </a:lnTo>
                  <a:lnTo>
                    <a:pt x="496" y="41"/>
                  </a:lnTo>
                  <a:lnTo>
                    <a:pt x="496" y="37"/>
                  </a:lnTo>
                  <a:lnTo>
                    <a:pt x="493" y="32"/>
                  </a:lnTo>
                  <a:lnTo>
                    <a:pt x="493" y="32"/>
                  </a:lnTo>
                  <a:lnTo>
                    <a:pt x="490" y="28"/>
                  </a:lnTo>
                  <a:lnTo>
                    <a:pt x="488" y="22"/>
                  </a:lnTo>
                  <a:lnTo>
                    <a:pt x="488" y="17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97" y="6"/>
                  </a:lnTo>
                  <a:lnTo>
                    <a:pt x="503" y="1"/>
                  </a:lnTo>
                  <a:lnTo>
                    <a:pt x="507" y="0"/>
                  </a:lnTo>
                  <a:lnTo>
                    <a:pt x="510" y="0"/>
                  </a:lnTo>
                  <a:lnTo>
                    <a:pt x="512" y="1"/>
                  </a:lnTo>
                  <a:lnTo>
                    <a:pt x="512" y="1"/>
                  </a:lnTo>
                  <a:lnTo>
                    <a:pt x="515" y="4"/>
                  </a:lnTo>
                  <a:lnTo>
                    <a:pt x="518" y="7"/>
                  </a:lnTo>
                  <a:lnTo>
                    <a:pt x="528" y="9"/>
                  </a:lnTo>
                  <a:lnTo>
                    <a:pt x="528" y="9"/>
                  </a:lnTo>
                  <a:lnTo>
                    <a:pt x="536" y="10"/>
                  </a:lnTo>
                  <a:lnTo>
                    <a:pt x="540" y="9"/>
                  </a:lnTo>
                  <a:lnTo>
                    <a:pt x="549" y="7"/>
                  </a:lnTo>
                  <a:lnTo>
                    <a:pt x="549" y="7"/>
                  </a:lnTo>
                  <a:lnTo>
                    <a:pt x="552" y="7"/>
                  </a:lnTo>
                  <a:lnTo>
                    <a:pt x="556" y="7"/>
                  </a:lnTo>
                  <a:lnTo>
                    <a:pt x="564" y="9"/>
                  </a:lnTo>
                  <a:lnTo>
                    <a:pt x="564" y="9"/>
                  </a:lnTo>
                  <a:lnTo>
                    <a:pt x="567" y="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7" name="Freeform 126">
              <a:extLst>
                <a:ext uri="{FF2B5EF4-FFF2-40B4-BE49-F238E27FC236}">
                  <a16:creationId xmlns:a16="http://schemas.microsoft.com/office/drawing/2014/main" id="{3000F59D-FBF2-854F-A3AA-105FC40A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3063" y="3233738"/>
              <a:ext cx="328613" cy="552450"/>
            </a:xfrm>
            <a:custGeom>
              <a:avLst/>
              <a:gdLst>
                <a:gd name="T0" fmla="*/ 0 w 207"/>
                <a:gd name="T1" fmla="*/ 0 h 348"/>
                <a:gd name="T2" fmla="*/ 15 w 207"/>
                <a:gd name="T3" fmla="*/ 15 h 348"/>
                <a:gd name="T4" fmla="*/ 23 w 207"/>
                <a:gd name="T5" fmla="*/ 20 h 348"/>
                <a:gd name="T6" fmla="*/ 32 w 207"/>
                <a:gd name="T7" fmla="*/ 21 h 348"/>
                <a:gd name="T8" fmla="*/ 44 w 207"/>
                <a:gd name="T9" fmla="*/ 18 h 348"/>
                <a:gd name="T10" fmla="*/ 47 w 207"/>
                <a:gd name="T11" fmla="*/ 17 h 348"/>
                <a:gd name="T12" fmla="*/ 52 w 207"/>
                <a:gd name="T13" fmla="*/ 17 h 348"/>
                <a:gd name="T14" fmla="*/ 55 w 207"/>
                <a:gd name="T15" fmla="*/ 24 h 348"/>
                <a:gd name="T16" fmla="*/ 55 w 207"/>
                <a:gd name="T17" fmla="*/ 30 h 348"/>
                <a:gd name="T18" fmla="*/ 60 w 207"/>
                <a:gd name="T19" fmla="*/ 36 h 348"/>
                <a:gd name="T20" fmla="*/ 66 w 207"/>
                <a:gd name="T21" fmla="*/ 37 h 348"/>
                <a:gd name="T22" fmla="*/ 78 w 207"/>
                <a:gd name="T23" fmla="*/ 43 h 348"/>
                <a:gd name="T24" fmla="*/ 114 w 207"/>
                <a:gd name="T25" fmla="*/ 71 h 348"/>
                <a:gd name="T26" fmla="*/ 121 w 207"/>
                <a:gd name="T27" fmla="*/ 80 h 348"/>
                <a:gd name="T28" fmla="*/ 117 w 207"/>
                <a:gd name="T29" fmla="*/ 83 h 348"/>
                <a:gd name="T30" fmla="*/ 108 w 207"/>
                <a:gd name="T31" fmla="*/ 91 h 348"/>
                <a:gd name="T32" fmla="*/ 103 w 207"/>
                <a:gd name="T33" fmla="*/ 97 h 348"/>
                <a:gd name="T34" fmla="*/ 94 w 207"/>
                <a:gd name="T35" fmla="*/ 107 h 348"/>
                <a:gd name="T36" fmla="*/ 94 w 207"/>
                <a:gd name="T37" fmla="*/ 116 h 348"/>
                <a:gd name="T38" fmla="*/ 94 w 207"/>
                <a:gd name="T39" fmla="*/ 128 h 348"/>
                <a:gd name="T40" fmla="*/ 92 w 207"/>
                <a:gd name="T41" fmla="*/ 147 h 348"/>
                <a:gd name="T42" fmla="*/ 89 w 207"/>
                <a:gd name="T43" fmla="*/ 153 h 348"/>
                <a:gd name="T44" fmla="*/ 65 w 207"/>
                <a:gd name="T45" fmla="*/ 184 h 348"/>
                <a:gd name="T46" fmla="*/ 62 w 207"/>
                <a:gd name="T47" fmla="*/ 193 h 348"/>
                <a:gd name="T48" fmla="*/ 52 w 207"/>
                <a:gd name="T49" fmla="*/ 217 h 348"/>
                <a:gd name="T50" fmla="*/ 50 w 207"/>
                <a:gd name="T51" fmla="*/ 221 h 348"/>
                <a:gd name="T52" fmla="*/ 49 w 207"/>
                <a:gd name="T53" fmla="*/ 236 h 348"/>
                <a:gd name="T54" fmla="*/ 55 w 207"/>
                <a:gd name="T55" fmla="*/ 251 h 348"/>
                <a:gd name="T56" fmla="*/ 57 w 207"/>
                <a:gd name="T57" fmla="*/ 254 h 348"/>
                <a:gd name="T58" fmla="*/ 69 w 207"/>
                <a:gd name="T59" fmla="*/ 254 h 348"/>
                <a:gd name="T60" fmla="*/ 71 w 207"/>
                <a:gd name="T61" fmla="*/ 255 h 348"/>
                <a:gd name="T62" fmla="*/ 68 w 207"/>
                <a:gd name="T63" fmla="*/ 267 h 348"/>
                <a:gd name="T64" fmla="*/ 68 w 207"/>
                <a:gd name="T65" fmla="*/ 271 h 348"/>
                <a:gd name="T66" fmla="*/ 75 w 207"/>
                <a:gd name="T67" fmla="*/ 280 h 348"/>
                <a:gd name="T68" fmla="*/ 83 w 207"/>
                <a:gd name="T69" fmla="*/ 286 h 348"/>
                <a:gd name="T70" fmla="*/ 102 w 207"/>
                <a:gd name="T71" fmla="*/ 299 h 348"/>
                <a:gd name="T72" fmla="*/ 112 w 207"/>
                <a:gd name="T73" fmla="*/ 299 h 348"/>
                <a:gd name="T74" fmla="*/ 148 w 207"/>
                <a:gd name="T75" fmla="*/ 295 h 348"/>
                <a:gd name="T76" fmla="*/ 158 w 207"/>
                <a:gd name="T77" fmla="*/ 298 h 348"/>
                <a:gd name="T78" fmla="*/ 177 w 207"/>
                <a:gd name="T79" fmla="*/ 310 h 348"/>
                <a:gd name="T80" fmla="*/ 185 w 207"/>
                <a:gd name="T81" fmla="*/ 32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7" h="348">
                  <a:moveTo>
                    <a:pt x="0" y="0"/>
                  </a:moveTo>
                  <a:lnTo>
                    <a:pt x="0" y="0"/>
                  </a:lnTo>
                  <a:lnTo>
                    <a:pt x="7" y="9"/>
                  </a:lnTo>
                  <a:lnTo>
                    <a:pt x="15" y="15"/>
                  </a:lnTo>
                  <a:lnTo>
                    <a:pt x="19" y="18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32" y="21"/>
                  </a:lnTo>
                  <a:lnTo>
                    <a:pt x="38" y="20"/>
                  </a:lnTo>
                  <a:lnTo>
                    <a:pt x="44" y="18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9" y="15"/>
                  </a:lnTo>
                  <a:lnTo>
                    <a:pt x="52" y="17"/>
                  </a:lnTo>
                  <a:lnTo>
                    <a:pt x="53" y="18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30"/>
                  </a:lnTo>
                  <a:lnTo>
                    <a:pt x="56" y="34"/>
                  </a:lnTo>
                  <a:lnTo>
                    <a:pt x="60" y="36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71" y="39"/>
                  </a:lnTo>
                  <a:lnTo>
                    <a:pt x="78" y="43"/>
                  </a:lnTo>
                  <a:lnTo>
                    <a:pt x="97" y="57"/>
                  </a:lnTo>
                  <a:lnTo>
                    <a:pt x="114" y="71"/>
                  </a:lnTo>
                  <a:lnTo>
                    <a:pt x="121" y="80"/>
                  </a:lnTo>
                  <a:lnTo>
                    <a:pt x="121" y="80"/>
                  </a:lnTo>
                  <a:lnTo>
                    <a:pt x="121" y="82"/>
                  </a:lnTo>
                  <a:lnTo>
                    <a:pt x="117" y="83"/>
                  </a:lnTo>
                  <a:lnTo>
                    <a:pt x="112" y="86"/>
                  </a:lnTo>
                  <a:lnTo>
                    <a:pt x="108" y="91"/>
                  </a:lnTo>
                  <a:lnTo>
                    <a:pt x="108" y="91"/>
                  </a:lnTo>
                  <a:lnTo>
                    <a:pt x="103" y="97"/>
                  </a:lnTo>
                  <a:lnTo>
                    <a:pt x="99" y="101"/>
                  </a:lnTo>
                  <a:lnTo>
                    <a:pt x="94" y="107"/>
                  </a:lnTo>
                  <a:lnTo>
                    <a:pt x="94" y="111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4" y="128"/>
                  </a:lnTo>
                  <a:lnTo>
                    <a:pt x="94" y="138"/>
                  </a:lnTo>
                  <a:lnTo>
                    <a:pt x="92" y="147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74" y="172"/>
                  </a:lnTo>
                  <a:lnTo>
                    <a:pt x="65" y="184"/>
                  </a:lnTo>
                  <a:lnTo>
                    <a:pt x="62" y="193"/>
                  </a:lnTo>
                  <a:lnTo>
                    <a:pt x="62" y="193"/>
                  </a:lnTo>
                  <a:lnTo>
                    <a:pt x="59" y="203"/>
                  </a:lnTo>
                  <a:lnTo>
                    <a:pt x="52" y="217"/>
                  </a:lnTo>
                  <a:lnTo>
                    <a:pt x="52" y="217"/>
                  </a:lnTo>
                  <a:lnTo>
                    <a:pt x="50" y="221"/>
                  </a:lnTo>
                  <a:lnTo>
                    <a:pt x="49" y="225"/>
                  </a:lnTo>
                  <a:lnTo>
                    <a:pt x="49" y="236"/>
                  </a:lnTo>
                  <a:lnTo>
                    <a:pt x="52" y="246"/>
                  </a:lnTo>
                  <a:lnTo>
                    <a:pt x="55" y="251"/>
                  </a:lnTo>
                  <a:lnTo>
                    <a:pt x="55" y="251"/>
                  </a:lnTo>
                  <a:lnTo>
                    <a:pt x="57" y="254"/>
                  </a:lnTo>
                  <a:lnTo>
                    <a:pt x="62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1" y="255"/>
                  </a:lnTo>
                  <a:lnTo>
                    <a:pt x="71" y="258"/>
                  </a:lnTo>
                  <a:lnTo>
                    <a:pt x="68" y="267"/>
                  </a:lnTo>
                  <a:lnTo>
                    <a:pt x="68" y="267"/>
                  </a:lnTo>
                  <a:lnTo>
                    <a:pt x="68" y="271"/>
                  </a:lnTo>
                  <a:lnTo>
                    <a:pt x="71" y="276"/>
                  </a:lnTo>
                  <a:lnTo>
                    <a:pt x="75" y="280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96" y="297"/>
                  </a:lnTo>
                  <a:lnTo>
                    <a:pt x="102" y="299"/>
                  </a:lnTo>
                  <a:lnTo>
                    <a:pt x="112" y="299"/>
                  </a:lnTo>
                  <a:lnTo>
                    <a:pt x="112" y="299"/>
                  </a:lnTo>
                  <a:lnTo>
                    <a:pt x="132" y="297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58" y="298"/>
                  </a:lnTo>
                  <a:lnTo>
                    <a:pt x="169" y="302"/>
                  </a:lnTo>
                  <a:lnTo>
                    <a:pt x="177" y="310"/>
                  </a:lnTo>
                  <a:lnTo>
                    <a:pt x="185" y="320"/>
                  </a:lnTo>
                  <a:lnTo>
                    <a:pt x="185" y="320"/>
                  </a:lnTo>
                  <a:lnTo>
                    <a:pt x="207" y="34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8" name="Freeform 127">
              <a:extLst>
                <a:ext uri="{FF2B5EF4-FFF2-40B4-BE49-F238E27FC236}">
                  <a16:creationId xmlns:a16="http://schemas.microsoft.com/office/drawing/2014/main" id="{F19B701F-48C5-A44D-943A-E7EDF7357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8563" y="5006975"/>
              <a:ext cx="1046163" cy="1709737"/>
            </a:xfrm>
            <a:custGeom>
              <a:avLst/>
              <a:gdLst>
                <a:gd name="T0" fmla="*/ 89 w 659"/>
                <a:gd name="T1" fmla="*/ 1053 h 1077"/>
                <a:gd name="T2" fmla="*/ 77 w 659"/>
                <a:gd name="T3" fmla="*/ 1020 h 1077"/>
                <a:gd name="T4" fmla="*/ 84 w 659"/>
                <a:gd name="T5" fmla="*/ 992 h 1077"/>
                <a:gd name="T6" fmla="*/ 106 w 659"/>
                <a:gd name="T7" fmla="*/ 960 h 1077"/>
                <a:gd name="T8" fmla="*/ 96 w 659"/>
                <a:gd name="T9" fmla="*/ 942 h 1077"/>
                <a:gd name="T10" fmla="*/ 68 w 659"/>
                <a:gd name="T11" fmla="*/ 917 h 1077"/>
                <a:gd name="T12" fmla="*/ 32 w 659"/>
                <a:gd name="T13" fmla="*/ 893 h 1077"/>
                <a:gd name="T14" fmla="*/ 38 w 659"/>
                <a:gd name="T15" fmla="*/ 862 h 1077"/>
                <a:gd name="T16" fmla="*/ 50 w 659"/>
                <a:gd name="T17" fmla="*/ 846 h 1077"/>
                <a:gd name="T18" fmla="*/ 3 w 659"/>
                <a:gd name="T19" fmla="*/ 818 h 1077"/>
                <a:gd name="T20" fmla="*/ 21 w 659"/>
                <a:gd name="T21" fmla="*/ 812 h 1077"/>
                <a:gd name="T22" fmla="*/ 27 w 659"/>
                <a:gd name="T23" fmla="*/ 795 h 1077"/>
                <a:gd name="T24" fmla="*/ 18 w 659"/>
                <a:gd name="T25" fmla="*/ 772 h 1077"/>
                <a:gd name="T26" fmla="*/ 25 w 659"/>
                <a:gd name="T27" fmla="*/ 748 h 1077"/>
                <a:gd name="T28" fmla="*/ 18 w 659"/>
                <a:gd name="T29" fmla="*/ 706 h 1077"/>
                <a:gd name="T30" fmla="*/ 29 w 659"/>
                <a:gd name="T31" fmla="*/ 662 h 1077"/>
                <a:gd name="T32" fmla="*/ 77 w 659"/>
                <a:gd name="T33" fmla="*/ 635 h 1077"/>
                <a:gd name="T34" fmla="*/ 102 w 659"/>
                <a:gd name="T35" fmla="*/ 622 h 1077"/>
                <a:gd name="T36" fmla="*/ 126 w 659"/>
                <a:gd name="T37" fmla="*/ 606 h 1077"/>
                <a:gd name="T38" fmla="*/ 139 w 659"/>
                <a:gd name="T39" fmla="*/ 557 h 1077"/>
                <a:gd name="T40" fmla="*/ 185 w 659"/>
                <a:gd name="T41" fmla="*/ 545 h 1077"/>
                <a:gd name="T42" fmla="*/ 209 w 659"/>
                <a:gd name="T43" fmla="*/ 517 h 1077"/>
                <a:gd name="T44" fmla="*/ 218 w 659"/>
                <a:gd name="T45" fmla="*/ 480 h 1077"/>
                <a:gd name="T46" fmla="*/ 234 w 659"/>
                <a:gd name="T47" fmla="*/ 462 h 1077"/>
                <a:gd name="T48" fmla="*/ 252 w 659"/>
                <a:gd name="T49" fmla="*/ 468 h 1077"/>
                <a:gd name="T50" fmla="*/ 225 w 659"/>
                <a:gd name="T51" fmla="*/ 441 h 1077"/>
                <a:gd name="T52" fmla="*/ 206 w 659"/>
                <a:gd name="T53" fmla="*/ 387 h 1077"/>
                <a:gd name="T54" fmla="*/ 179 w 659"/>
                <a:gd name="T55" fmla="*/ 364 h 1077"/>
                <a:gd name="T56" fmla="*/ 160 w 659"/>
                <a:gd name="T57" fmla="*/ 333 h 1077"/>
                <a:gd name="T58" fmla="*/ 167 w 659"/>
                <a:gd name="T59" fmla="*/ 304 h 1077"/>
                <a:gd name="T60" fmla="*/ 176 w 659"/>
                <a:gd name="T61" fmla="*/ 264 h 1077"/>
                <a:gd name="T62" fmla="*/ 179 w 659"/>
                <a:gd name="T63" fmla="*/ 235 h 1077"/>
                <a:gd name="T64" fmla="*/ 179 w 659"/>
                <a:gd name="T65" fmla="*/ 179 h 1077"/>
                <a:gd name="T66" fmla="*/ 166 w 659"/>
                <a:gd name="T67" fmla="*/ 124 h 1077"/>
                <a:gd name="T68" fmla="*/ 222 w 659"/>
                <a:gd name="T69" fmla="*/ 127 h 1077"/>
                <a:gd name="T70" fmla="*/ 253 w 659"/>
                <a:gd name="T71" fmla="*/ 124 h 1077"/>
                <a:gd name="T72" fmla="*/ 278 w 659"/>
                <a:gd name="T73" fmla="*/ 124 h 1077"/>
                <a:gd name="T74" fmla="*/ 292 w 659"/>
                <a:gd name="T75" fmla="*/ 107 h 1077"/>
                <a:gd name="T76" fmla="*/ 303 w 659"/>
                <a:gd name="T77" fmla="*/ 86 h 1077"/>
                <a:gd name="T78" fmla="*/ 317 w 659"/>
                <a:gd name="T79" fmla="*/ 80 h 1077"/>
                <a:gd name="T80" fmla="*/ 333 w 659"/>
                <a:gd name="T81" fmla="*/ 84 h 1077"/>
                <a:gd name="T82" fmla="*/ 348 w 659"/>
                <a:gd name="T83" fmla="*/ 73 h 1077"/>
                <a:gd name="T84" fmla="*/ 352 w 659"/>
                <a:gd name="T85" fmla="*/ 87 h 1077"/>
                <a:gd name="T86" fmla="*/ 364 w 659"/>
                <a:gd name="T87" fmla="*/ 76 h 1077"/>
                <a:gd name="T88" fmla="*/ 386 w 659"/>
                <a:gd name="T89" fmla="*/ 24 h 1077"/>
                <a:gd name="T90" fmla="*/ 410 w 659"/>
                <a:gd name="T91" fmla="*/ 3 h 1077"/>
                <a:gd name="T92" fmla="*/ 459 w 659"/>
                <a:gd name="T93" fmla="*/ 6 h 1077"/>
                <a:gd name="T94" fmla="*/ 506 w 659"/>
                <a:gd name="T95" fmla="*/ 37 h 1077"/>
                <a:gd name="T96" fmla="*/ 514 w 659"/>
                <a:gd name="T97" fmla="*/ 67 h 1077"/>
                <a:gd name="T98" fmla="*/ 526 w 659"/>
                <a:gd name="T99" fmla="*/ 93 h 1077"/>
                <a:gd name="T100" fmla="*/ 503 w 659"/>
                <a:gd name="T101" fmla="*/ 141 h 1077"/>
                <a:gd name="T102" fmla="*/ 530 w 659"/>
                <a:gd name="T103" fmla="*/ 156 h 1077"/>
                <a:gd name="T104" fmla="*/ 561 w 659"/>
                <a:gd name="T105" fmla="*/ 138 h 1077"/>
                <a:gd name="T106" fmla="*/ 604 w 659"/>
                <a:gd name="T107" fmla="*/ 145 h 1077"/>
                <a:gd name="T108" fmla="*/ 620 w 659"/>
                <a:gd name="T109" fmla="*/ 142 h 1077"/>
                <a:gd name="T110" fmla="*/ 643 w 659"/>
                <a:gd name="T111" fmla="*/ 170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9" h="1077">
                  <a:moveTo>
                    <a:pt x="99" y="1077"/>
                  </a:moveTo>
                  <a:lnTo>
                    <a:pt x="99" y="1077"/>
                  </a:lnTo>
                  <a:lnTo>
                    <a:pt x="98" y="1072"/>
                  </a:lnTo>
                  <a:lnTo>
                    <a:pt x="92" y="1062"/>
                  </a:lnTo>
                  <a:lnTo>
                    <a:pt x="92" y="1062"/>
                  </a:lnTo>
                  <a:lnTo>
                    <a:pt x="90" y="1057"/>
                  </a:lnTo>
                  <a:lnTo>
                    <a:pt x="89" y="1053"/>
                  </a:lnTo>
                  <a:lnTo>
                    <a:pt x="87" y="1050"/>
                  </a:lnTo>
                  <a:lnTo>
                    <a:pt x="86" y="1046"/>
                  </a:lnTo>
                  <a:lnTo>
                    <a:pt x="86" y="1046"/>
                  </a:lnTo>
                  <a:lnTo>
                    <a:pt x="81" y="1040"/>
                  </a:lnTo>
                  <a:lnTo>
                    <a:pt x="78" y="1032"/>
                  </a:lnTo>
                  <a:lnTo>
                    <a:pt x="77" y="1023"/>
                  </a:lnTo>
                  <a:lnTo>
                    <a:pt x="77" y="1020"/>
                  </a:lnTo>
                  <a:lnTo>
                    <a:pt x="78" y="1019"/>
                  </a:lnTo>
                  <a:lnTo>
                    <a:pt x="78" y="1019"/>
                  </a:lnTo>
                  <a:lnTo>
                    <a:pt x="81" y="1016"/>
                  </a:lnTo>
                  <a:lnTo>
                    <a:pt x="83" y="1012"/>
                  </a:lnTo>
                  <a:lnTo>
                    <a:pt x="83" y="998"/>
                  </a:lnTo>
                  <a:lnTo>
                    <a:pt x="83" y="998"/>
                  </a:lnTo>
                  <a:lnTo>
                    <a:pt x="84" y="992"/>
                  </a:lnTo>
                  <a:lnTo>
                    <a:pt x="86" y="986"/>
                  </a:lnTo>
                  <a:lnTo>
                    <a:pt x="90" y="980"/>
                  </a:lnTo>
                  <a:lnTo>
                    <a:pt x="95" y="975"/>
                  </a:lnTo>
                  <a:lnTo>
                    <a:pt x="95" y="975"/>
                  </a:lnTo>
                  <a:lnTo>
                    <a:pt x="105" y="967"/>
                  </a:lnTo>
                  <a:lnTo>
                    <a:pt x="106" y="964"/>
                  </a:lnTo>
                  <a:lnTo>
                    <a:pt x="106" y="960"/>
                  </a:lnTo>
                  <a:lnTo>
                    <a:pt x="106" y="960"/>
                  </a:lnTo>
                  <a:lnTo>
                    <a:pt x="104" y="957"/>
                  </a:lnTo>
                  <a:lnTo>
                    <a:pt x="101" y="954"/>
                  </a:lnTo>
                  <a:lnTo>
                    <a:pt x="99" y="952"/>
                  </a:lnTo>
                  <a:lnTo>
                    <a:pt x="96" y="949"/>
                  </a:lnTo>
                  <a:lnTo>
                    <a:pt x="96" y="949"/>
                  </a:lnTo>
                  <a:lnTo>
                    <a:pt x="96" y="942"/>
                  </a:lnTo>
                  <a:lnTo>
                    <a:pt x="95" y="937"/>
                  </a:lnTo>
                  <a:lnTo>
                    <a:pt x="93" y="933"/>
                  </a:lnTo>
                  <a:lnTo>
                    <a:pt x="90" y="929"/>
                  </a:lnTo>
                  <a:lnTo>
                    <a:pt x="86" y="924"/>
                  </a:lnTo>
                  <a:lnTo>
                    <a:pt x="78" y="920"/>
                  </a:lnTo>
                  <a:lnTo>
                    <a:pt x="68" y="917"/>
                  </a:lnTo>
                  <a:lnTo>
                    <a:pt x="68" y="917"/>
                  </a:lnTo>
                  <a:lnTo>
                    <a:pt x="47" y="912"/>
                  </a:lnTo>
                  <a:lnTo>
                    <a:pt x="34" y="906"/>
                  </a:lnTo>
                  <a:lnTo>
                    <a:pt x="28" y="902"/>
                  </a:lnTo>
                  <a:lnTo>
                    <a:pt x="27" y="900"/>
                  </a:lnTo>
                  <a:lnTo>
                    <a:pt x="27" y="899"/>
                  </a:lnTo>
                  <a:lnTo>
                    <a:pt x="27" y="899"/>
                  </a:lnTo>
                  <a:lnTo>
                    <a:pt x="32" y="893"/>
                  </a:lnTo>
                  <a:lnTo>
                    <a:pt x="37" y="890"/>
                  </a:lnTo>
                  <a:lnTo>
                    <a:pt x="37" y="890"/>
                  </a:lnTo>
                  <a:lnTo>
                    <a:pt x="38" y="887"/>
                  </a:lnTo>
                  <a:lnTo>
                    <a:pt x="40" y="883"/>
                  </a:lnTo>
                  <a:lnTo>
                    <a:pt x="40" y="872"/>
                  </a:lnTo>
                  <a:lnTo>
                    <a:pt x="40" y="872"/>
                  </a:lnTo>
                  <a:lnTo>
                    <a:pt x="38" y="862"/>
                  </a:lnTo>
                  <a:lnTo>
                    <a:pt x="38" y="858"/>
                  </a:lnTo>
                  <a:lnTo>
                    <a:pt x="41" y="855"/>
                  </a:lnTo>
                  <a:lnTo>
                    <a:pt x="41" y="855"/>
                  </a:lnTo>
                  <a:lnTo>
                    <a:pt x="46" y="853"/>
                  </a:lnTo>
                  <a:lnTo>
                    <a:pt x="49" y="850"/>
                  </a:lnTo>
                  <a:lnTo>
                    <a:pt x="50" y="847"/>
                  </a:lnTo>
                  <a:lnTo>
                    <a:pt x="50" y="846"/>
                  </a:lnTo>
                  <a:lnTo>
                    <a:pt x="47" y="844"/>
                  </a:lnTo>
                  <a:lnTo>
                    <a:pt x="47" y="844"/>
                  </a:lnTo>
                  <a:lnTo>
                    <a:pt x="31" y="835"/>
                  </a:lnTo>
                  <a:lnTo>
                    <a:pt x="13" y="828"/>
                  </a:lnTo>
                  <a:lnTo>
                    <a:pt x="13" y="828"/>
                  </a:lnTo>
                  <a:lnTo>
                    <a:pt x="9" y="823"/>
                  </a:lnTo>
                  <a:lnTo>
                    <a:pt x="3" y="818"/>
                  </a:lnTo>
                  <a:lnTo>
                    <a:pt x="0" y="812"/>
                  </a:lnTo>
                  <a:lnTo>
                    <a:pt x="0" y="810"/>
                  </a:lnTo>
                  <a:lnTo>
                    <a:pt x="1" y="809"/>
                  </a:lnTo>
                  <a:lnTo>
                    <a:pt x="1" y="809"/>
                  </a:lnTo>
                  <a:lnTo>
                    <a:pt x="7" y="810"/>
                  </a:lnTo>
                  <a:lnTo>
                    <a:pt x="15" y="812"/>
                  </a:lnTo>
                  <a:lnTo>
                    <a:pt x="21" y="812"/>
                  </a:lnTo>
                  <a:lnTo>
                    <a:pt x="24" y="812"/>
                  </a:lnTo>
                  <a:lnTo>
                    <a:pt x="25" y="810"/>
                  </a:lnTo>
                  <a:lnTo>
                    <a:pt x="25" y="810"/>
                  </a:lnTo>
                  <a:lnTo>
                    <a:pt x="27" y="806"/>
                  </a:lnTo>
                  <a:lnTo>
                    <a:pt x="27" y="803"/>
                  </a:lnTo>
                  <a:lnTo>
                    <a:pt x="27" y="795"/>
                  </a:lnTo>
                  <a:lnTo>
                    <a:pt x="27" y="795"/>
                  </a:lnTo>
                  <a:lnTo>
                    <a:pt x="27" y="792"/>
                  </a:lnTo>
                  <a:lnTo>
                    <a:pt x="27" y="789"/>
                  </a:lnTo>
                  <a:lnTo>
                    <a:pt x="27" y="785"/>
                  </a:lnTo>
                  <a:lnTo>
                    <a:pt x="25" y="780"/>
                  </a:lnTo>
                  <a:lnTo>
                    <a:pt x="25" y="780"/>
                  </a:lnTo>
                  <a:lnTo>
                    <a:pt x="22" y="775"/>
                  </a:lnTo>
                  <a:lnTo>
                    <a:pt x="18" y="772"/>
                  </a:lnTo>
                  <a:lnTo>
                    <a:pt x="16" y="769"/>
                  </a:lnTo>
                  <a:lnTo>
                    <a:pt x="16" y="766"/>
                  </a:lnTo>
                  <a:lnTo>
                    <a:pt x="18" y="764"/>
                  </a:lnTo>
                  <a:lnTo>
                    <a:pt x="18" y="764"/>
                  </a:lnTo>
                  <a:lnTo>
                    <a:pt x="21" y="758"/>
                  </a:lnTo>
                  <a:lnTo>
                    <a:pt x="24" y="752"/>
                  </a:lnTo>
                  <a:lnTo>
                    <a:pt x="25" y="748"/>
                  </a:lnTo>
                  <a:lnTo>
                    <a:pt x="25" y="743"/>
                  </a:lnTo>
                  <a:lnTo>
                    <a:pt x="25" y="743"/>
                  </a:lnTo>
                  <a:lnTo>
                    <a:pt x="22" y="732"/>
                  </a:lnTo>
                  <a:lnTo>
                    <a:pt x="19" y="724"/>
                  </a:lnTo>
                  <a:lnTo>
                    <a:pt x="18" y="718"/>
                  </a:lnTo>
                  <a:lnTo>
                    <a:pt x="18" y="718"/>
                  </a:lnTo>
                  <a:lnTo>
                    <a:pt x="18" y="706"/>
                  </a:lnTo>
                  <a:lnTo>
                    <a:pt x="19" y="692"/>
                  </a:lnTo>
                  <a:lnTo>
                    <a:pt x="19" y="692"/>
                  </a:lnTo>
                  <a:lnTo>
                    <a:pt x="21" y="683"/>
                  </a:lnTo>
                  <a:lnTo>
                    <a:pt x="24" y="677"/>
                  </a:lnTo>
                  <a:lnTo>
                    <a:pt x="28" y="665"/>
                  </a:lnTo>
                  <a:lnTo>
                    <a:pt x="28" y="665"/>
                  </a:lnTo>
                  <a:lnTo>
                    <a:pt x="29" y="662"/>
                  </a:lnTo>
                  <a:lnTo>
                    <a:pt x="32" y="659"/>
                  </a:lnTo>
                  <a:lnTo>
                    <a:pt x="41" y="652"/>
                  </a:lnTo>
                  <a:lnTo>
                    <a:pt x="52" y="644"/>
                  </a:lnTo>
                  <a:lnTo>
                    <a:pt x="62" y="640"/>
                  </a:lnTo>
                  <a:lnTo>
                    <a:pt x="62" y="640"/>
                  </a:lnTo>
                  <a:lnTo>
                    <a:pt x="71" y="637"/>
                  </a:lnTo>
                  <a:lnTo>
                    <a:pt x="77" y="635"/>
                  </a:lnTo>
                  <a:lnTo>
                    <a:pt x="83" y="635"/>
                  </a:lnTo>
                  <a:lnTo>
                    <a:pt x="89" y="634"/>
                  </a:lnTo>
                  <a:lnTo>
                    <a:pt x="89" y="634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8" y="625"/>
                  </a:lnTo>
                  <a:lnTo>
                    <a:pt x="102" y="622"/>
                  </a:lnTo>
                  <a:lnTo>
                    <a:pt x="102" y="622"/>
                  </a:lnTo>
                  <a:lnTo>
                    <a:pt x="112" y="618"/>
                  </a:lnTo>
                  <a:lnTo>
                    <a:pt x="118" y="616"/>
                  </a:lnTo>
                  <a:lnTo>
                    <a:pt x="121" y="613"/>
                  </a:lnTo>
                  <a:lnTo>
                    <a:pt x="121" y="613"/>
                  </a:lnTo>
                  <a:lnTo>
                    <a:pt x="124" y="609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26" y="600"/>
                  </a:lnTo>
                  <a:lnTo>
                    <a:pt x="130" y="579"/>
                  </a:lnTo>
                  <a:lnTo>
                    <a:pt x="133" y="567"/>
                  </a:lnTo>
                  <a:lnTo>
                    <a:pt x="136" y="558"/>
                  </a:lnTo>
                  <a:lnTo>
                    <a:pt x="136" y="558"/>
                  </a:lnTo>
                  <a:lnTo>
                    <a:pt x="139" y="557"/>
                  </a:lnTo>
                  <a:lnTo>
                    <a:pt x="145" y="555"/>
                  </a:lnTo>
                  <a:lnTo>
                    <a:pt x="154" y="554"/>
                  </a:lnTo>
                  <a:lnTo>
                    <a:pt x="163" y="551"/>
                  </a:lnTo>
                  <a:lnTo>
                    <a:pt x="163" y="551"/>
                  </a:lnTo>
                  <a:lnTo>
                    <a:pt x="172" y="548"/>
                  </a:lnTo>
                  <a:lnTo>
                    <a:pt x="179" y="546"/>
                  </a:lnTo>
                  <a:lnTo>
                    <a:pt x="185" y="545"/>
                  </a:lnTo>
                  <a:lnTo>
                    <a:pt x="188" y="544"/>
                  </a:lnTo>
                  <a:lnTo>
                    <a:pt x="191" y="539"/>
                  </a:lnTo>
                  <a:lnTo>
                    <a:pt x="191" y="539"/>
                  </a:lnTo>
                  <a:lnTo>
                    <a:pt x="197" y="533"/>
                  </a:lnTo>
                  <a:lnTo>
                    <a:pt x="203" y="530"/>
                  </a:lnTo>
                  <a:lnTo>
                    <a:pt x="207" y="526"/>
                  </a:lnTo>
                  <a:lnTo>
                    <a:pt x="209" y="517"/>
                  </a:lnTo>
                  <a:lnTo>
                    <a:pt x="209" y="517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13" y="487"/>
                  </a:lnTo>
                  <a:lnTo>
                    <a:pt x="215" y="484"/>
                  </a:lnTo>
                  <a:lnTo>
                    <a:pt x="218" y="480"/>
                  </a:lnTo>
                  <a:lnTo>
                    <a:pt x="218" y="480"/>
                  </a:lnTo>
                  <a:lnTo>
                    <a:pt x="220" y="471"/>
                  </a:lnTo>
                  <a:lnTo>
                    <a:pt x="223" y="465"/>
                  </a:lnTo>
                  <a:lnTo>
                    <a:pt x="223" y="465"/>
                  </a:lnTo>
                  <a:lnTo>
                    <a:pt x="225" y="462"/>
                  </a:lnTo>
                  <a:lnTo>
                    <a:pt x="228" y="461"/>
                  </a:lnTo>
                  <a:lnTo>
                    <a:pt x="232" y="461"/>
                  </a:lnTo>
                  <a:lnTo>
                    <a:pt x="234" y="462"/>
                  </a:lnTo>
                  <a:lnTo>
                    <a:pt x="234" y="462"/>
                  </a:lnTo>
                  <a:lnTo>
                    <a:pt x="238" y="469"/>
                  </a:lnTo>
                  <a:lnTo>
                    <a:pt x="241" y="471"/>
                  </a:lnTo>
                  <a:lnTo>
                    <a:pt x="244" y="472"/>
                  </a:lnTo>
                  <a:lnTo>
                    <a:pt x="244" y="472"/>
                  </a:lnTo>
                  <a:lnTo>
                    <a:pt x="252" y="469"/>
                  </a:lnTo>
                  <a:lnTo>
                    <a:pt x="252" y="468"/>
                  </a:lnTo>
                  <a:lnTo>
                    <a:pt x="252" y="465"/>
                  </a:lnTo>
                  <a:lnTo>
                    <a:pt x="252" y="465"/>
                  </a:lnTo>
                  <a:lnTo>
                    <a:pt x="247" y="461"/>
                  </a:lnTo>
                  <a:lnTo>
                    <a:pt x="240" y="456"/>
                  </a:lnTo>
                  <a:lnTo>
                    <a:pt x="231" y="449"/>
                  </a:lnTo>
                  <a:lnTo>
                    <a:pt x="225" y="441"/>
                  </a:lnTo>
                  <a:lnTo>
                    <a:pt x="225" y="441"/>
                  </a:lnTo>
                  <a:lnTo>
                    <a:pt x="219" y="434"/>
                  </a:lnTo>
                  <a:lnTo>
                    <a:pt x="215" y="428"/>
                  </a:lnTo>
                  <a:lnTo>
                    <a:pt x="210" y="422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07" y="397"/>
                  </a:lnTo>
                  <a:lnTo>
                    <a:pt x="206" y="387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197" y="375"/>
                  </a:lnTo>
                  <a:lnTo>
                    <a:pt x="192" y="370"/>
                  </a:lnTo>
                  <a:lnTo>
                    <a:pt x="185" y="366"/>
                  </a:lnTo>
                  <a:lnTo>
                    <a:pt x="179" y="364"/>
                  </a:lnTo>
                  <a:lnTo>
                    <a:pt x="179" y="364"/>
                  </a:lnTo>
                  <a:lnTo>
                    <a:pt x="173" y="361"/>
                  </a:lnTo>
                  <a:lnTo>
                    <a:pt x="170" y="35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1" y="344"/>
                  </a:lnTo>
                  <a:lnTo>
                    <a:pt x="160" y="338"/>
                  </a:lnTo>
                  <a:lnTo>
                    <a:pt x="160" y="333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6" y="318"/>
                  </a:lnTo>
                  <a:lnTo>
                    <a:pt x="167" y="314"/>
                  </a:lnTo>
                  <a:lnTo>
                    <a:pt x="167" y="310"/>
                  </a:lnTo>
                  <a:lnTo>
                    <a:pt x="167" y="310"/>
                  </a:lnTo>
                  <a:lnTo>
                    <a:pt x="167" y="304"/>
                  </a:lnTo>
                  <a:lnTo>
                    <a:pt x="169" y="295"/>
                  </a:lnTo>
                  <a:lnTo>
                    <a:pt x="172" y="281"/>
                  </a:lnTo>
                  <a:lnTo>
                    <a:pt x="172" y="281"/>
                  </a:lnTo>
                  <a:lnTo>
                    <a:pt x="172" y="278"/>
                  </a:lnTo>
                  <a:lnTo>
                    <a:pt x="172" y="275"/>
                  </a:lnTo>
                  <a:lnTo>
                    <a:pt x="173" y="271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83" y="255"/>
                  </a:lnTo>
                  <a:lnTo>
                    <a:pt x="183" y="253"/>
                  </a:lnTo>
                  <a:lnTo>
                    <a:pt x="183" y="249"/>
                  </a:lnTo>
                  <a:lnTo>
                    <a:pt x="183" y="249"/>
                  </a:lnTo>
                  <a:lnTo>
                    <a:pt x="181" y="243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78" y="215"/>
                  </a:lnTo>
                  <a:lnTo>
                    <a:pt x="178" y="20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9" y="187"/>
                  </a:lnTo>
                  <a:lnTo>
                    <a:pt x="179" y="179"/>
                  </a:lnTo>
                  <a:lnTo>
                    <a:pt x="178" y="172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2" y="156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6" y="124"/>
                  </a:lnTo>
                  <a:lnTo>
                    <a:pt x="166" y="121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82" y="120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222" y="127"/>
                  </a:lnTo>
                  <a:lnTo>
                    <a:pt x="234" y="129"/>
                  </a:lnTo>
                  <a:lnTo>
                    <a:pt x="241" y="129"/>
                  </a:lnTo>
                  <a:lnTo>
                    <a:pt x="241" y="129"/>
                  </a:lnTo>
                  <a:lnTo>
                    <a:pt x="250" y="129"/>
                  </a:lnTo>
                  <a:lnTo>
                    <a:pt x="252" y="127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6" y="120"/>
                  </a:lnTo>
                  <a:lnTo>
                    <a:pt x="259" y="118"/>
                  </a:lnTo>
                  <a:lnTo>
                    <a:pt x="262" y="118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75" y="124"/>
                  </a:lnTo>
                  <a:lnTo>
                    <a:pt x="278" y="124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83" y="121"/>
                  </a:lnTo>
                  <a:lnTo>
                    <a:pt x="284" y="116"/>
                  </a:lnTo>
                  <a:lnTo>
                    <a:pt x="287" y="111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96" y="105"/>
                  </a:lnTo>
                  <a:lnTo>
                    <a:pt x="299" y="102"/>
                  </a:lnTo>
                  <a:lnTo>
                    <a:pt x="300" y="99"/>
                  </a:lnTo>
                  <a:lnTo>
                    <a:pt x="300" y="95"/>
                  </a:lnTo>
                  <a:lnTo>
                    <a:pt x="300" y="95"/>
                  </a:lnTo>
                  <a:lnTo>
                    <a:pt x="300" y="89"/>
                  </a:lnTo>
                  <a:lnTo>
                    <a:pt x="303" y="86"/>
                  </a:lnTo>
                  <a:lnTo>
                    <a:pt x="306" y="83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11" y="84"/>
                  </a:lnTo>
                  <a:lnTo>
                    <a:pt x="312" y="83"/>
                  </a:lnTo>
                  <a:lnTo>
                    <a:pt x="314" y="81"/>
                  </a:lnTo>
                  <a:lnTo>
                    <a:pt x="317" y="80"/>
                  </a:lnTo>
                  <a:lnTo>
                    <a:pt x="317" y="80"/>
                  </a:lnTo>
                  <a:lnTo>
                    <a:pt x="321" y="81"/>
                  </a:lnTo>
                  <a:lnTo>
                    <a:pt x="326" y="83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3" y="86"/>
                  </a:lnTo>
                  <a:lnTo>
                    <a:pt x="333" y="84"/>
                  </a:lnTo>
                  <a:lnTo>
                    <a:pt x="333" y="81"/>
                  </a:lnTo>
                  <a:lnTo>
                    <a:pt x="335" y="78"/>
                  </a:lnTo>
                  <a:lnTo>
                    <a:pt x="335" y="78"/>
                  </a:lnTo>
                  <a:lnTo>
                    <a:pt x="337" y="76"/>
                  </a:lnTo>
                  <a:lnTo>
                    <a:pt x="342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9" y="74"/>
                  </a:lnTo>
                  <a:lnTo>
                    <a:pt x="349" y="74"/>
                  </a:lnTo>
                  <a:lnTo>
                    <a:pt x="351" y="78"/>
                  </a:lnTo>
                  <a:lnTo>
                    <a:pt x="349" y="83"/>
                  </a:lnTo>
                  <a:lnTo>
                    <a:pt x="349" y="87"/>
                  </a:lnTo>
                  <a:lnTo>
                    <a:pt x="351" y="87"/>
                  </a:lnTo>
                  <a:lnTo>
                    <a:pt x="352" y="87"/>
                  </a:lnTo>
                  <a:lnTo>
                    <a:pt x="352" y="87"/>
                  </a:lnTo>
                  <a:lnTo>
                    <a:pt x="357" y="87"/>
                  </a:lnTo>
                  <a:lnTo>
                    <a:pt x="361" y="87"/>
                  </a:lnTo>
                  <a:lnTo>
                    <a:pt x="363" y="87"/>
                  </a:lnTo>
                  <a:lnTo>
                    <a:pt x="364" y="83"/>
                  </a:lnTo>
                  <a:lnTo>
                    <a:pt x="364" y="83"/>
                  </a:lnTo>
                  <a:lnTo>
                    <a:pt x="364" y="76"/>
                  </a:lnTo>
                  <a:lnTo>
                    <a:pt x="366" y="70"/>
                  </a:lnTo>
                  <a:lnTo>
                    <a:pt x="366" y="70"/>
                  </a:lnTo>
                  <a:lnTo>
                    <a:pt x="366" y="47"/>
                  </a:lnTo>
                  <a:lnTo>
                    <a:pt x="364" y="27"/>
                  </a:lnTo>
                  <a:lnTo>
                    <a:pt x="364" y="27"/>
                  </a:lnTo>
                  <a:lnTo>
                    <a:pt x="374" y="27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92" y="22"/>
                  </a:lnTo>
                  <a:lnTo>
                    <a:pt x="395" y="21"/>
                  </a:lnTo>
                  <a:lnTo>
                    <a:pt x="398" y="18"/>
                  </a:lnTo>
                  <a:lnTo>
                    <a:pt x="398" y="18"/>
                  </a:lnTo>
                  <a:lnTo>
                    <a:pt x="406" y="7"/>
                  </a:lnTo>
                  <a:lnTo>
                    <a:pt x="410" y="3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20" y="0"/>
                  </a:lnTo>
                  <a:lnTo>
                    <a:pt x="429" y="0"/>
                  </a:lnTo>
                  <a:lnTo>
                    <a:pt x="453" y="4"/>
                  </a:lnTo>
                  <a:lnTo>
                    <a:pt x="453" y="4"/>
                  </a:lnTo>
                  <a:lnTo>
                    <a:pt x="459" y="6"/>
                  </a:lnTo>
                  <a:lnTo>
                    <a:pt x="465" y="7"/>
                  </a:lnTo>
                  <a:lnTo>
                    <a:pt x="472" y="13"/>
                  </a:lnTo>
                  <a:lnTo>
                    <a:pt x="480" y="19"/>
                  </a:lnTo>
                  <a:lnTo>
                    <a:pt x="487" y="25"/>
                  </a:lnTo>
                  <a:lnTo>
                    <a:pt x="487" y="25"/>
                  </a:lnTo>
                  <a:lnTo>
                    <a:pt x="497" y="31"/>
                  </a:lnTo>
                  <a:lnTo>
                    <a:pt x="506" y="37"/>
                  </a:lnTo>
                  <a:lnTo>
                    <a:pt x="512" y="44"/>
                  </a:lnTo>
                  <a:lnTo>
                    <a:pt x="515" y="47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55"/>
                  </a:lnTo>
                  <a:lnTo>
                    <a:pt x="514" y="61"/>
                  </a:lnTo>
                  <a:lnTo>
                    <a:pt x="514" y="67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23" y="83"/>
                  </a:lnTo>
                  <a:lnTo>
                    <a:pt x="527" y="90"/>
                  </a:lnTo>
                  <a:lnTo>
                    <a:pt x="527" y="92"/>
                  </a:lnTo>
                  <a:lnTo>
                    <a:pt x="526" y="93"/>
                  </a:lnTo>
                  <a:lnTo>
                    <a:pt x="526" y="93"/>
                  </a:lnTo>
                  <a:lnTo>
                    <a:pt x="515" y="99"/>
                  </a:lnTo>
                  <a:lnTo>
                    <a:pt x="509" y="105"/>
                  </a:lnTo>
                  <a:lnTo>
                    <a:pt x="505" y="110"/>
                  </a:lnTo>
                  <a:lnTo>
                    <a:pt x="505" y="110"/>
                  </a:lnTo>
                  <a:lnTo>
                    <a:pt x="503" y="117"/>
                  </a:lnTo>
                  <a:lnTo>
                    <a:pt x="503" y="126"/>
                  </a:lnTo>
                  <a:lnTo>
                    <a:pt x="503" y="141"/>
                  </a:lnTo>
                  <a:lnTo>
                    <a:pt x="503" y="141"/>
                  </a:lnTo>
                  <a:lnTo>
                    <a:pt x="505" y="142"/>
                  </a:lnTo>
                  <a:lnTo>
                    <a:pt x="506" y="145"/>
                  </a:lnTo>
                  <a:lnTo>
                    <a:pt x="517" y="151"/>
                  </a:lnTo>
                  <a:lnTo>
                    <a:pt x="517" y="151"/>
                  </a:lnTo>
                  <a:lnTo>
                    <a:pt x="523" y="154"/>
                  </a:lnTo>
                  <a:lnTo>
                    <a:pt x="530" y="156"/>
                  </a:lnTo>
                  <a:lnTo>
                    <a:pt x="537" y="156"/>
                  </a:lnTo>
                  <a:lnTo>
                    <a:pt x="543" y="154"/>
                  </a:lnTo>
                  <a:lnTo>
                    <a:pt x="543" y="154"/>
                  </a:lnTo>
                  <a:lnTo>
                    <a:pt x="551" y="145"/>
                  </a:lnTo>
                  <a:lnTo>
                    <a:pt x="555" y="141"/>
                  </a:lnTo>
                  <a:lnTo>
                    <a:pt x="561" y="138"/>
                  </a:lnTo>
                  <a:lnTo>
                    <a:pt x="561" y="138"/>
                  </a:lnTo>
                  <a:lnTo>
                    <a:pt x="566" y="135"/>
                  </a:lnTo>
                  <a:lnTo>
                    <a:pt x="573" y="133"/>
                  </a:lnTo>
                  <a:lnTo>
                    <a:pt x="579" y="132"/>
                  </a:lnTo>
                  <a:lnTo>
                    <a:pt x="586" y="135"/>
                  </a:lnTo>
                  <a:lnTo>
                    <a:pt x="586" y="135"/>
                  </a:lnTo>
                  <a:lnTo>
                    <a:pt x="598" y="142"/>
                  </a:lnTo>
                  <a:lnTo>
                    <a:pt x="604" y="145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14" y="145"/>
                  </a:lnTo>
                  <a:lnTo>
                    <a:pt x="616" y="144"/>
                  </a:lnTo>
                  <a:lnTo>
                    <a:pt x="617" y="142"/>
                  </a:lnTo>
                  <a:lnTo>
                    <a:pt x="620" y="142"/>
                  </a:lnTo>
                  <a:lnTo>
                    <a:pt x="620" y="142"/>
                  </a:lnTo>
                  <a:lnTo>
                    <a:pt x="625" y="144"/>
                  </a:lnTo>
                  <a:lnTo>
                    <a:pt x="628" y="147"/>
                  </a:lnTo>
                  <a:lnTo>
                    <a:pt x="632" y="151"/>
                  </a:lnTo>
                  <a:lnTo>
                    <a:pt x="635" y="157"/>
                  </a:lnTo>
                  <a:lnTo>
                    <a:pt x="635" y="157"/>
                  </a:lnTo>
                  <a:lnTo>
                    <a:pt x="640" y="166"/>
                  </a:lnTo>
                  <a:lnTo>
                    <a:pt x="643" y="170"/>
                  </a:lnTo>
                  <a:lnTo>
                    <a:pt x="647" y="173"/>
                  </a:lnTo>
                  <a:lnTo>
                    <a:pt x="647" y="173"/>
                  </a:lnTo>
                  <a:lnTo>
                    <a:pt x="651" y="179"/>
                  </a:lnTo>
                  <a:lnTo>
                    <a:pt x="656" y="185"/>
                  </a:lnTo>
                  <a:lnTo>
                    <a:pt x="659" y="19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9" name="Freeform 128">
              <a:extLst>
                <a:ext uri="{FF2B5EF4-FFF2-40B4-BE49-F238E27FC236}">
                  <a16:creationId xmlns:a16="http://schemas.microsoft.com/office/drawing/2014/main" id="{0C2624F5-5FC9-9041-9591-61266A398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4013" y="3678238"/>
              <a:ext cx="1209675" cy="1371600"/>
            </a:xfrm>
            <a:custGeom>
              <a:avLst/>
              <a:gdLst>
                <a:gd name="T0" fmla="*/ 86 w 762"/>
                <a:gd name="T1" fmla="*/ 825 h 864"/>
                <a:gd name="T2" fmla="*/ 83 w 762"/>
                <a:gd name="T3" fmla="*/ 806 h 864"/>
                <a:gd name="T4" fmla="*/ 34 w 762"/>
                <a:gd name="T5" fmla="*/ 754 h 864"/>
                <a:gd name="T6" fmla="*/ 0 w 762"/>
                <a:gd name="T7" fmla="*/ 698 h 864"/>
                <a:gd name="T8" fmla="*/ 12 w 762"/>
                <a:gd name="T9" fmla="*/ 667 h 864"/>
                <a:gd name="T10" fmla="*/ 1 w 762"/>
                <a:gd name="T11" fmla="*/ 636 h 864"/>
                <a:gd name="T12" fmla="*/ 40 w 762"/>
                <a:gd name="T13" fmla="*/ 622 h 864"/>
                <a:gd name="T14" fmla="*/ 49 w 762"/>
                <a:gd name="T15" fmla="*/ 604 h 864"/>
                <a:gd name="T16" fmla="*/ 72 w 762"/>
                <a:gd name="T17" fmla="*/ 606 h 864"/>
                <a:gd name="T18" fmla="*/ 56 w 762"/>
                <a:gd name="T19" fmla="*/ 572 h 864"/>
                <a:gd name="T20" fmla="*/ 43 w 762"/>
                <a:gd name="T21" fmla="*/ 556 h 864"/>
                <a:gd name="T22" fmla="*/ 69 w 762"/>
                <a:gd name="T23" fmla="*/ 538 h 864"/>
                <a:gd name="T24" fmla="*/ 86 w 762"/>
                <a:gd name="T25" fmla="*/ 525 h 864"/>
                <a:gd name="T26" fmla="*/ 102 w 762"/>
                <a:gd name="T27" fmla="*/ 487 h 864"/>
                <a:gd name="T28" fmla="*/ 138 w 762"/>
                <a:gd name="T29" fmla="*/ 502 h 864"/>
                <a:gd name="T30" fmla="*/ 141 w 762"/>
                <a:gd name="T31" fmla="*/ 489 h 864"/>
                <a:gd name="T32" fmla="*/ 149 w 762"/>
                <a:gd name="T33" fmla="*/ 464 h 864"/>
                <a:gd name="T34" fmla="*/ 163 w 762"/>
                <a:gd name="T35" fmla="*/ 461 h 864"/>
                <a:gd name="T36" fmla="*/ 176 w 762"/>
                <a:gd name="T37" fmla="*/ 428 h 864"/>
                <a:gd name="T38" fmla="*/ 192 w 762"/>
                <a:gd name="T39" fmla="*/ 415 h 864"/>
                <a:gd name="T40" fmla="*/ 182 w 762"/>
                <a:gd name="T41" fmla="*/ 405 h 864"/>
                <a:gd name="T42" fmla="*/ 176 w 762"/>
                <a:gd name="T43" fmla="*/ 379 h 864"/>
                <a:gd name="T44" fmla="*/ 139 w 762"/>
                <a:gd name="T45" fmla="*/ 351 h 864"/>
                <a:gd name="T46" fmla="*/ 151 w 762"/>
                <a:gd name="T47" fmla="*/ 314 h 864"/>
                <a:gd name="T48" fmla="*/ 132 w 762"/>
                <a:gd name="T49" fmla="*/ 292 h 864"/>
                <a:gd name="T50" fmla="*/ 115 w 762"/>
                <a:gd name="T51" fmla="*/ 252 h 864"/>
                <a:gd name="T52" fmla="*/ 130 w 762"/>
                <a:gd name="T53" fmla="*/ 249 h 864"/>
                <a:gd name="T54" fmla="*/ 112 w 762"/>
                <a:gd name="T55" fmla="*/ 224 h 864"/>
                <a:gd name="T56" fmla="*/ 115 w 762"/>
                <a:gd name="T57" fmla="*/ 200 h 864"/>
                <a:gd name="T58" fmla="*/ 149 w 762"/>
                <a:gd name="T59" fmla="*/ 178 h 864"/>
                <a:gd name="T60" fmla="*/ 188 w 762"/>
                <a:gd name="T61" fmla="*/ 145 h 864"/>
                <a:gd name="T62" fmla="*/ 192 w 762"/>
                <a:gd name="T63" fmla="*/ 128 h 864"/>
                <a:gd name="T64" fmla="*/ 222 w 762"/>
                <a:gd name="T65" fmla="*/ 125 h 864"/>
                <a:gd name="T66" fmla="*/ 222 w 762"/>
                <a:gd name="T67" fmla="*/ 92 h 864"/>
                <a:gd name="T68" fmla="*/ 219 w 762"/>
                <a:gd name="T69" fmla="*/ 71 h 864"/>
                <a:gd name="T70" fmla="*/ 241 w 762"/>
                <a:gd name="T71" fmla="*/ 45 h 864"/>
                <a:gd name="T72" fmla="*/ 268 w 762"/>
                <a:gd name="T73" fmla="*/ 85 h 864"/>
                <a:gd name="T74" fmla="*/ 309 w 762"/>
                <a:gd name="T75" fmla="*/ 80 h 864"/>
                <a:gd name="T76" fmla="*/ 340 w 762"/>
                <a:gd name="T77" fmla="*/ 71 h 864"/>
                <a:gd name="T78" fmla="*/ 394 w 762"/>
                <a:gd name="T79" fmla="*/ 67 h 864"/>
                <a:gd name="T80" fmla="*/ 420 w 762"/>
                <a:gd name="T81" fmla="*/ 42 h 864"/>
                <a:gd name="T82" fmla="*/ 471 w 762"/>
                <a:gd name="T83" fmla="*/ 28 h 864"/>
                <a:gd name="T84" fmla="*/ 493 w 762"/>
                <a:gd name="T85" fmla="*/ 0 h 864"/>
                <a:gd name="T86" fmla="*/ 517 w 762"/>
                <a:gd name="T87" fmla="*/ 9 h 864"/>
                <a:gd name="T88" fmla="*/ 537 w 762"/>
                <a:gd name="T89" fmla="*/ 6 h 864"/>
                <a:gd name="T90" fmla="*/ 552 w 762"/>
                <a:gd name="T91" fmla="*/ 33 h 864"/>
                <a:gd name="T92" fmla="*/ 545 w 762"/>
                <a:gd name="T93" fmla="*/ 46 h 864"/>
                <a:gd name="T94" fmla="*/ 580 w 762"/>
                <a:gd name="T95" fmla="*/ 71 h 864"/>
                <a:gd name="T96" fmla="*/ 608 w 762"/>
                <a:gd name="T97" fmla="*/ 77 h 864"/>
                <a:gd name="T98" fmla="*/ 626 w 762"/>
                <a:gd name="T99" fmla="*/ 110 h 864"/>
                <a:gd name="T100" fmla="*/ 628 w 762"/>
                <a:gd name="T101" fmla="*/ 138 h 864"/>
                <a:gd name="T102" fmla="*/ 671 w 762"/>
                <a:gd name="T103" fmla="*/ 144 h 864"/>
                <a:gd name="T104" fmla="*/ 715 w 762"/>
                <a:gd name="T105" fmla="*/ 176 h 864"/>
                <a:gd name="T106" fmla="*/ 709 w 762"/>
                <a:gd name="T107" fmla="*/ 208 h 864"/>
                <a:gd name="T108" fmla="*/ 730 w 762"/>
                <a:gd name="T109" fmla="*/ 197 h 864"/>
                <a:gd name="T110" fmla="*/ 730 w 762"/>
                <a:gd name="T111" fmla="*/ 211 h 864"/>
                <a:gd name="T112" fmla="*/ 758 w 762"/>
                <a:gd name="T113" fmla="*/ 228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2" h="864">
                  <a:moveTo>
                    <a:pt x="96" y="864"/>
                  </a:moveTo>
                  <a:lnTo>
                    <a:pt x="96" y="864"/>
                  </a:lnTo>
                  <a:lnTo>
                    <a:pt x="95" y="853"/>
                  </a:lnTo>
                  <a:lnTo>
                    <a:pt x="92" y="841"/>
                  </a:lnTo>
                  <a:lnTo>
                    <a:pt x="89" y="830"/>
                  </a:lnTo>
                  <a:lnTo>
                    <a:pt x="86" y="825"/>
                  </a:lnTo>
                  <a:lnTo>
                    <a:pt x="86" y="825"/>
                  </a:lnTo>
                  <a:lnTo>
                    <a:pt x="81" y="822"/>
                  </a:lnTo>
                  <a:lnTo>
                    <a:pt x="81" y="819"/>
                  </a:lnTo>
                  <a:lnTo>
                    <a:pt x="81" y="816"/>
                  </a:lnTo>
                  <a:lnTo>
                    <a:pt x="81" y="816"/>
                  </a:lnTo>
                  <a:lnTo>
                    <a:pt x="83" y="812"/>
                  </a:lnTo>
                  <a:lnTo>
                    <a:pt x="83" y="807"/>
                  </a:lnTo>
                  <a:lnTo>
                    <a:pt x="83" y="806"/>
                  </a:lnTo>
                  <a:lnTo>
                    <a:pt x="80" y="803"/>
                  </a:lnTo>
                  <a:lnTo>
                    <a:pt x="74" y="798"/>
                  </a:lnTo>
                  <a:lnTo>
                    <a:pt x="74" y="798"/>
                  </a:lnTo>
                  <a:lnTo>
                    <a:pt x="62" y="790"/>
                  </a:lnTo>
                  <a:lnTo>
                    <a:pt x="49" y="776"/>
                  </a:lnTo>
                  <a:lnTo>
                    <a:pt x="40" y="763"/>
                  </a:lnTo>
                  <a:lnTo>
                    <a:pt x="34" y="754"/>
                  </a:lnTo>
                  <a:lnTo>
                    <a:pt x="34" y="754"/>
                  </a:lnTo>
                  <a:lnTo>
                    <a:pt x="31" y="741"/>
                  </a:lnTo>
                  <a:lnTo>
                    <a:pt x="25" y="729"/>
                  </a:lnTo>
                  <a:lnTo>
                    <a:pt x="25" y="729"/>
                  </a:lnTo>
                  <a:lnTo>
                    <a:pt x="19" y="720"/>
                  </a:lnTo>
                  <a:lnTo>
                    <a:pt x="12" y="711"/>
                  </a:lnTo>
                  <a:lnTo>
                    <a:pt x="0" y="698"/>
                  </a:lnTo>
                  <a:lnTo>
                    <a:pt x="0" y="698"/>
                  </a:lnTo>
                  <a:lnTo>
                    <a:pt x="0" y="696"/>
                  </a:lnTo>
                  <a:lnTo>
                    <a:pt x="1" y="693"/>
                  </a:lnTo>
                  <a:lnTo>
                    <a:pt x="7" y="684"/>
                  </a:lnTo>
                  <a:lnTo>
                    <a:pt x="7" y="684"/>
                  </a:lnTo>
                  <a:lnTo>
                    <a:pt x="12" y="673"/>
                  </a:lnTo>
                  <a:lnTo>
                    <a:pt x="12" y="667"/>
                  </a:lnTo>
                  <a:lnTo>
                    <a:pt x="10" y="661"/>
                  </a:lnTo>
                  <a:lnTo>
                    <a:pt x="10" y="661"/>
                  </a:lnTo>
                  <a:lnTo>
                    <a:pt x="1" y="644"/>
                  </a:lnTo>
                  <a:lnTo>
                    <a:pt x="0" y="639"/>
                  </a:lnTo>
                  <a:lnTo>
                    <a:pt x="0" y="636"/>
                  </a:lnTo>
                  <a:lnTo>
                    <a:pt x="1" y="636"/>
                  </a:lnTo>
                  <a:lnTo>
                    <a:pt x="1" y="636"/>
                  </a:lnTo>
                  <a:lnTo>
                    <a:pt x="10" y="636"/>
                  </a:lnTo>
                  <a:lnTo>
                    <a:pt x="16" y="634"/>
                  </a:lnTo>
                  <a:lnTo>
                    <a:pt x="21" y="633"/>
                  </a:lnTo>
                  <a:lnTo>
                    <a:pt x="21" y="633"/>
                  </a:lnTo>
                  <a:lnTo>
                    <a:pt x="27" y="628"/>
                  </a:lnTo>
                  <a:lnTo>
                    <a:pt x="32" y="627"/>
                  </a:lnTo>
                  <a:lnTo>
                    <a:pt x="40" y="622"/>
                  </a:lnTo>
                  <a:lnTo>
                    <a:pt x="40" y="622"/>
                  </a:lnTo>
                  <a:lnTo>
                    <a:pt x="41" y="621"/>
                  </a:lnTo>
                  <a:lnTo>
                    <a:pt x="41" y="618"/>
                  </a:lnTo>
                  <a:lnTo>
                    <a:pt x="43" y="613"/>
                  </a:lnTo>
                  <a:lnTo>
                    <a:pt x="46" y="609"/>
                  </a:lnTo>
                  <a:lnTo>
                    <a:pt x="46" y="609"/>
                  </a:lnTo>
                  <a:lnTo>
                    <a:pt x="49" y="604"/>
                  </a:lnTo>
                  <a:lnTo>
                    <a:pt x="53" y="603"/>
                  </a:lnTo>
                  <a:lnTo>
                    <a:pt x="58" y="603"/>
                  </a:lnTo>
                  <a:lnTo>
                    <a:pt x="61" y="604"/>
                  </a:lnTo>
                  <a:lnTo>
                    <a:pt x="61" y="604"/>
                  </a:lnTo>
                  <a:lnTo>
                    <a:pt x="65" y="606"/>
                  </a:lnTo>
                  <a:lnTo>
                    <a:pt x="69" y="606"/>
                  </a:lnTo>
                  <a:lnTo>
                    <a:pt x="72" y="606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2" y="599"/>
                  </a:lnTo>
                  <a:lnTo>
                    <a:pt x="68" y="588"/>
                  </a:lnTo>
                  <a:lnTo>
                    <a:pt x="62" y="578"/>
                  </a:lnTo>
                  <a:lnTo>
                    <a:pt x="59" y="575"/>
                  </a:lnTo>
                  <a:lnTo>
                    <a:pt x="56" y="572"/>
                  </a:lnTo>
                  <a:lnTo>
                    <a:pt x="56" y="572"/>
                  </a:lnTo>
                  <a:lnTo>
                    <a:pt x="44" y="567"/>
                  </a:lnTo>
                  <a:lnTo>
                    <a:pt x="41" y="564"/>
                  </a:lnTo>
                  <a:lnTo>
                    <a:pt x="41" y="563"/>
                  </a:lnTo>
                  <a:lnTo>
                    <a:pt x="41" y="560"/>
                  </a:lnTo>
                  <a:lnTo>
                    <a:pt x="41" y="560"/>
                  </a:lnTo>
                  <a:lnTo>
                    <a:pt x="43" y="556"/>
                  </a:lnTo>
                  <a:lnTo>
                    <a:pt x="47" y="551"/>
                  </a:lnTo>
                  <a:lnTo>
                    <a:pt x="52" y="548"/>
                  </a:lnTo>
                  <a:lnTo>
                    <a:pt x="56" y="547"/>
                  </a:lnTo>
                  <a:lnTo>
                    <a:pt x="56" y="547"/>
                  </a:lnTo>
                  <a:lnTo>
                    <a:pt x="61" y="547"/>
                  </a:lnTo>
                  <a:lnTo>
                    <a:pt x="65" y="542"/>
                  </a:lnTo>
                  <a:lnTo>
                    <a:pt x="69" y="538"/>
                  </a:lnTo>
                  <a:lnTo>
                    <a:pt x="74" y="533"/>
                  </a:lnTo>
                  <a:lnTo>
                    <a:pt x="74" y="533"/>
                  </a:lnTo>
                  <a:lnTo>
                    <a:pt x="77" y="530"/>
                  </a:lnTo>
                  <a:lnTo>
                    <a:pt x="80" y="529"/>
                  </a:lnTo>
                  <a:lnTo>
                    <a:pt x="83" y="527"/>
                  </a:lnTo>
                  <a:lnTo>
                    <a:pt x="86" y="525"/>
                  </a:lnTo>
                  <a:lnTo>
                    <a:pt x="86" y="525"/>
                  </a:lnTo>
                  <a:lnTo>
                    <a:pt x="87" y="519"/>
                  </a:lnTo>
                  <a:lnTo>
                    <a:pt x="87" y="511"/>
                  </a:lnTo>
                  <a:lnTo>
                    <a:pt x="89" y="498"/>
                  </a:lnTo>
                  <a:lnTo>
                    <a:pt x="89" y="498"/>
                  </a:lnTo>
                  <a:lnTo>
                    <a:pt x="92" y="493"/>
                  </a:lnTo>
                  <a:lnTo>
                    <a:pt x="96" y="489"/>
                  </a:lnTo>
                  <a:lnTo>
                    <a:pt x="102" y="487"/>
                  </a:lnTo>
                  <a:lnTo>
                    <a:pt x="108" y="489"/>
                  </a:lnTo>
                  <a:lnTo>
                    <a:pt x="108" y="489"/>
                  </a:lnTo>
                  <a:lnTo>
                    <a:pt x="123" y="499"/>
                  </a:lnTo>
                  <a:lnTo>
                    <a:pt x="130" y="502"/>
                  </a:lnTo>
                  <a:lnTo>
                    <a:pt x="135" y="502"/>
                  </a:lnTo>
                  <a:lnTo>
                    <a:pt x="138" y="502"/>
                  </a:lnTo>
                  <a:lnTo>
                    <a:pt x="138" y="502"/>
                  </a:lnTo>
                  <a:lnTo>
                    <a:pt x="144" y="501"/>
                  </a:lnTo>
                  <a:lnTo>
                    <a:pt x="148" y="499"/>
                  </a:lnTo>
                  <a:lnTo>
                    <a:pt x="149" y="496"/>
                  </a:lnTo>
                  <a:lnTo>
                    <a:pt x="148" y="492"/>
                  </a:lnTo>
                  <a:lnTo>
                    <a:pt x="148" y="492"/>
                  </a:lnTo>
                  <a:lnTo>
                    <a:pt x="145" y="490"/>
                  </a:lnTo>
                  <a:lnTo>
                    <a:pt x="141" y="489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2" y="482"/>
                  </a:lnTo>
                  <a:lnTo>
                    <a:pt x="142" y="482"/>
                  </a:lnTo>
                  <a:lnTo>
                    <a:pt x="145" y="476"/>
                  </a:lnTo>
                  <a:lnTo>
                    <a:pt x="148" y="470"/>
                  </a:lnTo>
                  <a:lnTo>
                    <a:pt x="149" y="464"/>
                  </a:lnTo>
                  <a:lnTo>
                    <a:pt x="152" y="462"/>
                  </a:lnTo>
                  <a:lnTo>
                    <a:pt x="152" y="462"/>
                  </a:lnTo>
                  <a:lnTo>
                    <a:pt x="155" y="462"/>
                  </a:lnTo>
                  <a:lnTo>
                    <a:pt x="160" y="462"/>
                  </a:lnTo>
                  <a:lnTo>
                    <a:pt x="161" y="464"/>
                  </a:lnTo>
                  <a:lnTo>
                    <a:pt x="163" y="461"/>
                  </a:lnTo>
                  <a:lnTo>
                    <a:pt x="163" y="461"/>
                  </a:lnTo>
                  <a:lnTo>
                    <a:pt x="163" y="453"/>
                  </a:lnTo>
                  <a:lnTo>
                    <a:pt x="164" y="445"/>
                  </a:lnTo>
                  <a:lnTo>
                    <a:pt x="167" y="436"/>
                  </a:lnTo>
                  <a:lnTo>
                    <a:pt x="169" y="430"/>
                  </a:lnTo>
                  <a:lnTo>
                    <a:pt x="169" y="430"/>
                  </a:lnTo>
                  <a:lnTo>
                    <a:pt x="172" y="428"/>
                  </a:lnTo>
                  <a:lnTo>
                    <a:pt x="176" y="428"/>
                  </a:lnTo>
                  <a:lnTo>
                    <a:pt x="181" y="427"/>
                  </a:lnTo>
                  <a:lnTo>
                    <a:pt x="188" y="425"/>
                  </a:lnTo>
                  <a:lnTo>
                    <a:pt x="188" y="425"/>
                  </a:lnTo>
                  <a:lnTo>
                    <a:pt x="194" y="424"/>
                  </a:lnTo>
                  <a:lnTo>
                    <a:pt x="197" y="421"/>
                  </a:lnTo>
                  <a:lnTo>
                    <a:pt x="197" y="418"/>
                  </a:lnTo>
                  <a:lnTo>
                    <a:pt x="192" y="415"/>
                  </a:lnTo>
                  <a:lnTo>
                    <a:pt x="192" y="415"/>
                  </a:lnTo>
                  <a:lnTo>
                    <a:pt x="188" y="413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2" y="412"/>
                  </a:lnTo>
                  <a:lnTo>
                    <a:pt x="182" y="405"/>
                  </a:lnTo>
                  <a:lnTo>
                    <a:pt x="182" y="405"/>
                  </a:lnTo>
                  <a:lnTo>
                    <a:pt x="185" y="387"/>
                  </a:lnTo>
                  <a:lnTo>
                    <a:pt x="185" y="382"/>
                  </a:lnTo>
                  <a:lnTo>
                    <a:pt x="185" y="381"/>
                  </a:lnTo>
                  <a:lnTo>
                    <a:pt x="183" y="379"/>
                  </a:lnTo>
                  <a:lnTo>
                    <a:pt x="181" y="379"/>
                  </a:lnTo>
                  <a:lnTo>
                    <a:pt x="181" y="379"/>
                  </a:lnTo>
                  <a:lnTo>
                    <a:pt x="176" y="379"/>
                  </a:lnTo>
                  <a:lnTo>
                    <a:pt x="172" y="378"/>
                  </a:lnTo>
                  <a:lnTo>
                    <a:pt x="163" y="373"/>
                  </a:lnTo>
                  <a:lnTo>
                    <a:pt x="154" y="368"/>
                  </a:lnTo>
                  <a:lnTo>
                    <a:pt x="148" y="362"/>
                  </a:lnTo>
                  <a:lnTo>
                    <a:pt x="148" y="362"/>
                  </a:lnTo>
                  <a:lnTo>
                    <a:pt x="144" y="357"/>
                  </a:lnTo>
                  <a:lnTo>
                    <a:pt x="139" y="351"/>
                  </a:lnTo>
                  <a:lnTo>
                    <a:pt x="138" y="348"/>
                  </a:lnTo>
                  <a:lnTo>
                    <a:pt x="138" y="344"/>
                  </a:lnTo>
                  <a:lnTo>
                    <a:pt x="138" y="339"/>
                  </a:lnTo>
                  <a:lnTo>
                    <a:pt x="139" y="336"/>
                  </a:lnTo>
                  <a:lnTo>
                    <a:pt x="139" y="336"/>
                  </a:lnTo>
                  <a:lnTo>
                    <a:pt x="145" y="325"/>
                  </a:lnTo>
                  <a:lnTo>
                    <a:pt x="151" y="314"/>
                  </a:lnTo>
                  <a:lnTo>
                    <a:pt x="152" y="308"/>
                  </a:lnTo>
                  <a:lnTo>
                    <a:pt x="154" y="305"/>
                  </a:lnTo>
                  <a:lnTo>
                    <a:pt x="152" y="301"/>
                  </a:lnTo>
                  <a:lnTo>
                    <a:pt x="149" y="301"/>
                  </a:lnTo>
                  <a:lnTo>
                    <a:pt x="149" y="301"/>
                  </a:lnTo>
                  <a:lnTo>
                    <a:pt x="141" y="298"/>
                  </a:lnTo>
                  <a:lnTo>
                    <a:pt x="132" y="292"/>
                  </a:lnTo>
                  <a:lnTo>
                    <a:pt x="123" y="286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15" y="271"/>
                  </a:lnTo>
                  <a:lnTo>
                    <a:pt x="114" y="262"/>
                  </a:lnTo>
                  <a:lnTo>
                    <a:pt x="114" y="255"/>
                  </a:lnTo>
                  <a:lnTo>
                    <a:pt x="115" y="252"/>
                  </a:lnTo>
                  <a:lnTo>
                    <a:pt x="118" y="251"/>
                  </a:lnTo>
                  <a:lnTo>
                    <a:pt x="118" y="251"/>
                  </a:lnTo>
                  <a:lnTo>
                    <a:pt x="123" y="249"/>
                  </a:lnTo>
                  <a:lnTo>
                    <a:pt x="124" y="251"/>
                  </a:lnTo>
                  <a:lnTo>
                    <a:pt x="127" y="251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36" y="246"/>
                  </a:lnTo>
                  <a:lnTo>
                    <a:pt x="136" y="243"/>
                  </a:lnTo>
                  <a:lnTo>
                    <a:pt x="135" y="240"/>
                  </a:lnTo>
                  <a:lnTo>
                    <a:pt x="135" y="240"/>
                  </a:lnTo>
                  <a:lnTo>
                    <a:pt x="129" y="234"/>
                  </a:lnTo>
                  <a:lnTo>
                    <a:pt x="120" y="228"/>
                  </a:lnTo>
                  <a:lnTo>
                    <a:pt x="112" y="224"/>
                  </a:lnTo>
                  <a:lnTo>
                    <a:pt x="111" y="221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09" y="215"/>
                  </a:lnTo>
                  <a:lnTo>
                    <a:pt x="111" y="208"/>
                  </a:lnTo>
                  <a:lnTo>
                    <a:pt x="112" y="205"/>
                  </a:lnTo>
                  <a:lnTo>
                    <a:pt x="115" y="200"/>
                  </a:lnTo>
                  <a:lnTo>
                    <a:pt x="120" y="197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36" y="191"/>
                  </a:lnTo>
                  <a:lnTo>
                    <a:pt x="142" y="187"/>
                  </a:lnTo>
                  <a:lnTo>
                    <a:pt x="145" y="182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64" y="166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83" y="154"/>
                  </a:lnTo>
                  <a:lnTo>
                    <a:pt x="186" y="150"/>
                  </a:lnTo>
                  <a:lnTo>
                    <a:pt x="188" y="145"/>
                  </a:lnTo>
                  <a:lnTo>
                    <a:pt x="188" y="139"/>
                  </a:lnTo>
                  <a:lnTo>
                    <a:pt x="188" y="139"/>
                  </a:lnTo>
                  <a:lnTo>
                    <a:pt x="186" y="134"/>
                  </a:lnTo>
                  <a:lnTo>
                    <a:pt x="186" y="129"/>
                  </a:lnTo>
                  <a:lnTo>
                    <a:pt x="189" y="128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201" y="134"/>
                  </a:lnTo>
                  <a:lnTo>
                    <a:pt x="207" y="136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15" y="134"/>
                  </a:lnTo>
                  <a:lnTo>
                    <a:pt x="219" y="131"/>
                  </a:lnTo>
                  <a:lnTo>
                    <a:pt x="222" y="125"/>
                  </a:lnTo>
                  <a:lnTo>
                    <a:pt x="222" y="122"/>
                  </a:lnTo>
                  <a:lnTo>
                    <a:pt x="221" y="117"/>
                  </a:lnTo>
                  <a:lnTo>
                    <a:pt x="221" y="117"/>
                  </a:lnTo>
                  <a:lnTo>
                    <a:pt x="218" y="110"/>
                  </a:lnTo>
                  <a:lnTo>
                    <a:pt x="218" y="104"/>
                  </a:lnTo>
                  <a:lnTo>
                    <a:pt x="219" y="98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31" y="83"/>
                  </a:lnTo>
                  <a:lnTo>
                    <a:pt x="231" y="80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22" y="73"/>
                  </a:lnTo>
                  <a:lnTo>
                    <a:pt x="219" y="71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21" y="65"/>
                  </a:lnTo>
                  <a:lnTo>
                    <a:pt x="221" y="65"/>
                  </a:lnTo>
                  <a:lnTo>
                    <a:pt x="225" y="59"/>
                  </a:lnTo>
                  <a:lnTo>
                    <a:pt x="232" y="52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49" y="49"/>
                  </a:lnTo>
                  <a:lnTo>
                    <a:pt x="253" y="55"/>
                  </a:lnTo>
                  <a:lnTo>
                    <a:pt x="258" y="61"/>
                  </a:lnTo>
                  <a:lnTo>
                    <a:pt x="258" y="61"/>
                  </a:lnTo>
                  <a:lnTo>
                    <a:pt x="265" y="77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72" y="88"/>
                  </a:lnTo>
                  <a:lnTo>
                    <a:pt x="272" y="88"/>
                  </a:lnTo>
                  <a:lnTo>
                    <a:pt x="280" y="88"/>
                  </a:lnTo>
                  <a:lnTo>
                    <a:pt x="290" y="86"/>
                  </a:lnTo>
                  <a:lnTo>
                    <a:pt x="302" y="83"/>
                  </a:lnTo>
                  <a:lnTo>
                    <a:pt x="309" y="80"/>
                  </a:lnTo>
                  <a:lnTo>
                    <a:pt x="309" y="80"/>
                  </a:lnTo>
                  <a:lnTo>
                    <a:pt x="315" y="77"/>
                  </a:lnTo>
                  <a:lnTo>
                    <a:pt x="323" y="74"/>
                  </a:lnTo>
                  <a:lnTo>
                    <a:pt x="335" y="74"/>
                  </a:lnTo>
                  <a:lnTo>
                    <a:pt x="335" y="74"/>
                  </a:lnTo>
                  <a:lnTo>
                    <a:pt x="337" y="73"/>
                  </a:lnTo>
                  <a:lnTo>
                    <a:pt x="340" y="71"/>
                  </a:lnTo>
                  <a:lnTo>
                    <a:pt x="34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80" y="71"/>
                  </a:lnTo>
                  <a:lnTo>
                    <a:pt x="389" y="70"/>
                  </a:lnTo>
                  <a:lnTo>
                    <a:pt x="392" y="68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8" y="59"/>
                  </a:lnTo>
                  <a:lnTo>
                    <a:pt x="406" y="52"/>
                  </a:lnTo>
                  <a:lnTo>
                    <a:pt x="414" y="45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34" y="42"/>
                  </a:lnTo>
                  <a:lnTo>
                    <a:pt x="441" y="42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66" y="30"/>
                  </a:lnTo>
                  <a:lnTo>
                    <a:pt x="466" y="30"/>
                  </a:lnTo>
                  <a:lnTo>
                    <a:pt x="471" y="28"/>
                  </a:lnTo>
                  <a:lnTo>
                    <a:pt x="474" y="27"/>
                  </a:lnTo>
                  <a:lnTo>
                    <a:pt x="478" y="27"/>
                  </a:lnTo>
                  <a:lnTo>
                    <a:pt x="481" y="24"/>
                  </a:lnTo>
                  <a:lnTo>
                    <a:pt x="481" y="24"/>
                  </a:lnTo>
                  <a:lnTo>
                    <a:pt x="486" y="18"/>
                  </a:lnTo>
                  <a:lnTo>
                    <a:pt x="489" y="1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4" y="0"/>
                  </a:lnTo>
                  <a:lnTo>
                    <a:pt x="497" y="2"/>
                  </a:lnTo>
                  <a:lnTo>
                    <a:pt x="500" y="5"/>
                  </a:lnTo>
                  <a:lnTo>
                    <a:pt x="505" y="6"/>
                  </a:lnTo>
                  <a:lnTo>
                    <a:pt x="505" y="6"/>
                  </a:lnTo>
                  <a:lnTo>
                    <a:pt x="517" y="9"/>
                  </a:lnTo>
                  <a:lnTo>
                    <a:pt x="521" y="8"/>
                  </a:lnTo>
                  <a:lnTo>
                    <a:pt x="524" y="6"/>
                  </a:lnTo>
                  <a:lnTo>
                    <a:pt x="524" y="6"/>
                  </a:lnTo>
                  <a:lnTo>
                    <a:pt x="527" y="3"/>
                  </a:lnTo>
                  <a:lnTo>
                    <a:pt x="531" y="2"/>
                  </a:lnTo>
                  <a:lnTo>
                    <a:pt x="536" y="3"/>
                  </a:lnTo>
                  <a:lnTo>
                    <a:pt x="537" y="6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42" y="17"/>
                  </a:lnTo>
                  <a:lnTo>
                    <a:pt x="548" y="22"/>
                  </a:lnTo>
                  <a:lnTo>
                    <a:pt x="552" y="28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3"/>
                  </a:lnTo>
                  <a:lnTo>
                    <a:pt x="551" y="36"/>
                  </a:lnTo>
                  <a:lnTo>
                    <a:pt x="546" y="40"/>
                  </a:lnTo>
                  <a:lnTo>
                    <a:pt x="545" y="43"/>
                  </a:lnTo>
                  <a:lnTo>
                    <a:pt x="543" y="45"/>
                  </a:lnTo>
                  <a:lnTo>
                    <a:pt x="545" y="46"/>
                  </a:lnTo>
                  <a:lnTo>
                    <a:pt x="545" y="46"/>
                  </a:lnTo>
                  <a:lnTo>
                    <a:pt x="548" y="49"/>
                  </a:lnTo>
                  <a:lnTo>
                    <a:pt x="554" y="51"/>
                  </a:lnTo>
                  <a:lnTo>
                    <a:pt x="558" y="52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73" y="67"/>
                  </a:lnTo>
                  <a:lnTo>
                    <a:pt x="580" y="71"/>
                  </a:lnTo>
                  <a:lnTo>
                    <a:pt x="583" y="73"/>
                  </a:lnTo>
                  <a:lnTo>
                    <a:pt x="588" y="74"/>
                  </a:lnTo>
                  <a:lnTo>
                    <a:pt x="588" y="74"/>
                  </a:lnTo>
                  <a:lnTo>
                    <a:pt x="603" y="76"/>
                  </a:lnTo>
                  <a:lnTo>
                    <a:pt x="606" y="76"/>
                  </a:lnTo>
                  <a:lnTo>
                    <a:pt x="608" y="77"/>
                  </a:lnTo>
                  <a:lnTo>
                    <a:pt x="608" y="77"/>
                  </a:lnTo>
                  <a:lnTo>
                    <a:pt x="608" y="85"/>
                  </a:lnTo>
                  <a:lnTo>
                    <a:pt x="608" y="89"/>
                  </a:lnTo>
                  <a:lnTo>
                    <a:pt x="611" y="92"/>
                  </a:lnTo>
                  <a:lnTo>
                    <a:pt x="611" y="92"/>
                  </a:lnTo>
                  <a:lnTo>
                    <a:pt x="620" y="101"/>
                  </a:lnTo>
                  <a:lnTo>
                    <a:pt x="623" y="105"/>
                  </a:lnTo>
                  <a:lnTo>
                    <a:pt x="626" y="110"/>
                  </a:lnTo>
                  <a:lnTo>
                    <a:pt x="626" y="110"/>
                  </a:lnTo>
                  <a:lnTo>
                    <a:pt x="628" y="116"/>
                  </a:lnTo>
                  <a:lnTo>
                    <a:pt x="626" y="123"/>
                  </a:lnTo>
                  <a:lnTo>
                    <a:pt x="625" y="131"/>
                  </a:lnTo>
                  <a:lnTo>
                    <a:pt x="626" y="135"/>
                  </a:lnTo>
                  <a:lnTo>
                    <a:pt x="628" y="138"/>
                  </a:lnTo>
                  <a:lnTo>
                    <a:pt x="628" y="138"/>
                  </a:lnTo>
                  <a:lnTo>
                    <a:pt x="632" y="142"/>
                  </a:lnTo>
                  <a:lnTo>
                    <a:pt x="638" y="145"/>
                  </a:lnTo>
                  <a:lnTo>
                    <a:pt x="645" y="147"/>
                  </a:lnTo>
                  <a:lnTo>
                    <a:pt x="651" y="147"/>
                  </a:lnTo>
                  <a:lnTo>
                    <a:pt x="651" y="147"/>
                  </a:lnTo>
                  <a:lnTo>
                    <a:pt x="665" y="145"/>
                  </a:lnTo>
                  <a:lnTo>
                    <a:pt x="671" y="144"/>
                  </a:lnTo>
                  <a:lnTo>
                    <a:pt x="674" y="142"/>
                  </a:lnTo>
                  <a:lnTo>
                    <a:pt x="674" y="142"/>
                  </a:lnTo>
                  <a:lnTo>
                    <a:pt x="677" y="144"/>
                  </a:lnTo>
                  <a:lnTo>
                    <a:pt x="683" y="147"/>
                  </a:lnTo>
                  <a:lnTo>
                    <a:pt x="696" y="159"/>
                  </a:lnTo>
                  <a:lnTo>
                    <a:pt x="715" y="176"/>
                  </a:lnTo>
                  <a:lnTo>
                    <a:pt x="715" y="176"/>
                  </a:lnTo>
                  <a:lnTo>
                    <a:pt x="711" y="181"/>
                  </a:lnTo>
                  <a:lnTo>
                    <a:pt x="709" y="185"/>
                  </a:lnTo>
                  <a:lnTo>
                    <a:pt x="708" y="193"/>
                  </a:lnTo>
                  <a:lnTo>
                    <a:pt x="708" y="193"/>
                  </a:lnTo>
                  <a:lnTo>
                    <a:pt x="708" y="200"/>
                  </a:lnTo>
                  <a:lnTo>
                    <a:pt x="708" y="206"/>
                  </a:lnTo>
                  <a:lnTo>
                    <a:pt x="709" y="208"/>
                  </a:lnTo>
                  <a:lnTo>
                    <a:pt x="712" y="206"/>
                  </a:lnTo>
                  <a:lnTo>
                    <a:pt x="712" y="206"/>
                  </a:lnTo>
                  <a:lnTo>
                    <a:pt x="717" y="202"/>
                  </a:lnTo>
                  <a:lnTo>
                    <a:pt x="722" y="197"/>
                  </a:lnTo>
                  <a:lnTo>
                    <a:pt x="727" y="196"/>
                  </a:lnTo>
                  <a:lnTo>
                    <a:pt x="728" y="196"/>
                  </a:lnTo>
                  <a:lnTo>
                    <a:pt x="730" y="197"/>
                  </a:lnTo>
                  <a:lnTo>
                    <a:pt x="730" y="197"/>
                  </a:lnTo>
                  <a:lnTo>
                    <a:pt x="730" y="202"/>
                  </a:lnTo>
                  <a:lnTo>
                    <a:pt x="728" y="206"/>
                  </a:lnTo>
                  <a:lnTo>
                    <a:pt x="727" y="209"/>
                  </a:lnTo>
                  <a:lnTo>
                    <a:pt x="728" y="211"/>
                  </a:lnTo>
                  <a:lnTo>
                    <a:pt x="730" y="211"/>
                  </a:lnTo>
                  <a:lnTo>
                    <a:pt x="730" y="211"/>
                  </a:lnTo>
                  <a:lnTo>
                    <a:pt x="734" y="212"/>
                  </a:lnTo>
                  <a:lnTo>
                    <a:pt x="739" y="212"/>
                  </a:lnTo>
                  <a:lnTo>
                    <a:pt x="745" y="213"/>
                  </a:lnTo>
                  <a:lnTo>
                    <a:pt x="749" y="216"/>
                  </a:lnTo>
                  <a:lnTo>
                    <a:pt x="749" y="216"/>
                  </a:lnTo>
                  <a:lnTo>
                    <a:pt x="755" y="225"/>
                  </a:lnTo>
                  <a:lnTo>
                    <a:pt x="758" y="228"/>
                  </a:lnTo>
                  <a:lnTo>
                    <a:pt x="762" y="22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0" name="Freeform 129">
              <a:extLst>
                <a:ext uri="{FF2B5EF4-FFF2-40B4-BE49-F238E27FC236}">
                  <a16:creationId xmlns:a16="http://schemas.microsoft.com/office/drawing/2014/main" id="{8F7CE59F-1AFB-6E4B-B0CC-3B9A6A06D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50" y="7670800"/>
              <a:ext cx="63500" cy="141287"/>
            </a:xfrm>
            <a:custGeom>
              <a:avLst/>
              <a:gdLst>
                <a:gd name="T0" fmla="*/ 40 w 40"/>
                <a:gd name="T1" fmla="*/ 0 h 89"/>
                <a:gd name="T2" fmla="*/ 40 w 40"/>
                <a:gd name="T3" fmla="*/ 0 h 89"/>
                <a:gd name="T4" fmla="*/ 34 w 40"/>
                <a:gd name="T5" fmla="*/ 9 h 89"/>
                <a:gd name="T6" fmla="*/ 29 w 40"/>
                <a:gd name="T7" fmla="*/ 16 h 89"/>
                <a:gd name="T8" fmla="*/ 29 w 40"/>
                <a:gd name="T9" fmla="*/ 16 h 89"/>
                <a:gd name="T10" fmla="*/ 26 w 40"/>
                <a:gd name="T11" fmla="*/ 24 h 89"/>
                <a:gd name="T12" fmla="*/ 25 w 40"/>
                <a:gd name="T13" fmla="*/ 28 h 89"/>
                <a:gd name="T14" fmla="*/ 25 w 40"/>
                <a:gd name="T15" fmla="*/ 33 h 89"/>
                <a:gd name="T16" fmla="*/ 25 w 40"/>
                <a:gd name="T17" fmla="*/ 33 h 89"/>
                <a:gd name="T18" fmla="*/ 28 w 40"/>
                <a:gd name="T19" fmla="*/ 41 h 89"/>
                <a:gd name="T20" fmla="*/ 28 w 40"/>
                <a:gd name="T21" fmla="*/ 47 h 89"/>
                <a:gd name="T22" fmla="*/ 26 w 40"/>
                <a:gd name="T23" fmla="*/ 53 h 89"/>
                <a:gd name="T24" fmla="*/ 26 w 40"/>
                <a:gd name="T25" fmla="*/ 53 h 89"/>
                <a:gd name="T26" fmla="*/ 21 w 40"/>
                <a:gd name="T27" fmla="*/ 65 h 89"/>
                <a:gd name="T28" fmla="*/ 18 w 40"/>
                <a:gd name="T29" fmla="*/ 70 h 89"/>
                <a:gd name="T30" fmla="*/ 15 w 40"/>
                <a:gd name="T31" fmla="*/ 73 h 89"/>
                <a:gd name="T32" fmla="*/ 15 w 40"/>
                <a:gd name="T33" fmla="*/ 73 h 89"/>
                <a:gd name="T34" fmla="*/ 10 w 40"/>
                <a:gd name="T35" fmla="*/ 77 h 89"/>
                <a:gd name="T36" fmla="*/ 6 w 40"/>
                <a:gd name="T37" fmla="*/ 81 h 89"/>
                <a:gd name="T38" fmla="*/ 0 w 40"/>
                <a:gd name="T3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89">
                  <a:moveTo>
                    <a:pt x="40" y="0"/>
                  </a:moveTo>
                  <a:lnTo>
                    <a:pt x="40" y="0"/>
                  </a:lnTo>
                  <a:lnTo>
                    <a:pt x="34" y="9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6" y="24"/>
                  </a:lnTo>
                  <a:lnTo>
                    <a:pt x="25" y="28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8" y="41"/>
                  </a:lnTo>
                  <a:lnTo>
                    <a:pt x="28" y="4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1" y="65"/>
                  </a:lnTo>
                  <a:lnTo>
                    <a:pt x="18" y="70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0" y="77"/>
                  </a:lnTo>
                  <a:lnTo>
                    <a:pt x="6" y="81"/>
                  </a:lnTo>
                  <a:lnTo>
                    <a:pt x="0" y="89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1" name="Freeform 130">
              <a:extLst>
                <a:ext uri="{FF2B5EF4-FFF2-40B4-BE49-F238E27FC236}">
                  <a16:creationId xmlns:a16="http://schemas.microsoft.com/office/drawing/2014/main" id="{9D1170EA-1F3C-FE49-B77B-43F6C9E2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6225" y="6634163"/>
              <a:ext cx="2111375" cy="1036637"/>
            </a:xfrm>
            <a:custGeom>
              <a:avLst/>
              <a:gdLst>
                <a:gd name="T0" fmla="*/ 64 w 1330"/>
                <a:gd name="T1" fmla="*/ 146 h 653"/>
                <a:gd name="T2" fmla="*/ 111 w 1330"/>
                <a:gd name="T3" fmla="*/ 161 h 653"/>
                <a:gd name="T4" fmla="*/ 160 w 1330"/>
                <a:gd name="T5" fmla="*/ 175 h 653"/>
                <a:gd name="T6" fmla="*/ 187 w 1330"/>
                <a:gd name="T7" fmla="*/ 163 h 653"/>
                <a:gd name="T8" fmla="*/ 243 w 1330"/>
                <a:gd name="T9" fmla="*/ 161 h 653"/>
                <a:gd name="T10" fmla="*/ 289 w 1330"/>
                <a:gd name="T11" fmla="*/ 186 h 653"/>
                <a:gd name="T12" fmla="*/ 359 w 1330"/>
                <a:gd name="T13" fmla="*/ 185 h 653"/>
                <a:gd name="T14" fmla="*/ 400 w 1330"/>
                <a:gd name="T15" fmla="*/ 176 h 653"/>
                <a:gd name="T16" fmla="*/ 462 w 1330"/>
                <a:gd name="T17" fmla="*/ 157 h 653"/>
                <a:gd name="T18" fmla="*/ 493 w 1330"/>
                <a:gd name="T19" fmla="*/ 146 h 653"/>
                <a:gd name="T20" fmla="*/ 532 w 1330"/>
                <a:gd name="T21" fmla="*/ 127 h 653"/>
                <a:gd name="T22" fmla="*/ 585 w 1330"/>
                <a:gd name="T23" fmla="*/ 123 h 653"/>
                <a:gd name="T24" fmla="*/ 596 w 1330"/>
                <a:gd name="T25" fmla="*/ 90 h 653"/>
                <a:gd name="T26" fmla="*/ 661 w 1330"/>
                <a:gd name="T27" fmla="*/ 56 h 653"/>
                <a:gd name="T28" fmla="*/ 702 w 1330"/>
                <a:gd name="T29" fmla="*/ 46 h 653"/>
                <a:gd name="T30" fmla="*/ 762 w 1330"/>
                <a:gd name="T31" fmla="*/ 0 h 653"/>
                <a:gd name="T32" fmla="*/ 800 w 1330"/>
                <a:gd name="T33" fmla="*/ 13 h 653"/>
                <a:gd name="T34" fmla="*/ 784 w 1330"/>
                <a:gd name="T35" fmla="*/ 41 h 653"/>
                <a:gd name="T36" fmla="*/ 781 w 1330"/>
                <a:gd name="T37" fmla="*/ 74 h 653"/>
                <a:gd name="T38" fmla="*/ 762 w 1330"/>
                <a:gd name="T39" fmla="*/ 120 h 653"/>
                <a:gd name="T40" fmla="*/ 769 w 1330"/>
                <a:gd name="T41" fmla="*/ 166 h 653"/>
                <a:gd name="T42" fmla="*/ 745 w 1330"/>
                <a:gd name="T43" fmla="*/ 194 h 653"/>
                <a:gd name="T44" fmla="*/ 745 w 1330"/>
                <a:gd name="T45" fmla="*/ 231 h 653"/>
                <a:gd name="T46" fmla="*/ 782 w 1330"/>
                <a:gd name="T47" fmla="*/ 237 h 653"/>
                <a:gd name="T48" fmla="*/ 831 w 1330"/>
                <a:gd name="T49" fmla="*/ 244 h 653"/>
                <a:gd name="T50" fmla="*/ 855 w 1330"/>
                <a:gd name="T51" fmla="*/ 269 h 653"/>
                <a:gd name="T52" fmla="*/ 867 w 1330"/>
                <a:gd name="T53" fmla="*/ 268 h 653"/>
                <a:gd name="T54" fmla="*/ 883 w 1330"/>
                <a:gd name="T55" fmla="*/ 263 h 653"/>
                <a:gd name="T56" fmla="*/ 921 w 1330"/>
                <a:gd name="T57" fmla="*/ 221 h 653"/>
                <a:gd name="T58" fmla="*/ 942 w 1330"/>
                <a:gd name="T59" fmla="*/ 185 h 653"/>
                <a:gd name="T60" fmla="*/ 985 w 1330"/>
                <a:gd name="T61" fmla="*/ 161 h 653"/>
                <a:gd name="T62" fmla="*/ 1003 w 1330"/>
                <a:gd name="T63" fmla="*/ 133 h 653"/>
                <a:gd name="T64" fmla="*/ 1034 w 1330"/>
                <a:gd name="T65" fmla="*/ 163 h 653"/>
                <a:gd name="T66" fmla="*/ 1070 w 1330"/>
                <a:gd name="T67" fmla="*/ 226 h 653"/>
                <a:gd name="T68" fmla="*/ 1058 w 1330"/>
                <a:gd name="T69" fmla="*/ 253 h 653"/>
                <a:gd name="T70" fmla="*/ 985 w 1330"/>
                <a:gd name="T71" fmla="*/ 268 h 653"/>
                <a:gd name="T72" fmla="*/ 998 w 1330"/>
                <a:gd name="T73" fmla="*/ 299 h 653"/>
                <a:gd name="T74" fmla="*/ 973 w 1330"/>
                <a:gd name="T75" fmla="*/ 338 h 653"/>
                <a:gd name="T76" fmla="*/ 960 w 1330"/>
                <a:gd name="T77" fmla="*/ 389 h 653"/>
                <a:gd name="T78" fmla="*/ 929 w 1330"/>
                <a:gd name="T79" fmla="*/ 435 h 653"/>
                <a:gd name="T80" fmla="*/ 924 w 1330"/>
                <a:gd name="T81" fmla="*/ 459 h 653"/>
                <a:gd name="T82" fmla="*/ 920 w 1330"/>
                <a:gd name="T83" fmla="*/ 518 h 653"/>
                <a:gd name="T84" fmla="*/ 933 w 1330"/>
                <a:gd name="T85" fmla="*/ 542 h 653"/>
                <a:gd name="T86" fmla="*/ 950 w 1330"/>
                <a:gd name="T87" fmla="*/ 555 h 653"/>
                <a:gd name="T88" fmla="*/ 973 w 1330"/>
                <a:gd name="T89" fmla="*/ 551 h 653"/>
                <a:gd name="T90" fmla="*/ 1024 w 1330"/>
                <a:gd name="T91" fmla="*/ 603 h 653"/>
                <a:gd name="T92" fmla="*/ 1019 w 1330"/>
                <a:gd name="T93" fmla="*/ 628 h 653"/>
                <a:gd name="T94" fmla="*/ 1040 w 1330"/>
                <a:gd name="T95" fmla="*/ 643 h 653"/>
                <a:gd name="T96" fmla="*/ 1068 w 1330"/>
                <a:gd name="T97" fmla="*/ 638 h 653"/>
                <a:gd name="T98" fmla="*/ 1080 w 1330"/>
                <a:gd name="T99" fmla="*/ 612 h 653"/>
                <a:gd name="T100" fmla="*/ 1112 w 1330"/>
                <a:gd name="T101" fmla="*/ 619 h 653"/>
                <a:gd name="T102" fmla="*/ 1138 w 1330"/>
                <a:gd name="T103" fmla="*/ 607 h 653"/>
                <a:gd name="T104" fmla="*/ 1179 w 1330"/>
                <a:gd name="T105" fmla="*/ 607 h 653"/>
                <a:gd name="T106" fmla="*/ 1210 w 1330"/>
                <a:gd name="T107" fmla="*/ 631 h 653"/>
                <a:gd name="T108" fmla="*/ 1262 w 1330"/>
                <a:gd name="T109" fmla="*/ 609 h 653"/>
                <a:gd name="T110" fmla="*/ 1295 w 1330"/>
                <a:gd name="T111" fmla="*/ 604 h 653"/>
                <a:gd name="T112" fmla="*/ 1317 w 1330"/>
                <a:gd name="T113" fmla="*/ 585 h 653"/>
                <a:gd name="T114" fmla="*/ 1314 w 1330"/>
                <a:gd name="T115" fmla="*/ 63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30" h="653">
                  <a:moveTo>
                    <a:pt x="0" y="188"/>
                  </a:moveTo>
                  <a:lnTo>
                    <a:pt x="0" y="188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31" y="160"/>
                  </a:lnTo>
                  <a:lnTo>
                    <a:pt x="37" y="155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64" y="146"/>
                  </a:lnTo>
                  <a:lnTo>
                    <a:pt x="74" y="145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92" y="146"/>
                  </a:lnTo>
                  <a:lnTo>
                    <a:pt x="97" y="148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7" y="158"/>
                  </a:lnTo>
                  <a:lnTo>
                    <a:pt x="111" y="161"/>
                  </a:lnTo>
                  <a:lnTo>
                    <a:pt x="116" y="161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32" y="161"/>
                  </a:lnTo>
                  <a:lnTo>
                    <a:pt x="137" y="161"/>
                  </a:lnTo>
                  <a:lnTo>
                    <a:pt x="143" y="164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60" y="175"/>
                  </a:lnTo>
                  <a:lnTo>
                    <a:pt x="169" y="179"/>
                  </a:lnTo>
                  <a:lnTo>
                    <a:pt x="177" y="181"/>
                  </a:lnTo>
                  <a:lnTo>
                    <a:pt x="180" y="179"/>
                  </a:lnTo>
                  <a:lnTo>
                    <a:pt x="181" y="178"/>
                  </a:lnTo>
                  <a:lnTo>
                    <a:pt x="181" y="178"/>
                  </a:lnTo>
                  <a:lnTo>
                    <a:pt x="183" y="172"/>
                  </a:lnTo>
                  <a:lnTo>
                    <a:pt x="183" y="167"/>
                  </a:lnTo>
                  <a:lnTo>
                    <a:pt x="184" y="164"/>
                  </a:lnTo>
                  <a:lnTo>
                    <a:pt x="187" y="163"/>
                  </a:lnTo>
                  <a:lnTo>
                    <a:pt x="188" y="163"/>
                  </a:lnTo>
                  <a:lnTo>
                    <a:pt x="188" y="163"/>
                  </a:lnTo>
                  <a:lnTo>
                    <a:pt x="197" y="167"/>
                  </a:lnTo>
                  <a:lnTo>
                    <a:pt x="202" y="169"/>
                  </a:lnTo>
                  <a:lnTo>
                    <a:pt x="208" y="169"/>
                  </a:lnTo>
                  <a:lnTo>
                    <a:pt x="208" y="169"/>
                  </a:lnTo>
                  <a:lnTo>
                    <a:pt x="217" y="169"/>
                  </a:lnTo>
                  <a:lnTo>
                    <a:pt x="227" y="166"/>
                  </a:lnTo>
                  <a:lnTo>
                    <a:pt x="243" y="161"/>
                  </a:lnTo>
                  <a:lnTo>
                    <a:pt x="243" y="161"/>
                  </a:lnTo>
                  <a:lnTo>
                    <a:pt x="246" y="161"/>
                  </a:lnTo>
                  <a:lnTo>
                    <a:pt x="252" y="164"/>
                  </a:lnTo>
                  <a:lnTo>
                    <a:pt x="265" y="172"/>
                  </a:lnTo>
                  <a:lnTo>
                    <a:pt x="265" y="172"/>
                  </a:lnTo>
                  <a:lnTo>
                    <a:pt x="273" y="175"/>
                  </a:lnTo>
                  <a:lnTo>
                    <a:pt x="277" y="178"/>
                  </a:lnTo>
                  <a:lnTo>
                    <a:pt x="289" y="186"/>
                  </a:lnTo>
                  <a:lnTo>
                    <a:pt x="289" y="186"/>
                  </a:lnTo>
                  <a:lnTo>
                    <a:pt x="298" y="191"/>
                  </a:lnTo>
                  <a:lnTo>
                    <a:pt x="307" y="194"/>
                  </a:lnTo>
                  <a:lnTo>
                    <a:pt x="314" y="195"/>
                  </a:lnTo>
                  <a:lnTo>
                    <a:pt x="319" y="195"/>
                  </a:lnTo>
                  <a:lnTo>
                    <a:pt x="319" y="195"/>
                  </a:lnTo>
                  <a:lnTo>
                    <a:pt x="347" y="186"/>
                  </a:lnTo>
                  <a:lnTo>
                    <a:pt x="347" y="186"/>
                  </a:lnTo>
                  <a:lnTo>
                    <a:pt x="353" y="185"/>
                  </a:lnTo>
                  <a:lnTo>
                    <a:pt x="359" y="185"/>
                  </a:lnTo>
                  <a:lnTo>
                    <a:pt x="365" y="185"/>
                  </a:lnTo>
                  <a:lnTo>
                    <a:pt x="369" y="184"/>
                  </a:lnTo>
                  <a:lnTo>
                    <a:pt x="369" y="184"/>
                  </a:lnTo>
                  <a:lnTo>
                    <a:pt x="377" y="178"/>
                  </a:lnTo>
                  <a:lnTo>
                    <a:pt x="381" y="175"/>
                  </a:lnTo>
                  <a:lnTo>
                    <a:pt x="387" y="173"/>
                  </a:lnTo>
                  <a:lnTo>
                    <a:pt x="387" y="173"/>
                  </a:lnTo>
                  <a:lnTo>
                    <a:pt x="394" y="175"/>
                  </a:lnTo>
                  <a:lnTo>
                    <a:pt x="400" y="176"/>
                  </a:lnTo>
                  <a:lnTo>
                    <a:pt x="412" y="181"/>
                  </a:lnTo>
                  <a:lnTo>
                    <a:pt x="412" y="181"/>
                  </a:lnTo>
                  <a:lnTo>
                    <a:pt x="415" y="182"/>
                  </a:lnTo>
                  <a:lnTo>
                    <a:pt x="418" y="181"/>
                  </a:lnTo>
                  <a:lnTo>
                    <a:pt x="427" y="178"/>
                  </a:lnTo>
                  <a:lnTo>
                    <a:pt x="443" y="167"/>
                  </a:lnTo>
                  <a:lnTo>
                    <a:pt x="443" y="167"/>
                  </a:lnTo>
                  <a:lnTo>
                    <a:pt x="455" y="161"/>
                  </a:lnTo>
                  <a:lnTo>
                    <a:pt x="462" y="157"/>
                  </a:lnTo>
                  <a:lnTo>
                    <a:pt x="462" y="157"/>
                  </a:lnTo>
                  <a:lnTo>
                    <a:pt x="467" y="154"/>
                  </a:lnTo>
                  <a:lnTo>
                    <a:pt x="471" y="152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91" y="151"/>
                  </a:lnTo>
                  <a:lnTo>
                    <a:pt x="492" y="149"/>
                  </a:lnTo>
                  <a:lnTo>
                    <a:pt x="493" y="146"/>
                  </a:lnTo>
                  <a:lnTo>
                    <a:pt x="493" y="146"/>
                  </a:lnTo>
                  <a:lnTo>
                    <a:pt x="495" y="142"/>
                  </a:lnTo>
                  <a:lnTo>
                    <a:pt x="501" y="138"/>
                  </a:lnTo>
                  <a:lnTo>
                    <a:pt x="507" y="136"/>
                  </a:lnTo>
                  <a:lnTo>
                    <a:pt x="511" y="135"/>
                  </a:lnTo>
                  <a:lnTo>
                    <a:pt x="511" y="135"/>
                  </a:lnTo>
                  <a:lnTo>
                    <a:pt x="516" y="136"/>
                  </a:lnTo>
                  <a:lnTo>
                    <a:pt x="520" y="135"/>
                  </a:lnTo>
                  <a:lnTo>
                    <a:pt x="526" y="132"/>
                  </a:lnTo>
                  <a:lnTo>
                    <a:pt x="532" y="127"/>
                  </a:lnTo>
                  <a:lnTo>
                    <a:pt x="532" y="127"/>
                  </a:lnTo>
                  <a:lnTo>
                    <a:pt x="533" y="126"/>
                  </a:lnTo>
                  <a:lnTo>
                    <a:pt x="536" y="124"/>
                  </a:lnTo>
                  <a:lnTo>
                    <a:pt x="544" y="124"/>
                  </a:lnTo>
                  <a:lnTo>
                    <a:pt x="553" y="126"/>
                  </a:lnTo>
                  <a:lnTo>
                    <a:pt x="565" y="126"/>
                  </a:lnTo>
                  <a:lnTo>
                    <a:pt x="565" y="126"/>
                  </a:lnTo>
                  <a:lnTo>
                    <a:pt x="584" y="124"/>
                  </a:lnTo>
                  <a:lnTo>
                    <a:pt x="585" y="123"/>
                  </a:lnTo>
                  <a:lnTo>
                    <a:pt x="587" y="121"/>
                  </a:lnTo>
                  <a:lnTo>
                    <a:pt x="588" y="118"/>
                  </a:lnTo>
                  <a:lnTo>
                    <a:pt x="587" y="115"/>
                  </a:lnTo>
                  <a:lnTo>
                    <a:pt x="587" y="115"/>
                  </a:lnTo>
                  <a:lnTo>
                    <a:pt x="585" y="108"/>
                  </a:lnTo>
                  <a:lnTo>
                    <a:pt x="585" y="102"/>
                  </a:lnTo>
                  <a:lnTo>
                    <a:pt x="588" y="96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616" y="77"/>
                  </a:lnTo>
                  <a:lnTo>
                    <a:pt x="625" y="72"/>
                  </a:lnTo>
                  <a:lnTo>
                    <a:pt x="633" y="69"/>
                  </a:lnTo>
                  <a:lnTo>
                    <a:pt x="633" y="69"/>
                  </a:lnTo>
                  <a:lnTo>
                    <a:pt x="640" y="68"/>
                  </a:lnTo>
                  <a:lnTo>
                    <a:pt x="643" y="68"/>
                  </a:lnTo>
                  <a:lnTo>
                    <a:pt x="647" y="65"/>
                  </a:lnTo>
                  <a:lnTo>
                    <a:pt x="647" y="65"/>
                  </a:lnTo>
                  <a:lnTo>
                    <a:pt x="661" y="56"/>
                  </a:lnTo>
                  <a:lnTo>
                    <a:pt x="668" y="53"/>
                  </a:lnTo>
                  <a:lnTo>
                    <a:pt x="676" y="52"/>
                  </a:lnTo>
                  <a:lnTo>
                    <a:pt x="676" y="52"/>
                  </a:lnTo>
                  <a:lnTo>
                    <a:pt x="680" y="52"/>
                  </a:lnTo>
                  <a:lnTo>
                    <a:pt x="680" y="52"/>
                  </a:lnTo>
                  <a:lnTo>
                    <a:pt x="685" y="53"/>
                  </a:lnTo>
                  <a:lnTo>
                    <a:pt x="689" y="52"/>
                  </a:lnTo>
                  <a:lnTo>
                    <a:pt x="695" y="50"/>
                  </a:lnTo>
                  <a:lnTo>
                    <a:pt x="702" y="46"/>
                  </a:lnTo>
                  <a:lnTo>
                    <a:pt x="702" y="46"/>
                  </a:lnTo>
                  <a:lnTo>
                    <a:pt x="724" y="31"/>
                  </a:lnTo>
                  <a:lnTo>
                    <a:pt x="741" y="19"/>
                  </a:lnTo>
                  <a:lnTo>
                    <a:pt x="741" y="19"/>
                  </a:lnTo>
                  <a:lnTo>
                    <a:pt x="747" y="13"/>
                  </a:lnTo>
                  <a:lnTo>
                    <a:pt x="751" y="7"/>
                  </a:lnTo>
                  <a:lnTo>
                    <a:pt x="756" y="3"/>
                  </a:lnTo>
                  <a:lnTo>
                    <a:pt x="759" y="1"/>
                  </a:lnTo>
                  <a:lnTo>
                    <a:pt x="762" y="0"/>
                  </a:lnTo>
                  <a:lnTo>
                    <a:pt x="762" y="0"/>
                  </a:lnTo>
                  <a:lnTo>
                    <a:pt x="767" y="0"/>
                  </a:lnTo>
                  <a:lnTo>
                    <a:pt x="772" y="0"/>
                  </a:lnTo>
                  <a:lnTo>
                    <a:pt x="775" y="3"/>
                  </a:lnTo>
                  <a:lnTo>
                    <a:pt x="781" y="6"/>
                  </a:lnTo>
                  <a:lnTo>
                    <a:pt x="781" y="6"/>
                  </a:lnTo>
                  <a:lnTo>
                    <a:pt x="790" y="13"/>
                  </a:lnTo>
                  <a:lnTo>
                    <a:pt x="796" y="15"/>
                  </a:lnTo>
                  <a:lnTo>
                    <a:pt x="800" y="13"/>
                  </a:lnTo>
                  <a:lnTo>
                    <a:pt x="800" y="13"/>
                  </a:lnTo>
                  <a:lnTo>
                    <a:pt x="812" y="13"/>
                  </a:lnTo>
                  <a:lnTo>
                    <a:pt x="816" y="13"/>
                  </a:lnTo>
                  <a:lnTo>
                    <a:pt x="816" y="13"/>
                  </a:lnTo>
                  <a:lnTo>
                    <a:pt x="801" y="25"/>
                  </a:lnTo>
                  <a:lnTo>
                    <a:pt x="790" y="35"/>
                  </a:lnTo>
                  <a:lnTo>
                    <a:pt x="785" y="40"/>
                  </a:lnTo>
                  <a:lnTo>
                    <a:pt x="784" y="41"/>
                  </a:lnTo>
                  <a:lnTo>
                    <a:pt x="784" y="41"/>
                  </a:lnTo>
                  <a:lnTo>
                    <a:pt x="784" y="46"/>
                  </a:lnTo>
                  <a:lnTo>
                    <a:pt x="787" y="50"/>
                  </a:lnTo>
                  <a:lnTo>
                    <a:pt x="788" y="55"/>
                  </a:lnTo>
                  <a:lnTo>
                    <a:pt x="791" y="59"/>
                  </a:lnTo>
                  <a:lnTo>
                    <a:pt x="791" y="59"/>
                  </a:lnTo>
                  <a:lnTo>
                    <a:pt x="790" y="62"/>
                  </a:lnTo>
                  <a:lnTo>
                    <a:pt x="788" y="65"/>
                  </a:lnTo>
                  <a:lnTo>
                    <a:pt x="784" y="69"/>
                  </a:lnTo>
                  <a:lnTo>
                    <a:pt x="781" y="74"/>
                  </a:lnTo>
                  <a:lnTo>
                    <a:pt x="781" y="74"/>
                  </a:lnTo>
                  <a:lnTo>
                    <a:pt x="781" y="78"/>
                  </a:lnTo>
                  <a:lnTo>
                    <a:pt x="781" y="83"/>
                  </a:lnTo>
                  <a:lnTo>
                    <a:pt x="784" y="87"/>
                  </a:lnTo>
                  <a:lnTo>
                    <a:pt x="784" y="90"/>
                  </a:lnTo>
                  <a:lnTo>
                    <a:pt x="784" y="90"/>
                  </a:lnTo>
                  <a:lnTo>
                    <a:pt x="778" y="98"/>
                  </a:lnTo>
                  <a:lnTo>
                    <a:pt x="767" y="112"/>
                  </a:lnTo>
                  <a:lnTo>
                    <a:pt x="762" y="120"/>
                  </a:lnTo>
                  <a:lnTo>
                    <a:pt x="759" y="127"/>
                  </a:lnTo>
                  <a:lnTo>
                    <a:pt x="756" y="133"/>
                  </a:lnTo>
                  <a:lnTo>
                    <a:pt x="756" y="139"/>
                  </a:lnTo>
                  <a:lnTo>
                    <a:pt x="756" y="139"/>
                  </a:lnTo>
                  <a:lnTo>
                    <a:pt x="760" y="148"/>
                  </a:lnTo>
                  <a:lnTo>
                    <a:pt x="764" y="155"/>
                  </a:lnTo>
                  <a:lnTo>
                    <a:pt x="767" y="161"/>
                  </a:lnTo>
                  <a:lnTo>
                    <a:pt x="769" y="166"/>
                  </a:lnTo>
                  <a:lnTo>
                    <a:pt x="769" y="166"/>
                  </a:lnTo>
                  <a:lnTo>
                    <a:pt x="769" y="176"/>
                  </a:lnTo>
                  <a:lnTo>
                    <a:pt x="767" y="181"/>
                  </a:lnTo>
                  <a:lnTo>
                    <a:pt x="766" y="182"/>
                  </a:lnTo>
                  <a:lnTo>
                    <a:pt x="763" y="184"/>
                  </a:lnTo>
                  <a:lnTo>
                    <a:pt x="763" y="184"/>
                  </a:lnTo>
                  <a:lnTo>
                    <a:pt x="756" y="185"/>
                  </a:lnTo>
                  <a:lnTo>
                    <a:pt x="751" y="186"/>
                  </a:lnTo>
                  <a:lnTo>
                    <a:pt x="747" y="191"/>
                  </a:lnTo>
                  <a:lnTo>
                    <a:pt x="745" y="194"/>
                  </a:lnTo>
                  <a:lnTo>
                    <a:pt x="745" y="197"/>
                  </a:lnTo>
                  <a:lnTo>
                    <a:pt x="745" y="197"/>
                  </a:lnTo>
                  <a:lnTo>
                    <a:pt x="745" y="204"/>
                  </a:lnTo>
                  <a:lnTo>
                    <a:pt x="745" y="209"/>
                  </a:lnTo>
                  <a:lnTo>
                    <a:pt x="744" y="215"/>
                  </a:lnTo>
                  <a:lnTo>
                    <a:pt x="745" y="219"/>
                  </a:lnTo>
                  <a:lnTo>
                    <a:pt x="745" y="219"/>
                  </a:lnTo>
                  <a:lnTo>
                    <a:pt x="745" y="225"/>
                  </a:lnTo>
                  <a:lnTo>
                    <a:pt x="745" y="231"/>
                  </a:lnTo>
                  <a:lnTo>
                    <a:pt x="745" y="237"/>
                  </a:lnTo>
                  <a:lnTo>
                    <a:pt x="747" y="238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62" y="240"/>
                  </a:lnTo>
                  <a:lnTo>
                    <a:pt x="773" y="238"/>
                  </a:lnTo>
                  <a:lnTo>
                    <a:pt x="773" y="238"/>
                  </a:lnTo>
                  <a:lnTo>
                    <a:pt x="778" y="238"/>
                  </a:lnTo>
                  <a:lnTo>
                    <a:pt x="782" y="237"/>
                  </a:lnTo>
                  <a:lnTo>
                    <a:pt x="794" y="232"/>
                  </a:lnTo>
                  <a:lnTo>
                    <a:pt x="794" y="232"/>
                  </a:lnTo>
                  <a:lnTo>
                    <a:pt x="800" y="231"/>
                  </a:lnTo>
                  <a:lnTo>
                    <a:pt x="804" y="231"/>
                  </a:lnTo>
                  <a:lnTo>
                    <a:pt x="816" y="232"/>
                  </a:lnTo>
                  <a:lnTo>
                    <a:pt x="821" y="234"/>
                  </a:lnTo>
                  <a:lnTo>
                    <a:pt x="825" y="237"/>
                  </a:lnTo>
                  <a:lnTo>
                    <a:pt x="830" y="240"/>
                  </a:lnTo>
                  <a:lnTo>
                    <a:pt x="831" y="244"/>
                  </a:lnTo>
                  <a:lnTo>
                    <a:pt x="831" y="244"/>
                  </a:lnTo>
                  <a:lnTo>
                    <a:pt x="836" y="258"/>
                  </a:lnTo>
                  <a:lnTo>
                    <a:pt x="839" y="266"/>
                  </a:lnTo>
                  <a:lnTo>
                    <a:pt x="839" y="266"/>
                  </a:lnTo>
                  <a:lnTo>
                    <a:pt x="841" y="269"/>
                  </a:lnTo>
                  <a:lnTo>
                    <a:pt x="846" y="271"/>
                  </a:lnTo>
                  <a:lnTo>
                    <a:pt x="850" y="271"/>
                  </a:lnTo>
                  <a:lnTo>
                    <a:pt x="853" y="271"/>
                  </a:lnTo>
                  <a:lnTo>
                    <a:pt x="855" y="269"/>
                  </a:lnTo>
                  <a:lnTo>
                    <a:pt x="855" y="269"/>
                  </a:lnTo>
                  <a:lnTo>
                    <a:pt x="861" y="261"/>
                  </a:lnTo>
                  <a:lnTo>
                    <a:pt x="864" y="258"/>
                  </a:lnTo>
                  <a:lnTo>
                    <a:pt x="865" y="256"/>
                  </a:lnTo>
                  <a:lnTo>
                    <a:pt x="867" y="258"/>
                  </a:lnTo>
                  <a:lnTo>
                    <a:pt x="867" y="258"/>
                  </a:lnTo>
                  <a:lnTo>
                    <a:pt x="867" y="261"/>
                  </a:lnTo>
                  <a:lnTo>
                    <a:pt x="867" y="265"/>
                  </a:lnTo>
                  <a:lnTo>
                    <a:pt x="867" y="268"/>
                  </a:lnTo>
                  <a:lnTo>
                    <a:pt x="867" y="269"/>
                  </a:lnTo>
                  <a:lnTo>
                    <a:pt x="868" y="269"/>
                  </a:lnTo>
                  <a:lnTo>
                    <a:pt x="868" y="269"/>
                  </a:lnTo>
                  <a:lnTo>
                    <a:pt x="873" y="269"/>
                  </a:lnTo>
                  <a:lnTo>
                    <a:pt x="877" y="269"/>
                  </a:lnTo>
                  <a:lnTo>
                    <a:pt x="881" y="266"/>
                  </a:lnTo>
                  <a:lnTo>
                    <a:pt x="883" y="265"/>
                  </a:lnTo>
                  <a:lnTo>
                    <a:pt x="883" y="263"/>
                  </a:lnTo>
                  <a:lnTo>
                    <a:pt x="883" y="263"/>
                  </a:lnTo>
                  <a:lnTo>
                    <a:pt x="884" y="255"/>
                  </a:lnTo>
                  <a:lnTo>
                    <a:pt x="886" y="252"/>
                  </a:lnTo>
                  <a:lnTo>
                    <a:pt x="890" y="249"/>
                  </a:lnTo>
                  <a:lnTo>
                    <a:pt x="890" y="249"/>
                  </a:lnTo>
                  <a:lnTo>
                    <a:pt x="904" y="240"/>
                  </a:lnTo>
                  <a:lnTo>
                    <a:pt x="914" y="232"/>
                  </a:lnTo>
                  <a:lnTo>
                    <a:pt x="914" y="232"/>
                  </a:lnTo>
                  <a:lnTo>
                    <a:pt x="918" y="226"/>
                  </a:lnTo>
                  <a:lnTo>
                    <a:pt x="921" y="221"/>
                  </a:lnTo>
                  <a:lnTo>
                    <a:pt x="921" y="221"/>
                  </a:lnTo>
                  <a:lnTo>
                    <a:pt x="927" y="216"/>
                  </a:lnTo>
                  <a:lnTo>
                    <a:pt x="935" y="209"/>
                  </a:lnTo>
                  <a:lnTo>
                    <a:pt x="935" y="209"/>
                  </a:lnTo>
                  <a:lnTo>
                    <a:pt x="936" y="204"/>
                  </a:lnTo>
                  <a:lnTo>
                    <a:pt x="938" y="197"/>
                  </a:lnTo>
                  <a:lnTo>
                    <a:pt x="939" y="191"/>
                  </a:lnTo>
                  <a:lnTo>
                    <a:pt x="942" y="185"/>
                  </a:lnTo>
                  <a:lnTo>
                    <a:pt x="942" y="185"/>
                  </a:lnTo>
                  <a:lnTo>
                    <a:pt x="950" y="176"/>
                  </a:lnTo>
                  <a:lnTo>
                    <a:pt x="955" y="173"/>
                  </a:lnTo>
                  <a:lnTo>
                    <a:pt x="961" y="172"/>
                  </a:lnTo>
                  <a:lnTo>
                    <a:pt x="961" y="172"/>
                  </a:lnTo>
                  <a:lnTo>
                    <a:pt x="975" y="169"/>
                  </a:lnTo>
                  <a:lnTo>
                    <a:pt x="978" y="169"/>
                  </a:lnTo>
                  <a:lnTo>
                    <a:pt x="979" y="166"/>
                  </a:lnTo>
                  <a:lnTo>
                    <a:pt x="979" y="166"/>
                  </a:lnTo>
                  <a:lnTo>
                    <a:pt x="985" y="161"/>
                  </a:lnTo>
                  <a:lnTo>
                    <a:pt x="988" y="157"/>
                  </a:lnTo>
                  <a:lnTo>
                    <a:pt x="990" y="151"/>
                  </a:lnTo>
                  <a:lnTo>
                    <a:pt x="990" y="151"/>
                  </a:lnTo>
                  <a:lnTo>
                    <a:pt x="993" y="139"/>
                  </a:lnTo>
                  <a:lnTo>
                    <a:pt x="994" y="135"/>
                  </a:lnTo>
                  <a:lnTo>
                    <a:pt x="997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1003" y="133"/>
                  </a:lnTo>
                  <a:lnTo>
                    <a:pt x="1006" y="136"/>
                  </a:lnTo>
                  <a:lnTo>
                    <a:pt x="1009" y="138"/>
                  </a:lnTo>
                  <a:lnTo>
                    <a:pt x="1013" y="139"/>
                  </a:lnTo>
                  <a:lnTo>
                    <a:pt x="1013" y="139"/>
                  </a:lnTo>
                  <a:lnTo>
                    <a:pt x="1019" y="142"/>
                  </a:lnTo>
                  <a:lnTo>
                    <a:pt x="1022" y="146"/>
                  </a:lnTo>
                  <a:lnTo>
                    <a:pt x="1031" y="157"/>
                  </a:lnTo>
                  <a:lnTo>
                    <a:pt x="1031" y="157"/>
                  </a:lnTo>
                  <a:lnTo>
                    <a:pt x="1034" y="163"/>
                  </a:lnTo>
                  <a:lnTo>
                    <a:pt x="1037" y="169"/>
                  </a:lnTo>
                  <a:lnTo>
                    <a:pt x="1038" y="181"/>
                  </a:lnTo>
                  <a:lnTo>
                    <a:pt x="1038" y="181"/>
                  </a:lnTo>
                  <a:lnTo>
                    <a:pt x="1038" y="188"/>
                  </a:lnTo>
                  <a:lnTo>
                    <a:pt x="1043" y="197"/>
                  </a:lnTo>
                  <a:lnTo>
                    <a:pt x="1043" y="197"/>
                  </a:lnTo>
                  <a:lnTo>
                    <a:pt x="1055" y="213"/>
                  </a:lnTo>
                  <a:lnTo>
                    <a:pt x="1070" y="226"/>
                  </a:lnTo>
                  <a:lnTo>
                    <a:pt x="1070" y="226"/>
                  </a:lnTo>
                  <a:lnTo>
                    <a:pt x="1075" y="234"/>
                  </a:lnTo>
                  <a:lnTo>
                    <a:pt x="1080" y="240"/>
                  </a:lnTo>
                  <a:lnTo>
                    <a:pt x="1081" y="246"/>
                  </a:lnTo>
                  <a:lnTo>
                    <a:pt x="1081" y="247"/>
                  </a:lnTo>
                  <a:lnTo>
                    <a:pt x="1080" y="250"/>
                  </a:lnTo>
                  <a:lnTo>
                    <a:pt x="1080" y="250"/>
                  </a:lnTo>
                  <a:lnTo>
                    <a:pt x="1077" y="252"/>
                  </a:lnTo>
                  <a:lnTo>
                    <a:pt x="1072" y="252"/>
                  </a:lnTo>
                  <a:lnTo>
                    <a:pt x="1058" y="253"/>
                  </a:lnTo>
                  <a:lnTo>
                    <a:pt x="1043" y="255"/>
                  </a:lnTo>
                  <a:lnTo>
                    <a:pt x="1031" y="258"/>
                  </a:lnTo>
                  <a:lnTo>
                    <a:pt x="1031" y="258"/>
                  </a:lnTo>
                  <a:lnTo>
                    <a:pt x="1024" y="259"/>
                  </a:lnTo>
                  <a:lnTo>
                    <a:pt x="1013" y="261"/>
                  </a:lnTo>
                  <a:lnTo>
                    <a:pt x="997" y="263"/>
                  </a:lnTo>
                  <a:lnTo>
                    <a:pt x="997" y="263"/>
                  </a:lnTo>
                  <a:lnTo>
                    <a:pt x="990" y="265"/>
                  </a:lnTo>
                  <a:lnTo>
                    <a:pt x="985" y="268"/>
                  </a:lnTo>
                  <a:lnTo>
                    <a:pt x="982" y="269"/>
                  </a:lnTo>
                  <a:lnTo>
                    <a:pt x="982" y="272"/>
                  </a:lnTo>
                  <a:lnTo>
                    <a:pt x="984" y="275"/>
                  </a:lnTo>
                  <a:lnTo>
                    <a:pt x="985" y="278"/>
                  </a:lnTo>
                  <a:lnTo>
                    <a:pt x="985" y="278"/>
                  </a:lnTo>
                  <a:lnTo>
                    <a:pt x="990" y="283"/>
                  </a:lnTo>
                  <a:lnTo>
                    <a:pt x="993" y="289"/>
                  </a:lnTo>
                  <a:lnTo>
                    <a:pt x="995" y="295"/>
                  </a:lnTo>
                  <a:lnTo>
                    <a:pt x="998" y="299"/>
                  </a:lnTo>
                  <a:lnTo>
                    <a:pt x="998" y="299"/>
                  </a:lnTo>
                  <a:lnTo>
                    <a:pt x="1003" y="303"/>
                  </a:lnTo>
                  <a:lnTo>
                    <a:pt x="1003" y="308"/>
                  </a:lnTo>
                  <a:lnTo>
                    <a:pt x="998" y="312"/>
                  </a:lnTo>
                  <a:lnTo>
                    <a:pt x="993" y="317"/>
                  </a:lnTo>
                  <a:lnTo>
                    <a:pt x="993" y="317"/>
                  </a:lnTo>
                  <a:lnTo>
                    <a:pt x="987" y="321"/>
                  </a:lnTo>
                  <a:lnTo>
                    <a:pt x="979" y="329"/>
                  </a:lnTo>
                  <a:lnTo>
                    <a:pt x="973" y="338"/>
                  </a:lnTo>
                  <a:lnTo>
                    <a:pt x="972" y="342"/>
                  </a:lnTo>
                  <a:lnTo>
                    <a:pt x="972" y="345"/>
                  </a:lnTo>
                  <a:lnTo>
                    <a:pt x="972" y="345"/>
                  </a:lnTo>
                  <a:lnTo>
                    <a:pt x="969" y="358"/>
                  </a:lnTo>
                  <a:lnTo>
                    <a:pt x="967" y="369"/>
                  </a:lnTo>
                  <a:lnTo>
                    <a:pt x="967" y="369"/>
                  </a:lnTo>
                  <a:lnTo>
                    <a:pt x="966" y="378"/>
                  </a:lnTo>
                  <a:lnTo>
                    <a:pt x="964" y="383"/>
                  </a:lnTo>
                  <a:lnTo>
                    <a:pt x="960" y="389"/>
                  </a:lnTo>
                  <a:lnTo>
                    <a:pt x="960" y="389"/>
                  </a:lnTo>
                  <a:lnTo>
                    <a:pt x="939" y="406"/>
                  </a:lnTo>
                  <a:lnTo>
                    <a:pt x="929" y="415"/>
                  </a:lnTo>
                  <a:lnTo>
                    <a:pt x="923" y="420"/>
                  </a:lnTo>
                  <a:lnTo>
                    <a:pt x="923" y="420"/>
                  </a:lnTo>
                  <a:lnTo>
                    <a:pt x="923" y="423"/>
                  </a:lnTo>
                  <a:lnTo>
                    <a:pt x="923" y="426"/>
                  </a:lnTo>
                  <a:lnTo>
                    <a:pt x="926" y="431"/>
                  </a:lnTo>
                  <a:lnTo>
                    <a:pt x="929" y="435"/>
                  </a:lnTo>
                  <a:lnTo>
                    <a:pt x="929" y="435"/>
                  </a:lnTo>
                  <a:lnTo>
                    <a:pt x="933" y="441"/>
                  </a:lnTo>
                  <a:lnTo>
                    <a:pt x="935" y="447"/>
                  </a:lnTo>
                  <a:lnTo>
                    <a:pt x="933" y="453"/>
                  </a:lnTo>
                  <a:lnTo>
                    <a:pt x="932" y="456"/>
                  </a:lnTo>
                  <a:lnTo>
                    <a:pt x="930" y="456"/>
                  </a:lnTo>
                  <a:lnTo>
                    <a:pt x="930" y="456"/>
                  </a:lnTo>
                  <a:lnTo>
                    <a:pt x="926" y="458"/>
                  </a:lnTo>
                  <a:lnTo>
                    <a:pt x="924" y="459"/>
                  </a:lnTo>
                  <a:lnTo>
                    <a:pt x="923" y="463"/>
                  </a:lnTo>
                  <a:lnTo>
                    <a:pt x="924" y="468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23" y="480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20" y="502"/>
                  </a:lnTo>
                  <a:lnTo>
                    <a:pt x="920" y="518"/>
                  </a:lnTo>
                  <a:lnTo>
                    <a:pt x="920" y="518"/>
                  </a:lnTo>
                  <a:lnTo>
                    <a:pt x="920" y="527"/>
                  </a:lnTo>
                  <a:lnTo>
                    <a:pt x="921" y="537"/>
                  </a:lnTo>
                  <a:lnTo>
                    <a:pt x="921" y="537"/>
                  </a:lnTo>
                  <a:lnTo>
                    <a:pt x="923" y="551"/>
                  </a:lnTo>
                  <a:lnTo>
                    <a:pt x="926" y="554"/>
                  </a:lnTo>
                  <a:lnTo>
                    <a:pt x="927" y="551"/>
                  </a:lnTo>
                  <a:lnTo>
                    <a:pt x="927" y="551"/>
                  </a:lnTo>
                  <a:lnTo>
                    <a:pt x="933" y="542"/>
                  </a:lnTo>
                  <a:lnTo>
                    <a:pt x="936" y="539"/>
                  </a:lnTo>
                  <a:lnTo>
                    <a:pt x="939" y="537"/>
                  </a:lnTo>
                  <a:lnTo>
                    <a:pt x="939" y="537"/>
                  </a:lnTo>
                  <a:lnTo>
                    <a:pt x="944" y="537"/>
                  </a:lnTo>
                  <a:lnTo>
                    <a:pt x="947" y="539"/>
                  </a:lnTo>
                  <a:lnTo>
                    <a:pt x="950" y="542"/>
                  </a:lnTo>
                  <a:lnTo>
                    <a:pt x="950" y="546"/>
                  </a:lnTo>
                  <a:lnTo>
                    <a:pt x="950" y="546"/>
                  </a:lnTo>
                  <a:lnTo>
                    <a:pt x="950" y="555"/>
                  </a:lnTo>
                  <a:lnTo>
                    <a:pt x="950" y="558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4" y="563"/>
                  </a:lnTo>
                  <a:lnTo>
                    <a:pt x="955" y="564"/>
                  </a:lnTo>
                  <a:lnTo>
                    <a:pt x="958" y="563"/>
                  </a:lnTo>
                  <a:lnTo>
                    <a:pt x="969" y="554"/>
                  </a:lnTo>
                  <a:lnTo>
                    <a:pt x="969" y="554"/>
                  </a:lnTo>
                  <a:lnTo>
                    <a:pt x="973" y="551"/>
                  </a:lnTo>
                  <a:lnTo>
                    <a:pt x="979" y="551"/>
                  </a:lnTo>
                  <a:lnTo>
                    <a:pt x="985" y="554"/>
                  </a:lnTo>
                  <a:lnTo>
                    <a:pt x="991" y="560"/>
                  </a:lnTo>
                  <a:lnTo>
                    <a:pt x="991" y="560"/>
                  </a:lnTo>
                  <a:lnTo>
                    <a:pt x="1007" y="580"/>
                  </a:lnTo>
                  <a:lnTo>
                    <a:pt x="1016" y="589"/>
                  </a:lnTo>
                  <a:lnTo>
                    <a:pt x="1021" y="598"/>
                  </a:lnTo>
                  <a:lnTo>
                    <a:pt x="1021" y="598"/>
                  </a:lnTo>
                  <a:lnTo>
                    <a:pt x="1024" y="603"/>
                  </a:lnTo>
                  <a:lnTo>
                    <a:pt x="1024" y="607"/>
                  </a:lnTo>
                  <a:lnTo>
                    <a:pt x="1022" y="610"/>
                  </a:lnTo>
                  <a:lnTo>
                    <a:pt x="1019" y="613"/>
                  </a:lnTo>
                  <a:lnTo>
                    <a:pt x="1019" y="613"/>
                  </a:lnTo>
                  <a:lnTo>
                    <a:pt x="1016" y="617"/>
                  </a:lnTo>
                  <a:lnTo>
                    <a:pt x="1016" y="622"/>
                  </a:lnTo>
                  <a:lnTo>
                    <a:pt x="1016" y="626"/>
                  </a:lnTo>
                  <a:lnTo>
                    <a:pt x="1018" y="628"/>
                  </a:lnTo>
                  <a:lnTo>
                    <a:pt x="1019" y="628"/>
                  </a:lnTo>
                  <a:lnTo>
                    <a:pt x="1019" y="628"/>
                  </a:lnTo>
                  <a:lnTo>
                    <a:pt x="1024" y="626"/>
                  </a:lnTo>
                  <a:lnTo>
                    <a:pt x="1027" y="623"/>
                  </a:lnTo>
                  <a:lnTo>
                    <a:pt x="1028" y="623"/>
                  </a:lnTo>
                  <a:lnTo>
                    <a:pt x="1030" y="623"/>
                  </a:lnTo>
                  <a:lnTo>
                    <a:pt x="1031" y="625"/>
                  </a:lnTo>
                  <a:lnTo>
                    <a:pt x="1032" y="628"/>
                  </a:lnTo>
                  <a:lnTo>
                    <a:pt x="1032" y="628"/>
                  </a:lnTo>
                  <a:lnTo>
                    <a:pt x="1040" y="643"/>
                  </a:lnTo>
                  <a:lnTo>
                    <a:pt x="1046" y="653"/>
                  </a:lnTo>
                  <a:lnTo>
                    <a:pt x="1046" y="653"/>
                  </a:lnTo>
                  <a:lnTo>
                    <a:pt x="1050" y="653"/>
                  </a:lnTo>
                  <a:lnTo>
                    <a:pt x="1056" y="653"/>
                  </a:lnTo>
                  <a:lnTo>
                    <a:pt x="1062" y="650"/>
                  </a:lnTo>
                  <a:lnTo>
                    <a:pt x="1065" y="647"/>
                  </a:lnTo>
                  <a:lnTo>
                    <a:pt x="1065" y="647"/>
                  </a:lnTo>
                  <a:lnTo>
                    <a:pt x="1067" y="641"/>
                  </a:lnTo>
                  <a:lnTo>
                    <a:pt x="1068" y="638"/>
                  </a:lnTo>
                  <a:lnTo>
                    <a:pt x="1071" y="637"/>
                  </a:lnTo>
                  <a:lnTo>
                    <a:pt x="1071" y="637"/>
                  </a:lnTo>
                  <a:lnTo>
                    <a:pt x="1075" y="635"/>
                  </a:lnTo>
                  <a:lnTo>
                    <a:pt x="1078" y="634"/>
                  </a:lnTo>
                  <a:lnTo>
                    <a:pt x="1081" y="632"/>
                  </a:lnTo>
                  <a:lnTo>
                    <a:pt x="1081" y="628"/>
                  </a:lnTo>
                  <a:lnTo>
                    <a:pt x="1081" y="628"/>
                  </a:lnTo>
                  <a:lnTo>
                    <a:pt x="1078" y="616"/>
                  </a:lnTo>
                  <a:lnTo>
                    <a:pt x="1080" y="612"/>
                  </a:lnTo>
                  <a:lnTo>
                    <a:pt x="1081" y="610"/>
                  </a:lnTo>
                  <a:lnTo>
                    <a:pt x="1083" y="609"/>
                  </a:lnTo>
                  <a:lnTo>
                    <a:pt x="1083" y="609"/>
                  </a:lnTo>
                  <a:lnTo>
                    <a:pt x="1089" y="610"/>
                  </a:lnTo>
                  <a:lnTo>
                    <a:pt x="1095" y="612"/>
                  </a:lnTo>
                  <a:lnTo>
                    <a:pt x="1102" y="616"/>
                  </a:lnTo>
                  <a:lnTo>
                    <a:pt x="1102" y="616"/>
                  </a:lnTo>
                  <a:lnTo>
                    <a:pt x="1107" y="617"/>
                  </a:lnTo>
                  <a:lnTo>
                    <a:pt x="1112" y="619"/>
                  </a:lnTo>
                  <a:lnTo>
                    <a:pt x="1120" y="617"/>
                  </a:lnTo>
                  <a:lnTo>
                    <a:pt x="1123" y="616"/>
                  </a:lnTo>
                  <a:lnTo>
                    <a:pt x="1124" y="614"/>
                  </a:lnTo>
                  <a:lnTo>
                    <a:pt x="1124" y="614"/>
                  </a:lnTo>
                  <a:lnTo>
                    <a:pt x="1126" y="609"/>
                  </a:lnTo>
                  <a:lnTo>
                    <a:pt x="1130" y="607"/>
                  </a:lnTo>
                  <a:lnTo>
                    <a:pt x="1133" y="606"/>
                  </a:lnTo>
                  <a:lnTo>
                    <a:pt x="1138" y="607"/>
                  </a:lnTo>
                  <a:lnTo>
                    <a:pt x="1138" y="607"/>
                  </a:lnTo>
                  <a:lnTo>
                    <a:pt x="1144" y="607"/>
                  </a:lnTo>
                  <a:lnTo>
                    <a:pt x="1149" y="604"/>
                  </a:lnTo>
                  <a:lnTo>
                    <a:pt x="1161" y="600"/>
                  </a:lnTo>
                  <a:lnTo>
                    <a:pt x="1161" y="600"/>
                  </a:lnTo>
                  <a:lnTo>
                    <a:pt x="1166" y="600"/>
                  </a:lnTo>
                  <a:lnTo>
                    <a:pt x="1172" y="600"/>
                  </a:lnTo>
                  <a:lnTo>
                    <a:pt x="1176" y="601"/>
                  </a:lnTo>
                  <a:lnTo>
                    <a:pt x="1178" y="603"/>
                  </a:lnTo>
                  <a:lnTo>
                    <a:pt x="1179" y="607"/>
                  </a:lnTo>
                  <a:lnTo>
                    <a:pt x="1179" y="607"/>
                  </a:lnTo>
                  <a:lnTo>
                    <a:pt x="1182" y="614"/>
                  </a:lnTo>
                  <a:lnTo>
                    <a:pt x="1186" y="623"/>
                  </a:lnTo>
                  <a:lnTo>
                    <a:pt x="1191" y="628"/>
                  </a:lnTo>
                  <a:lnTo>
                    <a:pt x="1194" y="631"/>
                  </a:lnTo>
                  <a:lnTo>
                    <a:pt x="1198" y="632"/>
                  </a:lnTo>
                  <a:lnTo>
                    <a:pt x="1201" y="632"/>
                  </a:lnTo>
                  <a:lnTo>
                    <a:pt x="1201" y="632"/>
                  </a:lnTo>
                  <a:lnTo>
                    <a:pt x="1210" y="631"/>
                  </a:lnTo>
                  <a:lnTo>
                    <a:pt x="1219" y="631"/>
                  </a:lnTo>
                  <a:lnTo>
                    <a:pt x="1228" y="631"/>
                  </a:lnTo>
                  <a:lnTo>
                    <a:pt x="1235" y="629"/>
                  </a:lnTo>
                  <a:lnTo>
                    <a:pt x="1235" y="629"/>
                  </a:lnTo>
                  <a:lnTo>
                    <a:pt x="1243" y="625"/>
                  </a:lnTo>
                  <a:lnTo>
                    <a:pt x="1250" y="619"/>
                  </a:lnTo>
                  <a:lnTo>
                    <a:pt x="1258" y="613"/>
                  </a:lnTo>
                  <a:lnTo>
                    <a:pt x="1262" y="609"/>
                  </a:lnTo>
                  <a:lnTo>
                    <a:pt x="1262" y="609"/>
                  </a:lnTo>
                  <a:lnTo>
                    <a:pt x="1265" y="604"/>
                  </a:lnTo>
                  <a:lnTo>
                    <a:pt x="1269" y="603"/>
                  </a:lnTo>
                  <a:lnTo>
                    <a:pt x="1275" y="601"/>
                  </a:lnTo>
                  <a:lnTo>
                    <a:pt x="1278" y="603"/>
                  </a:lnTo>
                  <a:lnTo>
                    <a:pt x="1278" y="603"/>
                  </a:lnTo>
                  <a:lnTo>
                    <a:pt x="1283" y="604"/>
                  </a:lnTo>
                  <a:lnTo>
                    <a:pt x="1287" y="606"/>
                  </a:lnTo>
                  <a:lnTo>
                    <a:pt x="1293" y="606"/>
                  </a:lnTo>
                  <a:lnTo>
                    <a:pt x="1295" y="604"/>
                  </a:lnTo>
                  <a:lnTo>
                    <a:pt x="1296" y="603"/>
                  </a:lnTo>
                  <a:lnTo>
                    <a:pt x="1296" y="603"/>
                  </a:lnTo>
                  <a:lnTo>
                    <a:pt x="1302" y="592"/>
                  </a:lnTo>
                  <a:lnTo>
                    <a:pt x="1305" y="586"/>
                  </a:lnTo>
                  <a:lnTo>
                    <a:pt x="1306" y="585"/>
                  </a:lnTo>
                  <a:lnTo>
                    <a:pt x="1309" y="585"/>
                  </a:lnTo>
                  <a:lnTo>
                    <a:pt x="1309" y="585"/>
                  </a:lnTo>
                  <a:lnTo>
                    <a:pt x="1314" y="583"/>
                  </a:lnTo>
                  <a:lnTo>
                    <a:pt x="1317" y="585"/>
                  </a:lnTo>
                  <a:lnTo>
                    <a:pt x="1323" y="589"/>
                  </a:lnTo>
                  <a:lnTo>
                    <a:pt x="1323" y="589"/>
                  </a:lnTo>
                  <a:lnTo>
                    <a:pt x="1327" y="594"/>
                  </a:lnTo>
                  <a:lnTo>
                    <a:pt x="1329" y="600"/>
                  </a:lnTo>
                  <a:lnTo>
                    <a:pt x="1330" y="606"/>
                  </a:lnTo>
                  <a:lnTo>
                    <a:pt x="1330" y="610"/>
                  </a:lnTo>
                  <a:lnTo>
                    <a:pt x="1330" y="610"/>
                  </a:lnTo>
                  <a:lnTo>
                    <a:pt x="1323" y="622"/>
                  </a:lnTo>
                  <a:lnTo>
                    <a:pt x="1314" y="634"/>
                  </a:lnTo>
                  <a:lnTo>
                    <a:pt x="1314" y="634"/>
                  </a:lnTo>
                  <a:lnTo>
                    <a:pt x="1305" y="64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2" name="Freeform 131">
              <a:extLst>
                <a:ext uri="{FF2B5EF4-FFF2-40B4-BE49-F238E27FC236}">
                  <a16:creationId xmlns:a16="http://schemas.microsoft.com/office/drawing/2014/main" id="{2A0030EF-F432-7045-8A09-60FB12795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2863" y="4230688"/>
              <a:ext cx="333375" cy="746125"/>
            </a:xfrm>
            <a:custGeom>
              <a:avLst/>
              <a:gdLst>
                <a:gd name="T0" fmla="*/ 10 w 210"/>
                <a:gd name="T1" fmla="*/ 468 h 470"/>
                <a:gd name="T2" fmla="*/ 34 w 210"/>
                <a:gd name="T3" fmla="*/ 456 h 470"/>
                <a:gd name="T4" fmla="*/ 63 w 210"/>
                <a:gd name="T5" fmla="*/ 442 h 470"/>
                <a:gd name="T6" fmla="*/ 69 w 210"/>
                <a:gd name="T7" fmla="*/ 434 h 470"/>
                <a:gd name="T8" fmla="*/ 80 w 210"/>
                <a:gd name="T9" fmla="*/ 425 h 470"/>
                <a:gd name="T10" fmla="*/ 99 w 210"/>
                <a:gd name="T11" fmla="*/ 427 h 470"/>
                <a:gd name="T12" fmla="*/ 115 w 210"/>
                <a:gd name="T13" fmla="*/ 425 h 470"/>
                <a:gd name="T14" fmla="*/ 118 w 210"/>
                <a:gd name="T15" fmla="*/ 418 h 470"/>
                <a:gd name="T16" fmla="*/ 121 w 210"/>
                <a:gd name="T17" fmla="*/ 402 h 470"/>
                <a:gd name="T18" fmla="*/ 126 w 210"/>
                <a:gd name="T19" fmla="*/ 396 h 470"/>
                <a:gd name="T20" fmla="*/ 121 w 210"/>
                <a:gd name="T21" fmla="*/ 388 h 470"/>
                <a:gd name="T22" fmla="*/ 109 w 210"/>
                <a:gd name="T23" fmla="*/ 381 h 470"/>
                <a:gd name="T24" fmla="*/ 118 w 210"/>
                <a:gd name="T25" fmla="*/ 375 h 470"/>
                <a:gd name="T26" fmla="*/ 123 w 210"/>
                <a:gd name="T27" fmla="*/ 365 h 470"/>
                <a:gd name="T28" fmla="*/ 127 w 210"/>
                <a:gd name="T29" fmla="*/ 356 h 470"/>
                <a:gd name="T30" fmla="*/ 137 w 210"/>
                <a:gd name="T31" fmla="*/ 351 h 470"/>
                <a:gd name="T32" fmla="*/ 145 w 210"/>
                <a:gd name="T33" fmla="*/ 347 h 470"/>
                <a:gd name="T34" fmla="*/ 139 w 210"/>
                <a:gd name="T35" fmla="*/ 336 h 470"/>
                <a:gd name="T36" fmla="*/ 132 w 210"/>
                <a:gd name="T37" fmla="*/ 326 h 470"/>
                <a:gd name="T38" fmla="*/ 137 w 210"/>
                <a:gd name="T39" fmla="*/ 322 h 470"/>
                <a:gd name="T40" fmla="*/ 146 w 210"/>
                <a:gd name="T41" fmla="*/ 311 h 470"/>
                <a:gd name="T42" fmla="*/ 155 w 210"/>
                <a:gd name="T43" fmla="*/ 305 h 470"/>
                <a:gd name="T44" fmla="*/ 169 w 210"/>
                <a:gd name="T45" fmla="*/ 302 h 470"/>
                <a:gd name="T46" fmla="*/ 176 w 210"/>
                <a:gd name="T47" fmla="*/ 294 h 470"/>
                <a:gd name="T48" fmla="*/ 194 w 210"/>
                <a:gd name="T49" fmla="*/ 282 h 470"/>
                <a:gd name="T50" fmla="*/ 204 w 210"/>
                <a:gd name="T51" fmla="*/ 271 h 470"/>
                <a:gd name="T52" fmla="*/ 209 w 210"/>
                <a:gd name="T53" fmla="*/ 258 h 470"/>
                <a:gd name="T54" fmla="*/ 207 w 210"/>
                <a:gd name="T55" fmla="*/ 239 h 470"/>
                <a:gd name="T56" fmla="*/ 198 w 210"/>
                <a:gd name="T57" fmla="*/ 239 h 470"/>
                <a:gd name="T58" fmla="*/ 189 w 210"/>
                <a:gd name="T59" fmla="*/ 233 h 470"/>
                <a:gd name="T60" fmla="*/ 177 w 210"/>
                <a:gd name="T61" fmla="*/ 185 h 470"/>
                <a:gd name="T62" fmla="*/ 179 w 210"/>
                <a:gd name="T63" fmla="*/ 160 h 470"/>
                <a:gd name="T64" fmla="*/ 171 w 210"/>
                <a:gd name="T65" fmla="*/ 147 h 470"/>
                <a:gd name="T66" fmla="*/ 152 w 210"/>
                <a:gd name="T67" fmla="*/ 139 h 470"/>
                <a:gd name="T68" fmla="*/ 139 w 210"/>
                <a:gd name="T69" fmla="*/ 134 h 470"/>
                <a:gd name="T70" fmla="*/ 136 w 210"/>
                <a:gd name="T71" fmla="*/ 126 h 470"/>
                <a:gd name="T72" fmla="*/ 143 w 210"/>
                <a:gd name="T73" fmla="*/ 117 h 470"/>
                <a:gd name="T74" fmla="*/ 143 w 210"/>
                <a:gd name="T75" fmla="*/ 113 h 470"/>
                <a:gd name="T76" fmla="*/ 132 w 210"/>
                <a:gd name="T77" fmla="*/ 110 h 470"/>
                <a:gd name="T78" fmla="*/ 129 w 210"/>
                <a:gd name="T79" fmla="*/ 105 h 470"/>
                <a:gd name="T80" fmla="*/ 124 w 210"/>
                <a:gd name="T81" fmla="*/ 98 h 470"/>
                <a:gd name="T82" fmla="*/ 118 w 210"/>
                <a:gd name="T83" fmla="*/ 94 h 470"/>
                <a:gd name="T84" fmla="*/ 117 w 210"/>
                <a:gd name="T85" fmla="*/ 49 h 470"/>
                <a:gd name="T86" fmla="*/ 100 w 210"/>
                <a:gd name="T87" fmla="*/ 45 h 470"/>
                <a:gd name="T88" fmla="*/ 100 w 210"/>
                <a:gd name="T89" fmla="*/ 42 h 470"/>
                <a:gd name="T90" fmla="*/ 102 w 210"/>
                <a:gd name="T91" fmla="*/ 36 h 470"/>
                <a:gd name="T92" fmla="*/ 97 w 210"/>
                <a:gd name="T93" fmla="*/ 24 h 470"/>
                <a:gd name="T94" fmla="*/ 97 w 210"/>
                <a:gd name="T95" fmla="*/ 17 h 470"/>
                <a:gd name="T96" fmla="*/ 103 w 210"/>
                <a:gd name="T97" fmla="*/ 11 h 470"/>
                <a:gd name="T98" fmla="*/ 100 w 210"/>
                <a:gd name="T99" fmla="*/ 5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" h="470">
                  <a:moveTo>
                    <a:pt x="0" y="470"/>
                  </a:moveTo>
                  <a:lnTo>
                    <a:pt x="0" y="470"/>
                  </a:lnTo>
                  <a:lnTo>
                    <a:pt x="10" y="468"/>
                  </a:lnTo>
                  <a:lnTo>
                    <a:pt x="10" y="468"/>
                  </a:lnTo>
                  <a:lnTo>
                    <a:pt x="22" y="465"/>
                  </a:lnTo>
                  <a:lnTo>
                    <a:pt x="34" y="456"/>
                  </a:lnTo>
                  <a:lnTo>
                    <a:pt x="34" y="456"/>
                  </a:lnTo>
                  <a:lnTo>
                    <a:pt x="50" y="448"/>
                  </a:lnTo>
                  <a:lnTo>
                    <a:pt x="63" y="442"/>
                  </a:lnTo>
                  <a:lnTo>
                    <a:pt x="63" y="442"/>
                  </a:lnTo>
                  <a:lnTo>
                    <a:pt x="66" y="439"/>
                  </a:lnTo>
                  <a:lnTo>
                    <a:pt x="69" y="434"/>
                  </a:lnTo>
                  <a:lnTo>
                    <a:pt x="75" y="427"/>
                  </a:lnTo>
                  <a:lnTo>
                    <a:pt x="75" y="427"/>
                  </a:lnTo>
                  <a:lnTo>
                    <a:pt x="80" y="425"/>
                  </a:lnTo>
                  <a:lnTo>
                    <a:pt x="86" y="425"/>
                  </a:lnTo>
                  <a:lnTo>
                    <a:pt x="99" y="427"/>
                  </a:lnTo>
                  <a:lnTo>
                    <a:pt x="99" y="427"/>
                  </a:lnTo>
                  <a:lnTo>
                    <a:pt x="105" y="428"/>
                  </a:lnTo>
                  <a:lnTo>
                    <a:pt x="111" y="427"/>
                  </a:lnTo>
                  <a:lnTo>
                    <a:pt x="115" y="425"/>
                  </a:lnTo>
                  <a:lnTo>
                    <a:pt x="118" y="422"/>
                  </a:lnTo>
                  <a:lnTo>
                    <a:pt x="118" y="422"/>
                  </a:lnTo>
                  <a:lnTo>
                    <a:pt x="118" y="418"/>
                  </a:lnTo>
                  <a:lnTo>
                    <a:pt x="118" y="412"/>
                  </a:lnTo>
                  <a:lnTo>
                    <a:pt x="120" y="406"/>
                  </a:lnTo>
                  <a:lnTo>
                    <a:pt x="121" y="402"/>
                  </a:lnTo>
                  <a:lnTo>
                    <a:pt x="121" y="402"/>
                  </a:lnTo>
                  <a:lnTo>
                    <a:pt x="124" y="399"/>
                  </a:lnTo>
                  <a:lnTo>
                    <a:pt x="126" y="396"/>
                  </a:lnTo>
                  <a:lnTo>
                    <a:pt x="124" y="393"/>
                  </a:lnTo>
                  <a:lnTo>
                    <a:pt x="121" y="388"/>
                  </a:lnTo>
                  <a:lnTo>
                    <a:pt x="121" y="388"/>
                  </a:lnTo>
                  <a:lnTo>
                    <a:pt x="111" y="382"/>
                  </a:lnTo>
                  <a:lnTo>
                    <a:pt x="109" y="382"/>
                  </a:lnTo>
                  <a:lnTo>
                    <a:pt x="109" y="381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8" y="375"/>
                  </a:lnTo>
                  <a:lnTo>
                    <a:pt x="121" y="372"/>
                  </a:lnTo>
                  <a:lnTo>
                    <a:pt x="123" y="369"/>
                  </a:lnTo>
                  <a:lnTo>
                    <a:pt x="123" y="365"/>
                  </a:lnTo>
                  <a:lnTo>
                    <a:pt x="123" y="365"/>
                  </a:lnTo>
                  <a:lnTo>
                    <a:pt x="124" y="360"/>
                  </a:lnTo>
                  <a:lnTo>
                    <a:pt x="127" y="356"/>
                  </a:lnTo>
                  <a:lnTo>
                    <a:pt x="132" y="353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5" y="350"/>
                  </a:lnTo>
                  <a:lnTo>
                    <a:pt x="145" y="347"/>
                  </a:lnTo>
                  <a:lnTo>
                    <a:pt x="143" y="342"/>
                  </a:lnTo>
                  <a:lnTo>
                    <a:pt x="143" y="342"/>
                  </a:lnTo>
                  <a:lnTo>
                    <a:pt x="139" y="336"/>
                  </a:lnTo>
                  <a:lnTo>
                    <a:pt x="133" y="332"/>
                  </a:lnTo>
                  <a:lnTo>
                    <a:pt x="132" y="329"/>
                  </a:lnTo>
                  <a:lnTo>
                    <a:pt x="132" y="326"/>
                  </a:lnTo>
                  <a:lnTo>
                    <a:pt x="133" y="323"/>
                  </a:lnTo>
                  <a:lnTo>
                    <a:pt x="137" y="322"/>
                  </a:lnTo>
                  <a:lnTo>
                    <a:pt x="137" y="322"/>
                  </a:lnTo>
                  <a:lnTo>
                    <a:pt x="142" y="319"/>
                  </a:lnTo>
                  <a:lnTo>
                    <a:pt x="143" y="316"/>
                  </a:lnTo>
                  <a:lnTo>
                    <a:pt x="146" y="311"/>
                  </a:lnTo>
                  <a:lnTo>
                    <a:pt x="149" y="307"/>
                  </a:lnTo>
                  <a:lnTo>
                    <a:pt x="151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63" y="304"/>
                  </a:lnTo>
                  <a:lnTo>
                    <a:pt x="169" y="302"/>
                  </a:lnTo>
                  <a:lnTo>
                    <a:pt x="173" y="298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82" y="288"/>
                  </a:lnTo>
                  <a:lnTo>
                    <a:pt x="188" y="285"/>
                  </a:lnTo>
                  <a:lnTo>
                    <a:pt x="194" y="282"/>
                  </a:lnTo>
                  <a:lnTo>
                    <a:pt x="200" y="277"/>
                  </a:lnTo>
                  <a:lnTo>
                    <a:pt x="200" y="277"/>
                  </a:lnTo>
                  <a:lnTo>
                    <a:pt x="204" y="271"/>
                  </a:lnTo>
                  <a:lnTo>
                    <a:pt x="207" y="267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0" y="248"/>
                  </a:lnTo>
                  <a:lnTo>
                    <a:pt x="209" y="242"/>
                  </a:lnTo>
                  <a:lnTo>
                    <a:pt x="207" y="239"/>
                  </a:lnTo>
                  <a:lnTo>
                    <a:pt x="207" y="239"/>
                  </a:lnTo>
                  <a:lnTo>
                    <a:pt x="204" y="237"/>
                  </a:lnTo>
                  <a:lnTo>
                    <a:pt x="198" y="239"/>
                  </a:lnTo>
                  <a:lnTo>
                    <a:pt x="194" y="237"/>
                  </a:lnTo>
                  <a:lnTo>
                    <a:pt x="191" y="236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2" y="208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9" y="166"/>
                  </a:lnTo>
                  <a:lnTo>
                    <a:pt x="179" y="160"/>
                  </a:lnTo>
                  <a:lnTo>
                    <a:pt x="177" y="156"/>
                  </a:lnTo>
                  <a:lnTo>
                    <a:pt x="174" y="150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63" y="142"/>
                  </a:lnTo>
                  <a:lnTo>
                    <a:pt x="152" y="139"/>
                  </a:lnTo>
                  <a:lnTo>
                    <a:pt x="143" y="137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7" y="132"/>
                  </a:lnTo>
                  <a:lnTo>
                    <a:pt x="136" y="129"/>
                  </a:lnTo>
                  <a:lnTo>
                    <a:pt x="136" y="126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43" y="117"/>
                  </a:lnTo>
                  <a:lnTo>
                    <a:pt x="145" y="116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39" y="111"/>
                  </a:lnTo>
                  <a:lnTo>
                    <a:pt x="134" y="111"/>
                  </a:lnTo>
                  <a:lnTo>
                    <a:pt x="132" y="110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29" y="105"/>
                  </a:lnTo>
                  <a:lnTo>
                    <a:pt x="127" y="101"/>
                  </a:lnTo>
                  <a:lnTo>
                    <a:pt x="127" y="101"/>
                  </a:lnTo>
                  <a:lnTo>
                    <a:pt x="124" y="98"/>
                  </a:lnTo>
                  <a:lnTo>
                    <a:pt x="121" y="97"/>
                  </a:lnTo>
                  <a:lnTo>
                    <a:pt x="118" y="95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09" y="48"/>
                  </a:lnTo>
                  <a:lnTo>
                    <a:pt x="103" y="46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3"/>
                  </a:lnTo>
                  <a:lnTo>
                    <a:pt x="100" y="42"/>
                  </a:lnTo>
                  <a:lnTo>
                    <a:pt x="102" y="39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3"/>
                  </a:lnTo>
                  <a:lnTo>
                    <a:pt x="100" y="30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0"/>
                  </a:lnTo>
                  <a:lnTo>
                    <a:pt x="97" y="17"/>
                  </a:lnTo>
                  <a:lnTo>
                    <a:pt x="100" y="14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0" y="5"/>
                  </a:lnTo>
                  <a:lnTo>
                    <a:pt x="94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3" name="Freeform 132">
              <a:extLst>
                <a:ext uri="{FF2B5EF4-FFF2-40B4-BE49-F238E27FC236}">
                  <a16:creationId xmlns:a16="http://schemas.microsoft.com/office/drawing/2014/main" id="{DF9329C6-2E31-9F40-8D16-38795E0FF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4075" y="7959725"/>
              <a:ext cx="185738" cy="439737"/>
            </a:xfrm>
            <a:custGeom>
              <a:avLst/>
              <a:gdLst>
                <a:gd name="T0" fmla="*/ 46 w 117"/>
                <a:gd name="T1" fmla="*/ 0 h 277"/>
                <a:gd name="T2" fmla="*/ 37 w 117"/>
                <a:gd name="T3" fmla="*/ 3 h 277"/>
                <a:gd name="T4" fmla="*/ 33 w 117"/>
                <a:gd name="T5" fmla="*/ 3 h 277"/>
                <a:gd name="T6" fmla="*/ 26 w 117"/>
                <a:gd name="T7" fmla="*/ 6 h 277"/>
                <a:gd name="T8" fmla="*/ 24 w 117"/>
                <a:gd name="T9" fmla="*/ 11 h 277"/>
                <a:gd name="T10" fmla="*/ 24 w 117"/>
                <a:gd name="T11" fmla="*/ 13 h 277"/>
                <a:gd name="T12" fmla="*/ 18 w 117"/>
                <a:gd name="T13" fmla="*/ 21 h 277"/>
                <a:gd name="T14" fmla="*/ 12 w 117"/>
                <a:gd name="T15" fmla="*/ 30 h 277"/>
                <a:gd name="T16" fmla="*/ 14 w 117"/>
                <a:gd name="T17" fmla="*/ 36 h 277"/>
                <a:gd name="T18" fmla="*/ 17 w 117"/>
                <a:gd name="T19" fmla="*/ 46 h 277"/>
                <a:gd name="T20" fmla="*/ 15 w 117"/>
                <a:gd name="T21" fmla="*/ 49 h 277"/>
                <a:gd name="T22" fmla="*/ 6 w 117"/>
                <a:gd name="T23" fmla="*/ 52 h 277"/>
                <a:gd name="T24" fmla="*/ 0 w 117"/>
                <a:gd name="T25" fmla="*/ 55 h 277"/>
                <a:gd name="T26" fmla="*/ 0 w 117"/>
                <a:gd name="T27" fmla="*/ 58 h 277"/>
                <a:gd name="T28" fmla="*/ 3 w 117"/>
                <a:gd name="T29" fmla="*/ 64 h 277"/>
                <a:gd name="T30" fmla="*/ 14 w 117"/>
                <a:gd name="T31" fmla="*/ 76 h 277"/>
                <a:gd name="T32" fmla="*/ 15 w 117"/>
                <a:gd name="T33" fmla="*/ 82 h 277"/>
                <a:gd name="T34" fmla="*/ 17 w 117"/>
                <a:gd name="T35" fmla="*/ 86 h 277"/>
                <a:gd name="T36" fmla="*/ 26 w 117"/>
                <a:gd name="T37" fmla="*/ 93 h 277"/>
                <a:gd name="T38" fmla="*/ 33 w 117"/>
                <a:gd name="T39" fmla="*/ 96 h 277"/>
                <a:gd name="T40" fmla="*/ 43 w 117"/>
                <a:gd name="T41" fmla="*/ 101 h 277"/>
                <a:gd name="T42" fmla="*/ 48 w 117"/>
                <a:gd name="T43" fmla="*/ 99 h 277"/>
                <a:gd name="T44" fmla="*/ 49 w 117"/>
                <a:gd name="T45" fmla="*/ 93 h 277"/>
                <a:gd name="T46" fmla="*/ 49 w 117"/>
                <a:gd name="T47" fmla="*/ 86 h 277"/>
                <a:gd name="T48" fmla="*/ 49 w 117"/>
                <a:gd name="T49" fmla="*/ 76 h 277"/>
                <a:gd name="T50" fmla="*/ 54 w 117"/>
                <a:gd name="T51" fmla="*/ 74 h 277"/>
                <a:gd name="T52" fmla="*/ 60 w 117"/>
                <a:gd name="T53" fmla="*/ 73 h 277"/>
                <a:gd name="T54" fmla="*/ 66 w 117"/>
                <a:gd name="T55" fmla="*/ 76 h 277"/>
                <a:gd name="T56" fmla="*/ 70 w 117"/>
                <a:gd name="T57" fmla="*/ 85 h 277"/>
                <a:gd name="T58" fmla="*/ 70 w 117"/>
                <a:gd name="T59" fmla="*/ 92 h 277"/>
                <a:gd name="T60" fmla="*/ 68 w 117"/>
                <a:gd name="T61" fmla="*/ 99 h 277"/>
                <a:gd name="T62" fmla="*/ 67 w 117"/>
                <a:gd name="T63" fmla="*/ 104 h 277"/>
                <a:gd name="T64" fmla="*/ 66 w 117"/>
                <a:gd name="T65" fmla="*/ 113 h 277"/>
                <a:gd name="T66" fmla="*/ 71 w 117"/>
                <a:gd name="T67" fmla="*/ 123 h 277"/>
                <a:gd name="T68" fmla="*/ 74 w 117"/>
                <a:gd name="T69" fmla="*/ 133 h 277"/>
                <a:gd name="T70" fmla="*/ 82 w 117"/>
                <a:gd name="T71" fmla="*/ 148 h 277"/>
                <a:gd name="T72" fmla="*/ 88 w 117"/>
                <a:gd name="T73" fmla="*/ 159 h 277"/>
                <a:gd name="T74" fmla="*/ 97 w 117"/>
                <a:gd name="T75" fmla="*/ 176 h 277"/>
                <a:gd name="T76" fmla="*/ 103 w 117"/>
                <a:gd name="T77" fmla="*/ 182 h 277"/>
                <a:gd name="T78" fmla="*/ 116 w 117"/>
                <a:gd name="T79" fmla="*/ 196 h 277"/>
                <a:gd name="T80" fmla="*/ 117 w 117"/>
                <a:gd name="T81" fmla="*/ 202 h 277"/>
                <a:gd name="T82" fmla="*/ 114 w 117"/>
                <a:gd name="T83" fmla="*/ 205 h 277"/>
                <a:gd name="T84" fmla="*/ 108 w 117"/>
                <a:gd name="T85" fmla="*/ 205 h 277"/>
                <a:gd name="T86" fmla="*/ 104 w 117"/>
                <a:gd name="T87" fmla="*/ 203 h 277"/>
                <a:gd name="T88" fmla="*/ 100 w 117"/>
                <a:gd name="T89" fmla="*/ 206 h 277"/>
                <a:gd name="T90" fmla="*/ 85 w 117"/>
                <a:gd name="T91" fmla="*/ 213 h 277"/>
                <a:gd name="T92" fmla="*/ 83 w 117"/>
                <a:gd name="T93" fmla="*/ 216 h 277"/>
                <a:gd name="T94" fmla="*/ 86 w 117"/>
                <a:gd name="T95" fmla="*/ 224 h 277"/>
                <a:gd name="T96" fmla="*/ 91 w 117"/>
                <a:gd name="T97" fmla="*/ 230 h 277"/>
                <a:gd name="T98" fmla="*/ 92 w 117"/>
                <a:gd name="T99" fmla="*/ 250 h 277"/>
                <a:gd name="T100" fmla="*/ 94 w 117"/>
                <a:gd name="T101" fmla="*/ 258 h 277"/>
                <a:gd name="T102" fmla="*/ 103 w 117"/>
                <a:gd name="T103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7" h="277">
                  <a:moveTo>
                    <a:pt x="46" y="0"/>
                  </a:moveTo>
                  <a:lnTo>
                    <a:pt x="46" y="0"/>
                  </a:lnTo>
                  <a:lnTo>
                    <a:pt x="43" y="2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3" y="3"/>
                  </a:lnTo>
                  <a:lnTo>
                    <a:pt x="28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3"/>
                  </a:lnTo>
                  <a:lnTo>
                    <a:pt x="23" y="15"/>
                  </a:lnTo>
                  <a:lnTo>
                    <a:pt x="18" y="21"/>
                  </a:lnTo>
                  <a:lnTo>
                    <a:pt x="15" y="25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4" y="36"/>
                  </a:lnTo>
                  <a:lnTo>
                    <a:pt x="15" y="42"/>
                  </a:lnTo>
                  <a:lnTo>
                    <a:pt x="17" y="46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1" y="52"/>
                  </a:lnTo>
                  <a:lnTo>
                    <a:pt x="6" y="52"/>
                  </a:lnTo>
                  <a:lnTo>
                    <a:pt x="2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9" y="70"/>
                  </a:lnTo>
                  <a:lnTo>
                    <a:pt x="14" y="76"/>
                  </a:lnTo>
                  <a:lnTo>
                    <a:pt x="15" y="79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7" y="86"/>
                  </a:lnTo>
                  <a:lnTo>
                    <a:pt x="21" y="91"/>
                  </a:lnTo>
                  <a:lnTo>
                    <a:pt x="26" y="93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9" y="99"/>
                  </a:lnTo>
                  <a:lnTo>
                    <a:pt x="43" y="101"/>
                  </a:lnTo>
                  <a:lnTo>
                    <a:pt x="46" y="99"/>
                  </a:lnTo>
                  <a:lnTo>
                    <a:pt x="48" y="99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86"/>
                  </a:lnTo>
                  <a:lnTo>
                    <a:pt x="48" y="80"/>
                  </a:lnTo>
                  <a:lnTo>
                    <a:pt x="49" y="76"/>
                  </a:lnTo>
                  <a:lnTo>
                    <a:pt x="51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60" y="73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7" y="79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92"/>
                  </a:lnTo>
                  <a:lnTo>
                    <a:pt x="70" y="95"/>
                  </a:lnTo>
                  <a:lnTo>
                    <a:pt x="68" y="99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4" y="108"/>
                  </a:lnTo>
                  <a:lnTo>
                    <a:pt x="66" y="113"/>
                  </a:lnTo>
                  <a:lnTo>
                    <a:pt x="71" y="123"/>
                  </a:lnTo>
                  <a:lnTo>
                    <a:pt x="71" y="123"/>
                  </a:lnTo>
                  <a:lnTo>
                    <a:pt x="73" y="128"/>
                  </a:lnTo>
                  <a:lnTo>
                    <a:pt x="74" y="133"/>
                  </a:lnTo>
                  <a:lnTo>
                    <a:pt x="77" y="139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88" y="159"/>
                  </a:lnTo>
                  <a:lnTo>
                    <a:pt x="92" y="169"/>
                  </a:lnTo>
                  <a:lnTo>
                    <a:pt x="97" y="176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10" y="190"/>
                  </a:lnTo>
                  <a:lnTo>
                    <a:pt x="116" y="196"/>
                  </a:lnTo>
                  <a:lnTo>
                    <a:pt x="117" y="199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08" y="205"/>
                  </a:lnTo>
                  <a:lnTo>
                    <a:pt x="105" y="203"/>
                  </a:lnTo>
                  <a:lnTo>
                    <a:pt x="104" y="203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88" y="210"/>
                  </a:lnTo>
                  <a:lnTo>
                    <a:pt x="85" y="213"/>
                  </a:lnTo>
                  <a:lnTo>
                    <a:pt x="83" y="216"/>
                  </a:lnTo>
                  <a:lnTo>
                    <a:pt x="83" y="216"/>
                  </a:lnTo>
                  <a:lnTo>
                    <a:pt x="85" y="221"/>
                  </a:lnTo>
                  <a:lnTo>
                    <a:pt x="86" y="224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2" y="237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4" y="258"/>
                  </a:lnTo>
                  <a:lnTo>
                    <a:pt x="97" y="267"/>
                  </a:lnTo>
                  <a:lnTo>
                    <a:pt x="103" y="27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4" name="Freeform 133">
              <a:extLst>
                <a:ext uri="{FF2B5EF4-FFF2-40B4-BE49-F238E27FC236}">
                  <a16:creationId xmlns:a16="http://schemas.microsoft.com/office/drawing/2014/main" id="{039453A8-8C44-4C45-8184-3E649CA1E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2588" y="7842250"/>
              <a:ext cx="422275" cy="279400"/>
            </a:xfrm>
            <a:custGeom>
              <a:avLst/>
              <a:gdLst>
                <a:gd name="T0" fmla="*/ 0 w 266"/>
                <a:gd name="T1" fmla="*/ 176 h 176"/>
                <a:gd name="T2" fmla="*/ 25 w 266"/>
                <a:gd name="T3" fmla="*/ 172 h 176"/>
                <a:gd name="T4" fmla="*/ 32 w 266"/>
                <a:gd name="T5" fmla="*/ 172 h 176"/>
                <a:gd name="T6" fmla="*/ 46 w 266"/>
                <a:gd name="T7" fmla="*/ 167 h 176"/>
                <a:gd name="T8" fmla="*/ 49 w 266"/>
                <a:gd name="T9" fmla="*/ 162 h 176"/>
                <a:gd name="T10" fmla="*/ 49 w 266"/>
                <a:gd name="T11" fmla="*/ 156 h 176"/>
                <a:gd name="T12" fmla="*/ 46 w 266"/>
                <a:gd name="T13" fmla="*/ 145 h 176"/>
                <a:gd name="T14" fmla="*/ 38 w 266"/>
                <a:gd name="T15" fmla="*/ 141 h 176"/>
                <a:gd name="T16" fmla="*/ 16 w 266"/>
                <a:gd name="T17" fmla="*/ 127 h 176"/>
                <a:gd name="T18" fmla="*/ 13 w 266"/>
                <a:gd name="T19" fmla="*/ 123 h 176"/>
                <a:gd name="T20" fmla="*/ 15 w 266"/>
                <a:gd name="T21" fmla="*/ 116 h 176"/>
                <a:gd name="T22" fmla="*/ 23 w 266"/>
                <a:gd name="T23" fmla="*/ 111 h 176"/>
                <a:gd name="T24" fmla="*/ 29 w 266"/>
                <a:gd name="T25" fmla="*/ 111 h 176"/>
                <a:gd name="T26" fmla="*/ 34 w 266"/>
                <a:gd name="T27" fmla="*/ 107 h 176"/>
                <a:gd name="T28" fmla="*/ 37 w 266"/>
                <a:gd name="T29" fmla="*/ 105 h 176"/>
                <a:gd name="T30" fmla="*/ 49 w 266"/>
                <a:gd name="T31" fmla="*/ 102 h 176"/>
                <a:gd name="T32" fmla="*/ 57 w 266"/>
                <a:gd name="T33" fmla="*/ 102 h 176"/>
                <a:gd name="T34" fmla="*/ 87 w 266"/>
                <a:gd name="T35" fmla="*/ 102 h 176"/>
                <a:gd name="T36" fmla="*/ 90 w 266"/>
                <a:gd name="T37" fmla="*/ 101 h 176"/>
                <a:gd name="T38" fmla="*/ 93 w 266"/>
                <a:gd name="T39" fmla="*/ 98 h 176"/>
                <a:gd name="T40" fmla="*/ 103 w 266"/>
                <a:gd name="T41" fmla="*/ 96 h 176"/>
                <a:gd name="T42" fmla="*/ 106 w 266"/>
                <a:gd name="T43" fmla="*/ 96 h 176"/>
                <a:gd name="T44" fmla="*/ 112 w 266"/>
                <a:gd name="T45" fmla="*/ 98 h 176"/>
                <a:gd name="T46" fmla="*/ 120 w 266"/>
                <a:gd name="T47" fmla="*/ 95 h 176"/>
                <a:gd name="T48" fmla="*/ 126 w 266"/>
                <a:gd name="T49" fmla="*/ 95 h 176"/>
                <a:gd name="T50" fmla="*/ 133 w 266"/>
                <a:gd name="T51" fmla="*/ 96 h 176"/>
                <a:gd name="T52" fmla="*/ 134 w 266"/>
                <a:gd name="T53" fmla="*/ 95 h 176"/>
                <a:gd name="T54" fmla="*/ 136 w 266"/>
                <a:gd name="T55" fmla="*/ 85 h 176"/>
                <a:gd name="T56" fmla="*/ 140 w 266"/>
                <a:gd name="T57" fmla="*/ 82 h 176"/>
                <a:gd name="T58" fmla="*/ 151 w 266"/>
                <a:gd name="T59" fmla="*/ 77 h 176"/>
                <a:gd name="T60" fmla="*/ 157 w 266"/>
                <a:gd name="T61" fmla="*/ 71 h 176"/>
                <a:gd name="T62" fmla="*/ 160 w 266"/>
                <a:gd name="T63" fmla="*/ 68 h 176"/>
                <a:gd name="T64" fmla="*/ 166 w 266"/>
                <a:gd name="T65" fmla="*/ 64 h 176"/>
                <a:gd name="T66" fmla="*/ 166 w 266"/>
                <a:gd name="T67" fmla="*/ 62 h 176"/>
                <a:gd name="T68" fmla="*/ 161 w 266"/>
                <a:gd name="T69" fmla="*/ 55 h 176"/>
                <a:gd name="T70" fmla="*/ 161 w 266"/>
                <a:gd name="T71" fmla="*/ 52 h 176"/>
                <a:gd name="T72" fmla="*/ 161 w 266"/>
                <a:gd name="T73" fmla="*/ 43 h 176"/>
                <a:gd name="T74" fmla="*/ 166 w 266"/>
                <a:gd name="T75" fmla="*/ 40 h 176"/>
                <a:gd name="T76" fmla="*/ 171 w 266"/>
                <a:gd name="T77" fmla="*/ 42 h 176"/>
                <a:gd name="T78" fmla="*/ 180 w 266"/>
                <a:gd name="T79" fmla="*/ 45 h 176"/>
                <a:gd name="T80" fmla="*/ 195 w 266"/>
                <a:gd name="T81" fmla="*/ 53 h 176"/>
                <a:gd name="T82" fmla="*/ 200 w 266"/>
                <a:gd name="T83" fmla="*/ 56 h 176"/>
                <a:gd name="T84" fmla="*/ 214 w 266"/>
                <a:gd name="T85" fmla="*/ 55 h 176"/>
                <a:gd name="T86" fmla="*/ 219 w 266"/>
                <a:gd name="T87" fmla="*/ 55 h 176"/>
                <a:gd name="T88" fmla="*/ 229 w 266"/>
                <a:gd name="T89" fmla="*/ 56 h 176"/>
                <a:gd name="T90" fmla="*/ 234 w 266"/>
                <a:gd name="T91" fmla="*/ 55 h 176"/>
                <a:gd name="T92" fmla="*/ 240 w 266"/>
                <a:gd name="T93" fmla="*/ 49 h 176"/>
                <a:gd name="T94" fmla="*/ 241 w 266"/>
                <a:gd name="T95" fmla="*/ 37 h 176"/>
                <a:gd name="T96" fmla="*/ 240 w 266"/>
                <a:gd name="T97" fmla="*/ 28 h 176"/>
                <a:gd name="T98" fmla="*/ 240 w 266"/>
                <a:gd name="T99" fmla="*/ 19 h 176"/>
                <a:gd name="T100" fmla="*/ 243 w 266"/>
                <a:gd name="T101" fmla="*/ 8 h 176"/>
                <a:gd name="T102" fmla="*/ 247 w 266"/>
                <a:gd name="T103" fmla="*/ 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176">
                  <a:moveTo>
                    <a:pt x="0" y="176"/>
                  </a:moveTo>
                  <a:lnTo>
                    <a:pt x="0" y="176"/>
                  </a:lnTo>
                  <a:lnTo>
                    <a:pt x="10" y="173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32" y="172"/>
                  </a:lnTo>
                  <a:lnTo>
                    <a:pt x="40" y="170"/>
                  </a:lnTo>
                  <a:lnTo>
                    <a:pt x="46" y="167"/>
                  </a:lnTo>
                  <a:lnTo>
                    <a:pt x="47" y="166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9" y="156"/>
                  </a:lnTo>
                  <a:lnTo>
                    <a:pt x="49" y="150"/>
                  </a:lnTo>
                  <a:lnTo>
                    <a:pt x="46" y="145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22" y="132"/>
                  </a:lnTo>
                  <a:lnTo>
                    <a:pt x="16" y="127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3" y="120"/>
                  </a:lnTo>
                  <a:lnTo>
                    <a:pt x="15" y="116"/>
                  </a:lnTo>
                  <a:lnTo>
                    <a:pt x="19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9" y="111"/>
                  </a:lnTo>
                  <a:lnTo>
                    <a:pt x="32" y="110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7" y="105"/>
                  </a:lnTo>
                  <a:lnTo>
                    <a:pt x="41" y="102"/>
                  </a:lnTo>
                  <a:lnTo>
                    <a:pt x="49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78" y="102"/>
                  </a:lnTo>
                  <a:lnTo>
                    <a:pt x="87" y="102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3" y="98"/>
                  </a:lnTo>
                  <a:lnTo>
                    <a:pt x="97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9" y="98"/>
                  </a:lnTo>
                  <a:lnTo>
                    <a:pt x="112" y="98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1" y="95"/>
                  </a:lnTo>
                  <a:lnTo>
                    <a:pt x="126" y="95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4" y="95"/>
                  </a:lnTo>
                  <a:lnTo>
                    <a:pt x="134" y="90"/>
                  </a:lnTo>
                  <a:lnTo>
                    <a:pt x="136" y="85"/>
                  </a:lnTo>
                  <a:lnTo>
                    <a:pt x="137" y="83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51" y="77"/>
                  </a:lnTo>
                  <a:lnTo>
                    <a:pt x="154" y="74"/>
                  </a:lnTo>
                  <a:lnTo>
                    <a:pt x="157" y="71"/>
                  </a:lnTo>
                  <a:lnTo>
                    <a:pt x="157" y="71"/>
                  </a:lnTo>
                  <a:lnTo>
                    <a:pt x="160" y="68"/>
                  </a:lnTo>
                  <a:lnTo>
                    <a:pt x="164" y="65"/>
                  </a:lnTo>
                  <a:lnTo>
                    <a:pt x="166" y="64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3" y="58"/>
                  </a:lnTo>
                  <a:lnTo>
                    <a:pt x="161" y="55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48"/>
                  </a:lnTo>
                  <a:lnTo>
                    <a:pt x="161" y="43"/>
                  </a:lnTo>
                  <a:lnTo>
                    <a:pt x="163" y="42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80" y="45"/>
                  </a:lnTo>
                  <a:lnTo>
                    <a:pt x="186" y="48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200" y="56"/>
                  </a:lnTo>
                  <a:lnTo>
                    <a:pt x="204" y="56"/>
                  </a:lnTo>
                  <a:lnTo>
                    <a:pt x="214" y="55"/>
                  </a:lnTo>
                  <a:lnTo>
                    <a:pt x="214" y="55"/>
                  </a:lnTo>
                  <a:lnTo>
                    <a:pt x="219" y="55"/>
                  </a:lnTo>
                  <a:lnTo>
                    <a:pt x="225" y="55"/>
                  </a:lnTo>
                  <a:lnTo>
                    <a:pt x="229" y="56"/>
                  </a:lnTo>
                  <a:lnTo>
                    <a:pt x="234" y="55"/>
                  </a:lnTo>
                  <a:lnTo>
                    <a:pt x="234" y="55"/>
                  </a:lnTo>
                  <a:lnTo>
                    <a:pt x="238" y="52"/>
                  </a:lnTo>
                  <a:lnTo>
                    <a:pt x="240" y="49"/>
                  </a:lnTo>
                  <a:lnTo>
                    <a:pt x="241" y="43"/>
                  </a:lnTo>
                  <a:lnTo>
                    <a:pt x="241" y="37"/>
                  </a:lnTo>
                  <a:lnTo>
                    <a:pt x="241" y="37"/>
                  </a:lnTo>
                  <a:lnTo>
                    <a:pt x="240" y="28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1" y="10"/>
                  </a:lnTo>
                  <a:lnTo>
                    <a:pt x="243" y="8"/>
                  </a:lnTo>
                  <a:lnTo>
                    <a:pt x="247" y="5"/>
                  </a:lnTo>
                  <a:lnTo>
                    <a:pt x="247" y="5"/>
                  </a:lnTo>
                  <a:lnTo>
                    <a:pt x="266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5" name="Freeform 134">
              <a:extLst>
                <a:ext uri="{FF2B5EF4-FFF2-40B4-BE49-F238E27FC236}">
                  <a16:creationId xmlns:a16="http://schemas.microsoft.com/office/drawing/2014/main" id="{8D91BD6C-10D0-A944-8C50-6E9E9585D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1513" y="7158038"/>
              <a:ext cx="469900" cy="806450"/>
            </a:xfrm>
            <a:custGeom>
              <a:avLst/>
              <a:gdLst>
                <a:gd name="T0" fmla="*/ 277 w 296"/>
                <a:gd name="T1" fmla="*/ 15 h 508"/>
                <a:gd name="T2" fmla="*/ 262 w 296"/>
                <a:gd name="T3" fmla="*/ 21 h 508"/>
                <a:gd name="T4" fmla="*/ 260 w 296"/>
                <a:gd name="T5" fmla="*/ 27 h 508"/>
                <a:gd name="T6" fmla="*/ 283 w 296"/>
                <a:gd name="T7" fmla="*/ 59 h 508"/>
                <a:gd name="T8" fmla="*/ 295 w 296"/>
                <a:gd name="T9" fmla="*/ 95 h 508"/>
                <a:gd name="T10" fmla="*/ 292 w 296"/>
                <a:gd name="T11" fmla="*/ 110 h 508"/>
                <a:gd name="T12" fmla="*/ 255 w 296"/>
                <a:gd name="T13" fmla="*/ 132 h 508"/>
                <a:gd name="T14" fmla="*/ 235 w 296"/>
                <a:gd name="T15" fmla="*/ 150 h 508"/>
                <a:gd name="T16" fmla="*/ 234 w 296"/>
                <a:gd name="T17" fmla="*/ 162 h 508"/>
                <a:gd name="T18" fmla="*/ 231 w 296"/>
                <a:gd name="T19" fmla="*/ 181 h 508"/>
                <a:gd name="T20" fmla="*/ 243 w 296"/>
                <a:gd name="T21" fmla="*/ 205 h 508"/>
                <a:gd name="T22" fmla="*/ 235 w 296"/>
                <a:gd name="T23" fmla="*/ 227 h 508"/>
                <a:gd name="T24" fmla="*/ 219 w 296"/>
                <a:gd name="T25" fmla="*/ 253 h 508"/>
                <a:gd name="T26" fmla="*/ 207 w 296"/>
                <a:gd name="T27" fmla="*/ 258 h 508"/>
                <a:gd name="T28" fmla="*/ 219 w 296"/>
                <a:gd name="T29" fmla="*/ 271 h 508"/>
                <a:gd name="T30" fmla="*/ 231 w 296"/>
                <a:gd name="T31" fmla="*/ 270 h 508"/>
                <a:gd name="T32" fmla="*/ 237 w 296"/>
                <a:gd name="T33" fmla="*/ 270 h 508"/>
                <a:gd name="T34" fmla="*/ 247 w 296"/>
                <a:gd name="T35" fmla="*/ 280 h 508"/>
                <a:gd name="T36" fmla="*/ 259 w 296"/>
                <a:gd name="T37" fmla="*/ 286 h 508"/>
                <a:gd name="T38" fmla="*/ 255 w 296"/>
                <a:gd name="T39" fmla="*/ 301 h 508"/>
                <a:gd name="T40" fmla="*/ 252 w 296"/>
                <a:gd name="T41" fmla="*/ 330 h 508"/>
                <a:gd name="T42" fmla="*/ 235 w 296"/>
                <a:gd name="T43" fmla="*/ 338 h 508"/>
                <a:gd name="T44" fmla="*/ 220 w 296"/>
                <a:gd name="T45" fmla="*/ 370 h 508"/>
                <a:gd name="T46" fmla="*/ 216 w 296"/>
                <a:gd name="T47" fmla="*/ 378 h 508"/>
                <a:gd name="T48" fmla="*/ 229 w 296"/>
                <a:gd name="T49" fmla="*/ 394 h 508"/>
                <a:gd name="T50" fmla="*/ 228 w 296"/>
                <a:gd name="T51" fmla="*/ 406 h 508"/>
                <a:gd name="T52" fmla="*/ 215 w 296"/>
                <a:gd name="T53" fmla="*/ 419 h 508"/>
                <a:gd name="T54" fmla="*/ 216 w 296"/>
                <a:gd name="T55" fmla="*/ 427 h 508"/>
                <a:gd name="T56" fmla="*/ 226 w 296"/>
                <a:gd name="T57" fmla="*/ 428 h 508"/>
                <a:gd name="T58" fmla="*/ 225 w 296"/>
                <a:gd name="T59" fmla="*/ 443 h 508"/>
                <a:gd name="T60" fmla="*/ 218 w 296"/>
                <a:gd name="T61" fmla="*/ 461 h 508"/>
                <a:gd name="T62" fmla="*/ 206 w 296"/>
                <a:gd name="T63" fmla="*/ 473 h 508"/>
                <a:gd name="T64" fmla="*/ 182 w 296"/>
                <a:gd name="T65" fmla="*/ 499 h 508"/>
                <a:gd name="T66" fmla="*/ 161 w 296"/>
                <a:gd name="T67" fmla="*/ 507 h 508"/>
                <a:gd name="T68" fmla="*/ 166 w 296"/>
                <a:gd name="T69" fmla="*/ 484 h 508"/>
                <a:gd name="T70" fmla="*/ 160 w 296"/>
                <a:gd name="T71" fmla="*/ 471 h 508"/>
                <a:gd name="T72" fmla="*/ 148 w 296"/>
                <a:gd name="T73" fmla="*/ 468 h 508"/>
                <a:gd name="T74" fmla="*/ 132 w 296"/>
                <a:gd name="T75" fmla="*/ 458 h 508"/>
                <a:gd name="T76" fmla="*/ 117 w 296"/>
                <a:gd name="T77" fmla="*/ 461 h 508"/>
                <a:gd name="T78" fmla="*/ 92 w 296"/>
                <a:gd name="T79" fmla="*/ 444 h 508"/>
                <a:gd name="T80" fmla="*/ 86 w 296"/>
                <a:gd name="T81" fmla="*/ 437 h 508"/>
                <a:gd name="T82" fmla="*/ 81 w 296"/>
                <a:gd name="T83" fmla="*/ 425 h 508"/>
                <a:gd name="T84" fmla="*/ 81 w 296"/>
                <a:gd name="T85" fmla="*/ 415 h 508"/>
                <a:gd name="T86" fmla="*/ 87 w 296"/>
                <a:gd name="T87" fmla="*/ 400 h 508"/>
                <a:gd name="T88" fmla="*/ 78 w 296"/>
                <a:gd name="T89" fmla="*/ 376 h 508"/>
                <a:gd name="T90" fmla="*/ 68 w 296"/>
                <a:gd name="T91" fmla="*/ 363 h 508"/>
                <a:gd name="T92" fmla="*/ 81 w 296"/>
                <a:gd name="T93" fmla="*/ 354 h 508"/>
                <a:gd name="T94" fmla="*/ 81 w 296"/>
                <a:gd name="T95" fmla="*/ 339 h 508"/>
                <a:gd name="T96" fmla="*/ 59 w 296"/>
                <a:gd name="T97" fmla="*/ 307 h 508"/>
                <a:gd name="T98" fmla="*/ 50 w 296"/>
                <a:gd name="T99" fmla="*/ 282 h 508"/>
                <a:gd name="T100" fmla="*/ 28 w 296"/>
                <a:gd name="T101" fmla="*/ 249 h 508"/>
                <a:gd name="T102" fmla="*/ 16 w 296"/>
                <a:gd name="T103" fmla="*/ 245 h 508"/>
                <a:gd name="T104" fmla="*/ 9 w 296"/>
                <a:gd name="T105" fmla="*/ 228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6" h="508">
                  <a:moveTo>
                    <a:pt x="274" y="0"/>
                  </a:moveTo>
                  <a:lnTo>
                    <a:pt x="274" y="0"/>
                  </a:lnTo>
                  <a:lnTo>
                    <a:pt x="277" y="9"/>
                  </a:lnTo>
                  <a:lnTo>
                    <a:pt x="277" y="15"/>
                  </a:lnTo>
                  <a:lnTo>
                    <a:pt x="275" y="18"/>
                  </a:lnTo>
                  <a:lnTo>
                    <a:pt x="274" y="19"/>
                  </a:lnTo>
                  <a:lnTo>
                    <a:pt x="274" y="19"/>
                  </a:lnTo>
                  <a:lnTo>
                    <a:pt x="262" y="21"/>
                  </a:lnTo>
                  <a:lnTo>
                    <a:pt x="259" y="22"/>
                  </a:lnTo>
                  <a:lnTo>
                    <a:pt x="259" y="24"/>
                  </a:lnTo>
                  <a:lnTo>
                    <a:pt x="260" y="27"/>
                  </a:lnTo>
                  <a:lnTo>
                    <a:pt x="260" y="27"/>
                  </a:lnTo>
                  <a:lnTo>
                    <a:pt x="266" y="36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83" y="59"/>
                  </a:lnTo>
                  <a:lnTo>
                    <a:pt x="289" y="71"/>
                  </a:lnTo>
                  <a:lnTo>
                    <a:pt x="293" y="85"/>
                  </a:lnTo>
                  <a:lnTo>
                    <a:pt x="295" y="95"/>
                  </a:lnTo>
                  <a:lnTo>
                    <a:pt x="295" y="95"/>
                  </a:lnTo>
                  <a:lnTo>
                    <a:pt x="296" y="99"/>
                  </a:lnTo>
                  <a:lnTo>
                    <a:pt x="295" y="104"/>
                  </a:lnTo>
                  <a:lnTo>
                    <a:pt x="293" y="107"/>
                  </a:lnTo>
                  <a:lnTo>
                    <a:pt x="292" y="110"/>
                  </a:lnTo>
                  <a:lnTo>
                    <a:pt x="283" y="117"/>
                  </a:lnTo>
                  <a:lnTo>
                    <a:pt x="269" y="125"/>
                  </a:lnTo>
                  <a:lnTo>
                    <a:pt x="269" y="125"/>
                  </a:lnTo>
                  <a:lnTo>
                    <a:pt x="255" y="132"/>
                  </a:lnTo>
                  <a:lnTo>
                    <a:pt x="243" y="139"/>
                  </a:lnTo>
                  <a:lnTo>
                    <a:pt x="240" y="142"/>
                  </a:lnTo>
                  <a:lnTo>
                    <a:pt x="237" y="145"/>
                  </a:lnTo>
                  <a:lnTo>
                    <a:pt x="235" y="150"/>
                  </a:lnTo>
                  <a:lnTo>
                    <a:pt x="235" y="154"/>
                  </a:lnTo>
                  <a:lnTo>
                    <a:pt x="235" y="154"/>
                  </a:lnTo>
                  <a:lnTo>
                    <a:pt x="234" y="159"/>
                  </a:lnTo>
                  <a:lnTo>
                    <a:pt x="234" y="162"/>
                  </a:lnTo>
                  <a:lnTo>
                    <a:pt x="231" y="169"/>
                  </a:lnTo>
                  <a:lnTo>
                    <a:pt x="229" y="172"/>
                  </a:lnTo>
                  <a:lnTo>
                    <a:pt x="229" y="176"/>
                  </a:lnTo>
                  <a:lnTo>
                    <a:pt x="231" y="181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41" y="202"/>
                  </a:lnTo>
                  <a:lnTo>
                    <a:pt x="243" y="205"/>
                  </a:lnTo>
                  <a:lnTo>
                    <a:pt x="244" y="207"/>
                  </a:lnTo>
                  <a:lnTo>
                    <a:pt x="244" y="207"/>
                  </a:lnTo>
                  <a:lnTo>
                    <a:pt x="241" y="215"/>
                  </a:lnTo>
                  <a:lnTo>
                    <a:pt x="235" y="227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20" y="250"/>
                  </a:lnTo>
                  <a:lnTo>
                    <a:pt x="219" y="253"/>
                  </a:lnTo>
                  <a:lnTo>
                    <a:pt x="213" y="255"/>
                  </a:lnTo>
                  <a:lnTo>
                    <a:pt x="209" y="255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9" y="262"/>
                  </a:lnTo>
                  <a:lnTo>
                    <a:pt x="215" y="267"/>
                  </a:lnTo>
                  <a:lnTo>
                    <a:pt x="219" y="271"/>
                  </a:lnTo>
                  <a:lnTo>
                    <a:pt x="225" y="274"/>
                  </a:lnTo>
                  <a:lnTo>
                    <a:pt x="225" y="274"/>
                  </a:lnTo>
                  <a:lnTo>
                    <a:pt x="228" y="273"/>
                  </a:lnTo>
                  <a:lnTo>
                    <a:pt x="231" y="270"/>
                  </a:lnTo>
                  <a:lnTo>
                    <a:pt x="234" y="268"/>
                  </a:lnTo>
                  <a:lnTo>
                    <a:pt x="235" y="268"/>
                  </a:lnTo>
                  <a:lnTo>
                    <a:pt x="237" y="270"/>
                  </a:lnTo>
                  <a:lnTo>
                    <a:pt x="237" y="270"/>
                  </a:lnTo>
                  <a:lnTo>
                    <a:pt x="241" y="276"/>
                  </a:lnTo>
                  <a:lnTo>
                    <a:pt x="244" y="279"/>
                  </a:lnTo>
                  <a:lnTo>
                    <a:pt x="247" y="280"/>
                  </a:lnTo>
                  <a:lnTo>
                    <a:pt x="247" y="280"/>
                  </a:lnTo>
                  <a:lnTo>
                    <a:pt x="252" y="282"/>
                  </a:lnTo>
                  <a:lnTo>
                    <a:pt x="256" y="283"/>
                  </a:lnTo>
                  <a:lnTo>
                    <a:pt x="258" y="284"/>
                  </a:lnTo>
                  <a:lnTo>
                    <a:pt x="259" y="286"/>
                  </a:lnTo>
                  <a:lnTo>
                    <a:pt x="259" y="289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55" y="301"/>
                  </a:lnTo>
                  <a:lnTo>
                    <a:pt x="252" y="313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0"/>
                  </a:lnTo>
                  <a:lnTo>
                    <a:pt x="252" y="332"/>
                  </a:lnTo>
                  <a:lnTo>
                    <a:pt x="250" y="332"/>
                  </a:lnTo>
                  <a:lnTo>
                    <a:pt x="246" y="335"/>
                  </a:lnTo>
                  <a:lnTo>
                    <a:pt x="235" y="338"/>
                  </a:lnTo>
                  <a:lnTo>
                    <a:pt x="235" y="338"/>
                  </a:lnTo>
                  <a:lnTo>
                    <a:pt x="232" y="344"/>
                  </a:lnTo>
                  <a:lnTo>
                    <a:pt x="226" y="354"/>
                  </a:lnTo>
                  <a:lnTo>
                    <a:pt x="220" y="370"/>
                  </a:lnTo>
                  <a:lnTo>
                    <a:pt x="220" y="370"/>
                  </a:lnTo>
                  <a:lnTo>
                    <a:pt x="215" y="373"/>
                  </a:lnTo>
                  <a:lnTo>
                    <a:pt x="213" y="375"/>
                  </a:lnTo>
                  <a:lnTo>
                    <a:pt x="216" y="378"/>
                  </a:lnTo>
                  <a:lnTo>
                    <a:pt x="216" y="378"/>
                  </a:lnTo>
                  <a:lnTo>
                    <a:pt x="223" y="385"/>
                  </a:lnTo>
                  <a:lnTo>
                    <a:pt x="228" y="390"/>
                  </a:lnTo>
                  <a:lnTo>
                    <a:pt x="229" y="394"/>
                  </a:lnTo>
                  <a:lnTo>
                    <a:pt x="229" y="394"/>
                  </a:lnTo>
                  <a:lnTo>
                    <a:pt x="229" y="399"/>
                  </a:lnTo>
                  <a:lnTo>
                    <a:pt x="229" y="403"/>
                  </a:lnTo>
                  <a:lnTo>
                    <a:pt x="228" y="406"/>
                  </a:lnTo>
                  <a:lnTo>
                    <a:pt x="223" y="410"/>
                  </a:lnTo>
                  <a:lnTo>
                    <a:pt x="223" y="410"/>
                  </a:lnTo>
                  <a:lnTo>
                    <a:pt x="219" y="415"/>
                  </a:lnTo>
                  <a:lnTo>
                    <a:pt x="215" y="419"/>
                  </a:lnTo>
                  <a:lnTo>
                    <a:pt x="215" y="424"/>
                  </a:lnTo>
                  <a:lnTo>
                    <a:pt x="215" y="427"/>
                  </a:lnTo>
                  <a:lnTo>
                    <a:pt x="216" y="427"/>
                  </a:lnTo>
                  <a:lnTo>
                    <a:pt x="216" y="427"/>
                  </a:lnTo>
                  <a:lnTo>
                    <a:pt x="220" y="427"/>
                  </a:lnTo>
                  <a:lnTo>
                    <a:pt x="223" y="427"/>
                  </a:lnTo>
                  <a:lnTo>
                    <a:pt x="225" y="427"/>
                  </a:lnTo>
                  <a:lnTo>
                    <a:pt x="226" y="428"/>
                  </a:lnTo>
                  <a:lnTo>
                    <a:pt x="226" y="434"/>
                  </a:lnTo>
                  <a:lnTo>
                    <a:pt x="226" y="434"/>
                  </a:lnTo>
                  <a:lnTo>
                    <a:pt x="226" y="440"/>
                  </a:lnTo>
                  <a:lnTo>
                    <a:pt x="225" y="443"/>
                  </a:lnTo>
                  <a:lnTo>
                    <a:pt x="222" y="446"/>
                  </a:lnTo>
                  <a:lnTo>
                    <a:pt x="220" y="452"/>
                  </a:lnTo>
                  <a:lnTo>
                    <a:pt x="220" y="452"/>
                  </a:lnTo>
                  <a:lnTo>
                    <a:pt x="218" y="461"/>
                  </a:lnTo>
                  <a:lnTo>
                    <a:pt x="216" y="464"/>
                  </a:lnTo>
                  <a:lnTo>
                    <a:pt x="212" y="467"/>
                  </a:lnTo>
                  <a:lnTo>
                    <a:pt x="212" y="467"/>
                  </a:lnTo>
                  <a:lnTo>
                    <a:pt x="206" y="473"/>
                  </a:lnTo>
                  <a:lnTo>
                    <a:pt x="197" y="483"/>
                  </a:lnTo>
                  <a:lnTo>
                    <a:pt x="189" y="493"/>
                  </a:lnTo>
                  <a:lnTo>
                    <a:pt x="185" y="496"/>
                  </a:lnTo>
                  <a:lnTo>
                    <a:pt x="182" y="499"/>
                  </a:lnTo>
                  <a:lnTo>
                    <a:pt x="182" y="499"/>
                  </a:lnTo>
                  <a:lnTo>
                    <a:pt x="167" y="507"/>
                  </a:lnTo>
                  <a:lnTo>
                    <a:pt x="163" y="508"/>
                  </a:lnTo>
                  <a:lnTo>
                    <a:pt x="161" y="507"/>
                  </a:lnTo>
                  <a:lnTo>
                    <a:pt x="161" y="505"/>
                  </a:lnTo>
                  <a:lnTo>
                    <a:pt x="161" y="505"/>
                  </a:lnTo>
                  <a:lnTo>
                    <a:pt x="164" y="493"/>
                  </a:lnTo>
                  <a:lnTo>
                    <a:pt x="166" y="484"/>
                  </a:lnTo>
                  <a:lnTo>
                    <a:pt x="166" y="484"/>
                  </a:lnTo>
                  <a:lnTo>
                    <a:pt x="166" y="479"/>
                  </a:lnTo>
                  <a:lnTo>
                    <a:pt x="163" y="474"/>
                  </a:lnTo>
                  <a:lnTo>
                    <a:pt x="160" y="471"/>
                  </a:lnTo>
                  <a:lnTo>
                    <a:pt x="155" y="470"/>
                  </a:lnTo>
                  <a:lnTo>
                    <a:pt x="155" y="470"/>
                  </a:lnTo>
                  <a:lnTo>
                    <a:pt x="151" y="470"/>
                  </a:lnTo>
                  <a:lnTo>
                    <a:pt x="148" y="468"/>
                  </a:lnTo>
                  <a:lnTo>
                    <a:pt x="141" y="462"/>
                  </a:lnTo>
                  <a:lnTo>
                    <a:pt x="141" y="462"/>
                  </a:lnTo>
                  <a:lnTo>
                    <a:pt x="136" y="459"/>
                  </a:lnTo>
                  <a:lnTo>
                    <a:pt x="132" y="458"/>
                  </a:lnTo>
                  <a:lnTo>
                    <a:pt x="123" y="461"/>
                  </a:lnTo>
                  <a:lnTo>
                    <a:pt x="123" y="461"/>
                  </a:lnTo>
                  <a:lnTo>
                    <a:pt x="118" y="461"/>
                  </a:lnTo>
                  <a:lnTo>
                    <a:pt x="117" y="461"/>
                  </a:lnTo>
                  <a:lnTo>
                    <a:pt x="115" y="458"/>
                  </a:lnTo>
                  <a:lnTo>
                    <a:pt x="108" y="453"/>
                  </a:lnTo>
                  <a:lnTo>
                    <a:pt x="108" y="453"/>
                  </a:lnTo>
                  <a:lnTo>
                    <a:pt x="92" y="444"/>
                  </a:lnTo>
                  <a:lnTo>
                    <a:pt x="87" y="441"/>
                  </a:lnTo>
                  <a:lnTo>
                    <a:pt x="87" y="440"/>
                  </a:lnTo>
                  <a:lnTo>
                    <a:pt x="86" y="437"/>
                  </a:lnTo>
                  <a:lnTo>
                    <a:pt x="86" y="437"/>
                  </a:lnTo>
                  <a:lnTo>
                    <a:pt x="86" y="434"/>
                  </a:lnTo>
                  <a:lnTo>
                    <a:pt x="84" y="431"/>
                  </a:lnTo>
                  <a:lnTo>
                    <a:pt x="84" y="431"/>
                  </a:lnTo>
                  <a:lnTo>
                    <a:pt x="81" y="425"/>
                  </a:lnTo>
                  <a:lnTo>
                    <a:pt x="80" y="424"/>
                  </a:lnTo>
                  <a:lnTo>
                    <a:pt x="80" y="421"/>
                  </a:lnTo>
                  <a:lnTo>
                    <a:pt x="80" y="421"/>
                  </a:lnTo>
                  <a:lnTo>
                    <a:pt x="81" y="415"/>
                  </a:lnTo>
                  <a:lnTo>
                    <a:pt x="86" y="407"/>
                  </a:lnTo>
                  <a:lnTo>
                    <a:pt x="86" y="407"/>
                  </a:lnTo>
                  <a:lnTo>
                    <a:pt x="87" y="404"/>
                  </a:lnTo>
                  <a:lnTo>
                    <a:pt x="87" y="400"/>
                  </a:lnTo>
                  <a:lnTo>
                    <a:pt x="86" y="391"/>
                  </a:lnTo>
                  <a:lnTo>
                    <a:pt x="81" y="382"/>
                  </a:lnTo>
                  <a:lnTo>
                    <a:pt x="78" y="376"/>
                  </a:lnTo>
                  <a:lnTo>
                    <a:pt x="78" y="376"/>
                  </a:lnTo>
                  <a:lnTo>
                    <a:pt x="72" y="369"/>
                  </a:lnTo>
                  <a:lnTo>
                    <a:pt x="69" y="366"/>
                  </a:lnTo>
                  <a:lnTo>
                    <a:pt x="68" y="363"/>
                  </a:lnTo>
                  <a:lnTo>
                    <a:pt x="68" y="363"/>
                  </a:lnTo>
                  <a:lnTo>
                    <a:pt x="71" y="360"/>
                  </a:lnTo>
                  <a:lnTo>
                    <a:pt x="74" y="359"/>
                  </a:lnTo>
                  <a:lnTo>
                    <a:pt x="78" y="357"/>
                  </a:lnTo>
                  <a:lnTo>
                    <a:pt x="81" y="354"/>
                  </a:lnTo>
                  <a:lnTo>
                    <a:pt x="81" y="354"/>
                  </a:lnTo>
                  <a:lnTo>
                    <a:pt x="84" y="350"/>
                  </a:lnTo>
                  <a:lnTo>
                    <a:pt x="83" y="344"/>
                  </a:lnTo>
                  <a:lnTo>
                    <a:pt x="81" y="339"/>
                  </a:lnTo>
                  <a:lnTo>
                    <a:pt x="77" y="333"/>
                  </a:lnTo>
                  <a:lnTo>
                    <a:pt x="77" y="333"/>
                  </a:lnTo>
                  <a:lnTo>
                    <a:pt x="65" y="316"/>
                  </a:lnTo>
                  <a:lnTo>
                    <a:pt x="59" y="307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6" y="292"/>
                  </a:lnTo>
                  <a:lnTo>
                    <a:pt x="50" y="282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32" y="252"/>
                  </a:lnTo>
                  <a:lnTo>
                    <a:pt x="28" y="249"/>
                  </a:lnTo>
                  <a:lnTo>
                    <a:pt x="24" y="247"/>
                  </a:lnTo>
                  <a:lnTo>
                    <a:pt x="24" y="247"/>
                  </a:lnTo>
                  <a:lnTo>
                    <a:pt x="19" y="246"/>
                  </a:lnTo>
                  <a:lnTo>
                    <a:pt x="16" y="245"/>
                  </a:lnTo>
                  <a:lnTo>
                    <a:pt x="15" y="240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9" y="228"/>
                  </a:lnTo>
                  <a:lnTo>
                    <a:pt x="4" y="222"/>
                  </a:lnTo>
                  <a:lnTo>
                    <a:pt x="0" y="21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6" name="Freeform 135">
              <a:extLst>
                <a:ext uri="{FF2B5EF4-FFF2-40B4-BE49-F238E27FC236}">
                  <a16:creationId xmlns:a16="http://schemas.microsoft.com/office/drawing/2014/main" id="{9681E239-0634-0D48-8379-31DDCEC9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175" y="7196138"/>
              <a:ext cx="819150" cy="382587"/>
            </a:xfrm>
            <a:custGeom>
              <a:avLst/>
              <a:gdLst>
                <a:gd name="T0" fmla="*/ 5 w 516"/>
                <a:gd name="T1" fmla="*/ 152 h 241"/>
                <a:gd name="T2" fmla="*/ 21 w 516"/>
                <a:gd name="T3" fmla="*/ 152 h 241"/>
                <a:gd name="T4" fmla="*/ 24 w 516"/>
                <a:gd name="T5" fmla="*/ 146 h 241"/>
                <a:gd name="T6" fmla="*/ 27 w 516"/>
                <a:gd name="T7" fmla="*/ 139 h 241"/>
                <a:gd name="T8" fmla="*/ 39 w 516"/>
                <a:gd name="T9" fmla="*/ 141 h 241"/>
                <a:gd name="T10" fmla="*/ 40 w 516"/>
                <a:gd name="T11" fmla="*/ 146 h 241"/>
                <a:gd name="T12" fmla="*/ 49 w 516"/>
                <a:gd name="T13" fmla="*/ 157 h 241"/>
                <a:gd name="T14" fmla="*/ 63 w 516"/>
                <a:gd name="T15" fmla="*/ 155 h 241"/>
                <a:gd name="T16" fmla="*/ 67 w 516"/>
                <a:gd name="T17" fmla="*/ 149 h 241"/>
                <a:gd name="T18" fmla="*/ 80 w 516"/>
                <a:gd name="T19" fmla="*/ 149 h 241"/>
                <a:gd name="T20" fmla="*/ 107 w 516"/>
                <a:gd name="T21" fmla="*/ 157 h 241"/>
                <a:gd name="T22" fmla="*/ 128 w 516"/>
                <a:gd name="T23" fmla="*/ 158 h 241"/>
                <a:gd name="T24" fmla="*/ 134 w 516"/>
                <a:gd name="T25" fmla="*/ 151 h 241"/>
                <a:gd name="T26" fmla="*/ 138 w 516"/>
                <a:gd name="T27" fmla="*/ 146 h 241"/>
                <a:gd name="T28" fmla="*/ 150 w 516"/>
                <a:gd name="T29" fmla="*/ 146 h 241"/>
                <a:gd name="T30" fmla="*/ 163 w 516"/>
                <a:gd name="T31" fmla="*/ 138 h 241"/>
                <a:gd name="T32" fmla="*/ 171 w 516"/>
                <a:gd name="T33" fmla="*/ 132 h 241"/>
                <a:gd name="T34" fmla="*/ 184 w 516"/>
                <a:gd name="T35" fmla="*/ 136 h 241"/>
                <a:gd name="T36" fmla="*/ 194 w 516"/>
                <a:gd name="T37" fmla="*/ 138 h 241"/>
                <a:gd name="T38" fmla="*/ 212 w 516"/>
                <a:gd name="T39" fmla="*/ 136 h 241"/>
                <a:gd name="T40" fmla="*/ 220 w 516"/>
                <a:gd name="T41" fmla="*/ 133 h 241"/>
                <a:gd name="T42" fmla="*/ 228 w 516"/>
                <a:gd name="T43" fmla="*/ 129 h 241"/>
                <a:gd name="T44" fmla="*/ 233 w 516"/>
                <a:gd name="T45" fmla="*/ 115 h 241"/>
                <a:gd name="T46" fmla="*/ 236 w 516"/>
                <a:gd name="T47" fmla="*/ 114 h 241"/>
                <a:gd name="T48" fmla="*/ 243 w 516"/>
                <a:gd name="T49" fmla="*/ 138 h 241"/>
                <a:gd name="T50" fmla="*/ 248 w 516"/>
                <a:gd name="T51" fmla="*/ 146 h 241"/>
                <a:gd name="T52" fmla="*/ 265 w 516"/>
                <a:gd name="T53" fmla="*/ 166 h 241"/>
                <a:gd name="T54" fmla="*/ 268 w 516"/>
                <a:gd name="T55" fmla="*/ 170 h 241"/>
                <a:gd name="T56" fmla="*/ 276 w 516"/>
                <a:gd name="T57" fmla="*/ 176 h 241"/>
                <a:gd name="T58" fmla="*/ 282 w 516"/>
                <a:gd name="T59" fmla="*/ 182 h 241"/>
                <a:gd name="T60" fmla="*/ 279 w 516"/>
                <a:gd name="T61" fmla="*/ 194 h 241"/>
                <a:gd name="T62" fmla="*/ 270 w 516"/>
                <a:gd name="T63" fmla="*/ 209 h 241"/>
                <a:gd name="T64" fmla="*/ 276 w 516"/>
                <a:gd name="T65" fmla="*/ 218 h 241"/>
                <a:gd name="T66" fmla="*/ 304 w 516"/>
                <a:gd name="T67" fmla="*/ 238 h 241"/>
                <a:gd name="T68" fmla="*/ 313 w 516"/>
                <a:gd name="T69" fmla="*/ 240 h 241"/>
                <a:gd name="T70" fmla="*/ 322 w 516"/>
                <a:gd name="T71" fmla="*/ 226 h 241"/>
                <a:gd name="T72" fmla="*/ 332 w 516"/>
                <a:gd name="T73" fmla="*/ 215 h 241"/>
                <a:gd name="T74" fmla="*/ 363 w 516"/>
                <a:gd name="T75" fmla="*/ 197 h 241"/>
                <a:gd name="T76" fmla="*/ 384 w 516"/>
                <a:gd name="T77" fmla="*/ 194 h 241"/>
                <a:gd name="T78" fmla="*/ 428 w 516"/>
                <a:gd name="T79" fmla="*/ 195 h 241"/>
                <a:gd name="T80" fmla="*/ 449 w 516"/>
                <a:gd name="T81" fmla="*/ 204 h 241"/>
                <a:gd name="T82" fmla="*/ 456 w 516"/>
                <a:gd name="T83" fmla="*/ 212 h 241"/>
                <a:gd name="T84" fmla="*/ 464 w 516"/>
                <a:gd name="T85" fmla="*/ 207 h 241"/>
                <a:gd name="T86" fmla="*/ 477 w 516"/>
                <a:gd name="T87" fmla="*/ 198 h 241"/>
                <a:gd name="T88" fmla="*/ 496 w 516"/>
                <a:gd name="T89" fmla="*/ 197 h 241"/>
                <a:gd name="T90" fmla="*/ 501 w 516"/>
                <a:gd name="T91" fmla="*/ 194 h 241"/>
                <a:gd name="T92" fmla="*/ 490 w 516"/>
                <a:gd name="T93" fmla="*/ 179 h 241"/>
                <a:gd name="T94" fmla="*/ 490 w 516"/>
                <a:gd name="T95" fmla="*/ 166 h 241"/>
                <a:gd name="T96" fmla="*/ 496 w 516"/>
                <a:gd name="T97" fmla="*/ 157 h 241"/>
                <a:gd name="T98" fmla="*/ 507 w 516"/>
                <a:gd name="T99" fmla="*/ 151 h 241"/>
                <a:gd name="T100" fmla="*/ 507 w 516"/>
                <a:gd name="T101" fmla="*/ 143 h 241"/>
                <a:gd name="T102" fmla="*/ 499 w 516"/>
                <a:gd name="T103" fmla="*/ 127 h 241"/>
                <a:gd name="T104" fmla="*/ 498 w 516"/>
                <a:gd name="T105" fmla="*/ 115 h 241"/>
                <a:gd name="T106" fmla="*/ 504 w 516"/>
                <a:gd name="T107" fmla="*/ 105 h 241"/>
                <a:gd name="T108" fmla="*/ 505 w 516"/>
                <a:gd name="T109" fmla="*/ 83 h 241"/>
                <a:gd name="T110" fmla="*/ 501 w 516"/>
                <a:gd name="T111" fmla="*/ 77 h 241"/>
                <a:gd name="T112" fmla="*/ 499 w 516"/>
                <a:gd name="T113" fmla="*/ 72 h 241"/>
                <a:gd name="T114" fmla="*/ 499 w 516"/>
                <a:gd name="T115" fmla="*/ 61 h 241"/>
                <a:gd name="T116" fmla="*/ 507 w 516"/>
                <a:gd name="T117" fmla="*/ 40 h 241"/>
                <a:gd name="T118" fmla="*/ 508 w 516"/>
                <a:gd name="T119" fmla="*/ 22 h 241"/>
                <a:gd name="T120" fmla="*/ 513 w 516"/>
                <a:gd name="T121" fmla="*/ 12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" h="241">
                  <a:moveTo>
                    <a:pt x="0" y="154"/>
                  </a:moveTo>
                  <a:lnTo>
                    <a:pt x="0" y="154"/>
                  </a:lnTo>
                  <a:lnTo>
                    <a:pt x="5" y="152"/>
                  </a:lnTo>
                  <a:lnTo>
                    <a:pt x="11" y="154"/>
                  </a:lnTo>
                  <a:lnTo>
                    <a:pt x="17" y="154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3" y="149"/>
                  </a:lnTo>
                  <a:lnTo>
                    <a:pt x="24" y="146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7" y="139"/>
                  </a:lnTo>
                  <a:lnTo>
                    <a:pt x="31" y="138"/>
                  </a:lnTo>
                  <a:lnTo>
                    <a:pt x="36" y="139"/>
                  </a:lnTo>
                  <a:lnTo>
                    <a:pt x="39" y="141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40" y="146"/>
                  </a:lnTo>
                  <a:lnTo>
                    <a:pt x="42" y="151"/>
                  </a:lnTo>
                  <a:lnTo>
                    <a:pt x="45" y="155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60" y="155"/>
                  </a:lnTo>
                  <a:lnTo>
                    <a:pt x="63" y="155"/>
                  </a:lnTo>
                  <a:lnTo>
                    <a:pt x="66" y="152"/>
                  </a:lnTo>
                  <a:lnTo>
                    <a:pt x="66" y="152"/>
                  </a:lnTo>
                  <a:lnTo>
                    <a:pt x="67" y="149"/>
                  </a:lnTo>
                  <a:lnTo>
                    <a:pt x="68" y="148"/>
                  </a:lnTo>
                  <a:lnTo>
                    <a:pt x="73" y="148"/>
                  </a:lnTo>
                  <a:lnTo>
                    <a:pt x="80" y="149"/>
                  </a:lnTo>
                  <a:lnTo>
                    <a:pt x="80" y="149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17" y="161"/>
                  </a:lnTo>
                  <a:lnTo>
                    <a:pt x="122" y="161"/>
                  </a:lnTo>
                  <a:lnTo>
                    <a:pt x="128" y="158"/>
                  </a:lnTo>
                  <a:lnTo>
                    <a:pt x="128" y="158"/>
                  </a:lnTo>
                  <a:lnTo>
                    <a:pt x="132" y="155"/>
                  </a:lnTo>
                  <a:lnTo>
                    <a:pt x="134" y="151"/>
                  </a:lnTo>
                  <a:lnTo>
                    <a:pt x="135" y="148"/>
                  </a:lnTo>
                  <a:lnTo>
                    <a:pt x="138" y="146"/>
                  </a:lnTo>
                  <a:lnTo>
                    <a:pt x="138" y="146"/>
                  </a:lnTo>
                  <a:lnTo>
                    <a:pt x="140" y="146"/>
                  </a:lnTo>
                  <a:lnTo>
                    <a:pt x="143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7" y="143"/>
                  </a:lnTo>
                  <a:lnTo>
                    <a:pt x="163" y="138"/>
                  </a:lnTo>
                  <a:lnTo>
                    <a:pt x="163" y="138"/>
                  </a:lnTo>
                  <a:lnTo>
                    <a:pt x="169" y="132"/>
                  </a:lnTo>
                  <a:lnTo>
                    <a:pt x="171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84" y="136"/>
                  </a:lnTo>
                  <a:lnTo>
                    <a:pt x="188" y="138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205" y="138"/>
                  </a:lnTo>
                  <a:lnTo>
                    <a:pt x="209" y="138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15" y="135"/>
                  </a:lnTo>
                  <a:lnTo>
                    <a:pt x="220" y="133"/>
                  </a:lnTo>
                  <a:lnTo>
                    <a:pt x="224" y="132"/>
                  </a:lnTo>
                  <a:lnTo>
                    <a:pt x="228" y="129"/>
                  </a:lnTo>
                  <a:lnTo>
                    <a:pt x="228" y="129"/>
                  </a:lnTo>
                  <a:lnTo>
                    <a:pt x="230" y="124"/>
                  </a:lnTo>
                  <a:lnTo>
                    <a:pt x="231" y="118"/>
                  </a:lnTo>
                  <a:lnTo>
                    <a:pt x="233" y="115"/>
                  </a:lnTo>
                  <a:lnTo>
                    <a:pt x="234" y="114"/>
                  </a:lnTo>
                  <a:lnTo>
                    <a:pt x="236" y="114"/>
                  </a:lnTo>
                  <a:lnTo>
                    <a:pt x="236" y="114"/>
                  </a:lnTo>
                  <a:lnTo>
                    <a:pt x="239" y="118"/>
                  </a:lnTo>
                  <a:lnTo>
                    <a:pt x="240" y="123"/>
                  </a:lnTo>
                  <a:lnTo>
                    <a:pt x="243" y="138"/>
                  </a:lnTo>
                  <a:lnTo>
                    <a:pt x="243" y="138"/>
                  </a:lnTo>
                  <a:lnTo>
                    <a:pt x="245" y="142"/>
                  </a:lnTo>
                  <a:lnTo>
                    <a:pt x="248" y="146"/>
                  </a:lnTo>
                  <a:lnTo>
                    <a:pt x="257" y="157"/>
                  </a:lnTo>
                  <a:lnTo>
                    <a:pt x="257" y="157"/>
                  </a:lnTo>
                  <a:lnTo>
                    <a:pt x="265" y="166"/>
                  </a:lnTo>
                  <a:lnTo>
                    <a:pt x="268" y="167"/>
                  </a:lnTo>
                  <a:lnTo>
                    <a:pt x="268" y="170"/>
                  </a:lnTo>
                  <a:lnTo>
                    <a:pt x="268" y="170"/>
                  </a:lnTo>
                  <a:lnTo>
                    <a:pt x="270" y="173"/>
                  </a:lnTo>
                  <a:lnTo>
                    <a:pt x="271" y="175"/>
                  </a:lnTo>
                  <a:lnTo>
                    <a:pt x="276" y="176"/>
                  </a:lnTo>
                  <a:lnTo>
                    <a:pt x="276" y="176"/>
                  </a:lnTo>
                  <a:lnTo>
                    <a:pt x="280" y="178"/>
                  </a:lnTo>
                  <a:lnTo>
                    <a:pt x="282" y="182"/>
                  </a:lnTo>
                  <a:lnTo>
                    <a:pt x="283" y="186"/>
                  </a:lnTo>
                  <a:lnTo>
                    <a:pt x="279" y="194"/>
                  </a:lnTo>
                  <a:lnTo>
                    <a:pt x="279" y="194"/>
                  </a:lnTo>
                  <a:lnTo>
                    <a:pt x="274" y="201"/>
                  </a:lnTo>
                  <a:lnTo>
                    <a:pt x="270" y="207"/>
                  </a:lnTo>
                  <a:lnTo>
                    <a:pt x="270" y="209"/>
                  </a:lnTo>
                  <a:lnTo>
                    <a:pt x="270" y="212"/>
                  </a:lnTo>
                  <a:lnTo>
                    <a:pt x="271" y="215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95" y="232"/>
                  </a:lnTo>
                  <a:lnTo>
                    <a:pt x="304" y="238"/>
                  </a:lnTo>
                  <a:lnTo>
                    <a:pt x="311" y="241"/>
                  </a:lnTo>
                  <a:lnTo>
                    <a:pt x="311" y="241"/>
                  </a:lnTo>
                  <a:lnTo>
                    <a:pt x="313" y="240"/>
                  </a:lnTo>
                  <a:lnTo>
                    <a:pt x="314" y="238"/>
                  </a:lnTo>
                  <a:lnTo>
                    <a:pt x="317" y="234"/>
                  </a:lnTo>
                  <a:lnTo>
                    <a:pt x="322" y="226"/>
                  </a:lnTo>
                  <a:lnTo>
                    <a:pt x="325" y="221"/>
                  </a:lnTo>
                  <a:lnTo>
                    <a:pt x="325" y="221"/>
                  </a:lnTo>
                  <a:lnTo>
                    <a:pt x="332" y="215"/>
                  </a:lnTo>
                  <a:lnTo>
                    <a:pt x="342" y="207"/>
                  </a:lnTo>
                  <a:lnTo>
                    <a:pt x="354" y="201"/>
                  </a:lnTo>
                  <a:lnTo>
                    <a:pt x="363" y="197"/>
                  </a:lnTo>
                  <a:lnTo>
                    <a:pt x="363" y="197"/>
                  </a:lnTo>
                  <a:lnTo>
                    <a:pt x="372" y="195"/>
                  </a:lnTo>
                  <a:lnTo>
                    <a:pt x="384" y="194"/>
                  </a:lnTo>
                  <a:lnTo>
                    <a:pt x="413" y="195"/>
                  </a:lnTo>
                  <a:lnTo>
                    <a:pt x="413" y="195"/>
                  </a:lnTo>
                  <a:lnTo>
                    <a:pt x="428" y="195"/>
                  </a:lnTo>
                  <a:lnTo>
                    <a:pt x="437" y="198"/>
                  </a:lnTo>
                  <a:lnTo>
                    <a:pt x="445" y="200"/>
                  </a:lnTo>
                  <a:lnTo>
                    <a:pt x="449" y="204"/>
                  </a:lnTo>
                  <a:lnTo>
                    <a:pt x="449" y="204"/>
                  </a:lnTo>
                  <a:lnTo>
                    <a:pt x="453" y="209"/>
                  </a:lnTo>
                  <a:lnTo>
                    <a:pt x="456" y="212"/>
                  </a:lnTo>
                  <a:lnTo>
                    <a:pt x="459" y="210"/>
                  </a:lnTo>
                  <a:lnTo>
                    <a:pt x="464" y="207"/>
                  </a:lnTo>
                  <a:lnTo>
                    <a:pt x="464" y="207"/>
                  </a:lnTo>
                  <a:lnTo>
                    <a:pt x="468" y="203"/>
                  </a:lnTo>
                  <a:lnTo>
                    <a:pt x="471" y="200"/>
                  </a:lnTo>
                  <a:lnTo>
                    <a:pt x="477" y="198"/>
                  </a:lnTo>
                  <a:lnTo>
                    <a:pt x="485" y="198"/>
                  </a:lnTo>
                  <a:lnTo>
                    <a:pt x="485" y="198"/>
                  </a:lnTo>
                  <a:lnTo>
                    <a:pt x="496" y="197"/>
                  </a:lnTo>
                  <a:lnTo>
                    <a:pt x="499" y="195"/>
                  </a:lnTo>
                  <a:lnTo>
                    <a:pt x="501" y="194"/>
                  </a:lnTo>
                  <a:lnTo>
                    <a:pt x="501" y="194"/>
                  </a:lnTo>
                  <a:lnTo>
                    <a:pt x="499" y="191"/>
                  </a:lnTo>
                  <a:lnTo>
                    <a:pt x="495" y="185"/>
                  </a:lnTo>
                  <a:lnTo>
                    <a:pt x="490" y="179"/>
                  </a:lnTo>
                  <a:lnTo>
                    <a:pt x="488" y="175"/>
                  </a:lnTo>
                  <a:lnTo>
                    <a:pt x="488" y="175"/>
                  </a:lnTo>
                  <a:lnTo>
                    <a:pt x="490" y="166"/>
                  </a:lnTo>
                  <a:lnTo>
                    <a:pt x="493" y="161"/>
                  </a:lnTo>
                  <a:lnTo>
                    <a:pt x="496" y="157"/>
                  </a:lnTo>
                  <a:lnTo>
                    <a:pt x="496" y="157"/>
                  </a:lnTo>
                  <a:lnTo>
                    <a:pt x="499" y="154"/>
                  </a:lnTo>
                  <a:lnTo>
                    <a:pt x="504" y="152"/>
                  </a:lnTo>
                  <a:lnTo>
                    <a:pt x="507" y="151"/>
                  </a:lnTo>
                  <a:lnTo>
                    <a:pt x="508" y="148"/>
                  </a:lnTo>
                  <a:lnTo>
                    <a:pt x="508" y="148"/>
                  </a:lnTo>
                  <a:lnTo>
                    <a:pt x="507" y="143"/>
                  </a:lnTo>
                  <a:lnTo>
                    <a:pt x="505" y="139"/>
                  </a:lnTo>
                  <a:lnTo>
                    <a:pt x="499" y="127"/>
                  </a:lnTo>
                  <a:lnTo>
                    <a:pt x="499" y="127"/>
                  </a:lnTo>
                  <a:lnTo>
                    <a:pt x="498" y="121"/>
                  </a:lnTo>
                  <a:lnTo>
                    <a:pt x="498" y="118"/>
                  </a:lnTo>
                  <a:lnTo>
                    <a:pt x="498" y="115"/>
                  </a:lnTo>
                  <a:lnTo>
                    <a:pt x="501" y="111"/>
                  </a:lnTo>
                  <a:lnTo>
                    <a:pt x="501" y="111"/>
                  </a:lnTo>
                  <a:lnTo>
                    <a:pt x="504" y="105"/>
                  </a:lnTo>
                  <a:lnTo>
                    <a:pt x="505" y="98"/>
                  </a:lnTo>
                  <a:lnTo>
                    <a:pt x="507" y="90"/>
                  </a:lnTo>
                  <a:lnTo>
                    <a:pt x="505" y="83"/>
                  </a:lnTo>
                  <a:lnTo>
                    <a:pt x="505" y="83"/>
                  </a:lnTo>
                  <a:lnTo>
                    <a:pt x="504" y="80"/>
                  </a:lnTo>
                  <a:lnTo>
                    <a:pt x="501" y="77"/>
                  </a:lnTo>
                  <a:lnTo>
                    <a:pt x="499" y="75"/>
                  </a:lnTo>
                  <a:lnTo>
                    <a:pt x="499" y="72"/>
                  </a:lnTo>
                  <a:lnTo>
                    <a:pt x="499" y="72"/>
                  </a:lnTo>
                  <a:lnTo>
                    <a:pt x="499" y="71"/>
                  </a:lnTo>
                  <a:lnTo>
                    <a:pt x="499" y="66"/>
                  </a:lnTo>
                  <a:lnTo>
                    <a:pt x="499" y="61"/>
                  </a:lnTo>
                  <a:lnTo>
                    <a:pt x="502" y="53"/>
                  </a:lnTo>
                  <a:lnTo>
                    <a:pt x="502" y="53"/>
                  </a:lnTo>
                  <a:lnTo>
                    <a:pt x="507" y="40"/>
                  </a:lnTo>
                  <a:lnTo>
                    <a:pt x="507" y="29"/>
                  </a:lnTo>
                  <a:lnTo>
                    <a:pt x="507" y="29"/>
                  </a:lnTo>
                  <a:lnTo>
                    <a:pt x="508" y="22"/>
                  </a:lnTo>
                  <a:lnTo>
                    <a:pt x="511" y="16"/>
                  </a:lnTo>
                  <a:lnTo>
                    <a:pt x="511" y="16"/>
                  </a:lnTo>
                  <a:lnTo>
                    <a:pt x="513" y="12"/>
                  </a:lnTo>
                  <a:lnTo>
                    <a:pt x="514" y="6"/>
                  </a:lnTo>
                  <a:lnTo>
                    <a:pt x="516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7" name="Freeform 136">
              <a:extLst>
                <a:ext uri="{FF2B5EF4-FFF2-40B4-BE49-F238E27FC236}">
                  <a16:creationId xmlns:a16="http://schemas.microsoft.com/office/drawing/2014/main" id="{7FFBCB77-F7CD-6347-8891-BB7B1B6A7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6175375"/>
              <a:ext cx="1220788" cy="1050925"/>
            </a:xfrm>
            <a:custGeom>
              <a:avLst/>
              <a:gdLst>
                <a:gd name="T0" fmla="*/ 47 w 769"/>
                <a:gd name="T1" fmla="*/ 382 h 662"/>
                <a:gd name="T2" fmla="*/ 116 w 769"/>
                <a:gd name="T3" fmla="*/ 409 h 662"/>
                <a:gd name="T4" fmla="*/ 130 w 769"/>
                <a:gd name="T5" fmla="*/ 430 h 662"/>
                <a:gd name="T6" fmla="*/ 187 w 769"/>
                <a:gd name="T7" fmla="*/ 475 h 662"/>
                <a:gd name="T8" fmla="*/ 212 w 769"/>
                <a:gd name="T9" fmla="*/ 530 h 662"/>
                <a:gd name="T10" fmla="*/ 273 w 769"/>
                <a:gd name="T11" fmla="*/ 560 h 662"/>
                <a:gd name="T12" fmla="*/ 304 w 769"/>
                <a:gd name="T13" fmla="*/ 567 h 662"/>
                <a:gd name="T14" fmla="*/ 354 w 769"/>
                <a:gd name="T15" fmla="*/ 570 h 662"/>
                <a:gd name="T16" fmla="*/ 376 w 769"/>
                <a:gd name="T17" fmla="*/ 563 h 662"/>
                <a:gd name="T18" fmla="*/ 384 w 769"/>
                <a:gd name="T19" fmla="*/ 590 h 662"/>
                <a:gd name="T20" fmla="*/ 375 w 769"/>
                <a:gd name="T21" fmla="*/ 635 h 662"/>
                <a:gd name="T22" fmla="*/ 358 w 769"/>
                <a:gd name="T23" fmla="*/ 658 h 662"/>
                <a:gd name="T24" fmla="*/ 397 w 769"/>
                <a:gd name="T25" fmla="*/ 644 h 662"/>
                <a:gd name="T26" fmla="*/ 422 w 769"/>
                <a:gd name="T27" fmla="*/ 635 h 662"/>
                <a:gd name="T28" fmla="*/ 468 w 769"/>
                <a:gd name="T29" fmla="*/ 643 h 662"/>
                <a:gd name="T30" fmla="*/ 499 w 769"/>
                <a:gd name="T31" fmla="*/ 630 h 662"/>
                <a:gd name="T32" fmla="*/ 530 w 769"/>
                <a:gd name="T33" fmla="*/ 624 h 662"/>
                <a:gd name="T34" fmla="*/ 551 w 769"/>
                <a:gd name="T35" fmla="*/ 627 h 662"/>
                <a:gd name="T36" fmla="*/ 570 w 769"/>
                <a:gd name="T37" fmla="*/ 603 h 662"/>
                <a:gd name="T38" fmla="*/ 576 w 769"/>
                <a:gd name="T39" fmla="*/ 613 h 662"/>
                <a:gd name="T40" fmla="*/ 609 w 769"/>
                <a:gd name="T41" fmla="*/ 624 h 662"/>
                <a:gd name="T42" fmla="*/ 646 w 769"/>
                <a:gd name="T43" fmla="*/ 618 h 662"/>
                <a:gd name="T44" fmla="*/ 663 w 769"/>
                <a:gd name="T45" fmla="*/ 622 h 662"/>
                <a:gd name="T46" fmla="*/ 681 w 769"/>
                <a:gd name="T47" fmla="*/ 622 h 662"/>
                <a:gd name="T48" fmla="*/ 714 w 769"/>
                <a:gd name="T49" fmla="*/ 619 h 662"/>
                <a:gd name="T50" fmla="*/ 717 w 769"/>
                <a:gd name="T51" fmla="*/ 575 h 662"/>
                <a:gd name="T52" fmla="*/ 760 w 769"/>
                <a:gd name="T53" fmla="*/ 526 h 662"/>
                <a:gd name="T54" fmla="*/ 761 w 769"/>
                <a:gd name="T55" fmla="*/ 499 h 662"/>
                <a:gd name="T56" fmla="*/ 732 w 769"/>
                <a:gd name="T57" fmla="*/ 471 h 662"/>
                <a:gd name="T58" fmla="*/ 705 w 769"/>
                <a:gd name="T59" fmla="*/ 421 h 662"/>
                <a:gd name="T60" fmla="*/ 727 w 769"/>
                <a:gd name="T61" fmla="*/ 393 h 662"/>
                <a:gd name="T62" fmla="*/ 767 w 769"/>
                <a:gd name="T63" fmla="*/ 378 h 662"/>
                <a:gd name="T64" fmla="*/ 761 w 769"/>
                <a:gd name="T65" fmla="*/ 358 h 662"/>
                <a:gd name="T66" fmla="*/ 748 w 769"/>
                <a:gd name="T67" fmla="*/ 330 h 662"/>
                <a:gd name="T68" fmla="*/ 718 w 769"/>
                <a:gd name="T69" fmla="*/ 298 h 662"/>
                <a:gd name="T70" fmla="*/ 692 w 769"/>
                <a:gd name="T71" fmla="*/ 280 h 662"/>
                <a:gd name="T72" fmla="*/ 681 w 769"/>
                <a:gd name="T73" fmla="*/ 256 h 662"/>
                <a:gd name="T74" fmla="*/ 561 w 769"/>
                <a:gd name="T75" fmla="*/ 225 h 662"/>
                <a:gd name="T76" fmla="*/ 558 w 769"/>
                <a:gd name="T77" fmla="*/ 187 h 662"/>
                <a:gd name="T78" fmla="*/ 570 w 769"/>
                <a:gd name="T79" fmla="*/ 164 h 662"/>
                <a:gd name="T80" fmla="*/ 576 w 769"/>
                <a:gd name="T81" fmla="*/ 136 h 662"/>
                <a:gd name="T82" fmla="*/ 564 w 769"/>
                <a:gd name="T83" fmla="*/ 120 h 662"/>
                <a:gd name="T84" fmla="*/ 532 w 769"/>
                <a:gd name="T85" fmla="*/ 84 h 662"/>
                <a:gd name="T86" fmla="*/ 465 w 769"/>
                <a:gd name="T87" fmla="*/ 108 h 662"/>
                <a:gd name="T88" fmla="*/ 434 w 769"/>
                <a:gd name="T89" fmla="*/ 102 h 662"/>
                <a:gd name="T90" fmla="*/ 391 w 769"/>
                <a:gd name="T91" fmla="*/ 79 h 662"/>
                <a:gd name="T92" fmla="*/ 321 w 769"/>
                <a:gd name="T93" fmla="*/ 62 h 662"/>
                <a:gd name="T94" fmla="*/ 305 w 769"/>
                <a:gd name="T95" fmla="*/ 37 h 662"/>
                <a:gd name="T96" fmla="*/ 278 w 769"/>
                <a:gd name="T97" fmla="*/ 33 h 662"/>
                <a:gd name="T98" fmla="*/ 241 w 769"/>
                <a:gd name="T99" fmla="*/ 21 h 662"/>
                <a:gd name="T100" fmla="*/ 194 w 769"/>
                <a:gd name="T101" fmla="*/ 0 h 662"/>
                <a:gd name="T102" fmla="*/ 170 w 769"/>
                <a:gd name="T103" fmla="*/ 25 h 662"/>
                <a:gd name="T104" fmla="*/ 154 w 769"/>
                <a:gd name="T105" fmla="*/ 58 h 662"/>
                <a:gd name="T106" fmla="*/ 148 w 769"/>
                <a:gd name="T107" fmla="*/ 74 h 662"/>
                <a:gd name="T108" fmla="*/ 133 w 769"/>
                <a:gd name="T109" fmla="*/ 105 h 662"/>
                <a:gd name="T110" fmla="*/ 119 w 769"/>
                <a:gd name="T111" fmla="*/ 119 h 662"/>
                <a:gd name="T112" fmla="*/ 82 w 769"/>
                <a:gd name="T113" fmla="*/ 124 h 662"/>
                <a:gd name="T114" fmla="*/ 58 w 769"/>
                <a:gd name="T115" fmla="*/ 135 h 662"/>
                <a:gd name="T116" fmla="*/ 36 w 769"/>
                <a:gd name="T117" fmla="*/ 178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9" h="662">
                  <a:moveTo>
                    <a:pt x="0" y="353"/>
                  </a:moveTo>
                  <a:lnTo>
                    <a:pt x="0" y="353"/>
                  </a:lnTo>
                  <a:lnTo>
                    <a:pt x="9" y="357"/>
                  </a:lnTo>
                  <a:lnTo>
                    <a:pt x="16" y="361"/>
                  </a:lnTo>
                  <a:lnTo>
                    <a:pt x="22" y="366"/>
                  </a:lnTo>
                  <a:lnTo>
                    <a:pt x="22" y="366"/>
                  </a:lnTo>
                  <a:lnTo>
                    <a:pt x="39" y="376"/>
                  </a:lnTo>
                  <a:lnTo>
                    <a:pt x="47" y="382"/>
                  </a:lnTo>
                  <a:lnTo>
                    <a:pt x="56" y="387"/>
                  </a:lnTo>
                  <a:lnTo>
                    <a:pt x="56" y="387"/>
                  </a:lnTo>
                  <a:lnTo>
                    <a:pt x="76" y="395"/>
                  </a:lnTo>
                  <a:lnTo>
                    <a:pt x="84" y="400"/>
                  </a:lnTo>
                  <a:lnTo>
                    <a:pt x="93" y="403"/>
                  </a:lnTo>
                  <a:lnTo>
                    <a:pt x="93" y="403"/>
                  </a:lnTo>
                  <a:lnTo>
                    <a:pt x="110" y="407"/>
                  </a:lnTo>
                  <a:lnTo>
                    <a:pt x="116" y="409"/>
                  </a:lnTo>
                  <a:lnTo>
                    <a:pt x="120" y="412"/>
                  </a:lnTo>
                  <a:lnTo>
                    <a:pt x="120" y="412"/>
                  </a:lnTo>
                  <a:lnTo>
                    <a:pt x="120" y="415"/>
                  </a:lnTo>
                  <a:lnTo>
                    <a:pt x="121" y="421"/>
                  </a:lnTo>
                  <a:lnTo>
                    <a:pt x="124" y="425"/>
                  </a:lnTo>
                  <a:lnTo>
                    <a:pt x="126" y="428"/>
                  </a:lnTo>
                  <a:lnTo>
                    <a:pt x="130" y="430"/>
                  </a:lnTo>
                  <a:lnTo>
                    <a:pt x="130" y="430"/>
                  </a:lnTo>
                  <a:lnTo>
                    <a:pt x="139" y="434"/>
                  </a:lnTo>
                  <a:lnTo>
                    <a:pt x="148" y="440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79" y="464"/>
                  </a:lnTo>
                  <a:lnTo>
                    <a:pt x="184" y="468"/>
                  </a:lnTo>
                  <a:lnTo>
                    <a:pt x="187" y="475"/>
                  </a:lnTo>
                  <a:lnTo>
                    <a:pt x="187" y="475"/>
                  </a:lnTo>
                  <a:lnTo>
                    <a:pt x="191" y="495"/>
                  </a:lnTo>
                  <a:lnTo>
                    <a:pt x="196" y="514"/>
                  </a:lnTo>
                  <a:lnTo>
                    <a:pt x="196" y="514"/>
                  </a:lnTo>
                  <a:lnTo>
                    <a:pt x="197" y="521"/>
                  </a:lnTo>
                  <a:lnTo>
                    <a:pt x="200" y="526"/>
                  </a:lnTo>
                  <a:lnTo>
                    <a:pt x="204" y="529"/>
                  </a:lnTo>
                  <a:lnTo>
                    <a:pt x="212" y="530"/>
                  </a:lnTo>
                  <a:lnTo>
                    <a:pt x="212" y="530"/>
                  </a:lnTo>
                  <a:lnTo>
                    <a:pt x="240" y="530"/>
                  </a:lnTo>
                  <a:lnTo>
                    <a:pt x="255" y="532"/>
                  </a:lnTo>
                  <a:lnTo>
                    <a:pt x="264" y="532"/>
                  </a:lnTo>
                  <a:lnTo>
                    <a:pt x="264" y="532"/>
                  </a:lnTo>
                  <a:lnTo>
                    <a:pt x="265" y="533"/>
                  </a:lnTo>
                  <a:lnTo>
                    <a:pt x="267" y="536"/>
                  </a:lnTo>
                  <a:lnTo>
                    <a:pt x="268" y="544"/>
                  </a:lnTo>
                  <a:lnTo>
                    <a:pt x="273" y="560"/>
                  </a:lnTo>
                  <a:lnTo>
                    <a:pt x="273" y="560"/>
                  </a:lnTo>
                  <a:lnTo>
                    <a:pt x="274" y="563"/>
                  </a:lnTo>
                  <a:lnTo>
                    <a:pt x="277" y="566"/>
                  </a:lnTo>
                  <a:lnTo>
                    <a:pt x="283" y="567"/>
                  </a:lnTo>
                  <a:lnTo>
                    <a:pt x="290" y="567"/>
                  </a:lnTo>
                  <a:lnTo>
                    <a:pt x="298" y="567"/>
                  </a:lnTo>
                  <a:lnTo>
                    <a:pt x="298" y="567"/>
                  </a:lnTo>
                  <a:lnTo>
                    <a:pt x="304" y="567"/>
                  </a:lnTo>
                  <a:lnTo>
                    <a:pt x="311" y="567"/>
                  </a:lnTo>
                  <a:lnTo>
                    <a:pt x="326" y="570"/>
                  </a:lnTo>
                  <a:lnTo>
                    <a:pt x="326" y="570"/>
                  </a:lnTo>
                  <a:lnTo>
                    <a:pt x="342" y="572"/>
                  </a:lnTo>
                  <a:lnTo>
                    <a:pt x="350" y="573"/>
                  </a:lnTo>
                  <a:lnTo>
                    <a:pt x="354" y="573"/>
                  </a:lnTo>
                  <a:lnTo>
                    <a:pt x="354" y="573"/>
                  </a:lnTo>
                  <a:lnTo>
                    <a:pt x="354" y="570"/>
                  </a:lnTo>
                  <a:lnTo>
                    <a:pt x="354" y="566"/>
                  </a:lnTo>
                  <a:lnTo>
                    <a:pt x="355" y="561"/>
                  </a:lnTo>
                  <a:lnTo>
                    <a:pt x="357" y="560"/>
                  </a:lnTo>
                  <a:lnTo>
                    <a:pt x="360" y="558"/>
                  </a:lnTo>
                  <a:lnTo>
                    <a:pt x="360" y="558"/>
                  </a:lnTo>
                  <a:lnTo>
                    <a:pt x="367" y="558"/>
                  </a:lnTo>
                  <a:lnTo>
                    <a:pt x="372" y="560"/>
                  </a:lnTo>
                  <a:lnTo>
                    <a:pt x="376" y="563"/>
                  </a:lnTo>
                  <a:lnTo>
                    <a:pt x="379" y="567"/>
                  </a:lnTo>
                  <a:lnTo>
                    <a:pt x="379" y="567"/>
                  </a:lnTo>
                  <a:lnTo>
                    <a:pt x="382" y="572"/>
                  </a:lnTo>
                  <a:lnTo>
                    <a:pt x="385" y="579"/>
                  </a:lnTo>
                  <a:lnTo>
                    <a:pt x="387" y="585"/>
                  </a:lnTo>
                  <a:lnTo>
                    <a:pt x="385" y="588"/>
                  </a:lnTo>
                  <a:lnTo>
                    <a:pt x="384" y="590"/>
                  </a:lnTo>
                  <a:lnTo>
                    <a:pt x="384" y="590"/>
                  </a:lnTo>
                  <a:lnTo>
                    <a:pt x="378" y="590"/>
                  </a:lnTo>
                  <a:lnTo>
                    <a:pt x="375" y="590"/>
                  </a:lnTo>
                  <a:lnTo>
                    <a:pt x="373" y="590"/>
                  </a:lnTo>
                  <a:lnTo>
                    <a:pt x="373" y="591"/>
                  </a:lnTo>
                  <a:lnTo>
                    <a:pt x="373" y="598"/>
                  </a:lnTo>
                  <a:lnTo>
                    <a:pt x="373" y="598"/>
                  </a:lnTo>
                  <a:lnTo>
                    <a:pt x="375" y="624"/>
                  </a:lnTo>
                  <a:lnTo>
                    <a:pt x="375" y="635"/>
                  </a:lnTo>
                  <a:lnTo>
                    <a:pt x="373" y="640"/>
                  </a:lnTo>
                  <a:lnTo>
                    <a:pt x="372" y="643"/>
                  </a:lnTo>
                  <a:lnTo>
                    <a:pt x="372" y="643"/>
                  </a:lnTo>
                  <a:lnTo>
                    <a:pt x="363" y="652"/>
                  </a:lnTo>
                  <a:lnTo>
                    <a:pt x="360" y="655"/>
                  </a:lnTo>
                  <a:lnTo>
                    <a:pt x="358" y="656"/>
                  </a:lnTo>
                  <a:lnTo>
                    <a:pt x="358" y="658"/>
                  </a:lnTo>
                  <a:lnTo>
                    <a:pt x="358" y="658"/>
                  </a:lnTo>
                  <a:lnTo>
                    <a:pt x="372" y="661"/>
                  </a:lnTo>
                  <a:lnTo>
                    <a:pt x="379" y="662"/>
                  </a:lnTo>
                  <a:lnTo>
                    <a:pt x="385" y="661"/>
                  </a:lnTo>
                  <a:lnTo>
                    <a:pt x="385" y="661"/>
                  </a:lnTo>
                  <a:lnTo>
                    <a:pt x="388" y="658"/>
                  </a:lnTo>
                  <a:lnTo>
                    <a:pt x="391" y="652"/>
                  </a:lnTo>
                  <a:lnTo>
                    <a:pt x="394" y="646"/>
                  </a:lnTo>
                  <a:lnTo>
                    <a:pt x="397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410" y="644"/>
                  </a:lnTo>
                  <a:lnTo>
                    <a:pt x="413" y="644"/>
                  </a:lnTo>
                  <a:lnTo>
                    <a:pt x="416" y="641"/>
                  </a:lnTo>
                  <a:lnTo>
                    <a:pt x="416" y="641"/>
                  </a:lnTo>
                  <a:lnTo>
                    <a:pt x="419" y="637"/>
                  </a:lnTo>
                  <a:lnTo>
                    <a:pt x="422" y="635"/>
                  </a:lnTo>
                  <a:lnTo>
                    <a:pt x="427" y="634"/>
                  </a:lnTo>
                  <a:lnTo>
                    <a:pt x="432" y="635"/>
                  </a:lnTo>
                  <a:lnTo>
                    <a:pt x="432" y="635"/>
                  </a:lnTo>
                  <a:lnTo>
                    <a:pt x="441" y="640"/>
                  </a:lnTo>
                  <a:lnTo>
                    <a:pt x="446" y="641"/>
                  </a:lnTo>
                  <a:lnTo>
                    <a:pt x="450" y="643"/>
                  </a:lnTo>
                  <a:lnTo>
                    <a:pt x="450" y="643"/>
                  </a:lnTo>
                  <a:lnTo>
                    <a:pt x="468" y="643"/>
                  </a:lnTo>
                  <a:lnTo>
                    <a:pt x="478" y="640"/>
                  </a:lnTo>
                  <a:lnTo>
                    <a:pt x="483" y="638"/>
                  </a:lnTo>
                  <a:lnTo>
                    <a:pt x="486" y="637"/>
                  </a:lnTo>
                  <a:lnTo>
                    <a:pt x="486" y="637"/>
                  </a:lnTo>
                  <a:lnTo>
                    <a:pt x="492" y="630"/>
                  </a:lnTo>
                  <a:lnTo>
                    <a:pt x="495" y="628"/>
                  </a:lnTo>
                  <a:lnTo>
                    <a:pt x="499" y="630"/>
                  </a:lnTo>
                  <a:lnTo>
                    <a:pt x="499" y="630"/>
                  </a:lnTo>
                  <a:lnTo>
                    <a:pt x="506" y="634"/>
                  </a:lnTo>
                  <a:lnTo>
                    <a:pt x="515" y="635"/>
                  </a:lnTo>
                  <a:lnTo>
                    <a:pt x="523" y="635"/>
                  </a:lnTo>
                  <a:lnTo>
                    <a:pt x="526" y="635"/>
                  </a:lnTo>
                  <a:lnTo>
                    <a:pt x="526" y="632"/>
                  </a:lnTo>
                  <a:lnTo>
                    <a:pt x="526" y="632"/>
                  </a:lnTo>
                  <a:lnTo>
                    <a:pt x="527" y="628"/>
                  </a:lnTo>
                  <a:lnTo>
                    <a:pt x="530" y="624"/>
                  </a:lnTo>
                  <a:lnTo>
                    <a:pt x="535" y="621"/>
                  </a:lnTo>
                  <a:lnTo>
                    <a:pt x="536" y="619"/>
                  </a:lnTo>
                  <a:lnTo>
                    <a:pt x="538" y="621"/>
                  </a:lnTo>
                  <a:lnTo>
                    <a:pt x="538" y="621"/>
                  </a:lnTo>
                  <a:lnTo>
                    <a:pt x="542" y="622"/>
                  </a:lnTo>
                  <a:lnTo>
                    <a:pt x="545" y="625"/>
                  </a:lnTo>
                  <a:lnTo>
                    <a:pt x="548" y="627"/>
                  </a:lnTo>
                  <a:lnTo>
                    <a:pt x="551" y="627"/>
                  </a:lnTo>
                  <a:lnTo>
                    <a:pt x="551" y="627"/>
                  </a:lnTo>
                  <a:lnTo>
                    <a:pt x="555" y="624"/>
                  </a:lnTo>
                  <a:lnTo>
                    <a:pt x="563" y="619"/>
                  </a:lnTo>
                  <a:lnTo>
                    <a:pt x="563" y="619"/>
                  </a:lnTo>
                  <a:lnTo>
                    <a:pt x="566" y="615"/>
                  </a:lnTo>
                  <a:lnTo>
                    <a:pt x="567" y="609"/>
                  </a:lnTo>
                  <a:lnTo>
                    <a:pt x="569" y="604"/>
                  </a:lnTo>
                  <a:lnTo>
                    <a:pt x="570" y="603"/>
                  </a:lnTo>
                  <a:lnTo>
                    <a:pt x="570" y="603"/>
                  </a:lnTo>
                  <a:lnTo>
                    <a:pt x="572" y="603"/>
                  </a:lnTo>
                  <a:lnTo>
                    <a:pt x="570" y="604"/>
                  </a:lnTo>
                  <a:lnTo>
                    <a:pt x="569" y="607"/>
                  </a:lnTo>
                  <a:lnTo>
                    <a:pt x="569" y="609"/>
                  </a:lnTo>
                  <a:lnTo>
                    <a:pt x="570" y="612"/>
                  </a:lnTo>
                  <a:lnTo>
                    <a:pt x="572" y="613"/>
                  </a:lnTo>
                  <a:lnTo>
                    <a:pt x="576" y="613"/>
                  </a:lnTo>
                  <a:lnTo>
                    <a:pt x="576" y="613"/>
                  </a:lnTo>
                  <a:lnTo>
                    <a:pt x="597" y="615"/>
                  </a:lnTo>
                  <a:lnTo>
                    <a:pt x="606" y="613"/>
                  </a:lnTo>
                  <a:lnTo>
                    <a:pt x="606" y="613"/>
                  </a:lnTo>
                  <a:lnTo>
                    <a:pt x="606" y="619"/>
                  </a:lnTo>
                  <a:lnTo>
                    <a:pt x="606" y="622"/>
                  </a:lnTo>
                  <a:lnTo>
                    <a:pt x="607" y="624"/>
                  </a:lnTo>
                  <a:lnTo>
                    <a:pt x="609" y="624"/>
                  </a:lnTo>
                  <a:lnTo>
                    <a:pt x="609" y="624"/>
                  </a:lnTo>
                  <a:lnTo>
                    <a:pt x="615" y="624"/>
                  </a:lnTo>
                  <a:lnTo>
                    <a:pt x="619" y="622"/>
                  </a:lnTo>
                  <a:lnTo>
                    <a:pt x="629" y="619"/>
                  </a:lnTo>
                  <a:lnTo>
                    <a:pt x="629" y="619"/>
                  </a:lnTo>
                  <a:lnTo>
                    <a:pt x="640" y="616"/>
                  </a:lnTo>
                  <a:lnTo>
                    <a:pt x="644" y="616"/>
                  </a:lnTo>
                  <a:lnTo>
                    <a:pt x="646" y="618"/>
                  </a:lnTo>
                  <a:lnTo>
                    <a:pt x="647" y="619"/>
                  </a:lnTo>
                  <a:lnTo>
                    <a:pt x="647" y="619"/>
                  </a:lnTo>
                  <a:lnTo>
                    <a:pt x="650" y="622"/>
                  </a:lnTo>
                  <a:lnTo>
                    <a:pt x="653" y="625"/>
                  </a:lnTo>
                  <a:lnTo>
                    <a:pt x="656" y="627"/>
                  </a:lnTo>
                  <a:lnTo>
                    <a:pt x="659" y="625"/>
                  </a:lnTo>
                  <a:lnTo>
                    <a:pt x="659" y="625"/>
                  </a:lnTo>
                  <a:lnTo>
                    <a:pt x="663" y="622"/>
                  </a:lnTo>
                  <a:lnTo>
                    <a:pt x="666" y="619"/>
                  </a:lnTo>
                  <a:lnTo>
                    <a:pt x="669" y="618"/>
                  </a:lnTo>
                  <a:lnTo>
                    <a:pt x="669" y="618"/>
                  </a:lnTo>
                  <a:lnTo>
                    <a:pt x="674" y="618"/>
                  </a:lnTo>
                  <a:lnTo>
                    <a:pt x="675" y="619"/>
                  </a:lnTo>
                  <a:lnTo>
                    <a:pt x="677" y="621"/>
                  </a:lnTo>
                  <a:lnTo>
                    <a:pt x="681" y="622"/>
                  </a:lnTo>
                  <a:lnTo>
                    <a:pt x="681" y="622"/>
                  </a:lnTo>
                  <a:lnTo>
                    <a:pt x="686" y="621"/>
                  </a:lnTo>
                  <a:lnTo>
                    <a:pt x="690" y="619"/>
                  </a:lnTo>
                  <a:lnTo>
                    <a:pt x="693" y="616"/>
                  </a:lnTo>
                  <a:lnTo>
                    <a:pt x="698" y="616"/>
                  </a:lnTo>
                  <a:lnTo>
                    <a:pt x="698" y="616"/>
                  </a:lnTo>
                  <a:lnTo>
                    <a:pt x="706" y="618"/>
                  </a:lnTo>
                  <a:lnTo>
                    <a:pt x="714" y="619"/>
                  </a:lnTo>
                  <a:lnTo>
                    <a:pt x="714" y="619"/>
                  </a:lnTo>
                  <a:lnTo>
                    <a:pt x="715" y="616"/>
                  </a:lnTo>
                  <a:lnTo>
                    <a:pt x="717" y="609"/>
                  </a:lnTo>
                  <a:lnTo>
                    <a:pt x="718" y="595"/>
                  </a:lnTo>
                  <a:lnTo>
                    <a:pt x="718" y="595"/>
                  </a:lnTo>
                  <a:lnTo>
                    <a:pt x="717" y="585"/>
                  </a:lnTo>
                  <a:lnTo>
                    <a:pt x="717" y="576"/>
                  </a:lnTo>
                  <a:lnTo>
                    <a:pt x="717" y="576"/>
                  </a:lnTo>
                  <a:lnTo>
                    <a:pt x="717" y="575"/>
                  </a:lnTo>
                  <a:lnTo>
                    <a:pt x="718" y="572"/>
                  </a:lnTo>
                  <a:lnTo>
                    <a:pt x="724" y="564"/>
                  </a:lnTo>
                  <a:lnTo>
                    <a:pt x="724" y="564"/>
                  </a:lnTo>
                  <a:lnTo>
                    <a:pt x="730" y="554"/>
                  </a:lnTo>
                  <a:lnTo>
                    <a:pt x="742" y="542"/>
                  </a:lnTo>
                  <a:lnTo>
                    <a:pt x="742" y="542"/>
                  </a:lnTo>
                  <a:lnTo>
                    <a:pt x="752" y="533"/>
                  </a:lnTo>
                  <a:lnTo>
                    <a:pt x="760" y="526"/>
                  </a:lnTo>
                  <a:lnTo>
                    <a:pt x="760" y="526"/>
                  </a:lnTo>
                  <a:lnTo>
                    <a:pt x="764" y="521"/>
                  </a:lnTo>
                  <a:lnTo>
                    <a:pt x="767" y="517"/>
                  </a:lnTo>
                  <a:lnTo>
                    <a:pt x="767" y="512"/>
                  </a:lnTo>
                  <a:lnTo>
                    <a:pt x="767" y="507"/>
                  </a:lnTo>
                  <a:lnTo>
                    <a:pt x="767" y="507"/>
                  </a:lnTo>
                  <a:lnTo>
                    <a:pt x="764" y="501"/>
                  </a:lnTo>
                  <a:lnTo>
                    <a:pt x="761" y="499"/>
                  </a:lnTo>
                  <a:lnTo>
                    <a:pt x="758" y="496"/>
                  </a:lnTo>
                  <a:lnTo>
                    <a:pt x="754" y="492"/>
                  </a:lnTo>
                  <a:lnTo>
                    <a:pt x="754" y="492"/>
                  </a:lnTo>
                  <a:lnTo>
                    <a:pt x="749" y="486"/>
                  </a:lnTo>
                  <a:lnTo>
                    <a:pt x="745" y="480"/>
                  </a:lnTo>
                  <a:lnTo>
                    <a:pt x="740" y="474"/>
                  </a:lnTo>
                  <a:lnTo>
                    <a:pt x="736" y="473"/>
                  </a:lnTo>
                  <a:lnTo>
                    <a:pt x="732" y="471"/>
                  </a:lnTo>
                  <a:lnTo>
                    <a:pt x="732" y="471"/>
                  </a:lnTo>
                  <a:lnTo>
                    <a:pt x="711" y="465"/>
                  </a:lnTo>
                  <a:lnTo>
                    <a:pt x="703" y="462"/>
                  </a:lnTo>
                  <a:lnTo>
                    <a:pt x="700" y="459"/>
                  </a:lnTo>
                  <a:lnTo>
                    <a:pt x="700" y="456"/>
                  </a:lnTo>
                  <a:lnTo>
                    <a:pt x="700" y="456"/>
                  </a:lnTo>
                  <a:lnTo>
                    <a:pt x="702" y="434"/>
                  </a:lnTo>
                  <a:lnTo>
                    <a:pt x="705" y="421"/>
                  </a:lnTo>
                  <a:lnTo>
                    <a:pt x="706" y="413"/>
                  </a:lnTo>
                  <a:lnTo>
                    <a:pt x="706" y="413"/>
                  </a:lnTo>
                  <a:lnTo>
                    <a:pt x="711" y="410"/>
                  </a:lnTo>
                  <a:lnTo>
                    <a:pt x="714" y="407"/>
                  </a:lnTo>
                  <a:lnTo>
                    <a:pt x="720" y="403"/>
                  </a:lnTo>
                  <a:lnTo>
                    <a:pt x="724" y="398"/>
                  </a:lnTo>
                  <a:lnTo>
                    <a:pt x="724" y="398"/>
                  </a:lnTo>
                  <a:lnTo>
                    <a:pt x="727" y="393"/>
                  </a:lnTo>
                  <a:lnTo>
                    <a:pt x="729" y="387"/>
                  </a:lnTo>
                  <a:lnTo>
                    <a:pt x="730" y="384"/>
                  </a:lnTo>
                  <a:lnTo>
                    <a:pt x="733" y="382"/>
                  </a:lnTo>
                  <a:lnTo>
                    <a:pt x="736" y="381"/>
                  </a:lnTo>
                  <a:lnTo>
                    <a:pt x="742" y="379"/>
                  </a:lnTo>
                  <a:lnTo>
                    <a:pt x="742" y="379"/>
                  </a:lnTo>
                  <a:lnTo>
                    <a:pt x="761" y="379"/>
                  </a:lnTo>
                  <a:lnTo>
                    <a:pt x="767" y="378"/>
                  </a:lnTo>
                  <a:lnTo>
                    <a:pt x="769" y="378"/>
                  </a:lnTo>
                  <a:lnTo>
                    <a:pt x="769" y="376"/>
                  </a:lnTo>
                  <a:lnTo>
                    <a:pt x="769" y="376"/>
                  </a:lnTo>
                  <a:lnTo>
                    <a:pt x="769" y="373"/>
                  </a:lnTo>
                  <a:lnTo>
                    <a:pt x="764" y="369"/>
                  </a:lnTo>
                  <a:lnTo>
                    <a:pt x="761" y="364"/>
                  </a:lnTo>
                  <a:lnTo>
                    <a:pt x="761" y="361"/>
                  </a:lnTo>
                  <a:lnTo>
                    <a:pt x="761" y="358"/>
                  </a:lnTo>
                  <a:lnTo>
                    <a:pt x="761" y="358"/>
                  </a:lnTo>
                  <a:lnTo>
                    <a:pt x="763" y="348"/>
                  </a:lnTo>
                  <a:lnTo>
                    <a:pt x="764" y="338"/>
                  </a:lnTo>
                  <a:lnTo>
                    <a:pt x="764" y="338"/>
                  </a:lnTo>
                  <a:lnTo>
                    <a:pt x="764" y="333"/>
                  </a:lnTo>
                  <a:lnTo>
                    <a:pt x="763" y="332"/>
                  </a:lnTo>
                  <a:lnTo>
                    <a:pt x="758" y="330"/>
                  </a:lnTo>
                  <a:lnTo>
                    <a:pt x="748" y="330"/>
                  </a:lnTo>
                  <a:lnTo>
                    <a:pt x="748" y="330"/>
                  </a:lnTo>
                  <a:lnTo>
                    <a:pt x="737" y="330"/>
                  </a:lnTo>
                  <a:lnTo>
                    <a:pt x="730" y="330"/>
                  </a:lnTo>
                  <a:lnTo>
                    <a:pt x="727" y="329"/>
                  </a:lnTo>
                  <a:lnTo>
                    <a:pt x="724" y="327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18" y="298"/>
                  </a:lnTo>
                  <a:lnTo>
                    <a:pt x="717" y="287"/>
                  </a:lnTo>
                  <a:lnTo>
                    <a:pt x="714" y="283"/>
                  </a:lnTo>
                  <a:lnTo>
                    <a:pt x="711" y="281"/>
                  </a:lnTo>
                  <a:lnTo>
                    <a:pt x="711" y="281"/>
                  </a:lnTo>
                  <a:lnTo>
                    <a:pt x="703" y="281"/>
                  </a:lnTo>
                  <a:lnTo>
                    <a:pt x="698" y="281"/>
                  </a:lnTo>
                  <a:lnTo>
                    <a:pt x="693" y="281"/>
                  </a:lnTo>
                  <a:lnTo>
                    <a:pt x="692" y="280"/>
                  </a:lnTo>
                  <a:lnTo>
                    <a:pt x="692" y="277"/>
                  </a:lnTo>
                  <a:lnTo>
                    <a:pt x="692" y="277"/>
                  </a:lnTo>
                  <a:lnTo>
                    <a:pt x="692" y="273"/>
                  </a:lnTo>
                  <a:lnTo>
                    <a:pt x="693" y="268"/>
                  </a:lnTo>
                  <a:lnTo>
                    <a:pt x="692" y="265"/>
                  </a:lnTo>
                  <a:lnTo>
                    <a:pt x="690" y="262"/>
                  </a:lnTo>
                  <a:lnTo>
                    <a:pt x="681" y="256"/>
                  </a:lnTo>
                  <a:lnTo>
                    <a:pt x="681" y="256"/>
                  </a:lnTo>
                  <a:lnTo>
                    <a:pt x="672" y="252"/>
                  </a:lnTo>
                  <a:lnTo>
                    <a:pt x="659" y="247"/>
                  </a:lnTo>
                  <a:lnTo>
                    <a:pt x="628" y="241"/>
                  </a:lnTo>
                  <a:lnTo>
                    <a:pt x="585" y="234"/>
                  </a:lnTo>
                  <a:lnTo>
                    <a:pt x="585" y="234"/>
                  </a:lnTo>
                  <a:lnTo>
                    <a:pt x="570" y="230"/>
                  </a:lnTo>
                  <a:lnTo>
                    <a:pt x="563" y="227"/>
                  </a:lnTo>
                  <a:lnTo>
                    <a:pt x="561" y="225"/>
                  </a:lnTo>
                  <a:lnTo>
                    <a:pt x="561" y="222"/>
                  </a:lnTo>
                  <a:lnTo>
                    <a:pt x="561" y="222"/>
                  </a:lnTo>
                  <a:lnTo>
                    <a:pt x="564" y="213"/>
                  </a:lnTo>
                  <a:lnTo>
                    <a:pt x="564" y="209"/>
                  </a:lnTo>
                  <a:lnTo>
                    <a:pt x="563" y="203"/>
                  </a:lnTo>
                  <a:lnTo>
                    <a:pt x="563" y="203"/>
                  </a:lnTo>
                  <a:lnTo>
                    <a:pt x="558" y="191"/>
                  </a:lnTo>
                  <a:lnTo>
                    <a:pt x="558" y="187"/>
                  </a:lnTo>
                  <a:lnTo>
                    <a:pt x="558" y="185"/>
                  </a:lnTo>
                  <a:lnTo>
                    <a:pt x="561" y="184"/>
                  </a:lnTo>
                  <a:lnTo>
                    <a:pt x="561" y="184"/>
                  </a:lnTo>
                  <a:lnTo>
                    <a:pt x="564" y="182"/>
                  </a:lnTo>
                  <a:lnTo>
                    <a:pt x="566" y="181"/>
                  </a:lnTo>
                  <a:lnTo>
                    <a:pt x="567" y="175"/>
                  </a:lnTo>
                  <a:lnTo>
                    <a:pt x="570" y="164"/>
                  </a:lnTo>
                  <a:lnTo>
                    <a:pt x="570" y="164"/>
                  </a:lnTo>
                  <a:lnTo>
                    <a:pt x="572" y="161"/>
                  </a:lnTo>
                  <a:lnTo>
                    <a:pt x="576" y="159"/>
                  </a:lnTo>
                  <a:lnTo>
                    <a:pt x="579" y="157"/>
                  </a:lnTo>
                  <a:lnTo>
                    <a:pt x="581" y="154"/>
                  </a:lnTo>
                  <a:lnTo>
                    <a:pt x="581" y="154"/>
                  </a:lnTo>
                  <a:lnTo>
                    <a:pt x="581" y="150"/>
                  </a:lnTo>
                  <a:lnTo>
                    <a:pt x="579" y="145"/>
                  </a:lnTo>
                  <a:lnTo>
                    <a:pt x="576" y="136"/>
                  </a:lnTo>
                  <a:lnTo>
                    <a:pt x="576" y="136"/>
                  </a:lnTo>
                  <a:lnTo>
                    <a:pt x="576" y="133"/>
                  </a:lnTo>
                  <a:lnTo>
                    <a:pt x="578" y="129"/>
                  </a:lnTo>
                  <a:lnTo>
                    <a:pt x="576" y="124"/>
                  </a:lnTo>
                  <a:lnTo>
                    <a:pt x="575" y="123"/>
                  </a:lnTo>
                  <a:lnTo>
                    <a:pt x="573" y="122"/>
                  </a:lnTo>
                  <a:lnTo>
                    <a:pt x="573" y="122"/>
                  </a:lnTo>
                  <a:lnTo>
                    <a:pt x="564" y="120"/>
                  </a:lnTo>
                  <a:lnTo>
                    <a:pt x="564" y="120"/>
                  </a:lnTo>
                  <a:lnTo>
                    <a:pt x="557" y="119"/>
                  </a:lnTo>
                  <a:lnTo>
                    <a:pt x="554" y="116"/>
                  </a:lnTo>
                  <a:lnTo>
                    <a:pt x="554" y="116"/>
                  </a:lnTo>
                  <a:lnTo>
                    <a:pt x="545" y="101"/>
                  </a:lnTo>
                  <a:lnTo>
                    <a:pt x="539" y="90"/>
                  </a:lnTo>
                  <a:lnTo>
                    <a:pt x="536" y="87"/>
                  </a:lnTo>
                  <a:lnTo>
                    <a:pt x="532" y="84"/>
                  </a:lnTo>
                  <a:lnTo>
                    <a:pt x="532" y="84"/>
                  </a:lnTo>
                  <a:lnTo>
                    <a:pt x="529" y="83"/>
                  </a:lnTo>
                  <a:lnTo>
                    <a:pt x="524" y="83"/>
                  </a:lnTo>
                  <a:lnTo>
                    <a:pt x="512" y="86"/>
                  </a:lnTo>
                  <a:lnTo>
                    <a:pt x="484" y="98"/>
                  </a:lnTo>
                  <a:lnTo>
                    <a:pt x="484" y="98"/>
                  </a:lnTo>
                  <a:lnTo>
                    <a:pt x="474" y="104"/>
                  </a:lnTo>
                  <a:lnTo>
                    <a:pt x="465" y="108"/>
                  </a:lnTo>
                  <a:lnTo>
                    <a:pt x="459" y="113"/>
                  </a:lnTo>
                  <a:lnTo>
                    <a:pt x="455" y="116"/>
                  </a:lnTo>
                  <a:lnTo>
                    <a:pt x="455" y="116"/>
                  </a:lnTo>
                  <a:lnTo>
                    <a:pt x="450" y="114"/>
                  </a:lnTo>
                  <a:lnTo>
                    <a:pt x="446" y="111"/>
                  </a:lnTo>
                  <a:lnTo>
                    <a:pt x="437" y="104"/>
                  </a:lnTo>
                  <a:lnTo>
                    <a:pt x="437" y="104"/>
                  </a:lnTo>
                  <a:lnTo>
                    <a:pt x="434" y="102"/>
                  </a:lnTo>
                  <a:lnTo>
                    <a:pt x="429" y="101"/>
                  </a:lnTo>
                  <a:lnTo>
                    <a:pt x="418" y="98"/>
                  </a:lnTo>
                  <a:lnTo>
                    <a:pt x="407" y="96"/>
                  </a:lnTo>
                  <a:lnTo>
                    <a:pt x="403" y="96"/>
                  </a:lnTo>
                  <a:lnTo>
                    <a:pt x="401" y="95"/>
                  </a:lnTo>
                  <a:lnTo>
                    <a:pt x="401" y="95"/>
                  </a:lnTo>
                  <a:lnTo>
                    <a:pt x="397" y="89"/>
                  </a:lnTo>
                  <a:lnTo>
                    <a:pt x="391" y="79"/>
                  </a:lnTo>
                  <a:lnTo>
                    <a:pt x="391" y="79"/>
                  </a:lnTo>
                  <a:lnTo>
                    <a:pt x="387" y="73"/>
                  </a:lnTo>
                  <a:lnTo>
                    <a:pt x="381" y="70"/>
                  </a:lnTo>
                  <a:lnTo>
                    <a:pt x="370" y="67"/>
                  </a:lnTo>
                  <a:lnTo>
                    <a:pt x="355" y="65"/>
                  </a:lnTo>
                  <a:lnTo>
                    <a:pt x="355" y="65"/>
                  </a:lnTo>
                  <a:lnTo>
                    <a:pt x="339" y="64"/>
                  </a:lnTo>
                  <a:lnTo>
                    <a:pt x="321" y="62"/>
                  </a:lnTo>
                  <a:lnTo>
                    <a:pt x="308" y="58"/>
                  </a:lnTo>
                  <a:lnTo>
                    <a:pt x="304" y="56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4" y="50"/>
                  </a:lnTo>
                  <a:lnTo>
                    <a:pt x="305" y="46"/>
                  </a:lnTo>
                  <a:lnTo>
                    <a:pt x="307" y="40"/>
                  </a:lnTo>
                  <a:lnTo>
                    <a:pt x="305" y="37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298" y="34"/>
                  </a:lnTo>
                  <a:lnTo>
                    <a:pt x="292" y="34"/>
                  </a:lnTo>
                  <a:lnTo>
                    <a:pt x="287" y="34"/>
                  </a:lnTo>
                  <a:lnTo>
                    <a:pt x="283" y="34"/>
                  </a:lnTo>
                  <a:lnTo>
                    <a:pt x="283" y="34"/>
                  </a:lnTo>
                  <a:lnTo>
                    <a:pt x="278" y="33"/>
                  </a:lnTo>
                  <a:lnTo>
                    <a:pt x="273" y="31"/>
                  </a:lnTo>
                  <a:lnTo>
                    <a:pt x="267" y="30"/>
                  </a:lnTo>
                  <a:lnTo>
                    <a:pt x="261" y="27"/>
                  </a:lnTo>
                  <a:lnTo>
                    <a:pt x="261" y="27"/>
                  </a:lnTo>
                  <a:lnTo>
                    <a:pt x="258" y="24"/>
                  </a:lnTo>
                  <a:lnTo>
                    <a:pt x="255" y="24"/>
                  </a:lnTo>
                  <a:lnTo>
                    <a:pt x="249" y="22"/>
                  </a:lnTo>
                  <a:lnTo>
                    <a:pt x="241" y="21"/>
                  </a:lnTo>
                  <a:lnTo>
                    <a:pt x="238" y="19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25" y="7"/>
                  </a:lnTo>
                  <a:lnTo>
                    <a:pt x="212" y="2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4" y="0"/>
                  </a:lnTo>
                  <a:lnTo>
                    <a:pt x="190" y="3"/>
                  </a:lnTo>
                  <a:lnTo>
                    <a:pt x="190" y="3"/>
                  </a:lnTo>
                  <a:lnTo>
                    <a:pt x="185" y="10"/>
                  </a:lnTo>
                  <a:lnTo>
                    <a:pt x="182" y="16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8" y="25"/>
                  </a:lnTo>
                  <a:lnTo>
                    <a:pt x="170" y="25"/>
                  </a:lnTo>
                  <a:lnTo>
                    <a:pt x="163" y="27"/>
                  </a:lnTo>
                  <a:lnTo>
                    <a:pt x="160" y="28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7" y="40"/>
                  </a:lnTo>
                  <a:lnTo>
                    <a:pt x="156" y="47"/>
                  </a:lnTo>
                  <a:lnTo>
                    <a:pt x="156" y="53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1" y="61"/>
                  </a:lnTo>
                  <a:lnTo>
                    <a:pt x="145" y="62"/>
                  </a:lnTo>
                  <a:lnTo>
                    <a:pt x="142" y="64"/>
                  </a:lnTo>
                  <a:lnTo>
                    <a:pt x="141" y="65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8" y="74"/>
                  </a:lnTo>
                  <a:lnTo>
                    <a:pt x="148" y="77"/>
                  </a:lnTo>
                  <a:lnTo>
                    <a:pt x="148" y="82"/>
                  </a:lnTo>
                  <a:lnTo>
                    <a:pt x="148" y="82"/>
                  </a:lnTo>
                  <a:lnTo>
                    <a:pt x="147" y="89"/>
                  </a:lnTo>
                  <a:lnTo>
                    <a:pt x="144" y="96"/>
                  </a:lnTo>
                  <a:lnTo>
                    <a:pt x="139" y="102"/>
                  </a:lnTo>
                  <a:lnTo>
                    <a:pt x="136" y="104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0" y="107"/>
                  </a:lnTo>
                  <a:lnTo>
                    <a:pt x="129" y="108"/>
                  </a:lnTo>
                  <a:lnTo>
                    <a:pt x="126" y="114"/>
                  </a:lnTo>
                  <a:lnTo>
                    <a:pt x="123" y="119"/>
                  </a:lnTo>
                  <a:lnTo>
                    <a:pt x="121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0" y="116"/>
                  </a:lnTo>
                  <a:lnTo>
                    <a:pt x="105" y="114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89" y="123"/>
                  </a:lnTo>
                  <a:lnTo>
                    <a:pt x="84" y="124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76" y="124"/>
                  </a:lnTo>
                  <a:lnTo>
                    <a:pt x="73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67" y="130"/>
                  </a:lnTo>
                  <a:lnTo>
                    <a:pt x="62" y="132"/>
                  </a:lnTo>
                  <a:lnTo>
                    <a:pt x="59" y="133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49" y="161"/>
                  </a:lnTo>
                  <a:lnTo>
                    <a:pt x="49" y="161"/>
                  </a:lnTo>
                  <a:lnTo>
                    <a:pt x="46" y="170"/>
                  </a:lnTo>
                  <a:lnTo>
                    <a:pt x="42" y="175"/>
                  </a:lnTo>
                  <a:lnTo>
                    <a:pt x="40" y="176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24" y="179"/>
                  </a:lnTo>
                  <a:lnTo>
                    <a:pt x="19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2" y="190"/>
                  </a:lnTo>
                  <a:lnTo>
                    <a:pt x="9" y="19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8" name="Freeform 137">
              <a:extLst>
                <a:ext uri="{FF2B5EF4-FFF2-40B4-BE49-F238E27FC236}">
                  <a16:creationId xmlns:a16="http://schemas.microsoft.com/office/drawing/2014/main" id="{9D4367D1-7088-DB45-B6E9-044BE206F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6494463"/>
              <a:ext cx="255588" cy="769937"/>
            </a:xfrm>
            <a:custGeom>
              <a:avLst/>
              <a:gdLst>
                <a:gd name="T0" fmla="*/ 160 w 161"/>
                <a:gd name="T1" fmla="*/ 6 h 485"/>
                <a:gd name="T2" fmla="*/ 158 w 161"/>
                <a:gd name="T3" fmla="*/ 11 h 485"/>
                <a:gd name="T4" fmla="*/ 142 w 161"/>
                <a:gd name="T5" fmla="*/ 20 h 485"/>
                <a:gd name="T6" fmla="*/ 136 w 161"/>
                <a:gd name="T7" fmla="*/ 30 h 485"/>
                <a:gd name="T8" fmla="*/ 133 w 161"/>
                <a:gd name="T9" fmla="*/ 40 h 485"/>
                <a:gd name="T10" fmla="*/ 138 w 161"/>
                <a:gd name="T11" fmla="*/ 52 h 485"/>
                <a:gd name="T12" fmla="*/ 144 w 161"/>
                <a:gd name="T13" fmla="*/ 69 h 485"/>
                <a:gd name="T14" fmla="*/ 138 w 161"/>
                <a:gd name="T15" fmla="*/ 88 h 485"/>
                <a:gd name="T16" fmla="*/ 135 w 161"/>
                <a:gd name="T17" fmla="*/ 97 h 485"/>
                <a:gd name="T18" fmla="*/ 142 w 161"/>
                <a:gd name="T19" fmla="*/ 104 h 485"/>
                <a:gd name="T20" fmla="*/ 142 w 161"/>
                <a:gd name="T21" fmla="*/ 109 h 485"/>
                <a:gd name="T22" fmla="*/ 138 w 161"/>
                <a:gd name="T23" fmla="*/ 132 h 485"/>
                <a:gd name="T24" fmla="*/ 145 w 161"/>
                <a:gd name="T25" fmla="*/ 137 h 485"/>
                <a:gd name="T26" fmla="*/ 150 w 161"/>
                <a:gd name="T27" fmla="*/ 141 h 485"/>
                <a:gd name="T28" fmla="*/ 148 w 161"/>
                <a:gd name="T29" fmla="*/ 152 h 485"/>
                <a:gd name="T30" fmla="*/ 141 w 161"/>
                <a:gd name="T31" fmla="*/ 186 h 485"/>
                <a:gd name="T32" fmla="*/ 133 w 161"/>
                <a:gd name="T33" fmla="*/ 209 h 485"/>
                <a:gd name="T34" fmla="*/ 120 w 161"/>
                <a:gd name="T35" fmla="*/ 221 h 485"/>
                <a:gd name="T36" fmla="*/ 99 w 161"/>
                <a:gd name="T37" fmla="*/ 232 h 485"/>
                <a:gd name="T38" fmla="*/ 98 w 161"/>
                <a:gd name="T39" fmla="*/ 234 h 485"/>
                <a:gd name="T40" fmla="*/ 108 w 161"/>
                <a:gd name="T41" fmla="*/ 239 h 485"/>
                <a:gd name="T42" fmla="*/ 108 w 161"/>
                <a:gd name="T43" fmla="*/ 243 h 485"/>
                <a:gd name="T44" fmla="*/ 105 w 161"/>
                <a:gd name="T45" fmla="*/ 260 h 485"/>
                <a:gd name="T46" fmla="*/ 111 w 161"/>
                <a:gd name="T47" fmla="*/ 267 h 485"/>
                <a:gd name="T48" fmla="*/ 108 w 161"/>
                <a:gd name="T49" fmla="*/ 272 h 485"/>
                <a:gd name="T50" fmla="*/ 93 w 161"/>
                <a:gd name="T51" fmla="*/ 267 h 485"/>
                <a:gd name="T52" fmla="*/ 77 w 161"/>
                <a:gd name="T53" fmla="*/ 266 h 485"/>
                <a:gd name="T54" fmla="*/ 56 w 161"/>
                <a:gd name="T55" fmla="*/ 267 h 485"/>
                <a:gd name="T56" fmla="*/ 43 w 161"/>
                <a:gd name="T57" fmla="*/ 274 h 485"/>
                <a:gd name="T58" fmla="*/ 46 w 161"/>
                <a:gd name="T59" fmla="*/ 280 h 485"/>
                <a:gd name="T60" fmla="*/ 40 w 161"/>
                <a:gd name="T61" fmla="*/ 288 h 485"/>
                <a:gd name="T62" fmla="*/ 31 w 161"/>
                <a:gd name="T63" fmla="*/ 292 h 485"/>
                <a:gd name="T64" fmla="*/ 30 w 161"/>
                <a:gd name="T65" fmla="*/ 298 h 485"/>
                <a:gd name="T66" fmla="*/ 27 w 161"/>
                <a:gd name="T67" fmla="*/ 306 h 485"/>
                <a:gd name="T68" fmla="*/ 25 w 161"/>
                <a:gd name="T69" fmla="*/ 310 h 485"/>
                <a:gd name="T70" fmla="*/ 24 w 161"/>
                <a:gd name="T71" fmla="*/ 319 h 485"/>
                <a:gd name="T72" fmla="*/ 18 w 161"/>
                <a:gd name="T73" fmla="*/ 335 h 485"/>
                <a:gd name="T74" fmla="*/ 16 w 161"/>
                <a:gd name="T75" fmla="*/ 344 h 485"/>
                <a:gd name="T76" fmla="*/ 12 w 161"/>
                <a:gd name="T77" fmla="*/ 371 h 485"/>
                <a:gd name="T78" fmla="*/ 3 w 161"/>
                <a:gd name="T79" fmla="*/ 384 h 485"/>
                <a:gd name="T80" fmla="*/ 3 w 161"/>
                <a:gd name="T81" fmla="*/ 390 h 485"/>
                <a:gd name="T82" fmla="*/ 9 w 161"/>
                <a:gd name="T83" fmla="*/ 397 h 485"/>
                <a:gd name="T84" fmla="*/ 12 w 161"/>
                <a:gd name="T85" fmla="*/ 408 h 485"/>
                <a:gd name="T86" fmla="*/ 15 w 161"/>
                <a:gd name="T87" fmla="*/ 411 h 485"/>
                <a:gd name="T88" fmla="*/ 15 w 161"/>
                <a:gd name="T89" fmla="*/ 423 h 485"/>
                <a:gd name="T90" fmla="*/ 18 w 161"/>
                <a:gd name="T91" fmla="*/ 433 h 485"/>
                <a:gd name="T92" fmla="*/ 13 w 161"/>
                <a:gd name="T93" fmla="*/ 439 h 485"/>
                <a:gd name="T94" fmla="*/ 4 w 161"/>
                <a:gd name="T95" fmla="*/ 446 h 485"/>
                <a:gd name="T96" fmla="*/ 0 w 161"/>
                <a:gd name="T97" fmla="*/ 464 h 485"/>
                <a:gd name="T98" fmla="*/ 1 w 161"/>
                <a:gd name="T99" fmla="*/ 474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1" h="485">
                  <a:moveTo>
                    <a:pt x="154" y="0"/>
                  </a:moveTo>
                  <a:lnTo>
                    <a:pt x="154" y="0"/>
                  </a:lnTo>
                  <a:lnTo>
                    <a:pt x="160" y="6"/>
                  </a:lnTo>
                  <a:lnTo>
                    <a:pt x="161" y="8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48" y="12"/>
                  </a:lnTo>
                  <a:lnTo>
                    <a:pt x="145" y="15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9" y="26"/>
                  </a:lnTo>
                  <a:lnTo>
                    <a:pt x="136" y="30"/>
                  </a:lnTo>
                  <a:lnTo>
                    <a:pt x="133" y="35"/>
                  </a:lnTo>
                  <a:lnTo>
                    <a:pt x="133" y="38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5" y="46"/>
                  </a:lnTo>
                  <a:lnTo>
                    <a:pt x="138" y="52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9"/>
                  </a:lnTo>
                  <a:lnTo>
                    <a:pt x="144" y="73"/>
                  </a:lnTo>
                  <a:lnTo>
                    <a:pt x="141" y="80"/>
                  </a:lnTo>
                  <a:lnTo>
                    <a:pt x="138" y="88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7"/>
                  </a:lnTo>
                  <a:lnTo>
                    <a:pt x="136" y="98"/>
                  </a:lnTo>
                  <a:lnTo>
                    <a:pt x="139" y="101"/>
                  </a:lnTo>
                  <a:lnTo>
                    <a:pt x="142" y="104"/>
                  </a:lnTo>
                  <a:lnTo>
                    <a:pt x="144" y="107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38" y="122"/>
                  </a:lnTo>
                  <a:lnTo>
                    <a:pt x="136" y="129"/>
                  </a:lnTo>
                  <a:lnTo>
                    <a:pt x="138" y="132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45" y="137"/>
                  </a:lnTo>
                  <a:lnTo>
                    <a:pt x="148" y="138"/>
                  </a:lnTo>
                  <a:lnTo>
                    <a:pt x="150" y="140"/>
                  </a:lnTo>
                  <a:lnTo>
                    <a:pt x="150" y="141"/>
                  </a:lnTo>
                  <a:lnTo>
                    <a:pt x="148" y="149"/>
                  </a:lnTo>
                  <a:lnTo>
                    <a:pt x="148" y="149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4" y="168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38" y="197"/>
                  </a:lnTo>
                  <a:lnTo>
                    <a:pt x="133" y="209"/>
                  </a:lnTo>
                  <a:lnTo>
                    <a:pt x="127" y="217"/>
                  </a:lnTo>
                  <a:lnTo>
                    <a:pt x="124" y="220"/>
                  </a:lnTo>
                  <a:lnTo>
                    <a:pt x="120" y="221"/>
                  </a:lnTo>
                  <a:lnTo>
                    <a:pt x="120" y="221"/>
                  </a:lnTo>
                  <a:lnTo>
                    <a:pt x="104" y="229"/>
                  </a:lnTo>
                  <a:lnTo>
                    <a:pt x="99" y="232"/>
                  </a:lnTo>
                  <a:lnTo>
                    <a:pt x="98" y="233"/>
                  </a:lnTo>
                  <a:lnTo>
                    <a:pt x="98" y="234"/>
                  </a:lnTo>
                  <a:lnTo>
                    <a:pt x="98" y="234"/>
                  </a:lnTo>
                  <a:lnTo>
                    <a:pt x="102" y="236"/>
                  </a:lnTo>
                  <a:lnTo>
                    <a:pt x="105" y="237"/>
                  </a:lnTo>
                  <a:lnTo>
                    <a:pt x="108" y="239"/>
                  </a:lnTo>
                  <a:lnTo>
                    <a:pt x="108" y="240"/>
                  </a:lnTo>
                  <a:lnTo>
                    <a:pt x="108" y="243"/>
                  </a:lnTo>
                  <a:lnTo>
                    <a:pt x="108" y="243"/>
                  </a:lnTo>
                  <a:lnTo>
                    <a:pt x="104" y="252"/>
                  </a:lnTo>
                  <a:lnTo>
                    <a:pt x="102" y="257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10" y="263"/>
                  </a:lnTo>
                  <a:lnTo>
                    <a:pt x="111" y="267"/>
                  </a:lnTo>
                  <a:lnTo>
                    <a:pt x="111" y="270"/>
                  </a:lnTo>
                  <a:lnTo>
                    <a:pt x="108" y="272"/>
                  </a:lnTo>
                  <a:lnTo>
                    <a:pt x="108" y="272"/>
                  </a:lnTo>
                  <a:lnTo>
                    <a:pt x="105" y="270"/>
                  </a:lnTo>
                  <a:lnTo>
                    <a:pt x="99" y="269"/>
                  </a:lnTo>
                  <a:lnTo>
                    <a:pt x="93" y="267"/>
                  </a:lnTo>
                  <a:lnTo>
                    <a:pt x="86" y="266"/>
                  </a:lnTo>
                  <a:lnTo>
                    <a:pt x="86" y="266"/>
                  </a:lnTo>
                  <a:lnTo>
                    <a:pt x="7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56" y="267"/>
                  </a:lnTo>
                  <a:lnTo>
                    <a:pt x="49" y="269"/>
                  </a:lnTo>
                  <a:lnTo>
                    <a:pt x="43" y="273"/>
                  </a:lnTo>
                  <a:lnTo>
                    <a:pt x="43" y="274"/>
                  </a:lnTo>
                  <a:lnTo>
                    <a:pt x="43" y="276"/>
                  </a:lnTo>
                  <a:lnTo>
                    <a:pt x="43" y="276"/>
                  </a:lnTo>
                  <a:lnTo>
                    <a:pt x="46" y="280"/>
                  </a:lnTo>
                  <a:lnTo>
                    <a:pt x="46" y="283"/>
                  </a:lnTo>
                  <a:lnTo>
                    <a:pt x="44" y="286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34" y="291"/>
                  </a:lnTo>
                  <a:lnTo>
                    <a:pt x="31" y="292"/>
                  </a:lnTo>
                  <a:lnTo>
                    <a:pt x="30" y="295"/>
                  </a:lnTo>
                  <a:lnTo>
                    <a:pt x="30" y="298"/>
                  </a:lnTo>
                  <a:lnTo>
                    <a:pt x="30" y="298"/>
                  </a:lnTo>
                  <a:lnTo>
                    <a:pt x="31" y="301"/>
                  </a:lnTo>
                  <a:lnTo>
                    <a:pt x="30" y="303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7" y="309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4" y="319"/>
                  </a:lnTo>
                  <a:lnTo>
                    <a:pt x="24" y="319"/>
                  </a:lnTo>
                  <a:lnTo>
                    <a:pt x="22" y="326"/>
                  </a:lnTo>
                  <a:lnTo>
                    <a:pt x="19" y="332"/>
                  </a:lnTo>
                  <a:lnTo>
                    <a:pt x="18" y="335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6" y="344"/>
                  </a:lnTo>
                  <a:lnTo>
                    <a:pt x="16" y="353"/>
                  </a:lnTo>
                  <a:lnTo>
                    <a:pt x="15" y="362"/>
                  </a:lnTo>
                  <a:lnTo>
                    <a:pt x="12" y="371"/>
                  </a:lnTo>
                  <a:lnTo>
                    <a:pt x="12" y="371"/>
                  </a:lnTo>
                  <a:lnTo>
                    <a:pt x="4" y="380"/>
                  </a:lnTo>
                  <a:lnTo>
                    <a:pt x="3" y="384"/>
                  </a:lnTo>
                  <a:lnTo>
                    <a:pt x="1" y="387"/>
                  </a:lnTo>
                  <a:lnTo>
                    <a:pt x="1" y="387"/>
                  </a:lnTo>
                  <a:lnTo>
                    <a:pt x="3" y="390"/>
                  </a:lnTo>
                  <a:lnTo>
                    <a:pt x="6" y="393"/>
                  </a:lnTo>
                  <a:lnTo>
                    <a:pt x="9" y="394"/>
                  </a:lnTo>
                  <a:lnTo>
                    <a:pt x="9" y="397"/>
                  </a:lnTo>
                  <a:lnTo>
                    <a:pt x="9" y="397"/>
                  </a:lnTo>
                  <a:lnTo>
                    <a:pt x="10" y="405"/>
                  </a:lnTo>
                  <a:lnTo>
                    <a:pt x="12" y="408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5" y="411"/>
                  </a:lnTo>
                  <a:lnTo>
                    <a:pt x="13" y="414"/>
                  </a:lnTo>
                  <a:lnTo>
                    <a:pt x="13" y="418"/>
                  </a:lnTo>
                  <a:lnTo>
                    <a:pt x="15" y="423"/>
                  </a:lnTo>
                  <a:lnTo>
                    <a:pt x="15" y="423"/>
                  </a:lnTo>
                  <a:lnTo>
                    <a:pt x="16" y="429"/>
                  </a:lnTo>
                  <a:lnTo>
                    <a:pt x="18" y="433"/>
                  </a:lnTo>
                  <a:lnTo>
                    <a:pt x="16" y="437"/>
                  </a:lnTo>
                  <a:lnTo>
                    <a:pt x="13" y="439"/>
                  </a:lnTo>
                  <a:lnTo>
                    <a:pt x="13" y="439"/>
                  </a:lnTo>
                  <a:lnTo>
                    <a:pt x="7" y="442"/>
                  </a:lnTo>
                  <a:lnTo>
                    <a:pt x="6" y="443"/>
                  </a:lnTo>
                  <a:lnTo>
                    <a:pt x="4" y="446"/>
                  </a:lnTo>
                  <a:lnTo>
                    <a:pt x="4" y="446"/>
                  </a:lnTo>
                  <a:lnTo>
                    <a:pt x="3" y="455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8"/>
                  </a:lnTo>
                  <a:lnTo>
                    <a:pt x="1" y="474"/>
                  </a:lnTo>
                  <a:lnTo>
                    <a:pt x="3" y="485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9" name="Freeform 138">
              <a:extLst>
                <a:ext uri="{FF2B5EF4-FFF2-40B4-BE49-F238E27FC236}">
                  <a16:creationId xmlns:a16="http://schemas.microsoft.com/office/drawing/2014/main" id="{180C457A-7F61-A04B-B2CE-6675D00A1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8950" y="6048375"/>
              <a:ext cx="773113" cy="806450"/>
            </a:xfrm>
            <a:custGeom>
              <a:avLst/>
              <a:gdLst>
                <a:gd name="T0" fmla="*/ 75 w 487"/>
                <a:gd name="T1" fmla="*/ 481 h 508"/>
                <a:gd name="T2" fmla="*/ 97 w 487"/>
                <a:gd name="T3" fmla="*/ 477 h 508"/>
                <a:gd name="T4" fmla="*/ 89 w 487"/>
                <a:gd name="T5" fmla="*/ 462 h 508"/>
                <a:gd name="T6" fmla="*/ 97 w 487"/>
                <a:gd name="T7" fmla="*/ 455 h 508"/>
                <a:gd name="T8" fmla="*/ 117 w 487"/>
                <a:gd name="T9" fmla="*/ 443 h 508"/>
                <a:gd name="T10" fmla="*/ 139 w 487"/>
                <a:gd name="T11" fmla="*/ 403 h 508"/>
                <a:gd name="T12" fmla="*/ 148 w 487"/>
                <a:gd name="T13" fmla="*/ 400 h 508"/>
                <a:gd name="T14" fmla="*/ 155 w 487"/>
                <a:gd name="T15" fmla="*/ 385 h 508"/>
                <a:gd name="T16" fmla="*/ 167 w 487"/>
                <a:gd name="T17" fmla="*/ 369 h 508"/>
                <a:gd name="T18" fmla="*/ 185 w 487"/>
                <a:gd name="T19" fmla="*/ 381 h 508"/>
                <a:gd name="T20" fmla="*/ 201 w 487"/>
                <a:gd name="T21" fmla="*/ 381 h 508"/>
                <a:gd name="T22" fmla="*/ 210 w 487"/>
                <a:gd name="T23" fmla="*/ 357 h 508"/>
                <a:gd name="T24" fmla="*/ 206 w 487"/>
                <a:gd name="T25" fmla="*/ 320 h 508"/>
                <a:gd name="T26" fmla="*/ 201 w 487"/>
                <a:gd name="T27" fmla="*/ 302 h 508"/>
                <a:gd name="T28" fmla="*/ 182 w 487"/>
                <a:gd name="T29" fmla="*/ 314 h 508"/>
                <a:gd name="T30" fmla="*/ 173 w 487"/>
                <a:gd name="T31" fmla="*/ 305 h 508"/>
                <a:gd name="T32" fmla="*/ 164 w 487"/>
                <a:gd name="T33" fmla="*/ 293 h 508"/>
                <a:gd name="T34" fmla="*/ 172 w 487"/>
                <a:gd name="T35" fmla="*/ 283 h 508"/>
                <a:gd name="T36" fmla="*/ 191 w 487"/>
                <a:gd name="T37" fmla="*/ 268 h 508"/>
                <a:gd name="T38" fmla="*/ 191 w 487"/>
                <a:gd name="T39" fmla="*/ 234 h 508"/>
                <a:gd name="T40" fmla="*/ 243 w 487"/>
                <a:gd name="T41" fmla="*/ 182 h 508"/>
                <a:gd name="T42" fmla="*/ 256 w 487"/>
                <a:gd name="T43" fmla="*/ 185 h 508"/>
                <a:gd name="T44" fmla="*/ 266 w 487"/>
                <a:gd name="T45" fmla="*/ 200 h 508"/>
                <a:gd name="T46" fmla="*/ 256 w 487"/>
                <a:gd name="T47" fmla="*/ 227 h 508"/>
                <a:gd name="T48" fmla="*/ 291 w 487"/>
                <a:gd name="T49" fmla="*/ 239 h 508"/>
                <a:gd name="T50" fmla="*/ 296 w 487"/>
                <a:gd name="T51" fmla="*/ 262 h 508"/>
                <a:gd name="T52" fmla="*/ 331 w 487"/>
                <a:gd name="T53" fmla="*/ 281 h 508"/>
                <a:gd name="T54" fmla="*/ 355 w 487"/>
                <a:gd name="T55" fmla="*/ 270 h 508"/>
                <a:gd name="T56" fmla="*/ 389 w 487"/>
                <a:gd name="T57" fmla="*/ 286 h 508"/>
                <a:gd name="T58" fmla="*/ 417 w 487"/>
                <a:gd name="T59" fmla="*/ 299 h 508"/>
                <a:gd name="T60" fmla="*/ 457 w 487"/>
                <a:gd name="T61" fmla="*/ 292 h 508"/>
                <a:gd name="T62" fmla="*/ 481 w 487"/>
                <a:gd name="T63" fmla="*/ 281 h 508"/>
                <a:gd name="T64" fmla="*/ 484 w 487"/>
                <a:gd name="T65" fmla="*/ 271 h 508"/>
                <a:gd name="T66" fmla="*/ 465 w 487"/>
                <a:gd name="T67" fmla="*/ 244 h 508"/>
                <a:gd name="T68" fmla="*/ 434 w 487"/>
                <a:gd name="T69" fmla="*/ 231 h 508"/>
                <a:gd name="T70" fmla="*/ 417 w 487"/>
                <a:gd name="T71" fmla="*/ 215 h 508"/>
                <a:gd name="T72" fmla="*/ 391 w 487"/>
                <a:gd name="T73" fmla="*/ 207 h 508"/>
                <a:gd name="T74" fmla="*/ 385 w 487"/>
                <a:gd name="T75" fmla="*/ 194 h 508"/>
                <a:gd name="T76" fmla="*/ 383 w 487"/>
                <a:gd name="T77" fmla="*/ 172 h 508"/>
                <a:gd name="T78" fmla="*/ 389 w 487"/>
                <a:gd name="T79" fmla="*/ 163 h 508"/>
                <a:gd name="T80" fmla="*/ 373 w 487"/>
                <a:gd name="T81" fmla="*/ 151 h 508"/>
                <a:gd name="T82" fmla="*/ 370 w 487"/>
                <a:gd name="T83" fmla="*/ 119 h 508"/>
                <a:gd name="T84" fmla="*/ 349 w 487"/>
                <a:gd name="T85" fmla="*/ 93 h 508"/>
                <a:gd name="T86" fmla="*/ 333 w 487"/>
                <a:gd name="T87" fmla="*/ 62 h 508"/>
                <a:gd name="T88" fmla="*/ 333 w 487"/>
                <a:gd name="T89" fmla="*/ 42 h 508"/>
                <a:gd name="T90" fmla="*/ 302 w 487"/>
                <a:gd name="T91" fmla="*/ 36 h 508"/>
                <a:gd name="T92" fmla="*/ 266 w 487"/>
                <a:gd name="T93" fmla="*/ 13 h 508"/>
                <a:gd name="T94" fmla="*/ 241 w 487"/>
                <a:gd name="T95" fmla="*/ 2 h 508"/>
                <a:gd name="T96" fmla="*/ 207 w 487"/>
                <a:gd name="T97" fmla="*/ 18 h 508"/>
                <a:gd name="T98" fmla="*/ 176 w 487"/>
                <a:gd name="T99" fmla="*/ 27 h 508"/>
                <a:gd name="T100" fmla="*/ 133 w 487"/>
                <a:gd name="T101" fmla="*/ 34 h 508"/>
                <a:gd name="T102" fmla="*/ 124 w 487"/>
                <a:gd name="T103" fmla="*/ 28 h 508"/>
                <a:gd name="T104" fmla="*/ 83 w 487"/>
                <a:gd name="T105" fmla="*/ 40 h 508"/>
                <a:gd name="T106" fmla="*/ 66 w 487"/>
                <a:gd name="T107" fmla="*/ 39 h 508"/>
                <a:gd name="T108" fmla="*/ 43 w 487"/>
                <a:gd name="T109" fmla="*/ 52 h 508"/>
                <a:gd name="T110" fmla="*/ 9 w 487"/>
                <a:gd name="T111" fmla="*/ 37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7" h="508">
                  <a:moveTo>
                    <a:pt x="66" y="508"/>
                  </a:moveTo>
                  <a:lnTo>
                    <a:pt x="66" y="508"/>
                  </a:lnTo>
                  <a:lnTo>
                    <a:pt x="75" y="487"/>
                  </a:lnTo>
                  <a:lnTo>
                    <a:pt x="75" y="487"/>
                  </a:lnTo>
                  <a:lnTo>
                    <a:pt x="75" y="483"/>
                  </a:lnTo>
                  <a:lnTo>
                    <a:pt x="75" y="481"/>
                  </a:lnTo>
                  <a:lnTo>
                    <a:pt x="77" y="478"/>
                  </a:lnTo>
                  <a:lnTo>
                    <a:pt x="81" y="478"/>
                  </a:lnTo>
                  <a:lnTo>
                    <a:pt x="81" y="478"/>
                  </a:lnTo>
                  <a:lnTo>
                    <a:pt x="93" y="480"/>
                  </a:lnTo>
                  <a:lnTo>
                    <a:pt x="96" y="478"/>
                  </a:lnTo>
                  <a:lnTo>
                    <a:pt x="97" y="477"/>
                  </a:lnTo>
                  <a:lnTo>
                    <a:pt x="96" y="474"/>
                  </a:lnTo>
                  <a:lnTo>
                    <a:pt x="96" y="474"/>
                  </a:lnTo>
                  <a:lnTo>
                    <a:pt x="93" y="470"/>
                  </a:lnTo>
                  <a:lnTo>
                    <a:pt x="90" y="467"/>
                  </a:lnTo>
                  <a:lnTo>
                    <a:pt x="89" y="465"/>
                  </a:lnTo>
                  <a:lnTo>
                    <a:pt x="89" y="462"/>
                  </a:lnTo>
                  <a:lnTo>
                    <a:pt x="89" y="462"/>
                  </a:lnTo>
                  <a:lnTo>
                    <a:pt x="89" y="459"/>
                  </a:lnTo>
                  <a:lnTo>
                    <a:pt x="92" y="456"/>
                  </a:lnTo>
                  <a:lnTo>
                    <a:pt x="95" y="455"/>
                  </a:lnTo>
                  <a:lnTo>
                    <a:pt x="97" y="455"/>
                  </a:lnTo>
                  <a:lnTo>
                    <a:pt x="97" y="455"/>
                  </a:lnTo>
                  <a:lnTo>
                    <a:pt x="102" y="456"/>
                  </a:lnTo>
                  <a:lnTo>
                    <a:pt x="105" y="456"/>
                  </a:lnTo>
                  <a:lnTo>
                    <a:pt x="109" y="455"/>
                  </a:lnTo>
                  <a:lnTo>
                    <a:pt x="112" y="452"/>
                  </a:lnTo>
                  <a:lnTo>
                    <a:pt x="112" y="452"/>
                  </a:lnTo>
                  <a:lnTo>
                    <a:pt x="117" y="443"/>
                  </a:lnTo>
                  <a:lnTo>
                    <a:pt x="124" y="433"/>
                  </a:lnTo>
                  <a:lnTo>
                    <a:pt x="124" y="433"/>
                  </a:lnTo>
                  <a:lnTo>
                    <a:pt x="133" y="421"/>
                  </a:lnTo>
                  <a:lnTo>
                    <a:pt x="136" y="412"/>
                  </a:lnTo>
                  <a:lnTo>
                    <a:pt x="136" y="412"/>
                  </a:lnTo>
                  <a:lnTo>
                    <a:pt x="139" y="403"/>
                  </a:lnTo>
                  <a:lnTo>
                    <a:pt x="140" y="400"/>
                  </a:lnTo>
                  <a:lnTo>
                    <a:pt x="142" y="400"/>
                  </a:lnTo>
                  <a:lnTo>
                    <a:pt x="143" y="400"/>
                  </a:lnTo>
                  <a:lnTo>
                    <a:pt x="143" y="400"/>
                  </a:lnTo>
                  <a:lnTo>
                    <a:pt x="145" y="401"/>
                  </a:lnTo>
                  <a:lnTo>
                    <a:pt x="148" y="400"/>
                  </a:lnTo>
                  <a:lnTo>
                    <a:pt x="151" y="394"/>
                  </a:lnTo>
                  <a:lnTo>
                    <a:pt x="151" y="394"/>
                  </a:lnTo>
                  <a:lnTo>
                    <a:pt x="152" y="388"/>
                  </a:lnTo>
                  <a:lnTo>
                    <a:pt x="154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57" y="382"/>
                  </a:lnTo>
                  <a:lnTo>
                    <a:pt x="160" y="376"/>
                  </a:lnTo>
                  <a:lnTo>
                    <a:pt x="163" y="370"/>
                  </a:lnTo>
                  <a:lnTo>
                    <a:pt x="166" y="369"/>
                  </a:lnTo>
                  <a:lnTo>
                    <a:pt x="167" y="369"/>
                  </a:lnTo>
                  <a:lnTo>
                    <a:pt x="167" y="369"/>
                  </a:lnTo>
                  <a:lnTo>
                    <a:pt x="172" y="370"/>
                  </a:lnTo>
                  <a:lnTo>
                    <a:pt x="173" y="372"/>
                  </a:lnTo>
                  <a:lnTo>
                    <a:pt x="179" y="375"/>
                  </a:lnTo>
                  <a:lnTo>
                    <a:pt x="179" y="375"/>
                  </a:lnTo>
                  <a:lnTo>
                    <a:pt x="182" y="378"/>
                  </a:lnTo>
                  <a:lnTo>
                    <a:pt x="185" y="381"/>
                  </a:lnTo>
                  <a:lnTo>
                    <a:pt x="188" y="384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4" y="385"/>
                  </a:lnTo>
                  <a:lnTo>
                    <a:pt x="197" y="384"/>
                  </a:lnTo>
                  <a:lnTo>
                    <a:pt x="201" y="381"/>
                  </a:lnTo>
                  <a:lnTo>
                    <a:pt x="201" y="381"/>
                  </a:lnTo>
                  <a:lnTo>
                    <a:pt x="206" y="376"/>
                  </a:lnTo>
                  <a:lnTo>
                    <a:pt x="207" y="370"/>
                  </a:lnTo>
                  <a:lnTo>
                    <a:pt x="209" y="363"/>
                  </a:lnTo>
                  <a:lnTo>
                    <a:pt x="210" y="357"/>
                  </a:lnTo>
                  <a:lnTo>
                    <a:pt x="210" y="357"/>
                  </a:lnTo>
                  <a:lnTo>
                    <a:pt x="209" y="350"/>
                  </a:lnTo>
                  <a:lnTo>
                    <a:pt x="206" y="342"/>
                  </a:lnTo>
                  <a:lnTo>
                    <a:pt x="204" y="333"/>
                  </a:lnTo>
                  <a:lnTo>
                    <a:pt x="204" y="326"/>
                  </a:lnTo>
                  <a:lnTo>
                    <a:pt x="204" y="326"/>
                  </a:lnTo>
                  <a:lnTo>
                    <a:pt x="206" y="320"/>
                  </a:lnTo>
                  <a:lnTo>
                    <a:pt x="207" y="316"/>
                  </a:lnTo>
                  <a:lnTo>
                    <a:pt x="209" y="313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04" y="305"/>
                  </a:lnTo>
                  <a:lnTo>
                    <a:pt x="201" y="302"/>
                  </a:lnTo>
                  <a:lnTo>
                    <a:pt x="197" y="301"/>
                  </a:lnTo>
                  <a:lnTo>
                    <a:pt x="192" y="302"/>
                  </a:lnTo>
                  <a:lnTo>
                    <a:pt x="192" y="302"/>
                  </a:lnTo>
                  <a:lnTo>
                    <a:pt x="188" y="307"/>
                  </a:lnTo>
                  <a:lnTo>
                    <a:pt x="185" y="311"/>
                  </a:lnTo>
                  <a:lnTo>
                    <a:pt x="182" y="314"/>
                  </a:lnTo>
                  <a:lnTo>
                    <a:pt x="180" y="316"/>
                  </a:lnTo>
                  <a:lnTo>
                    <a:pt x="177" y="314"/>
                  </a:lnTo>
                  <a:lnTo>
                    <a:pt x="177" y="314"/>
                  </a:lnTo>
                  <a:lnTo>
                    <a:pt x="176" y="313"/>
                  </a:lnTo>
                  <a:lnTo>
                    <a:pt x="174" y="310"/>
                  </a:lnTo>
                  <a:lnTo>
                    <a:pt x="173" y="305"/>
                  </a:lnTo>
                  <a:lnTo>
                    <a:pt x="172" y="302"/>
                  </a:lnTo>
                  <a:lnTo>
                    <a:pt x="172" y="302"/>
                  </a:lnTo>
                  <a:lnTo>
                    <a:pt x="167" y="301"/>
                  </a:lnTo>
                  <a:lnTo>
                    <a:pt x="164" y="299"/>
                  </a:lnTo>
                  <a:lnTo>
                    <a:pt x="163" y="298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89"/>
                  </a:lnTo>
                  <a:lnTo>
                    <a:pt x="164" y="284"/>
                  </a:lnTo>
                  <a:lnTo>
                    <a:pt x="164" y="283"/>
                  </a:lnTo>
                  <a:lnTo>
                    <a:pt x="166" y="283"/>
                  </a:lnTo>
                  <a:lnTo>
                    <a:pt x="172" y="283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1"/>
                  </a:lnTo>
                  <a:lnTo>
                    <a:pt x="183" y="279"/>
                  </a:lnTo>
                  <a:lnTo>
                    <a:pt x="186" y="276"/>
                  </a:lnTo>
                  <a:lnTo>
                    <a:pt x="191" y="268"/>
                  </a:lnTo>
                  <a:lnTo>
                    <a:pt x="192" y="264"/>
                  </a:lnTo>
                  <a:lnTo>
                    <a:pt x="192" y="264"/>
                  </a:lnTo>
                  <a:lnTo>
                    <a:pt x="189" y="249"/>
                  </a:lnTo>
                  <a:lnTo>
                    <a:pt x="189" y="240"/>
                  </a:lnTo>
                  <a:lnTo>
                    <a:pt x="189" y="237"/>
                  </a:lnTo>
                  <a:lnTo>
                    <a:pt x="191" y="234"/>
                  </a:lnTo>
                  <a:lnTo>
                    <a:pt x="191" y="234"/>
                  </a:lnTo>
                  <a:lnTo>
                    <a:pt x="200" y="224"/>
                  </a:lnTo>
                  <a:lnTo>
                    <a:pt x="213" y="212"/>
                  </a:lnTo>
                  <a:lnTo>
                    <a:pt x="213" y="212"/>
                  </a:lnTo>
                  <a:lnTo>
                    <a:pt x="232" y="191"/>
                  </a:lnTo>
                  <a:lnTo>
                    <a:pt x="243" y="182"/>
                  </a:lnTo>
                  <a:lnTo>
                    <a:pt x="247" y="179"/>
                  </a:lnTo>
                  <a:lnTo>
                    <a:pt x="251" y="178"/>
                  </a:lnTo>
                  <a:lnTo>
                    <a:pt x="251" y="178"/>
                  </a:lnTo>
                  <a:lnTo>
                    <a:pt x="254" y="181"/>
                  </a:lnTo>
                  <a:lnTo>
                    <a:pt x="256" y="182"/>
                  </a:lnTo>
                  <a:lnTo>
                    <a:pt x="256" y="185"/>
                  </a:lnTo>
                  <a:lnTo>
                    <a:pt x="259" y="188"/>
                  </a:lnTo>
                  <a:lnTo>
                    <a:pt x="259" y="188"/>
                  </a:lnTo>
                  <a:lnTo>
                    <a:pt x="262" y="191"/>
                  </a:lnTo>
                  <a:lnTo>
                    <a:pt x="265" y="196"/>
                  </a:lnTo>
                  <a:lnTo>
                    <a:pt x="266" y="197"/>
                  </a:lnTo>
                  <a:lnTo>
                    <a:pt x="266" y="200"/>
                  </a:lnTo>
                  <a:lnTo>
                    <a:pt x="263" y="206"/>
                  </a:lnTo>
                  <a:lnTo>
                    <a:pt x="263" y="206"/>
                  </a:lnTo>
                  <a:lnTo>
                    <a:pt x="254" y="219"/>
                  </a:lnTo>
                  <a:lnTo>
                    <a:pt x="253" y="224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62" y="230"/>
                  </a:lnTo>
                  <a:lnTo>
                    <a:pt x="269" y="233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7" y="239"/>
                  </a:lnTo>
                  <a:lnTo>
                    <a:pt x="291" y="239"/>
                  </a:lnTo>
                  <a:lnTo>
                    <a:pt x="293" y="240"/>
                  </a:lnTo>
                  <a:lnTo>
                    <a:pt x="293" y="244"/>
                  </a:lnTo>
                  <a:lnTo>
                    <a:pt x="293" y="244"/>
                  </a:lnTo>
                  <a:lnTo>
                    <a:pt x="293" y="252"/>
                  </a:lnTo>
                  <a:lnTo>
                    <a:pt x="293" y="256"/>
                  </a:lnTo>
                  <a:lnTo>
                    <a:pt x="296" y="262"/>
                  </a:lnTo>
                  <a:lnTo>
                    <a:pt x="302" y="267"/>
                  </a:lnTo>
                  <a:lnTo>
                    <a:pt x="302" y="267"/>
                  </a:lnTo>
                  <a:lnTo>
                    <a:pt x="318" y="279"/>
                  </a:lnTo>
                  <a:lnTo>
                    <a:pt x="326" y="281"/>
                  </a:lnTo>
                  <a:lnTo>
                    <a:pt x="328" y="283"/>
                  </a:lnTo>
                  <a:lnTo>
                    <a:pt x="331" y="281"/>
                  </a:lnTo>
                  <a:lnTo>
                    <a:pt x="331" y="281"/>
                  </a:lnTo>
                  <a:lnTo>
                    <a:pt x="342" y="273"/>
                  </a:lnTo>
                  <a:lnTo>
                    <a:pt x="349" y="270"/>
                  </a:lnTo>
                  <a:lnTo>
                    <a:pt x="352" y="268"/>
                  </a:lnTo>
                  <a:lnTo>
                    <a:pt x="355" y="270"/>
                  </a:lnTo>
                  <a:lnTo>
                    <a:pt x="355" y="270"/>
                  </a:lnTo>
                  <a:lnTo>
                    <a:pt x="361" y="271"/>
                  </a:lnTo>
                  <a:lnTo>
                    <a:pt x="367" y="276"/>
                  </a:lnTo>
                  <a:lnTo>
                    <a:pt x="374" y="279"/>
                  </a:lnTo>
                  <a:lnTo>
                    <a:pt x="382" y="283"/>
                  </a:lnTo>
                  <a:lnTo>
                    <a:pt x="382" y="283"/>
                  </a:lnTo>
                  <a:lnTo>
                    <a:pt x="389" y="286"/>
                  </a:lnTo>
                  <a:lnTo>
                    <a:pt x="397" y="292"/>
                  </a:lnTo>
                  <a:lnTo>
                    <a:pt x="404" y="298"/>
                  </a:lnTo>
                  <a:lnTo>
                    <a:pt x="407" y="299"/>
                  </a:lnTo>
                  <a:lnTo>
                    <a:pt x="410" y="301"/>
                  </a:lnTo>
                  <a:lnTo>
                    <a:pt x="410" y="301"/>
                  </a:lnTo>
                  <a:lnTo>
                    <a:pt x="417" y="299"/>
                  </a:lnTo>
                  <a:lnTo>
                    <a:pt x="425" y="296"/>
                  </a:lnTo>
                  <a:lnTo>
                    <a:pt x="438" y="292"/>
                  </a:lnTo>
                  <a:lnTo>
                    <a:pt x="438" y="292"/>
                  </a:lnTo>
                  <a:lnTo>
                    <a:pt x="448" y="290"/>
                  </a:lnTo>
                  <a:lnTo>
                    <a:pt x="453" y="290"/>
                  </a:lnTo>
                  <a:lnTo>
                    <a:pt x="457" y="292"/>
                  </a:lnTo>
                  <a:lnTo>
                    <a:pt x="457" y="292"/>
                  </a:lnTo>
                  <a:lnTo>
                    <a:pt x="463" y="293"/>
                  </a:lnTo>
                  <a:lnTo>
                    <a:pt x="468" y="293"/>
                  </a:lnTo>
                  <a:lnTo>
                    <a:pt x="469" y="290"/>
                  </a:lnTo>
                  <a:lnTo>
                    <a:pt x="469" y="290"/>
                  </a:lnTo>
                  <a:lnTo>
                    <a:pt x="481" y="281"/>
                  </a:lnTo>
                  <a:lnTo>
                    <a:pt x="481" y="281"/>
                  </a:lnTo>
                  <a:lnTo>
                    <a:pt x="485" y="279"/>
                  </a:lnTo>
                  <a:lnTo>
                    <a:pt x="487" y="276"/>
                  </a:lnTo>
                  <a:lnTo>
                    <a:pt x="487" y="276"/>
                  </a:lnTo>
                  <a:lnTo>
                    <a:pt x="484" y="271"/>
                  </a:lnTo>
                  <a:lnTo>
                    <a:pt x="484" y="271"/>
                  </a:lnTo>
                  <a:lnTo>
                    <a:pt x="474" y="261"/>
                  </a:lnTo>
                  <a:lnTo>
                    <a:pt x="465" y="252"/>
                  </a:lnTo>
                  <a:lnTo>
                    <a:pt x="465" y="252"/>
                  </a:lnTo>
                  <a:lnTo>
                    <a:pt x="465" y="249"/>
                  </a:lnTo>
                  <a:lnTo>
                    <a:pt x="466" y="246"/>
                  </a:lnTo>
                  <a:lnTo>
                    <a:pt x="465" y="244"/>
                  </a:lnTo>
                  <a:lnTo>
                    <a:pt x="460" y="241"/>
                  </a:lnTo>
                  <a:lnTo>
                    <a:pt x="460" y="241"/>
                  </a:lnTo>
                  <a:lnTo>
                    <a:pt x="447" y="240"/>
                  </a:lnTo>
                  <a:lnTo>
                    <a:pt x="441" y="237"/>
                  </a:lnTo>
                  <a:lnTo>
                    <a:pt x="434" y="231"/>
                  </a:lnTo>
                  <a:lnTo>
                    <a:pt x="434" y="231"/>
                  </a:lnTo>
                  <a:lnTo>
                    <a:pt x="429" y="225"/>
                  </a:lnTo>
                  <a:lnTo>
                    <a:pt x="426" y="221"/>
                  </a:lnTo>
                  <a:lnTo>
                    <a:pt x="425" y="216"/>
                  </a:lnTo>
                  <a:lnTo>
                    <a:pt x="422" y="215"/>
                  </a:lnTo>
                  <a:lnTo>
                    <a:pt x="422" y="215"/>
                  </a:lnTo>
                  <a:lnTo>
                    <a:pt x="417" y="215"/>
                  </a:lnTo>
                  <a:lnTo>
                    <a:pt x="410" y="216"/>
                  </a:lnTo>
                  <a:lnTo>
                    <a:pt x="404" y="216"/>
                  </a:lnTo>
                  <a:lnTo>
                    <a:pt x="400" y="215"/>
                  </a:lnTo>
                  <a:lnTo>
                    <a:pt x="397" y="212"/>
                  </a:lnTo>
                  <a:lnTo>
                    <a:pt x="397" y="212"/>
                  </a:lnTo>
                  <a:lnTo>
                    <a:pt x="391" y="207"/>
                  </a:lnTo>
                  <a:lnTo>
                    <a:pt x="385" y="203"/>
                  </a:lnTo>
                  <a:lnTo>
                    <a:pt x="383" y="202"/>
                  </a:lnTo>
                  <a:lnTo>
                    <a:pt x="382" y="200"/>
                  </a:lnTo>
                  <a:lnTo>
                    <a:pt x="382" y="197"/>
                  </a:lnTo>
                  <a:lnTo>
                    <a:pt x="385" y="194"/>
                  </a:lnTo>
                  <a:lnTo>
                    <a:pt x="385" y="194"/>
                  </a:lnTo>
                  <a:lnTo>
                    <a:pt x="388" y="188"/>
                  </a:lnTo>
                  <a:lnTo>
                    <a:pt x="388" y="182"/>
                  </a:lnTo>
                  <a:lnTo>
                    <a:pt x="386" y="178"/>
                  </a:lnTo>
                  <a:lnTo>
                    <a:pt x="383" y="173"/>
                  </a:lnTo>
                  <a:lnTo>
                    <a:pt x="383" y="173"/>
                  </a:lnTo>
                  <a:lnTo>
                    <a:pt x="383" y="172"/>
                  </a:lnTo>
                  <a:lnTo>
                    <a:pt x="385" y="170"/>
                  </a:lnTo>
                  <a:lnTo>
                    <a:pt x="388" y="169"/>
                  </a:lnTo>
                  <a:lnTo>
                    <a:pt x="391" y="167"/>
                  </a:lnTo>
                  <a:lnTo>
                    <a:pt x="391" y="166"/>
                  </a:lnTo>
                  <a:lnTo>
                    <a:pt x="389" y="163"/>
                  </a:lnTo>
                  <a:lnTo>
                    <a:pt x="389" y="163"/>
                  </a:lnTo>
                  <a:lnTo>
                    <a:pt x="388" y="160"/>
                  </a:lnTo>
                  <a:lnTo>
                    <a:pt x="386" y="159"/>
                  </a:lnTo>
                  <a:lnTo>
                    <a:pt x="380" y="157"/>
                  </a:lnTo>
                  <a:lnTo>
                    <a:pt x="376" y="156"/>
                  </a:lnTo>
                  <a:lnTo>
                    <a:pt x="374" y="154"/>
                  </a:lnTo>
                  <a:lnTo>
                    <a:pt x="373" y="151"/>
                  </a:lnTo>
                  <a:lnTo>
                    <a:pt x="373" y="151"/>
                  </a:lnTo>
                  <a:lnTo>
                    <a:pt x="371" y="144"/>
                  </a:lnTo>
                  <a:lnTo>
                    <a:pt x="373" y="136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70" y="119"/>
                  </a:lnTo>
                  <a:lnTo>
                    <a:pt x="370" y="119"/>
                  </a:lnTo>
                  <a:lnTo>
                    <a:pt x="363" y="111"/>
                  </a:lnTo>
                  <a:lnTo>
                    <a:pt x="358" y="105"/>
                  </a:lnTo>
                  <a:lnTo>
                    <a:pt x="352" y="99"/>
                  </a:lnTo>
                  <a:lnTo>
                    <a:pt x="349" y="93"/>
                  </a:lnTo>
                  <a:lnTo>
                    <a:pt x="349" y="93"/>
                  </a:lnTo>
                  <a:lnTo>
                    <a:pt x="348" y="89"/>
                  </a:lnTo>
                  <a:lnTo>
                    <a:pt x="346" y="86"/>
                  </a:lnTo>
                  <a:lnTo>
                    <a:pt x="340" y="79"/>
                  </a:lnTo>
                  <a:lnTo>
                    <a:pt x="336" y="73"/>
                  </a:lnTo>
                  <a:lnTo>
                    <a:pt x="333" y="68"/>
                  </a:lnTo>
                  <a:lnTo>
                    <a:pt x="333" y="62"/>
                  </a:lnTo>
                  <a:lnTo>
                    <a:pt x="333" y="62"/>
                  </a:lnTo>
                  <a:lnTo>
                    <a:pt x="333" y="53"/>
                  </a:lnTo>
                  <a:lnTo>
                    <a:pt x="334" y="46"/>
                  </a:lnTo>
                  <a:lnTo>
                    <a:pt x="334" y="43"/>
                  </a:lnTo>
                  <a:lnTo>
                    <a:pt x="334" y="42"/>
                  </a:lnTo>
                  <a:lnTo>
                    <a:pt x="333" y="42"/>
                  </a:lnTo>
                  <a:lnTo>
                    <a:pt x="328" y="42"/>
                  </a:lnTo>
                  <a:lnTo>
                    <a:pt x="328" y="42"/>
                  </a:lnTo>
                  <a:lnTo>
                    <a:pt x="320" y="43"/>
                  </a:lnTo>
                  <a:lnTo>
                    <a:pt x="312" y="42"/>
                  </a:lnTo>
                  <a:lnTo>
                    <a:pt x="306" y="39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293" y="27"/>
                  </a:lnTo>
                  <a:lnTo>
                    <a:pt x="284" y="22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66" y="13"/>
                  </a:lnTo>
                  <a:lnTo>
                    <a:pt x="257" y="7"/>
                  </a:lnTo>
                  <a:lnTo>
                    <a:pt x="249" y="2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41" y="2"/>
                  </a:lnTo>
                  <a:lnTo>
                    <a:pt x="240" y="6"/>
                  </a:lnTo>
                  <a:lnTo>
                    <a:pt x="237" y="10"/>
                  </a:lnTo>
                  <a:lnTo>
                    <a:pt x="234" y="12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07" y="18"/>
                  </a:lnTo>
                  <a:lnTo>
                    <a:pt x="197" y="19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85" y="21"/>
                  </a:lnTo>
                  <a:lnTo>
                    <a:pt x="182" y="22"/>
                  </a:lnTo>
                  <a:lnTo>
                    <a:pt x="176" y="27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55" y="36"/>
                  </a:lnTo>
                  <a:lnTo>
                    <a:pt x="145" y="37"/>
                  </a:lnTo>
                  <a:lnTo>
                    <a:pt x="137" y="36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0"/>
                  </a:lnTo>
                  <a:lnTo>
                    <a:pt x="133" y="27"/>
                  </a:lnTo>
                  <a:lnTo>
                    <a:pt x="133" y="25"/>
                  </a:lnTo>
                  <a:lnTo>
                    <a:pt x="132" y="25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00" y="37"/>
                  </a:lnTo>
                  <a:lnTo>
                    <a:pt x="90" y="40"/>
                  </a:lnTo>
                  <a:lnTo>
                    <a:pt x="86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74" y="33"/>
                  </a:lnTo>
                  <a:lnTo>
                    <a:pt x="69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6" y="33"/>
                  </a:lnTo>
                  <a:lnTo>
                    <a:pt x="66" y="39"/>
                  </a:lnTo>
                  <a:lnTo>
                    <a:pt x="65" y="40"/>
                  </a:lnTo>
                  <a:lnTo>
                    <a:pt x="62" y="43"/>
                  </a:lnTo>
                  <a:lnTo>
                    <a:pt x="59" y="46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43" y="52"/>
                  </a:lnTo>
                  <a:lnTo>
                    <a:pt x="34" y="50"/>
                  </a:lnTo>
                  <a:lnTo>
                    <a:pt x="26" y="49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6" y="40"/>
                  </a:lnTo>
                  <a:lnTo>
                    <a:pt x="9" y="37"/>
                  </a:lnTo>
                  <a:lnTo>
                    <a:pt x="0" y="34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0" name="Freeform 139">
              <a:extLst>
                <a:ext uri="{FF2B5EF4-FFF2-40B4-BE49-F238E27FC236}">
                  <a16:creationId xmlns:a16="http://schemas.microsoft.com/office/drawing/2014/main" id="{9C76E8B4-5B35-2E4C-8812-269755CE7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2800" y="4302125"/>
              <a:ext cx="1609725" cy="1828800"/>
            </a:xfrm>
            <a:custGeom>
              <a:avLst/>
              <a:gdLst>
                <a:gd name="T0" fmla="*/ 50 w 1014"/>
                <a:gd name="T1" fmla="*/ 422 h 1152"/>
                <a:gd name="T2" fmla="*/ 27 w 1014"/>
                <a:gd name="T3" fmla="*/ 465 h 1152"/>
                <a:gd name="T4" fmla="*/ 2 w 1014"/>
                <a:gd name="T5" fmla="*/ 483 h 1152"/>
                <a:gd name="T6" fmla="*/ 22 w 1014"/>
                <a:gd name="T7" fmla="*/ 528 h 1152"/>
                <a:gd name="T8" fmla="*/ 76 w 1014"/>
                <a:gd name="T9" fmla="*/ 549 h 1152"/>
                <a:gd name="T10" fmla="*/ 120 w 1014"/>
                <a:gd name="T11" fmla="*/ 549 h 1152"/>
                <a:gd name="T12" fmla="*/ 153 w 1014"/>
                <a:gd name="T13" fmla="*/ 574 h 1152"/>
                <a:gd name="T14" fmla="*/ 163 w 1014"/>
                <a:gd name="T15" fmla="*/ 594 h 1152"/>
                <a:gd name="T16" fmla="*/ 145 w 1014"/>
                <a:gd name="T17" fmla="*/ 626 h 1152"/>
                <a:gd name="T18" fmla="*/ 163 w 1014"/>
                <a:gd name="T19" fmla="*/ 648 h 1152"/>
                <a:gd name="T20" fmla="*/ 219 w 1014"/>
                <a:gd name="T21" fmla="*/ 644 h 1152"/>
                <a:gd name="T22" fmla="*/ 249 w 1014"/>
                <a:gd name="T23" fmla="*/ 648 h 1152"/>
                <a:gd name="T24" fmla="*/ 270 w 1014"/>
                <a:gd name="T25" fmla="*/ 656 h 1152"/>
                <a:gd name="T26" fmla="*/ 307 w 1014"/>
                <a:gd name="T27" fmla="*/ 682 h 1152"/>
                <a:gd name="T28" fmla="*/ 308 w 1014"/>
                <a:gd name="T29" fmla="*/ 714 h 1152"/>
                <a:gd name="T30" fmla="*/ 311 w 1014"/>
                <a:gd name="T31" fmla="*/ 773 h 1152"/>
                <a:gd name="T32" fmla="*/ 313 w 1014"/>
                <a:gd name="T33" fmla="*/ 813 h 1152"/>
                <a:gd name="T34" fmla="*/ 382 w 1014"/>
                <a:gd name="T35" fmla="*/ 834 h 1152"/>
                <a:gd name="T36" fmla="*/ 424 w 1014"/>
                <a:gd name="T37" fmla="*/ 884 h 1152"/>
                <a:gd name="T38" fmla="*/ 471 w 1014"/>
                <a:gd name="T39" fmla="*/ 912 h 1152"/>
                <a:gd name="T40" fmla="*/ 532 w 1014"/>
                <a:gd name="T41" fmla="*/ 943 h 1152"/>
                <a:gd name="T42" fmla="*/ 552 w 1014"/>
                <a:gd name="T43" fmla="*/ 989 h 1152"/>
                <a:gd name="T44" fmla="*/ 582 w 1014"/>
                <a:gd name="T45" fmla="*/ 1030 h 1152"/>
                <a:gd name="T46" fmla="*/ 655 w 1014"/>
                <a:gd name="T47" fmla="*/ 1038 h 1152"/>
                <a:gd name="T48" fmla="*/ 711 w 1014"/>
                <a:gd name="T49" fmla="*/ 1013 h 1152"/>
                <a:gd name="T50" fmla="*/ 738 w 1014"/>
                <a:gd name="T51" fmla="*/ 1013 h 1152"/>
                <a:gd name="T52" fmla="*/ 772 w 1014"/>
                <a:gd name="T53" fmla="*/ 1059 h 1152"/>
                <a:gd name="T54" fmla="*/ 800 w 1014"/>
                <a:gd name="T55" fmla="*/ 1057 h 1152"/>
                <a:gd name="T56" fmla="*/ 820 w 1014"/>
                <a:gd name="T57" fmla="*/ 1094 h 1152"/>
                <a:gd name="T58" fmla="*/ 854 w 1014"/>
                <a:gd name="T59" fmla="*/ 1106 h 1152"/>
                <a:gd name="T60" fmla="*/ 874 w 1014"/>
                <a:gd name="T61" fmla="*/ 1137 h 1152"/>
                <a:gd name="T62" fmla="*/ 897 w 1014"/>
                <a:gd name="T63" fmla="*/ 1137 h 1152"/>
                <a:gd name="T64" fmla="*/ 909 w 1014"/>
                <a:gd name="T65" fmla="*/ 1113 h 1152"/>
                <a:gd name="T66" fmla="*/ 955 w 1014"/>
                <a:gd name="T67" fmla="*/ 1081 h 1152"/>
                <a:gd name="T68" fmla="*/ 967 w 1014"/>
                <a:gd name="T69" fmla="*/ 1041 h 1152"/>
                <a:gd name="T70" fmla="*/ 985 w 1014"/>
                <a:gd name="T71" fmla="*/ 973 h 1152"/>
                <a:gd name="T72" fmla="*/ 1013 w 1014"/>
                <a:gd name="T73" fmla="*/ 915 h 1152"/>
                <a:gd name="T74" fmla="*/ 988 w 1014"/>
                <a:gd name="T75" fmla="*/ 885 h 1152"/>
                <a:gd name="T76" fmla="*/ 964 w 1014"/>
                <a:gd name="T77" fmla="*/ 868 h 1152"/>
                <a:gd name="T78" fmla="*/ 960 w 1014"/>
                <a:gd name="T79" fmla="*/ 841 h 1152"/>
                <a:gd name="T80" fmla="*/ 969 w 1014"/>
                <a:gd name="T81" fmla="*/ 795 h 1152"/>
                <a:gd name="T82" fmla="*/ 952 w 1014"/>
                <a:gd name="T83" fmla="*/ 765 h 1152"/>
                <a:gd name="T84" fmla="*/ 934 w 1014"/>
                <a:gd name="T85" fmla="*/ 725 h 1152"/>
                <a:gd name="T86" fmla="*/ 940 w 1014"/>
                <a:gd name="T87" fmla="*/ 699 h 1152"/>
                <a:gd name="T88" fmla="*/ 945 w 1014"/>
                <a:gd name="T89" fmla="*/ 663 h 1152"/>
                <a:gd name="T90" fmla="*/ 934 w 1014"/>
                <a:gd name="T91" fmla="*/ 610 h 1152"/>
                <a:gd name="T92" fmla="*/ 939 w 1014"/>
                <a:gd name="T93" fmla="*/ 560 h 1152"/>
                <a:gd name="T94" fmla="*/ 924 w 1014"/>
                <a:gd name="T95" fmla="*/ 514 h 1152"/>
                <a:gd name="T96" fmla="*/ 955 w 1014"/>
                <a:gd name="T97" fmla="*/ 506 h 1152"/>
                <a:gd name="T98" fmla="*/ 977 w 1014"/>
                <a:gd name="T99" fmla="*/ 478 h 1152"/>
                <a:gd name="T100" fmla="*/ 997 w 1014"/>
                <a:gd name="T101" fmla="*/ 422 h 1152"/>
                <a:gd name="T102" fmla="*/ 997 w 1014"/>
                <a:gd name="T103" fmla="*/ 385 h 1152"/>
                <a:gd name="T104" fmla="*/ 979 w 1014"/>
                <a:gd name="T105" fmla="*/ 357 h 1152"/>
                <a:gd name="T106" fmla="*/ 948 w 1014"/>
                <a:gd name="T107" fmla="*/ 352 h 1152"/>
                <a:gd name="T108" fmla="*/ 894 w 1014"/>
                <a:gd name="T109" fmla="*/ 290 h 1152"/>
                <a:gd name="T110" fmla="*/ 900 w 1014"/>
                <a:gd name="T111" fmla="*/ 244 h 1152"/>
                <a:gd name="T112" fmla="*/ 957 w 1014"/>
                <a:gd name="T113" fmla="*/ 226 h 1152"/>
                <a:gd name="T114" fmla="*/ 985 w 1014"/>
                <a:gd name="T115" fmla="*/ 166 h 1152"/>
                <a:gd name="T116" fmla="*/ 952 w 1014"/>
                <a:gd name="T117" fmla="*/ 108 h 1152"/>
                <a:gd name="T118" fmla="*/ 986 w 1014"/>
                <a:gd name="T119" fmla="*/ 96 h 1152"/>
                <a:gd name="T120" fmla="*/ 991 w 1014"/>
                <a:gd name="T121" fmla="*/ 46 h 1152"/>
                <a:gd name="T122" fmla="*/ 970 w 1014"/>
                <a:gd name="T123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14" h="1152">
                  <a:moveTo>
                    <a:pt x="46" y="361"/>
                  </a:moveTo>
                  <a:lnTo>
                    <a:pt x="46" y="361"/>
                  </a:lnTo>
                  <a:lnTo>
                    <a:pt x="43" y="376"/>
                  </a:lnTo>
                  <a:lnTo>
                    <a:pt x="43" y="389"/>
                  </a:lnTo>
                  <a:lnTo>
                    <a:pt x="43" y="395"/>
                  </a:lnTo>
                  <a:lnTo>
                    <a:pt x="45" y="401"/>
                  </a:lnTo>
                  <a:lnTo>
                    <a:pt x="45" y="401"/>
                  </a:lnTo>
                  <a:lnTo>
                    <a:pt x="49" y="414"/>
                  </a:lnTo>
                  <a:lnTo>
                    <a:pt x="49" y="417"/>
                  </a:lnTo>
                  <a:lnTo>
                    <a:pt x="50" y="422"/>
                  </a:lnTo>
                  <a:lnTo>
                    <a:pt x="50" y="422"/>
                  </a:lnTo>
                  <a:lnTo>
                    <a:pt x="49" y="425"/>
                  </a:lnTo>
                  <a:lnTo>
                    <a:pt x="46" y="428"/>
                  </a:lnTo>
                  <a:lnTo>
                    <a:pt x="39" y="437"/>
                  </a:lnTo>
                  <a:lnTo>
                    <a:pt x="30" y="444"/>
                  </a:lnTo>
                  <a:lnTo>
                    <a:pt x="27" y="448"/>
                  </a:lnTo>
                  <a:lnTo>
                    <a:pt x="25" y="451"/>
                  </a:lnTo>
                  <a:lnTo>
                    <a:pt x="25" y="451"/>
                  </a:lnTo>
                  <a:lnTo>
                    <a:pt x="27" y="462"/>
                  </a:lnTo>
                  <a:lnTo>
                    <a:pt x="27" y="465"/>
                  </a:lnTo>
                  <a:lnTo>
                    <a:pt x="25" y="468"/>
                  </a:lnTo>
                  <a:lnTo>
                    <a:pt x="24" y="469"/>
                  </a:lnTo>
                  <a:lnTo>
                    <a:pt x="19" y="471"/>
                  </a:lnTo>
                  <a:lnTo>
                    <a:pt x="19" y="471"/>
                  </a:lnTo>
                  <a:lnTo>
                    <a:pt x="5" y="474"/>
                  </a:lnTo>
                  <a:lnTo>
                    <a:pt x="2" y="475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2" y="483"/>
                  </a:lnTo>
                  <a:lnTo>
                    <a:pt x="2" y="483"/>
                  </a:lnTo>
                  <a:lnTo>
                    <a:pt x="6" y="490"/>
                  </a:lnTo>
                  <a:lnTo>
                    <a:pt x="12" y="493"/>
                  </a:lnTo>
                  <a:lnTo>
                    <a:pt x="16" y="496"/>
                  </a:lnTo>
                  <a:lnTo>
                    <a:pt x="19" y="500"/>
                  </a:lnTo>
                  <a:lnTo>
                    <a:pt x="19" y="500"/>
                  </a:lnTo>
                  <a:lnTo>
                    <a:pt x="24" y="506"/>
                  </a:lnTo>
                  <a:lnTo>
                    <a:pt x="24" y="514"/>
                  </a:lnTo>
                  <a:lnTo>
                    <a:pt x="24" y="522"/>
                  </a:lnTo>
                  <a:lnTo>
                    <a:pt x="22" y="528"/>
                  </a:lnTo>
                  <a:lnTo>
                    <a:pt x="22" y="528"/>
                  </a:lnTo>
                  <a:lnTo>
                    <a:pt x="22" y="534"/>
                  </a:lnTo>
                  <a:lnTo>
                    <a:pt x="24" y="537"/>
                  </a:lnTo>
                  <a:lnTo>
                    <a:pt x="28" y="539"/>
                  </a:lnTo>
                  <a:lnTo>
                    <a:pt x="36" y="539"/>
                  </a:lnTo>
                  <a:lnTo>
                    <a:pt x="36" y="539"/>
                  </a:lnTo>
                  <a:lnTo>
                    <a:pt x="52" y="539"/>
                  </a:lnTo>
                  <a:lnTo>
                    <a:pt x="59" y="540"/>
                  </a:lnTo>
                  <a:lnTo>
                    <a:pt x="65" y="543"/>
                  </a:lnTo>
                  <a:lnTo>
                    <a:pt x="65" y="543"/>
                  </a:lnTo>
                  <a:lnTo>
                    <a:pt x="76" y="549"/>
                  </a:lnTo>
                  <a:lnTo>
                    <a:pt x="82" y="551"/>
                  </a:lnTo>
                  <a:lnTo>
                    <a:pt x="87" y="551"/>
                  </a:lnTo>
                  <a:lnTo>
                    <a:pt x="87" y="551"/>
                  </a:lnTo>
                  <a:lnTo>
                    <a:pt x="92" y="549"/>
                  </a:lnTo>
                  <a:lnTo>
                    <a:pt x="96" y="546"/>
                  </a:lnTo>
                  <a:lnTo>
                    <a:pt x="101" y="545"/>
                  </a:lnTo>
                  <a:lnTo>
                    <a:pt x="105" y="543"/>
                  </a:lnTo>
                  <a:lnTo>
                    <a:pt x="105" y="543"/>
                  </a:lnTo>
                  <a:lnTo>
                    <a:pt x="113" y="545"/>
                  </a:lnTo>
                  <a:lnTo>
                    <a:pt x="120" y="549"/>
                  </a:lnTo>
                  <a:lnTo>
                    <a:pt x="127" y="555"/>
                  </a:lnTo>
                  <a:lnTo>
                    <a:pt x="133" y="560"/>
                  </a:lnTo>
                  <a:lnTo>
                    <a:pt x="133" y="560"/>
                  </a:lnTo>
                  <a:lnTo>
                    <a:pt x="138" y="562"/>
                  </a:lnTo>
                  <a:lnTo>
                    <a:pt x="142" y="564"/>
                  </a:lnTo>
                  <a:lnTo>
                    <a:pt x="145" y="565"/>
                  </a:lnTo>
                  <a:lnTo>
                    <a:pt x="148" y="568"/>
                  </a:lnTo>
                  <a:lnTo>
                    <a:pt x="148" y="568"/>
                  </a:lnTo>
                  <a:lnTo>
                    <a:pt x="151" y="574"/>
                  </a:lnTo>
                  <a:lnTo>
                    <a:pt x="153" y="574"/>
                  </a:lnTo>
                  <a:lnTo>
                    <a:pt x="156" y="574"/>
                  </a:lnTo>
                  <a:lnTo>
                    <a:pt x="156" y="574"/>
                  </a:lnTo>
                  <a:lnTo>
                    <a:pt x="160" y="576"/>
                  </a:lnTo>
                  <a:lnTo>
                    <a:pt x="164" y="579"/>
                  </a:lnTo>
                  <a:lnTo>
                    <a:pt x="166" y="582"/>
                  </a:lnTo>
                  <a:lnTo>
                    <a:pt x="167" y="583"/>
                  </a:lnTo>
                  <a:lnTo>
                    <a:pt x="167" y="586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3" y="594"/>
                  </a:lnTo>
                  <a:lnTo>
                    <a:pt x="160" y="595"/>
                  </a:lnTo>
                  <a:lnTo>
                    <a:pt x="154" y="598"/>
                  </a:lnTo>
                  <a:lnTo>
                    <a:pt x="150" y="602"/>
                  </a:lnTo>
                  <a:lnTo>
                    <a:pt x="148" y="604"/>
                  </a:lnTo>
                  <a:lnTo>
                    <a:pt x="147" y="607"/>
                  </a:lnTo>
                  <a:lnTo>
                    <a:pt x="147" y="607"/>
                  </a:lnTo>
                  <a:lnTo>
                    <a:pt x="147" y="614"/>
                  </a:lnTo>
                  <a:lnTo>
                    <a:pt x="145" y="622"/>
                  </a:lnTo>
                  <a:lnTo>
                    <a:pt x="145" y="626"/>
                  </a:lnTo>
                  <a:lnTo>
                    <a:pt x="145" y="626"/>
                  </a:lnTo>
                  <a:lnTo>
                    <a:pt x="147" y="628"/>
                  </a:lnTo>
                  <a:lnTo>
                    <a:pt x="147" y="628"/>
                  </a:lnTo>
                  <a:lnTo>
                    <a:pt x="156" y="625"/>
                  </a:lnTo>
                  <a:lnTo>
                    <a:pt x="159" y="626"/>
                  </a:lnTo>
                  <a:lnTo>
                    <a:pt x="160" y="628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1" y="638"/>
                  </a:lnTo>
                  <a:lnTo>
                    <a:pt x="161" y="644"/>
                  </a:lnTo>
                  <a:lnTo>
                    <a:pt x="163" y="648"/>
                  </a:lnTo>
                  <a:lnTo>
                    <a:pt x="164" y="648"/>
                  </a:lnTo>
                  <a:lnTo>
                    <a:pt x="167" y="650"/>
                  </a:lnTo>
                  <a:lnTo>
                    <a:pt x="167" y="650"/>
                  </a:lnTo>
                  <a:lnTo>
                    <a:pt x="185" y="651"/>
                  </a:lnTo>
                  <a:lnTo>
                    <a:pt x="194" y="651"/>
                  </a:lnTo>
                  <a:lnTo>
                    <a:pt x="200" y="651"/>
                  </a:lnTo>
                  <a:lnTo>
                    <a:pt x="200" y="651"/>
                  </a:lnTo>
                  <a:lnTo>
                    <a:pt x="206" y="648"/>
                  </a:lnTo>
                  <a:lnTo>
                    <a:pt x="212" y="645"/>
                  </a:lnTo>
                  <a:lnTo>
                    <a:pt x="219" y="644"/>
                  </a:lnTo>
                  <a:lnTo>
                    <a:pt x="222" y="644"/>
                  </a:lnTo>
                  <a:lnTo>
                    <a:pt x="225" y="645"/>
                  </a:lnTo>
                  <a:lnTo>
                    <a:pt x="225" y="645"/>
                  </a:lnTo>
                  <a:lnTo>
                    <a:pt x="237" y="653"/>
                  </a:lnTo>
                  <a:lnTo>
                    <a:pt x="244" y="656"/>
                  </a:lnTo>
                  <a:lnTo>
                    <a:pt x="244" y="656"/>
                  </a:lnTo>
                  <a:lnTo>
                    <a:pt x="246" y="656"/>
                  </a:lnTo>
                  <a:lnTo>
                    <a:pt x="247" y="654"/>
                  </a:lnTo>
                  <a:lnTo>
                    <a:pt x="249" y="651"/>
                  </a:lnTo>
                  <a:lnTo>
                    <a:pt x="249" y="648"/>
                  </a:lnTo>
                  <a:lnTo>
                    <a:pt x="249" y="648"/>
                  </a:lnTo>
                  <a:lnTo>
                    <a:pt x="249" y="645"/>
                  </a:lnTo>
                  <a:lnTo>
                    <a:pt x="253" y="642"/>
                  </a:lnTo>
                  <a:lnTo>
                    <a:pt x="258" y="641"/>
                  </a:lnTo>
                  <a:lnTo>
                    <a:pt x="261" y="641"/>
                  </a:lnTo>
                  <a:lnTo>
                    <a:pt x="261" y="641"/>
                  </a:lnTo>
                  <a:lnTo>
                    <a:pt x="264" y="642"/>
                  </a:lnTo>
                  <a:lnTo>
                    <a:pt x="265" y="645"/>
                  </a:lnTo>
                  <a:lnTo>
                    <a:pt x="270" y="656"/>
                  </a:lnTo>
                  <a:lnTo>
                    <a:pt x="270" y="656"/>
                  </a:lnTo>
                  <a:lnTo>
                    <a:pt x="271" y="662"/>
                  </a:lnTo>
                  <a:lnTo>
                    <a:pt x="274" y="665"/>
                  </a:lnTo>
                  <a:lnTo>
                    <a:pt x="278" y="666"/>
                  </a:lnTo>
                  <a:lnTo>
                    <a:pt x="283" y="671"/>
                  </a:lnTo>
                  <a:lnTo>
                    <a:pt x="283" y="671"/>
                  </a:lnTo>
                  <a:lnTo>
                    <a:pt x="287" y="675"/>
                  </a:lnTo>
                  <a:lnTo>
                    <a:pt x="295" y="678"/>
                  </a:lnTo>
                  <a:lnTo>
                    <a:pt x="304" y="679"/>
                  </a:lnTo>
                  <a:lnTo>
                    <a:pt x="304" y="679"/>
                  </a:lnTo>
                  <a:lnTo>
                    <a:pt x="307" y="682"/>
                  </a:lnTo>
                  <a:lnTo>
                    <a:pt x="308" y="687"/>
                  </a:lnTo>
                  <a:lnTo>
                    <a:pt x="310" y="694"/>
                  </a:lnTo>
                  <a:lnTo>
                    <a:pt x="310" y="694"/>
                  </a:lnTo>
                  <a:lnTo>
                    <a:pt x="313" y="696"/>
                  </a:lnTo>
                  <a:lnTo>
                    <a:pt x="315" y="699"/>
                  </a:lnTo>
                  <a:lnTo>
                    <a:pt x="315" y="703"/>
                  </a:lnTo>
                  <a:lnTo>
                    <a:pt x="315" y="703"/>
                  </a:lnTo>
                  <a:lnTo>
                    <a:pt x="315" y="706"/>
                  </a:lnTo>
                  <a:lnTo>
                    <a:pt x="313" y="709"/>
                  </a:lnTo>
                  <a:lnTo>
                    <a:pt x="308" y="714"/>
                  </a:lnTo>
                  <a:lnTo>
                    <a:pt x="302" y="718"/>
                  </a:lnTo>
                  <a:lnTo>
                    <a:pt x="301" y="721"/>
                  </a:lnTo>
                  <a:lnTo>
                    <a:pt x="299" y="725"/>
                  </a:lnTo>
                  <a:lnTo>
                    <a:pt x="299" y="725"/>
                  </a:lnTo>
                  <a:lnTo>
                    <a:pt x="301" y="749"/>
                  </a:lnTo>
                  <a:lnTo>
                    <a:pt x="302" y="762"/>
                  </a:lnTo>
                  <a:lnTo>
                    <a:pt x="304" y="767"/>
                  </a:lnTo>
                  <a:lnTo>
                    <a:pt x="305" y="770"/>
                  </a:lnTo>
                  <a:lnTo>
                    <a:pt x="305" y="770"/>
                  </a:lnTo>
                  <a:lnTo>
                    <a:pt x="311" y="773"/>
                  </a:lnTo>
                  <a:lnTo>
                    <a:pt x="315" y="776"/>
                  </a:lnTo>
                  <a:lnTo>
                    <a:pt x="320" y="779"/>
                  </a:lnTo>
                  <a:lnTo>
                    <a:pt x="321" y="780"/>
                  </a:lnTo>
                  <a:lnTo>
                    <a:pt x="321" y="782"/>
                  </a:lnTo>
                  <a:lnTo>
                    <a:pt x="321" y="782"/>
                  </a:lnTo>
                  <a:lnTo>
                    <a:pt x="321" y="789"/>
                  </a:lnTo>
                  <a:lnTo>
                    <a:pt x="318" y="796"/>
                  </a:lnTo>
                  <a:lnTo>
                    <a:pt x="315" y="805"/>
                  </a:lnTo>
                  <a:lnTo>
                    <a:pt x="313" y="813"/>
                  </a:lnTo>
                  <a:lnTo>
                    <a:pt x="313" y="813"/>
                  </a:lnTo>
                  <a:lnTo>
                    <a:pt x="313" y="816"/>
                  </a:lnTo>
                  <a:lnTo>
                    <a:pt x="314" y="819"/>
                  </a:lnTo>
                  <a:lnTo>
                    <a:pt x="318" y="823"/>
                  </a:lnTo>
                  <a:lnTo>
                    <a:pt x="326" y="828"/>
                  </a:lnTo>
                  <a:lnTo>
                    <a:pt x="332" y="829"/>
                  </a:lnTo>
                  <a:lnTo>
                    <a:pt x="332" y="829"/>
                  </a:lnTo>
                  <a:lnTo>
                    <a:pt x="347" y="834"/>
                  </a:lnTo>
                  <a:lnTo>
                    <a:pt x="363" y="835"/>
                  </a:lnTo>
                  <a:lnTo>
                    <a:pt x="363" y="835"/>
                  </a:lnTo>
                  <a:lnTo>
                    <a:pt x="382" y="834"/>
                  </a:lnTo>
                  <a:lnTo>
                    <a:pt x="382" y="834"/>
                  </a:lnTo>
                  <a:lnTo>
                    <a:pt x="382" y="838"/>
                  </a:lnTo>
                  <a:lnTo>
                    <a:pt x="384" y="848"/>
                  </a:lnTo>
                  <a:lnTo>
                    <a:pt x="388" y="859"/>
                  </a:lnTo>
                  <a:lnTo>
                    <a:pt x="391" y="865"/>
                  </a:lnTo>
                  <a:lnTo>
                    <a:pt x="395" y="868"/>
                  </a:lnTo>
                  <a:lnTo>
                    <a:pt x="395" y="868"/>
                  </a:lnTo>
                  <a:lnTo>
                    <a:pt x="406" y="873"/>
                  </a:lnTo>
                  <a:lnTo>
                    <a:pt x="415" y="878"/>
                  </a:lnTo>
                  <a:lnTo>
                    <a:pt x="424" y="884"/>
                  </a:lnTo>
                  <a:lnTo>
                    <a:pt x="430" y="890"/>
                  </a:lnTo>
                  <a:lnTo>
                    <a:pt x="430" y="890"/>
                  </a:lnTo>
                  <a:lnTo>
                    <a:pt x="434" y="897"/>
                  </a:lnTo>
                  <a:lnTo>
                    <a:pt x="438" y="905"/>
                  </a:lnTo>
                  <a:lnTo>
                    <a:pt x="441" y="906"/>
                  </a:lnTo>
                  <a:lnTo>
                    <a:pt x="446" y="909"/>
                  </a:lnTo>
                  <a:lnTo>
                    <a:pt x="450" y="911"/>
                  </a:lnTo>
                  <a:lnTo>
                    <a:pt x="458" y="911"/>
                  </a:lnTo>
                  <a:lnTo>
                    <a:pt x="458" y="911"/>
                  </a:lnTo>
                  <a:lnTo>
                    <a:pt x="471" y="912"/>
                  </a:lnTo>
                  <a:lnTo>
                    <a:pt x="483" y="912"/>
                  </a:lnTo>
                  <a:lnTo>
                    <a:pt x="492" y="915"/>
                  </a:lnTo>
                  <a:lnTo>
                    <a:pt x="495" y="916"/>
                  </a:lnTo>
                  <a:lnTo>
                    <a:pt x="498" y="919"/>
                  </a:lnTo>
                  <a:lnTo>
                    <a:pt x="498" y="919"/>
                  </a:lnTo>
                  <a:lnTo>
                    <a:pt x="511" y="940"/>
                  </a:lnTo>
                  <a:lnTo>
                    <a:pt x="511" y="940"/>
                  </a:lnTo>
                  <a:lnTo>
                    <a:pt x="515" y="943"/>
                  </a:lnTo>
                  <a:lnTo>
                    <a:pt x="520" y="945"/>
                  </a:lnTo>
                  <a:lnTo>
                    <a:pt x="532" y="943"/>
                  </a:lnTo>
                  <a:lnTo>
                    <a:pt x="532" y="943"/>
                  </a:lnTo>
                  <a:lnTo>
                    <a:pt x="539" y="943"/>
                  </a:lnTo>
                  <a:lnTo>
                    <a:pt x="545" y="945"/>
                  </a:lnTo>
                  <a:lnTo>
                    <a:pt x="548" y="946"/>
                  </a:lnTo>
                  <a:lnTo>
                    <a:pt x="549" y="949"/>
                  </a:lnTo>
                  <a:lnTo>
                    <a:pt x="551" y="952"/>
                  </a:lnTo>
                  <a:lnTo>
                    <a:pt x="551" y="956"/>
                  </a:lnTo>
                  <a:lnTo>
                    <a:pt x="551" y="956"/>
                  </a:lnTo>
                  <a:lnTo>
                    <a:pt x="552" y="979"/>
                  </a:lnTo>
                  <a:lnTo>
                    <a:pt x="552" y="989"/>
                  </a:lnTo>
                  <a:lnTo>
                    <a:pt x="555" y="992"/>
                  </a:lnTo>
                  <a:lnTo>
                    <a:pt x="557" y="995"/>
                  </a:lnTo>
                  <a:lnTo>
                    <a:pt x="557" y="995"/>
                  </a:lnTo>
                  <a:lnTo>
                    <a:pt x="563" y="1001"/>
                  </a:lnTo>
                  <a:lnTo>
                    <a:pt x="567" y="1010"/>
                  </a:lnTo>
                  <a:lnTo>
                    <a:pt x="572" y="1019"/>
                  </a:lnTo>
                  <a:lnTo>
                    <a:pt x="578" y="1026"/>
                  </a:lnTo>
                  <a:lnTo>
                    <a:pt x="578" y="1026"/>
                  </a:lnTo>
                  <a:lnTo>
                    <a:pt x="579" y="1029"/>
                  </a:lnTo>
                  <a:lnTo>
                    <a:pt x="582" y="1030"/>
                  </a:lnTo>
                  <a:lnTo>
                    <a:pt x="589" y="1032"/>
                  </a:lnTo>
                  <a:lnTo>
                    <a:pt x="597" y="1032"/>
                  </a:lnTo>
                  <a:lnTo>
                    <a:pt x="606" y="1030"/>
                  </a:lnTo>
                  <a:lnTo>
                    <a:pt x="606" y="1030"/>
                  </a:lnTo>
                  <a:lnTo>
                    <a:pt x="615" y="1032"/>
                  </a:lnTo>
                  <a:lnTo>
                    <a:pt x="625" y="1033"/>
                  </a:lnTo>
                  <a:lnTo>
                    <a:pt x="646" y="1038"/>
                  </a:lnTo>
                  <a:lnTo>
                    <a:pt x="646" y="1038"/>
                  </a:lnTo>
                  <a:lnTo>
                    <a:pt x="650" y="1039"/>
                  </a:lnTo>
                  <a:lnTo>
                    <a:pt x="655" y="1038"/>
                  </a:lnTo>
                  <a:lnTo>
                    <a:pt x="661" y="1033"/>
                  </a:lnTo>
                  <a:lnTo>
                    <a:pt x="668" y="1028"/>
                  </a:lnTo>
                  <a:lnTo>
                    <a:pt x="672" y="1026"/>
                  </a:lnTo>
                  <a:lnTo>
                    <a:pt x="678" y="1025"/>
                  </a:lnTo>
                  <a:lnTo>
                    <a:pt x="678" y="1025"/>
                  </a:lnTo>
                  <a:lnTo>
                    <a:pt x="684" y="1025"/>
                  </a:lnTo>
                  <a:lnTo>
                    <a:pt x="690" y="1023"/>
                  </a:lnTo>
                  <a:lnTo>
                    <a:pt x="699" y="1020"/>
                  </a:lnTo>
                  <a:lnTo>
                    <a:pt x="706" y="1016"/>
                  </a:lnTo>
                  <a:lnTo>
                    <a:pt x="711" y="1013"/>
                  </a:lnTo>
                  <a:lnTo>
                    <a:pt x="711" y="1013"/>
                  </a:lnTo>
                  <a:lnTo>
                    <a:pt x="715" y="1011"/>
                  </a:lnTo>
                  <a:lnTo>
                    <a:pt x="721" y="1010"/>
                  </a:lnTo>
                  <a:lnTo>
                    <a:pt x="721" y="1010"/>
                  </a:lnTo>
                  <a:lnTo>
                    <a:pt x="729" y="1005"/>
                  </a:lnTo>
                  <a:lnTo>
                    <a:pt x="732" y="1005"/>
                  </a:lnTo>
                  <a:lnTo>
                    <a:pt x="735" y="1005"/>
                  </a:lnTo>
                  <a:lnTo>
                    <a:pt x="736" y="1008"/>
                  </a:lnTo>
                  <a:lnTo>
                    <a:pt x="736" y="1008"/>
                  </a:lnTo>
                  <a:lnTo>
                    <a:pt x="738" y="1013"/>
                  </a:lnTo>
                  <a:lnTo>
                    <a:pt x="739" y="1020"/>
                  </a:lnTo>
                  <a:lnTo>
                    <a:pt x="740" y="1028"/>
                  </a:lnTo>
                  <a:lnTo>
                    <a:pt x="743" y="1036"/>
                  </a:lnTo>
                  <a:lnTo>
                    <a:pt x="743" y="1036"/>
                  </a:lnTo>
                  <a:lnTo>
                    <a:pt x="751" y="1042"/>
                  </a:lnTo>
                  <a:lnTo>
                    <a:pt x="757" y="1047"/>
                  </a:lnTo>
                  <a:lnTo>
                    <a:pt x="763" y="1051"/>
                  </a:lnTo>
                  <a:lnTo>
                    <a:pt x="767" y="1054"/>
                  </a:lnTo>
                  <a:lnTo>
                    <a:pt x="767" y="1054"/>
                  </a:lnTo>
                  <a:lnTo>
                    <a:pt x="772" y="1059"/>
                  </a:lnTo>
                  <a:lnTo>
                    <a:pt x="777" y="1060"/>
                  </a:lnTo>
                  <a:lnTo>
                    <a:pt x="782" y="1062"/>
                  </a:lnTo>
                  <a:lnTo>
                    <a:pt x="785" y="1060"/>
                  </a:lnTo>
                  <a:lnTo>
                    <a:pt x="785" y="1060"/>
                  </a:lnTo>
                  <a:lnTo>
                    <a:pt x="786" y="1057"/>
                  </a:lnTo>
                  <a:lnTo>
                    <a:pt x="789" y="1054"/>
                  </a:lnTo>
                  <a:lnTo>
                    <a:pt x="792" y="1053"/>
                  </a:lnTo>
                  <a:lnTo>
                    <a:pt x="794" y="1053"/>
                  </a:lnTo>
                  <a:lnTo>
                    <a:pt x="797" y="1054"/>
                  </a:lnTo>
                  <a:lnTo>
                    <a:pt x="800" y="1057"/>
                  </a:lnTo>
                  <a:lnTo>
                    <a:pt x="800" y="1057"/>
                  </a:lnTo>
                  <a:lnTo>
                    <a:pt x="810" y="1072"/>
                  </a:lnTo>
                  <a:lnTo>
                    <a:pt x="817" y="1079"/>
                  </a:lnTo>
                  <a:lnTo>
                    <a:pt x="817" y="1079"/>
                  </a:lnTo>
                  <a:lnTo>
                    <a:pt x="819" y="1081"/>
                  </a:lnTo>
                  <a:lnTo>
                    <a:pt x="819" y="1085"/>
                  </a:lnTo>
                  <a:lnTo>
                    <a:pt x="819" y="1091"/>
                  </a:lnTo>
                  <a:lnTo>
                    <a:pt x="819" y="1091"/>
                  </a:lnTo>
                  <a:lnTo>
                    <a:pt x="819" y="1093"/>
                  </a:lnTo>
                  <a:lnTo>
                    <a:pt x="820" y="1094"/>
                  </a:lnTo>
                  <a:lnTo>
                    <a:pt x="823" y="1096"/>
                  </a:lnTo>
                  <a:lnTo>
                    <a:pt x="826" y="1100"/>
                  </a:lnTo>
                  <a:lnTo>
                    <a:pt x="826" y="1100"/>
                  </a:lnTo>
                  <a:lnTo>
                    <a:pt x="829" y="1107"/>
                  </a:lnTo>
                  <a:lnTo>
                    <a:pt x="832" y="1109"/>
                  </a:lnTo>
                  <a:lnTo>
                    <a:pt x="835" y="1109"/>
                  </a:lnTo>
                  <a:lnTo>
                    <a:pt x="835" y="1109"/>
                  </a:lnTo>
                  <a:lnTo>
                    <a:pt x="847" y="1106"/>
                  </a:lnTo>
                  <a:lnTo>
                    <a:pt x="853" y="1106"/>
                  </a:lnTo>
                  <a:lnTo>
                    <a:pt x="854" y="1106"/>
                  </a:lnTo>
                  <a:lnTo>
                    <a:pt x="856" y="1107"/>
                  </a:lnTo>
                  <a:lnTo>
                    <a:pt x="856" y="1107"/>
                  </a:lnTo>
                  <a:lnTo>
                    <a:pt x="862" y="1116"/>
                  </a:lnTo>
                  <a:lnTo>
                    <a:pt x="865" y="1121"/>
                  </a:lnTo>
                  <a:lnTo>
                    <a:pt x="869" y="1122"/>
                  </a:lnTo>
                  <a:lnTo>
                    <a:pt x="869" y="1122"/>
                  </a:lnTo>
                  <a:lnTo>
                    <a:pt x="872" y="1124"/>
                  </a:lnTo>
                  <a:lnTo>
                    <a:pt x="874" y="1127"/>
                  </a:lnTo>
                  <a:lnTo>
                    <a:pt x="874" y="1137"/>
                  </a:lnTo>
                  <a:lnTo>
                    <a:pt x="874" y="1137"/>
                  </a:lnTo>
                  <a:lnTo>
                    <a:pt x="877" y="1147"/>
                  </a:lnTo>
                  <a:lnTo>
                    <a:pt x="878" y="1152"/>
                  </a:lnTo>
                  <a:lnTo>
                    <a:pt x="878" y="1152"/>
                  </a:lnTo>
                  <a:lnTo>
                    <a:pt x="880" y="1152"/>
                  </a:lnTo>
                  <a:lnTo>
                    <a:pt x="881" y="1152"/>
                  </a:lnTo>
                  <a:lnTo>
                    <a:pt x="884" y="1149"/>
                  </a:lnTo>
                  <a:lnTo>
                    <a:pt x="889" y="1142"/>
                  </a:lnTo>
                  <a:lnTo>
                    <a:pt x="889" y="1142"/>
                  </a:lnTo>
                  <a:lnTo>
                    <a:pt x="893" y="1139"/>
                  </a:lnTo>
                  <a:lnTo>
                    <a:pt x="897" y="1137"/>
                  </a:lnTo>
                  <a:lnTo>
                    <a:pt x="902" y="1134"/>
                  </a:lnTo>
                  <a:lnTo>
                    <a:pt x="903" y="1133"/>
                  </a:lnTo>
                  <a:lnTo>
                    <a:pt x="905" y="1131"/>
                  </a:lnTo>
                  <a:lnTo>
                    <a:pt x="905" y="1131"/>
                  </a:lnTo>
                  <a:lnTo>
                    <a:pt x="903" y="1125"/>
                  </a:lnTo>
                  <a:lnTo>
                    <a:pt x="902" y="1121"/>
                  </a:lnTo>
                  <a:lnTo>
                    <a:pt x="902" y="1119"/>
                  </a:lnTo>
                  <a:lnTo>
                    <a:pt x="903" y="1116"/>
                  </a:lnTo>
                  <a:lnTo>
                    <a:pt x="905" y="1115"/>
                  </a:lnTo>
                  <a:lnTo>
                    <a:pt x="909" y="1113"/>
                  </a:lnTo>
                  <a:lnTo>
                    <a:pt x="909" y="1113"/>
                  </a:lnTo>
                  <a:lnTo>
                    <a:pt x="924" y="1109"/>
                  </a:lnTo>
                  <a:lnTo>
                    <a:pt x="929" y="1106"/>
                  </a:lnTo>
                  <a:lnTo>
                    <a:pt x="931" y="1102"/>
                  </a:lnTo>
                  <a:lnTo>
                    <a:pt x="931" y="1102"/>
                  </a:lnTo>
                  <a:lnTo>
                    <a:pt x="937" y="1096"/>
                  </a:lnTo>
                  <a:lnTo>
                    <a:pt x="943" y="1091"/>
                  </a:lnTo>
                  <a:lnTo>
                    <a:pt x="951" y="1087"/>
                  </a:lnTo>
                  <a:lnTo>
                    <a:pt x="955" y="1081"/>
                  </a:lnTo>
                  <a:lnTo>
                    <a:pt x="955" y="1081"/>
                  </a:lnTo>
                  <a:lnTo>
                    <a:pt x="958" y="1073"/>
                  </a:lnTo>
                  <a:lnTo>
                    <a:pt x="958" y="1069"/>
                  </a:lnTo>
                  <a:lnTo>
                    <a:pt x="961" y="1059"/>
                  </a:lnTo>
                  <a:lnTo>
                    <a:pt x="961" y="1059"/>
                  </a:lnTo>
                  <a:lnTo>
                    <a:pt x="964" y="1054"/>
                  </a:lnTo>
                  <a:lnTo>
                    <a:pt x="967" y="1050"/>
                  </a:lnTo>
                  <a:lnTo>
                    <a:pt x="970" y="1045"/>
                  </a:lnTo>
                  <a:lnTo>
                    <a:pt x="969" y="1042"/>
                  </a:lnTo>
                  <a:lnTo>
                    <a:pt x="967" y="1041"/>
                  </a:lnTo>
                  <a:lnTo>
                    <a:pt x="967" y="1041"/>
                  </a:lnTo>
                  <a:lnTo>
                    <a:pt x="954" y="1025"/>
                  </a:lnTo>
                  <a:lnTo>
                    <a:pt x="945" y="1014"/>
                  </a:lnTo>
                  <a:lnTo>
                    <a:pt x="945" y="1014"/>
                  </a:lnTo>
                  <a:lnTo>
                    <a:pt x="957" y="1002"/>
                  </a:lnTo>
                  <a:lnTo>
                    <a:pt x="966" y="993"/>
                  </a:lnTo>
                  <a:lnTo>
                    <a:pt x="971" y="985"/>
                  </a:lnTo>
                  <a:lnTo>
                    <a:pt x="971" y="985"/>
                  </a:lnTo>
                  <a:lnTo>
                    <a:pt x="974" y="980"/>
                  </a:lnTo>
                  <a:lnTo>
                    <a:pt x="980" y="977"/>
                  </a:lnTo>
                  <a:lnTo>
                    <a:pt x="985" y="973"/>
                  </a:lnTo>
                  <a:lnTo>
                    <a:pt x="992" y="967"/>
                  </a:lnTo>
                  <a:lnTo>
                    <a:pt x="992" y="967"/>
                  </a:lnTo>
                  <a:lnTo>
                    <a:pt x="998" y="958"/>
                  </a:lnTo>
                  <a:lnTo>
                    <a:pt x="1001" y="949"/>
                  </a:lnTo>
                  <a:lnTo>
                    <a:pt x="1004" y="940"/>
                  </a:lnTo>
                  <a:lnTo>
                    <a:pt x="1004" y="933"/>
                  </a:lnTo>
                  <a:lnTo>
                    <a:pt x="1004" y="933"/>
                  </a:lnTo>
                  <a:lnTo>
                    <a:pt x="1006" y="927"/>
                  </a:lnTo>
                  <a:lnTo>
                    <a:pt x="1007" y="922"/>
                  </a:lnTo>
                  <a:lnTo>
                    <a:pt x="1013" y="915"/>
                  </a:lnTo>
                  <a:lnTo>
                    <a:pt x="1013" y="915"/>
                  </a:lnTo>
                  <a:lnTo>
                    <a:pt x="1014" y="912"/>
                  </a:lnTo>
                  <a:lnTo>
                    <a:pt x="1014" y="908"/>
                  </a:lnTo>
                  <a:lnTo>
                    <a:pt x="1014" y="900"/>
                  </a:lnTo>
                  <a:lnTo>
                    <a:pt x="1010" y="893"/>
                  </a:lnTo>
                  <a:lnTo>
                    <a:pt x="1008" y="890"/>
                  </a:lnTo>
                  <a:lnTo>
                    <a:pt x="1006" y="888"/>
                  </a:lnTo>
                  <a:lnTo>
                    <a:pt x="1006" y="888"/>
                  </a:lnTo>
                  <a:lnTo>
                    <a:pt x="998" y="887"/>
                  </a:lnTo>
                  <a:lnTo>
                    <a:pt x="988" y="885"/>
                  </a:lnTo>
                  <a:lnTo>
                    <a:pt x="980" y="884"/>
                  </a:lnTo>
                  <a:lnTo>
                    <a:pt x="977" y="882"/>
                  </a:lnTo>
                  <a:lnTo>
                    <a:pt x="976" y="879"/>
                  </a:lnTo>
                  <a:lnTo>
                    <a:pt x="976" y="879"/>
                  </a:lnTo>
                  <a:lnTo>
                    <a:pt x="974" y="875"/>
                  </a:lnTo>
                  <a:lnTo>
                    <a:pt x="973" y="869"/>
                  </a:lnTo>
                  <a:lnTo>
                    <a:pt x="973" y="868"/>
                  </a:lnTo>
                  <a:lnTo>
                    <a:pt x="971" y="866"/>
                  </a:lnTo>
                  <a:lnTo>
                    <a:pt x="969" y="866"/>
                  </a:lnTo>
                  <a:lnTo>
                    <a:pt x="964" y="868"/>
                  </a:lnTo>
                  <a:lnTo>
                    <a:pt x="964" y="868"/>
                  </a:lnTo>
                  <a:lnTo>
                    <a:pt x="957" y="869"/>
                  </a:lnTo>
                  <a:lnTo>
                    <a:pt x="951" y="869"/>
                  </a:lnTo>
                  <a:lnTo>
                    <a:pt x="949" y="869"/>
                  </a:lnTo>
                  <a:lnTo>
                    <a:pt x="948" y="868"/>
                  </a:lnTo>
                  <a:lnTo>
                    <a:pt x="948" y="866"/>
                  </a:lnTo>
                  <a:lnTo>
                    <a:pt x="948" y="863"/>
                  </a:lnTo>
                  <a:lnTo>
                    <a:pt x="948" y="863"/>
                  </a:lnTo>
                  <a:lnTo>
                    <a:pt x="954" y="848"/>
                  </a:lnTo>
                  <a:lnTo>
                    <a:pt x="960" y="841"/>
                  </a:lnTo>
                  <a:lnTo>
                    <a:pt x="966" y="835"/>
                  </a:lnTo>
                  <a:lnTo>
                    <a:pt x="966" y="835"/>
                  </a:lnTo>
                  <a:lnTo>
                    <a:pt x="969" y="834"/>
                  </a:lnTo>
                  <a:lnTo>
                    <a:pt x="971" y="829"/>
                  </a:lnTo>
                  <a:lnTo>
                    <a:pt x="974" y="820"/>
                  </a:lnTo>
                  <a:lnTo>
                    <a:pt x="976" y="810"/>
                  </a:lnTo>
                  <a:lnTo>
                    <a:pt x="974" y="801"/>
                  </a:lnTo>
                  <a:lnTo>
                    <a:pt x="974" y="801"/>
                  </a:lnTo>
                  <a:lnTo>
                    <a:pt x="971" y="796"/>
                  </a:lnTo>
                  <a:lnTo>
                    <a:pt x="969" y="795"/>
                  </a:lnTo>
                  <a:lnTo>
                    <a:pt x="964" y="792"/>
                  </a:lnTo>
                  <a:lnTo>
                    <a:pt x="964" y="791"/>
                  </a:lnTo>
                  <a:lnTo>
                    <a:pt x="964" y="788"/>
                  </a:lnTo>
                  <a:lnTo>
                    <a:pt x="964" y="788"/>
                  </a:lnTo>
                  <a:lnTo>
                    <a:pt x="964" y="777"/>
                  </a:lnTo>
                  <a:lnTo>
                    <a:pt x="963" y="774"/>
                  </a:lnTo>
                  <a:lnTo>
                    <a:pt x="963" y="771"/>
                  </a:lnTo>
                  <a:lnTo>
                    <a:pt x="963" y="771"/>
                  </a:lnTo>
                  <a:lnTo>
                    <a:pt x="958" y="768"/>
                  </a:lnTo>
                  <a:lnTo>
                    <a:pt x="952" y="765"/>
                  </a:lnTo>
                  <a:lnTo>
                    <a:pt x="946" y="764"/>
                  </a:lnTo>
                  <a:lnTo>
                    <a:pt x="940" y="761"/>
                  </a:lnTo>
                  <a:lnTo>
                    <a:pt x="940" y="761"/>
                  </a:lnTo>
                  <a:lnTo>
                    <a:pt x="939" y="758"/>
                  </a:lnTo>
                  <a:lnTo>
                    <a:pt x="937" y="754"/>
                  </a:lnTo>
                  <a:lnTo>
                    <a:pt x="937" y="745"/>
                  </a:lnTo>
                  <a:lnTo>
                    <a:pt x="936" y="736"/>
                  </a:lnTo>
                  <a:lnTo>
                    <a:pt x="936" y="731"/>
                  </a:lnTo>
                  <a:lnTo>
                    <a:pt x="936" y="731"/>
                  </a:lnTo>
                  <a:lnTo>
                    <a:pt x="934" y="725"/>
                  </a:lnTo>
                  <a:lnTo>
                    <a:pt x="934" y="724"/>
                  </a:lnTo>
                  <a:lnTo>
                    <a:pt x="936" y="722"/>
                  </a:lnTo>
                  <a:lnTo>
                    <a:pt x="936" y="722"/>
                  </a:lnTo>
                  <a:lnTo>
                    <a:pt x="940" y="722"/>
                  </a:lnTo>
                  <a:lnTo>
                    <a:pt x="943" y="719"/>
                  </a:lnTo>
                  <a:lnTo>
                    <a:pt x="946" y="717"/>
                  </a:lnTo>
                  <a:lnTo>
                    <a:pt x="948" y="711"/>
                  </a:lnTo>
                  <a:lnTo>
                    <a:pt x="948" y="711"/>
                  </a:lnTo>
                  <a:lnTo>
                    <a:pt x="945" y="705"/>
                  </a:lnTo>
                  <a:lnTo>
                    <a:pt x="940" y="699"/>
                  </a:lnTo>
                  <a:lnTo>
                    <a:pt x="936" y="694"/>
                  </a:lnTo>
                  <a:lnTo>
                    <a:pt x="934" y="691"/>
                  </a:lnTo>
                  <a:lnTo>
                    <a:pt x="934" y="691"/>
                  </a:lnTo>
                  <a:lnTo>
                    <a:pt x="933" y="688"/>
                  </a:lnTo>
                  <a:lnTo>
                    <a:pt x="933" y="684"/>
                  </a:lnTo>
                  <a:lnTo>
                    <a:pt x="936" y="674"/>
                  </a:lnTo>
                  <a:lnTo>
                    <a:pt x="936" y="674"/>
                  </a:lnTo>
                  <a:lnTo>
                    <a:pt x="939" y="668"/>
                  </a:lnTo>
                  <a:lnTo>
                    <a:pt x="942" y="665"/>
                  </a:lnTo>
                  <a:lnTo>
                    <a:pt x="945" y="663"/>
                  </a:lnTo>
                  <a:lnTo>
                    <a:pt x="945" y="663"/>
                  </a:lnTo>
                  <a:lnTo>
                    <a:pt x="949" y="659"/>
                  </a:lnTo>
                  <a:lnTo>
                    <a:pt x="952" y="651"/>
                  </a:lnTo>
                  <a:lnTo>
                    <a:pt x="952" y="644"/>
                  </a:lnTo>
                  <a:lnTo>
                    <a:pt x="952" y="639"/>
                  </a:lnTo>
                  <a:lnTo>
                    <a:pt x="949" y="637"/>
                  </a:lnTo>
                  <a:lnTo>
                    <a:pt x="949" y="637"/>
                  </a:lnTo>
                  <a:lnTo>
                    <a:pt x="943" y="623"/>
                  </a:lnTo>
                  <a:lnTo>
                    <a:pt x="934" y="610"/>
                  </a:lnTo>
                  <a:lnTo>
                    <a:pt x="934" y="610"/>
                  </a:lnTo>
                  <a:lnTo>
                    <a:pt x="929" y="602"/>
                  </a:lnTo>
                  <a:lnTo>
                    <a:pt x="926" y="598"/>
                  </a:lnTo>
                  <a:lnTo>
                    <a:pt x="923" y="595"/>
                  </a:lnTo>
                  <a:lnTo>
                    <a:pt x="923" y="592"/>
                  </a:lnTo>
                  <a:lnTo>
                    <a:pt x="923" y="592"/>
                  </a:lnTo>
                  <a:lnTo>
                    <a:pt x="926" y="586"/>
                  </a:lnTo>
                  <a:lnTo>
                    <a:pt x="933" y="576"/>
                  </a:lnTo>
                  <a:lnTo>
                    <a:pt x="933" y="576"/>
                  </a:lnTo>
                  <a:lnTo>
                    <a:pt x="937" y="568"/>
                  </a:lnTo>
                  <a:lnTo>
                    <a:pt x="939" y="560"/>
                  </a:lnTo>
                  <a:lnTo>
                    <a:pt x="939" y="552"/>
                  </a:lnTo>
                  <a:lnTo>
                    <a:pt x="937" y="546"/>
                  </a:lnTo>
                  <a:lnTo>
                    <a:pt x="937" y="546"/>
                  </a:lnTo>
                  <a:lnTo>
                    <a:pt x="936" y="539"/>
                  </a:lnTo>
                  <a:lnTo>
                    <a:pt x="936" y="533"/>
                  </a:lnTo>
                  <a:lnTo>
                    <a:pt x="933" y="528"/>
                  </a:lnTo>
                  <a:lnTo>
                    <a:pt x="933" y="528"/>
                  </a:lnTo>
                  <a:lnTo>
                    <a:pt x="927" y="521"/>
                  </a:lnTo>
                  <a:lnTo>
                    <a:pt x="926" y="518"/>
                  </a:lnTo>
                  <a:lnTo>
                    <a:pt x="924" y="514"/>
                  </a:lnTo>
                  <a:lnTo>
                    <a:pt x="924" y="514"/>
                  </a:lnTo>
                  <a:lnTo>
                    <a:pt x="926" y="509"/>
                  </a:lnTo>
                  <a:lnTo>
                    <a:pt x="927" y="506"/>
                  </a:lnTo>
                  <a:lnTo>
                    <a:pt x="930" y="503"/>
                  </a:lnTo>
                  <a:lnTo>
                    <a:pt x="934" y="505"/>
                  </a:lnTo>
                  <a:lnTo>
                    <a:pt x="934" y="505"/>
                  </a:lnTo>
                  <a:lnTo>
                    <a:pt x="946" y="509"/>
                  </a:lnTo>
                  <a:lnTo>
                    <a:pt x="951" y="509"/>
                  </a:lnTo>
                  <a:lnTo>
                    <a:pt x="954" y="508"/>
                  </a:lnTo>
                  <a:lnTo>
                    <a:pt x="955" y="506"/>
                  </a:lnTo>
                  <a:lnTo>
                    <a:pt x="955" y="506"/>
                  </a:lnTo>
                  <a:lnTo>
                    <a:pt x="960" y="500"/>
                  </a:lnTo>
                  <a:lnTo>
                    <a:pt x="961" y="496"/>
                  </a:lnTo>
                  <a:lnTo>
                    <a:pt x="967" y="487"/>
                  </a:lnTo>
                  <a:lnTo>
                    <a:pt x="967" y="487"/>
                  </a:lnTo>
                  <a:lnTo>
                    <a:pt x="970" y="485"/>
                  </a:lnTo>
                  <a:lnTo>
                    <a:pt x="973" y="483"/>
                  </a:lnTo>
                  <a:lnTo>
                    <a:pt x="976" y="481"/>
                  </a:lnTo>
                  <a:lnTo>
                    <a:pt x="977" y="478"/>
                  </a:lnTo>
                  <a:lnTo>
                    <a:pt x="977" y="478"/>
                  </a:lnTo>
                  <a:lnTo>
                    <a:pt x="980" y="475"/>
                  </a:lnTo>
                  <a:lnTo>
                    <a:pt x="980" y="472"/>
                  </a:lnTo>
                  <a:lnTo>
                    <a:pt x="983" y="460"/>
                  </a:lnTo>
                  <a:lnTo>
                    <a:pt x="983" y="460"/>
                  </a:lnTo>
                  <a:lnTo>
                    <a:pt x="991" y="444"/>
                  </a:lnTo>
                  <a:lnTo>
                    <a:pt x="997" y="432"/>
                  </a:lnTo>
                  <a:lnTo>
                    <a:pt x="997" y="432"/>
                  </a:lnTo>
                  <a:lnTo>
                    <a:pt x="1000" y="429"/>
                  </a:lnTo>
                  <a:lnTo>
                    <a:pt x="1000" y="428"/>
                  </a:lnTo>
                  <a:lnTo>
                    <a:pt x="997" y="422"/>
                  </a:lnTo>
                  <a:lnTo>
                    <a:pt x="997" y="422"/>
                  </a:lnTo>
                  <a:lnTo>
                    <a:pt x="994" y="417"/>
                  </a:lnTo>
                  <a:lnTo>
                    <a:pt x="991" y="411"/>
                  </a:lnTo>
                  <a:lnTo>
                    <a:pt x="991" y="405"/>
                  </a:lnTo>
                  <a:lnTo>
                    <a:pt x="991" y="400"/>
                  </a:lnTo>
                  <a:lnTo>
                    <a:pt x="991" y="400"/>
                  </a:lnTo>
                  <a:lnTo>
                    <a:pt x="994" y="394"/>
                  </a:lnTo>
                  <a:lnTo>
                    <a:pt x="995" y="391"/>
                  </a:lnTo>
                  <a:lnTo>
                    <a:pt x="997" y="389"/>
                  </a:lnTo>
                  <a:lnTo>
                    <a:pt x="997" y="385"/>
                  </a:lnTo>
                  <a:lnTo>
                    <a:pt x="997" y="385"/>
                  </a:lnTo>
                  <a:lnTo>
                    <a:pt x="997" y="383"/>
                  </a:lnTo>
                  <a:lnTo>
                    <a:pt x="994" y="382"/>
                  </a:lnTo>
                  <a:lnTo>
                    <a:pt x="986" y="382"/>
                  </a:lnTo>
                  <a:lnTo>
                    <a:pt x="983" y="380"/>
                  </a:lnTo>
                  <a:lnTo>
                    <a:pt x="980" y="377"/>
                  </a:lnTo>
                  <a:lnTo>
                    <a:pt x="977" y="374"/>
                  </a:lnTo>
                  <a:lnTo>
                    <a:pt x="977" y="368"/>
                  </a:lnTo>
                  <a:lnTo>
                    <a:pt x="977" y="368"/>
                  </a:lnTo>
                  <a:lnTo>
                    <a:pt x="979" y="357"/>
                  </a:lnTo>
                  <a:lnTo>
                    <a:pt x="979" y="348"/>
                  </a:lnTo>
                  <a:lnTo>
                    <a:pt x="976" y="342"/>
                  </a:lnTo>
                  <a:lnTo>
                    <a:pt x="974" y="340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69" y="346"/>
                  </a:lnTo>
                  <a:lnTo>
                    <a:pt x="961" y="351"/>
                  </a:lnTo>
                  <a:lnTo>
                    <a:pt x="955" y="354"/>
                  </a:lnTo>
                  <a:lnTo>
                    <a:pt x="951" y="354"/>
                  </a:lnTo>
                  <a:lnTo>
                    <a:pt x="948" y="352"/>
                  </a:lnTo>
                  <a:lnTo>
                    <a:pt x="948" y="352"/>
                  </a:lnTo>
                  <a:lnTo>
                    <a:pt x="934" y="340"/>
                  </a:lnTo>
                  <a:lnTo>
                    <a:pt x="926" y="333"/>
                  </a:lnTo>
                  <a:lnTo>
                    <a:pt x="915" y="328"/>
                  </a:lnTo>
                  <a:lnTo>
                    <a:pt x="915" y="328"/>
                  </a:lnTo>
                  <a:lnTo>
                    <a:pt x="911" y="326"/>
                  </a:lnTo>
                  <a:lnTo>
                    <a:pt x="908" y="321"/>
                  </a:lnTo>
                  <a:lnTo>
                    <a:pt x="902" y="312"/>
                  </a:lnTo>
                  <a:lnTo>
                    <a:pt x="899" y="302"/>
                  </a:lnTo>
                  <a:lnTo>
                    <a:pt x="894" y="290"/>
                  </a:lnTo>
                  <a:lnTo>
                    <a:pt x="894" y="290"/>
                  </a:lnTo>
                  <a:lnTo>
                    <a:pt x="890" y="281"/>
                  </a:lnTo>
                  <a:lnTo>
                    <a:pt x="889" y="272"/>
                  </a:lnTo>
                  <a:lnTo>
                    <a:pt x="890" y="265"/>
                  </a:lnTo>
                  <a:lnTo>
                    <a:pt x="894" y="259"/>
                  </a:lnTo>
                  <a:lnTo>
                    <a:pt x="894" y="259"/>
                  </a:lnTo>
                  <a:lnTo>
                    <a:pt x="896" y="254"/>
                  </a:lnTo>
                  <a:lnTo>
                    <a:pt x="897" y="251"/>
                  </a:lnTo>
                  <a:lnTo>
                    <a:pt x="899" y="246"/>
                  </a:lnTo>
                  <a:lnTo>
                    <a:pt x="900" y="244"/>
                  </a:lnTo>
                  <a:lnTo>
                    <a:pt x="902" y="243"/>
                  </a:lnTo>
                  <a:lnTo>
                    <a:pt x="905" y="241"/>
                  </a:lnTo>
                  <a:lnTo>
                    <a:pt x="909" y="241"/>
                  </a:lnTo>
                  <a:lnTo>
                    <a:pt x="909" y="241"/>
                  </a:lnTo>
                  <a:lnTo>
                    <a:pt x="914" y="240"/>
                  </a:lnTo>
                  <a:lnTo>
                    <a:pt x="920" y="238"/>
                  </a:lnTo>
                  <a:lnTo>
                    <a:pt x="933" y="234"/>
                  </a:lnTo>
                  <a:lnTo>
                    <a:pt x="946" y="228"/>
                  </a:lnTo>
                  <a:lnTo>
                    <a:pt x="952" y="226"/>
                  </a:lnTo>
                  <a:lnTo>
                    <a:pt x="957" y="226"/>
                  </a:lnTo>
                  <a:lnTo>
                    <a:pt x="957" y="226"/>
                  </a:lnTo>
                  <a:lnTo>
                    <a:pt x="961" y="226"/>
                  </a:lnTo>
                  <a:lnTo>
                    <a:pt x="964" y="225"/>
                  </a:lnTo>
                  <a:lnTo>
                    <a:pt x="966" y="223"/>
                  </a:lnTo>
                  <a:lnTo>
                    <a:pt x="969" y="220"/>
                  </a:lnTo>
                  <a:lnTo>
                    <a:pt x="974" y="203"/>
                  </a:lnTo>
                  <a:lnTo>
                    <a:pt x="974" y="203"/>
                  </a:lnTo>
                  <a:lnTo>
                    <a:pt x="979" y="191"/>
                  </a:lnTo>
                  <a:lnTo>
                    <a:pt x="982" y="177"/>
                  </a:lnTo>
                  <a:lnTo>
                    <a:pt x="985" y="166"/>
                  </a:lnTo>
                  <a:lnTo>
                    <a:pt x="985" y="160"/>
                  </a:lnTo>
                  <a:lnTo>
                    <a:pt x="985" y="160"/>
                  </a:lnTo>
                  <a:lnTo>
                    <a:pt x="983" y="155"/>
                  </a:lnTo>
                  <a:lnTo>
                    <a:pt x="980" y="152"/>
                  </a:lnTo>
                  <a:lnTo>
                    <a:pt x="971" y="143"/>
                  </a:lnTo>
                  <a:lnTo>
                    <a:pt x="971" y="143"/>
                  </a:lnTo>
                  <a:lnTo>
                    <a:pt x="951" y="114"/>
                  </a:lnTo>
                  <a:lnTo>
                    <a:pt x="951" y="114"/>
                  </a:lnTo>
                  <a:lnTo>
                    <a:pt x="951" y="111"/>
                  </a:lnTo>
                  <a:lnTo>
                    <a:pt x="952" y="108"/>
                  </a:lnTo>
                  <a:lnTo>
                    <a:pt x="955" y="103"/>
                  </a:lnTo>
                  <a:lnTo>
                    <a:pt x="961" y="102"/>
                  </a:lnTo>
                  <a:lnTo>
                    <a:pt x="961" y="102"/>
                  </a:lnTo>
                  <a:lnTo>
                    <a:pt x="967" y="99"/>
                  </a:lnTo>
                  <a:lnTo>
                    <a:pt x="971" y="96"/>
                  </a:lnTo>
                  <a:lnTo>
                    <a:pt x="976" y="94"/>
                  </a:lnTo>
                  <a:lnTo>
                    <a:pt x="980" y="96"/>
                  </a:lnTo>
                  <a:lnTo>
                    <a:pt x="980" y="96"/>
                  </a:lnTo>
                  <a:lnTo>
                    <a:pt x="983" y="96"/>
                  </a:lnTo>
                  <a:lnTo>
                    <a:pt x="986" y="96"/>
                  </a:lnTo>
                  <a:lnTo>
                    <a:pt x="992" y="92"/>
                  </a:lnTo>
                  <a:lnTo>
                    <a:pt x="997" y="84"/>
                  </a:lnTo>
                  <a:lnTo>
                    <a:pt x="1000" y="75"/>
                  </a:lnTo>
                  <a:lnTo>
                    <a:pt x="1000" y="75"/>
                  </a:lnTo>
                  <a:lnTo>
                    <a:pt x="1003" y="66"/>
                  </a:lnTo>
                  <a:lnTo>
                    <a:pt x="1003" y="57"/>
                  </a:lnTo>
                  <a:lnTo>
                    <a:pt x="1000" y="52"/>
                  </a:lnTo>
                  <a:lnTo>
                    <a:pt x="997" y="47"/>
                  </a:lnTo>
                  <a:lnTo>
                    <a:pt x="997" y="47"/>
                  </a:lnTo>
                  <a:lnTo>
                    <a:pt x="991" y="46"/>
                  </a:lnTo>
                  <a:lnTo>
                    <a:pt x="986" y="44"/>
                  </a:lnTo>
                  <a:lnTo>
                    <a:pt x="982" y="43"/>
                  </a:lnTo>
                  <a:lnTo>
                    <a:pt x="977" y="40"/>
                  </a:lnTo>
                  <a:lnTo>
                    <a:pt x="977" y="40"/>
                  </a:lnTo>
                  <a:lnTo>
                    <a:pt x="976" y="37"/>
                  </a:lnTo>
                  <a:lnTo>
                    <a:pt x="974" y="31"/>
                  </a:lnTo>
                  <a:lnTo>
                    <a:pt x="974" y="20"/>
                  </a:lnTo>
                  <a:lnTo>
                    <a:pt x="974" y="20"/>
                  </a:lnTo>
                  <a:lnTo>
                    <a:pt x="973" y="15"/>
                  </a:lnTo>
                  <a:lnTo>
                    <a:pt x="970" y="7"/>
                  </a:lnTo>
                  <a:lnTo>
                    <a:pt x="966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1" name="Freeform 140">
              <a:extLst>
                <a:ext uri="{FF2B5EF4-FFF2-40B4-BE49-F238E27FC236}">
                  <a16:creationId xmlns:a16="http://schemas.microsoft.com/office/drawing/2014/main" id="{2746044D-8D23-9F4E-9DFD-72B7E075D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575" y="3935413"/>
              <a:ext cx="188913" cy="280987"/>
            </a:xfrm>
            <a:custGeom>
              <a:avLst/>
              <a:gdLst>
                <a:gd name="T0" fmla="*/ 0 w 119"/>
                <a:gd name="T1" fmla="*/ 0 h 177"/>
                <a:gd name="T2" fmla="*/ 0 w 119"/>
                <a:gd name="T3" fmla="*/ 0 h 177"/>
                <a:gd name="T4" fmla="*/ 1 w 119"/>
                <a:gd name="T5" fmla="*/ 7 h 177"/>
                <a:gd name="T6" fmla="*/ 2 w 119"/>
                <a:gd name="T7" fmla="*/ 22 h 177"/>
                <a:gd name="T8" fmla="*/ 2 w 119"/>
                <a:gd name="T9" fmla="*/ 22 h 177"/>
                <a:gd name="T10" fmla="*/ 5 w 119"/>
                <a:gd name="T11" fmla="*/ 47 h 177"/>
                <a:gd name="T12" fmla="*/ 8 w 119"/>
                <a:gd name="T13" fmla="*/ 60 h 177"/>
                <a:gd name="T14" fmla="*/ 10 w 119"/>
                <a:gd name="T15" fmla="*/ 66 h 177"/>
                <a:gd name="T16" fmla="*/ 13 w 119"/>
                <a:gd name="T17" fmla="*/ 71 h 177"/>
                <a:gd name="T18" fmla="*/ 13 w 119"/>
                <a:gd name="T19" fmla="*/ 71 h 177"/>
                <a:gd name="T20" fmla="*/ 19 w 119"/>
                <a:gd name="T21" fmla="*/ 75 h 177"/>
                <a:gd name="T22" fmla="*/ 23 w 119"/>
                <a:gd name="T23" fmla="*/ 80 h 177"/>
                <a:gd name="T24" fmla="*/ 29 w 119"/>
                <a:gd name="T25" fmla="*/ 84 h 177"/>
                <a:gd name="T26" fmla="*/ 32 w 119"/>
                <a:gd name="T27" fmla="*/ 90 h 177"/>
                <a:gd name="T28" fmla="*/ 32 w 119"/>
                <a:gd name="T29" fmla="*/ 90 h 177"/>
                <a:gd name="T30" fmla="*/ 35 w 119"/>
                <a:gd name="T31" fmla="*/ 99 h 177"/>
                <a:gd name="T32" fmla="*/ 35 w 119"/>
                <a:gd name="T33" fmla="*/ 109 h 177"/>
                <a:gd name="T34" fmla="*/ 35 w 119"/>
                <a:gd name="T35" fmla="*/ 120 h 177"/>
                <a:gd name="T36" fmla="*/ 37 w 119"/>
                <a:gd name="T37" fmla="*/ 129 h 177"/>
                <a:gd name="T38" fmla="*/ 37 w 119"/>
                <a:gd name="T39" fmla="*/ 129 h 177"/>
                <a:gd name="T40" fmla="*/ 40 w 119"/>
                <a:gd name="T41" fmla="*/ 134 h 177"/>
                <a:gd name="T42" fmla="*/ 42 w 119"/>
                <a:gd name="T43" fmla="*/ 139 h 177"/>
                <a:gd name="T44" fmla="*/ 48 w 119"/>
                <a:gd name="T45" fmla="*/ 146 h 177"/>
                <a:gd name="T46" fmla="*/ 48 w 119"/>
                <a:gd name="T47" fmla="*/ 146 h 177"/>
                <a:gd name="T48" fmla="*/ 53 w 119"/>
                <a:gd name="T49" fmla="*/ 154 h 177"/>
                <a:gd name="T50" fmla="*/ 56 w 119"/>
                <a:gd name="T51" fmla="*/ 155 h 177"/>
                <a:gd name="T52" fmla="*/ 60 w 119"/>
                <a:gd name="T53" fmla="*/ 157 h 177"/>
                <a:gd name="T54" fmla="*/ 60 w 119"/>
                <a:gd name="T55" fmla="*/ 157 h 177"/>
                <a:gd name="T56" fmla="*/ 65 w 119"/>
                <a:gd name="T57" fmla="*/ 157 h 177"/>
                <a:gd name="T58" fmla="*/ 71 w 119"/>
                <a:gd name="T59" fmla="*/ 154 h 177"/>
                <a:gd name="T60" fmla="*/ 77 w 119"/>
                <a:gd name="T61" fmla="*/ 152 h 177"/>
                <a:gd name="T62" fmla="*/ 84 w 119"/>
                <a:gd name="T63" fmla="*/ 152 h 177"/>
                <a:gd name="T64" fmla="*/ 84 w 119"/>
                <a:gd name="T65" fmla="*/ 152 h 177"/>
                <a:gd name="T66" fmla="*/ 97 w 119"/>
                <a:gd name="T67" fmla="*/ 154 h 177"/>
                <a:gd name="T68" fmla="*/ 102 w 119"/>
                <a:gd name="T69" fmla="*/ 157 h 177"/>
                <a:gd name="T70" fmla="*/ 106 w 119"/>
                <a:gd name="T71" fmla="*/ 161 h 177"/>
                <a:gd name="T72" fmla="*/ 106 w 119"/>
                <a:gd name="T73" fmla="*/ 161 h 177"/>
                <a:gd name="T74" fmla="*/ 119 w 119"/>
                <a:gd name="T7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77">
                  <a:moveTo>
                    <a:pt x="0" y="0"/>
                  </a:moveTo>
                  <a:lnTo>
                    <a:pt x="0" y="0"/>
                  </a:lnTo>
                  <a:lnTo>
                    <a:pt x="1" y="7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47"/>
                  </a:lnTo>
                  <a:lnTo>
                    <a:pt x="8" y="60"/>
                  </a:lnTo>
                  <a:lnTo>
                    <a:pt x="10" y="66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9" y="75"/>
                  </a:lnTo>
                  <a:lnTo>
                    <a:pt x="23" y="80"/>
                  </a:lnTo>
                  <a:lnTo>
                    <a:pt x="29" y="84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5" y="99"/>
                  </a:lnTo>
                  <a:lnTo>
                    <a:pt x="35" y="109"/>
                  </a:lnTo>
                  <a:lnTo>
                    <a:pt x="35" y="120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40" y="134"/>
                  </a:lnTo>
                  <a:lnTo>
                    <a:pt x="42" y="139"/>
                  </a:lnTo>
                  <a:lnTo>
                    <a:pt x="48" y="146"/>
                  </a:lnTo>
                  <a:lnTo>
                    <a:pt x="48" y="146"/>
                  </a:lnTo>
                  <a:lnTo>
                    <a:pt x="53" y="154"/>
                  </a:lnTo>
                  <a:lnTo>
                    <a:pt x="56" y="155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65" y="157"/>
                  </a:lnTo>
                  <a:lnTo>
                    <a:pt x="71" y="154"/>
                  </a:lnTo>
                  <a:lnTo>
                    <a:pt x="77" y="152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97" y="154"/>
                  </a:lnTo>
                  <a:lnTo>
                    <a:pt x="102" y="157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19" y="17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2" name="Freeform 141">
              <a:extLst>
                <a:ext uri="{FF2B5EF4-FFF2-40B4-BE49-F238E27FC236}">
                  <a16:creationId xmlns:a16="http://schemas.microsoft.com/office/drawing/2014/main" id="{C097D5E4-002B-7940-A9DF-0F20D24A5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7663" y="4597400"/>
              <a:ext cx="1008063" cy="703262"/>
            </a:xfrm>
            <a:custGeom>
              <a:avLst/>
              <a:gdLst>
                <a:gd name="T0" fmla="*/ 622 w 635"/>
                <a:gd name="T1" fmla="*/ 9 h 443"/>
                <a:gd name="T2" fmla="*/ 608 w 635"/>
                <a:gd name="T3" fmla="*/ 23 h 443"/>
                <a:gd name="T4" fmla="*/ 603 w 635"/>
                <a:gd name="T5" fmla="*/ 33 h 443"/>
                <a:gd name="T6" fmla="*/ 601 w 635"/>
                <a:gd name="T7" fmla="*/ 43 h 443"/>
                <a:gd name="T8" fmla="*/ 610 w 635"/>
                <a:gd name="T9" fmla="*/ 43 h 443"/>
                <a:gd name="T10" fmla="*/ 620 w 635"/>
                <a:gd name="T11" fmla="*/ 42 h 443"/>
                <a:gd name="T12" fmla="*/ 620 w 635"/>
                <a:gd name="T13" fmla="*/ 55 h 443"/>
                <a:gd name="T14" fmla="*/ 619 w 635"/>
                <a:gd name="T15" fmla="*/ 70 h 443"/>
                <a:gd name="T16" fmla="*/ 617 w 635"/>
                <a:gd name="T17" fmla="*/ 80 h 443"/>
                <a:gd name="T18" fmla="*/ 610 w 635"/>
                <a:gd name="T19" fmla="*/ 86 h 443"/>
                <a:gd name="T20" fmla="*/ 606 w 635"/>
                <a:gd name="T21" fmla="*/ 79 h 443"/>
                <a:gd name="T22" fmla="*/ 600 w 635"/>
                <a:gd name="T23" fmla="*/ 74 h 443"/>
                <a:gd name="T24" fmla="*/ 589 w 635"/>
                <a:gd name="T25" fmla="*/ 83 h 443"/>
                <a:gd name="T26" fmla="*/ 588 w 635"/>
                <a:gd name="T27" fmla="*/ 91 h 443"/>
                <a:gd name="T28" fmla="*/ 595 w 635"/>
                <a:gd name="T29" fmla="*/ 97 h 443"/>
                <a:gd name="T30" fmla="*/ 595 w 635"/>
                <a:gd name="T31" fmla="*/ 101 h 443"/>
                <a:gd name="T32" fmla="*/ 579 w 635"/>
                <a:gd name="T33" fmla="*/ 116 h 443"/>
                <a:gd name="T34" fmla="*/ 561 w 635"/>
                <a:gd name="T35" fmla="*/ 122 h 443"/>
                <a:gd name="T36" fmla="*/ 546 w 635"/>
                <a:gd name="T37" fmla="*/ 128 h 443"/>
                <a:gd name="T38" fmla="*/ 524 w 635"/>
                <a:gd name="T39" fmla="*/ 141 h 443"/>
                <a:gd name="T40" fmla="*/ 490 w 635"/>
                <a:gd name="T41" fmla="*/ 141 h 443"/>
                <a:gd name="T42" fmla="*/ 462 w 635"/>
                <a:gd name="T43" fmla="*/ 144 h 443"/>
                <a:gd name="T44" fmla="*/ 449 w 635"/>
                <a:gd name="T45" fmla="*/ 153 h 443"/>
                <a:gd name="T46" fmla="*/ 434 w 635"/>
                <a:gd name="T47" fmla="*/ 150 h 443"/>
                <a:gd name="T48" fmla="*/ 426 w 635"/>
                <a:gd name="T49" fmla="*/ 159 h 443"/>
                <a:gd name="T50" fmla="*/ 417 w 635"/>
                <a:gd name="T51" fmla="*/ 162 h 443"/>
                <a:gd name="T52" fmla="*/ 401 w 635"/>
                <a:gd name="T53" fmla="*/ 166 h 443"/>
                <a:gd name="T54" fmla="*/ 394 w 635"/>
                <a:gd name="T55" fmla="*/ 171 h 443"/>
                <a:gd name="T56" fmla="*/ 367 w 635"/>
                <a:gd name="T57" fmla="*/ 171 h 443"/>
                <a:gd name="T58" fmla="*/ 330 w 635"/>
                <a:gd name="T59" fmla="*/ 177 h 443"/>
                <a:gd name="T60" fmla="*/ 298 w 635"/>
                <a:gd name="T61" fmla="*/ 180 h 443"/>
                <a:gd name="T62" fmla="*/ 289 w 635"/>
                <a:gd name="T63" fmla="*/ 185 h 443"/>
                <a:gd name="T64" fmla="*/ 280 w 635"/>
                <a:gd name="T65" fmla="*/ 199 h 443"/>
                <a:gd name="T66" fmla="*/ 271 w 635"/>
                <a:gd name="T67" fmla="*/ 206 h 443"/>
                <a:gd name="T68" fmla="*/ 243 w 635"/>
                <a:gd name="T69" fmla="*/ 218 h 443"/>
                <a:gd name="T70" fmla="*/ 237 w 635"/>
                <a:gd name="T71" fmla="*/ 214 h 443"/>
                <a:gd name="T72" fmla="*/ 235 w 635"/>
                <a:gd name="T73" fmla="*/ 199 h 443"/>
                <a:gd name="T74" fmla="*/ 229 w 635"/>
                <a:gd name="T75" fmla="*/ 187 h 443"/>
                <a:gd name="T76" fmla="*/ 209 w 635"/>
                <a:gd name="T77" fmla="*/ 188 h 443"/>
                <a:gd name="T78" fmla="*/ 188 w 635"/>
                <a:gd name="T79" fmla="*/ 193 h 443"/>
                <a:gd name="T80" fmla="*/ 184 w 635"/>
                <a:gd name="T81" fmla="*/ 206 h 443"/>
                <a:gd name="T82" fmla="*/ 173 w 635"/>
                <a:gd name="T83" fmla="*/ 211 h 443"/>
                <a:gd name="T84" fmla="*/ 161 w 635"/>
                <a:gd name="T85" fmla="*/ 227 h 443"/>
                <a:gd name="T86" fmla="*/ 155 w 635"/>
                <a:gd name="T87" fmla="*/ 243 h 443"/>
                <a:gd name="T88" fmla="*/ 149 w 635"/>
                <a:gd name="T89" fmla="*/ 261 h 443"/>
                <a:gd name="T90" fmla="*/ 133 w 635"/>
                <a:gd name="T91" fmla="*/ 273 h 443"/>
                <a:gd name="T92" fmla="*/ 96 w 635"/>
                <a:gd name="T93" fmla="*/ 307 h 443"/>
                <a:gd name="T94" fmla="*/ 83 w 635"/>
                <a:gd name="T95" fmla="*/ 325 h 443"/>
                <a:gd name="T96" fmla="*/ 72 w 635"/>
                <a:gd name="T97" fmla="*/ 328 h 443"/>
                <a:gd name="T98" fmla="*/ 58 w 635"/>
                <a:gd name="T99" fmla="*/ 332 h 443"/>
                <a:gd name="T100" fmla="*/ 58 w 635"/>
                <a:gd name="T101" fmla="*/ 347 h 443"/>
                <a:gd name="T102" fmla="*/ 53 w 635"/>
                <a:gd name="T103" fmla="*/ 363 h 443"/>
                <a:gd name="T104" fmla="*/ 49 w 635"/>
                <a:gd name="T105" fmla="*/ 385 h 443"/>
                <a:gd name="T106" fmla="*/ 49 w 635"/>
                <a:gd name="T107" fmla="*/ 393 h 443"/>
                <a:gd name="T108" fmla="*/ 41 w 635"/>
                <a:gd name="T109" fmla="*/ 402 h 443"/>
                <a:gd name="T110" fmla="*/ 35 w 635"/>
                <a:gd name="T111" fmla="*/ 406 h 443"/>
                <a:gd name="T112" fmla="*/ 24 w 635"/>
                <a:gd name="T113" fmla="*/ 419 h 443"/>
                <a:gd name="T114" fmla="*/ 13 w 635"/>
                <a:gd name="T115" fmla="*/ 43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5" h="443">
                  <a:moveTo>
                    <a:pt x="635" y="0"/>
                  </a:moveTo>
                  <a:lnTo>
                    <a:pt x="635" y="0"/>
                  </a:lnTo>
                  <a:lnTo>
                    <a:pt x="622" y="9"/>
                  </a:lnTo>
                  <a:lnTo>
                    <a:pt x="613" y="17"/>
                  </a:lnTo>
                  <a:lnTo>
                    <a:pt x="610" y="20"/>
                  </a:lnTo>
                  <a:lnTo>
                    <a:pt x="608" y="23"/>
                  </a:lnTo>
                  <a:lnTo>
                    <a:pt x="608" y="23"/>
                  </a:lnTo>
                  <a:lnTo>
                    <a:pt x="607" y="27"/>
                  </a:lnTo>
                  <a:lnTo>
                    <a:pt x="603" y="33"/>
                  </a:lnTo>
                  <a:lnTo>
                    <a:pt x="600" y="39"/>
                  </a:lnTo>
                  <a:lnTo>
                    <a:pt x="600" y="42"/>
                  </a:lnTo>
                  <a:lnTo>
                    <a:pt x="601" y="43"/>
                  </a:lnTo>
                  <a:lnTo>
                    <a:pt x="601" y="43"/>
                  </a:lnTo>
                  <a:lnTo>
                    <a:pt x="606" y="45"/>
                  </a:lnTo>
                  <a:lnTo>
                    <a:pt x="610" y="43"/>
                  </a:lnTo>
                  <a:lnTo>
                    <a:pt x="617" y="42"/>
                  </a:lnTo>
                  <a:lnTo>
                    <a:pt x="617" y="42"/>
                  </a:lnTo>
                  <a:lnTo>
                    <a:pt x="620" y="42"/>
                  </a:lnTo>
                  <a:lnTo>
                    <a:pt x="622" y="43"/>
                  </a:lnTo>
                  <a:lnTo>
                    <a:pt x="622" y="46"/>
                  </a:lnTo>
                  <a:lnTo>
                    <a:pt x="620" y="55"/>
                  </a:lnTo>
                  <a:lnTo>
                    <a:pt x="620" y="55"/>
                  </a:lnTo>
                  <a:lnTo>
                    <a:pt x="619" y="64"/>
                  </a:lnTo>
                  <a:lnTo>
                    <a:pt x="619" y="70"/>
                  </a:lnTo>
                  <a:lnTo>
                    <a:pt x="619" y="76"/>
                  </a:lnTo>
                  <a:lnTo>
                    <a:pt x="617" y="80"/>
                  </a:lnTo>
                  <a:lnTo>
                    <a:pt x="617" y="80"/>
                  </a:lnTo>
                  <a:lnTo>
                    <a:pt x="616" y="85"/>
                  </a:lnTo>
                  <a:lnTo>
                    <a:pt x="613" y="86"/>
                  </a:lnTo>
                  <a:lnTo>
                    <a:pt x="610" y="86"/>
                  </a:lnTo>
                  <a:lnTo>
                    <a:pt x="607" y="83"/>
                  </a:lnTo>
                  <a:lnTo>
                    <a:pt x="607" y="83"/>
                  </a:lnTo>
                  <a:lnTo>
                    <a:pt x="606" y="79"/>
                  </a:lnTo>
                  <a:lnTo>
                    <a:pt x="606" y="74"/>
                  </a:lnTo>
                  <a:lnTo>
                    <a:pt x="604" y="71"/>
                  </a:lnTo>
                  <a:lnTo>
                    <a:pt x="600" y="74"/>
                  </a:lnTo>
                  <a:lnTo>
                    <a:pt x="600" y="74"/>
                  </a:lnTo>
                  <a:lnTo>
                    <a:pt x="594" y="79"/>
                  </a:lnTo>
                  <a:lnTo>
                    <a:pt x="589" y="83"/>
                  </a:lnTo>
                  <a:lnTo>
                    <a:pt x="588" y="88"/>
                  </a:lnTo>
                  <a:lnTo>
                    <a:pt x="588" y="89"/>
                  </a:lnTo>
                  <a:lnTo>
                    <a:pt x="588" y="91"/>
                  </a:lnTo>
                  <a:lnTo>
                    <a:pt x="588" y="91"/>
                  </a:lnTo>
                  <a:lnTo>
                    <a:pt x="594" y="95"/>
                  </a:lnTo>
                  <a:lnTo>
                    <a:pt x="595" y="97"/>
                  </a:lnTo>
                  <a:lnTo>
                    <a:pt x="597" y="98"/>
                  </a:lnTo>
                  <a:lnTo>
                    <a:pt x="597" y="98"/>
                  </a:lnTo>
                  <a:lnTo>
                    <a:pt x="595" y="101"/>
                  </a:lnTo>
                  <a:lnTo>
                    <a:pt x="592" y="105"/>
                  </a:lnTo>
                  <a:lnTo>
                    <a:pt x="579" y="116"/>
                  </a:lnTo>
                  <a:lnTo>
                    <a:pt x="579" y="116"/>
                  </a:lnTo>
                  <a:lnTo>
                    <a:pt x="573" y="120"/>
                  </a:lnTo>
                  <a:lnTo>
                    <a:pt x="567" y="120"/>
                  </a:lnTo>
                  <a:lnTo>
                    <a:pt x="561" y="122"/>
                  </a:lnTo>
                  <a:lnTo>
                    <a:pt x="554" y="123"/>
                  </a:lnTo>
                  <a:lnTo>
                    <a:pt x="554" y="123"/>
                  </a:lnTo>
                  <a:lnTo>
                    <a:pt x="546" y="128"/>
                  </a:lnTo>
                  <a:lnTo>
                    <a:pt x="537" y="134"/>
                  </a:lnTo>
                  <a:lnTo>
                    <a:pt x="529" y="138"/>
                  </a:lnTo>
                  <a:lnTo>
                    <a:pt x="524" y="141"/>
                  </a:lnTo>
                  <a:lnTo>
                    <a:pt x="520" y="141"/>
                  </a:lnTo>
                  <a:lnTo>
                    <a:pt x="520" y="141"/>
                  </a:lnTo>
                  <a:lnTo>
                    <a:pt x="490" y="141"/>
                  </a:lnTo>
                  <a:lnTo>
                    <a:pt x="466" y="141"/>
                  </a:lnTo>
                  <a:lnTo>
                    <a:pt x="466" y="141"/>
                  </a:lnTo>
                  <a:lnTo>
                    <a:pt x="462" y="144"/>
                  </a:lnTo>
                  <a:lnTo>
                    <a:pt x="457" y="148"/>
                  </a:lnTo>
                  <a:lnTo>
                    <a:pt x="453" y="151"/>
                  </a:lnTo>
                  <a:lnTo>
                    <a:pt x="449" y="153"/>
                  </a:lnTo>
                  <a:lnTo>
                    <a:pt x="449" y="153"/>
                  </a:lnTo>
                  <a:lnTo>
                    <a:pt x="438" y="151"/>
                  </a:lnTo>
                  <a:lnTo>
                    <a:pt x="434" y="150"/>
                  </a:lnTo>
                  <a:lnTo>
                    <a:pt x="431" y="151"/>
                  </a:lnTo>
                  <a:lnTo>
                    <a:pt x="431" y="151"/>
                  </a:lnTo>
                  <a:lnTo>
                    <a:pt x="426" y="159"/>
                  </a:lnTo>
                  <a:lnTo>
                    <a:pt x="422" y="160"/>
                  </a:lnTo>
                  <a:lnTo>
                    <a:pt x="417" y="162"/>
                  </a:lnTo>
                  <a:lnTo>
                    <a:pt x="417" y="162"/>
                  </a:lnTo>
                  <a:lnTo>
                    <a:pt x="412" y="162"/>
                  </a:lnTo>
                  <a:lnTo>
                    <a:pt x="406" y="163"/>
                  </a:lnTo>
                  <a:lnTo>
                    <a:pt x="401" y="166"/>
                  </a:lnTo>
                  <a:lnTo>
                    <a:pt x="397" y="169"/>
                  </a:lnTo>
                  <a:lnTo>
                    <a:pt x="397" y="169"/>
                  </a:lnTo>
                  <a:lnTo>
                    <a:pt x="394" y="171"/>
                  </a:lnTo>
                  <a:lnTo>
                    <a:pt x="389" y="172"/>
                  </a:lnTo>
                  <a:lnTo>
                    <a:pt x="379" y="172"/>
                  </a:lnTo>
                  <a:lnTo>
                    <a:pt x="367" y="171"/>
                  </a:lnTo>
                  <a:lnTo>
                    <a:pt x="355" y="172"/>
                  </a:lnTo>
                  <a:lnTo>
                    <a:pt x="355" y="172"/>
                  </a:lnTo>
                  <a:lnTo>
                    <a:pt x="330" y="177"/>
                  </a:lnTo>
                  <a:lnTo>
                    <a:pt x="311" y="180"/>
                  </a:lnTo>
                  <a:lnTo>
                    <a:pt x="311" y="180"/>
                  </a:lnTo>
                  <a:lnTo>
                    <a:pt x="298" y="180"/>
                  </a:lnTo>
                  <a:lnTo>
                    <a:pt x="292" y="181"/>
                  </a:lnTo>
                  <a:lnTo>
                    <a:pt x="290" y="182"/>
                  </a:lnTo>
                  <a:lnTo>
                    <a:pt x="289" y="185"/>
                  </a:lnTo>
                  <a:lnTo>
                    <a:pt x="289" y="185"/>
                  </a:lnTo>
                  <a:lnTo>
                    <a:pt x="286" y="191"/>
                  </a:lnTo>
                  <a:lnTo>
                    <a:pt x="280" y="199"/>
                  </a:lnTo>
                  <a:lnTo>
                    <a:pt x="275" y="205"/>
                  </a:lnTo>
                  <a:lnTo>
                    <a:pt x="271" y="206"/>
                  </a:lnTo>
                  <a:lnTo>
                    <a:pt x="271" y="206"/>
                  </a:lnTo>
                  <a:lnTo>
                    <a:pt x="256" y="214"/>
                  </a:lnTo>
                  <a:lnTo>
                    <a:pt x="246" y="218"/>
                  </a:lnTo>
                  <a:lnTo>
                    <a:pt x="243" y="218"/>
                  </a:lnTo>
                  <a:lnTo>
                    <a:pt x="240" y="218"/>
                  </a:lnTo>
                  <a:lnTo>
                    <a:pt x="240" y="218"/>
                  </a:lnTo>
                  <a:lnTo>
                    <a:pt x="237" y="214"/>
                  </a:lnTo>
                  <a:lnTo>
                    <a:pt x="235" y="209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4" y="193"/>
                  </a:lnTo>
                  <a:lnTo>
                    <a:pt x="232" y="190"/>
                  </a:lnTo>
                  <a:lnTo>
                    <a:pt x="229" y="187"/>
                  </a:lnTo>
                  <a:lnTo>
                    <a:pt x="226" y="187"/>
                  </a:lnTo>
                  <a:lnTo>
                    <a:pt x="226" y="187"/>
                  </a:lnTo>
                  <a:lnTo>
                    <a:pt x="209" y="188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88" y="193"/>
                  </a:lnTo>
                  <a:lnTo>
                    <a:pt x="185" y="197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2" y="208"/>
                  </a:lnTo>
                  <a:lnTo>
                    <a:pt x="178" y="209"/>
                  </a:lnTo>
                  <a:lnTo>
                    <a:pt x="173" y="211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1" y="227"/>
                  </a:lnTo>
                  <a:lnTo>
                    <a:pt x="158" y="236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5" y="249"/>
                  </a:lnTo>
                  <a:lnTo>
                    <a:pt x="152" y="255"/>
                  </a:lnTo>
                  <a:lnTo>
                    <a:pt x="149" y="261"/>
                  </a:lnTo>
                  <a:lnTo>
                    <a:pt x="144" y="265"/>
                  </a:lnTo>
                  <a:lnTo>
                    <a:pt x="144" y="265"/>
                  </a:lnTo>
                  <a:lnTo>
                    <a:pt x="133" y="273"/>
                  </a:lnTo>
                  <a:lnTo>
                    <a:pt x="118" y="283"/>
                  </a:lnTo>
                  <a:lnTo>
                    <a:pt x="105" y="297"/>
                  </a:lnTo>
                  <a:lnTo>
                    <a:pt x="96" y="307"/>
                  </a:lnTo>
                  <a:lnTo>
                    <a:pt x="96" y="307"/>
                  </a:lnTo>
                  <a:lnTo>
                    <a:pt x="87" y="320"/>
                  </a:lnTo>
                  <a:lnTo>
                    <a:pt x="83" y="325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2" y="328"/>
                  </a:lnTo>
                  <a:lnTo>
                    <a:pt x="65" y="328"/>
                  </a:lnTo>
                  <a:lnTo>
                    <a:pt x="59" y="329"/>
                  </a:lnTo>
                  <a:lnTo>
                    <a:pt x="58" y="332"/>
                  </a:lnTo>
                  <a:lnTo>
                    <a:pt x="56" y="335"/>
                  </a:lnTo>
                  <a:lnTo>
                    <a:pt x="56" y="335"/>
                  </a:lnTo>
                  <a:lnTo>
                    <a:pt x="58" y="347"/>
                  </a:lnTo>
                  <a:lnTo>
                    <a:pt x="56" y="353"/>
                  </a:lnTo>
                  <a:lnTo>
                    <a:pt x="53" y="363"/>
                  </a:lnTo>
                  <a:lnTo>
                    <a:pt x="53" y="363"/>
                  </a:lnTo>
                  <a:lnTo>
                    <a:pt x="50" y="372"/>
                  </a:lnTo>
                  <a:lnTo>
                    <a:pt x="49" y="379"/>
                  </a:lnTo>
                  <a:lnTo>
                    <a:pt x="49" y="385"/>
                  </a:lnTo>
                  <a:lnTo>
                    <a:pt x="49" y="390"/>
                  </a:lnTo>
                  <a:lnTo>
                    <a:pt x="49" y="390"/>
                  </a:lnTo>
                  <a:lnTo>
                    <a:pt x="49" y="393"/>
                  </a:lnTo>
                  <a:lnTo>
                    <a:pt x="47" y="396"/>
                  </a:lnTo>
                  <a:lnTo>
                    <a:pt x="46" y="399"/>
                  </a:lnTo>
                  <a:lnTo>
                    <a:pt x="41" y="402"/>
                  </a:lnTo>
                  <a:lnTo>
                    <a:pt x="41" y="402"/>
                  </a:lnTo>
                  <a:lnTo>
                    <a:pt x="38" y="403"/>
                  </a:lnTo>
                  <a:lnTo>
                    <a:pt x="35" y="406"/>
                  </a:lnTo>
                  <a:lnTo>
                    <a:pt x="28" y="415"/>
                  </a:lnTo>
                  <a:lnTo>
                    <a:pt x="28" y="415"/>
                  </a:lnTo>
                  <a:lnTo>
                    <a:pt x="24" y="419"/>
                  </a:lnTo>
                  <a:lnTo>
                    <a:pt x="21" y="424"/>
                  </a:lnTo>
                  <a:lnTo>
                    <a:pt x="18" y="428"/>
                  </a:lnTo>
                  <a:lnTo>
                    <a:pt x="13" y="433"/>
                  </a:lnTo>
                  <a:lnTo>
                    <a:pt x="13" y="433"/>
                  </a:lnTo>
                  <a:lnTo>
                    <a:pt x="0" y="44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3" name="Freeform 142">
              <a:extLst>
                <a:ext uri="{FF2B5EF4-FFF2-40B4-BE49-F238E27FC236}">
                  <a16:creationId xmlns:a16="http://schemas.microsoft.com/office/drawing/2014/main" id="{450AE53C-6393-A845-87CE-6A4A820BC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5299075"/>
              <a:ext cx="236538" cy="1036637"/>
            </a:xfrm>
            <a:custGeom>
              <a:avLst/>
              <a:gdLst>
                <a:gd name="T0" fmla="*/ 4 w 149"/>
                <a:gd name="T1" fmla="*/ 648 h 653"/>
                <a:gd name="T2" fmla="*/ 17 w 149"/>
                <a:gd name="T3" fmla="*/ 626 h 653"/>
                <a:gd name="T4" fmla="*/ 28 w 149"/>
                <a:gd name="T5" fmla="*/ 610 h 653"/>
                <a:gd name="T6" fmla="*/ 32 w 149"/>
                <a:gd name="T7" fmla="*/ 591 h 653"/>
                <a:gd name="T8" fmla="*/ 40 w 149"/>
                <a:gd name="T9" fmla="*/ 585 h 653"/>
                <a:gd name="T10" fmla="*/ 44 w 149"/>
                <a:gd name="T11" fmla="*/ 576 h 653"/>
                <a:gd name="T12" fmla="*/ 57 w 149"/>
                <a:gd name="T13" fmla="*/ 567 h 653"/>
                <a:gd name="T14" fmla="*/ 74 w 149"/>
                <a:gd name="T15" fmla="*/ 568 h 653"/>
                <a:gd name="T16" fmla="*/ 77 w 149"/>
                <a:gd name="T17" fmla="*/ 573 h 653"/>
                <a:gd name="T18" fmla="*/ 80 w 149"/>
                <a:gd name="T19" fmla="*/ 577 h 653"/>
                <a:gd name="T20" fmla="*/ 103 w 149"/>
                <a:gd name="T21" fmla="*/ 576 h 653"/>
                <a:gd name="T22" fmla="*/ 127 w 149"/>
                <a:gd name="T23" fmla="*/ 565 h 653"/>
                <a:gd name="T24" fmla="*/ 133 w 149"/>
                <a:gd name="T25" fmla="*/ 555 h 653"/>
                <a:gd name="T26" fmla="*/ 139 w 149"/>
                <a:gd name="T27" fmla="*/ 530 h 653"/>
                <a:gd name="T28" fmla="*/ 145 w 149"/>
                <a:gd name="T29" fmla="*/ 512 h 653"/>
                <a:gd name="T30" fmla="*/ 145 w 149"/>
                <a:gd name="T31" fmla="*/ 497 h 653"/>
                <a:gd name="T32" fmla="*/ 140 w 149"/>
                <a:gd name="T33" fmla="*/ 477 h 653"/>
                <a:gd name="T34" fmla="*/ 145 w 149"/>
                <a:gd name="T35" fmla="*/ 457 h 653"/>
                <a:gd name="T36" fmla="*/ 149 w 149"/>
                <a:gd name="T37" fmla="*/ 435 h 653"/>
                <a:gd name="T38" fmla="*/ 145 w 149"/>
                <a:gd name="T39" fmla="*/ 413 h 653"/>
                <a:gd name="T40" fmla="*/ 120 w 149"/>
                <a:gd name="T41" fmla="*/ 395 h 653"/>
                <a:gd name="T42" fmla="*/ 99 w 149"/>
                <a:gd name="T43" fmla="*/ 374 h 653"/>
                <a:gd name="T44" fmla="*/ 100 w 149"/>
                <a:gd name="T45" fmla="*/ 354 h 653"/>
                <a:gd name="T46" fmla="*/ 108 w 149"/>
                <a:gd name="T47" fmla="*/ 336 h 653"/>
                <a:gd name="T48" fmla="*/ 120 w 149"/>
                <a:gd name="T49" fmla="*/ 306 h 653"/>
                <a:gd name="T50" fmla="*/ 124 w 149"/>
                <a:gd name="T51" fmla="*/ 299 h 653"/>
                <a:gd name="T52" fmla="*/ 123 w 149"/>
                <a:gd name="T53" fmla="*/ 287 h 653"/>
                <a:gd name="T54" fmla="*/ 120 w 149"/>
                <a:gd name="T55" fmla="*/ 269 h 653"/>
                <a:gd name="T56" fmla="*/ 124 w 149"/>
                <a:gd name="T57" fmla="*/ 263 h 653"/>
                <a:gd name="T58" fmla="*/ 127 w 149"/>
                <a:gd name="T59" fmla="*/ 241 h 653"/>
                <a:gd name="T60" fmla="*/ 136 w 149"/>
                <a:gd name="T61" fmla="*/ 201 h 653"/>
                <a:gd name="T62" fmla="*/ 142 w 149"/>
                <a:gd name="T63" fmla="*/ 194 h 653"/>
                <a:gd name="T64" fmla="*/ 148 w 149"/>
                <a:gd name="T65" fmla="*/ 170 h 653"/>
                <a:gd name="T66" fmla="*/ 145 w 149"/>
                <a:gd name="T67" fmla="*/ 154 h 653"/>
                <a:gd name="T68" fmla="*/ 133 w 149"/>
                <a:gd name="T69" fmla="*/ 131 h 653"/>
                <a:gd name="T70" fmla="*/ 128 w 149"/>
                <a:gd name="T71" fmla="*/ 102 h 653"/>
                <a:gd name="T72" fmla="*/ 121 w 149"/>
                <a:gd name="T73" fmla="*/ 72 h 653"/>
                <a:gd name="T74" fmla="*/ 97 w 149"/>
                <a:gd name="T75" fmla="*/ 56 h 653"/>
                <a:gd name="T76" fmla="*/ 78 w 149"/>
                <a:gd name="T77" fmla="*/ 43 h 653"/>
                <a:gd name="T78" fmla="*/ 75 w 149"/>
                <a:gd name="T79" fmla="*/ 28 h 653"/>
                <a:gd name="T80" fmla="*/ 72 w 149"/>
                <a:gd name="T81" fmla="*/ 14 h 653"/>
                <a:gd name="T82" fmla="*/ 59 w 149"/>
                <a:gd name="T83" fmla="*/ 1 h 653"/>
                <a:gd name="T84" fmla="*/ 49 w 149"/>
                <a:gd name="T85" fmla="*/ 4 h 653"/>
                <a:gd name="T86" fmla="*/ 37 w 149"/>
                <a:gd name="T87" fmla="*/ 2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9" h="653">
                  <a:moveTo>
                    <a:pt x="0" y="653"/>
                  </a:moveTo>
                  <a:lnTo>
                    <a:pt x="0" y="653"/>
                  </a:lnTo>
                  <a:lnTo>
                    <a:pt x="4" y="648"/>
                  </a:lnTo>
                  <a:lnTo>
                    <a:pt x="9" y="639"/>
                  </a:lnTo>
                  <a:lnTo>
                    <a:pt x="17" y="626"/>
                  </a:lnTo>
                  <a:lnTo>
                    <a:pt x="17" y="626"/>
                  </a:lnTo>
                  <a:lnTo>
                    <a:pt x="23" y="620"/>
                  </a:lnTo>
                  <a:lnTo>
                    <a:pt x="26" y="616"/>
                  </a:lnTo>
                  <a:lnTo>
                    <a:pt x="28" y="610"/>
                  </a:lnTo>
                  <a:lnTo>
                    <a:pt x="28" y="610"/>
                  </a:lnTo>
                  <a:lnTo>
                    <a:pt x="31" y="596"/>
                  </a:lnTo>
                  <a:lnTo>
                    <a:pt x="32" y="591"/>
                  </a:lnTo>
                  <a:lnTo>
                    <a:pt x="37" y="588"/>
                  </a:lnTo>
                  <a:lnTo>
                    <a:pt x="37" y="588"/>
                  </a:lnTo>
                  <a:lnTo>
                    <a:pt x="40" y="585"/>
                  </a:lnTo>
                  <a:lnTo>
                    <a:pt x="43" y="582"/>
                  </a:lnTo>
                  <a:lnTo>
                    <a:pt x="44" y="576"/>
                  </a:lnTo>
                  <a:lnTo>
                    <a:pt x="44" y="576"/>
                  </a:lnTo>
                  <a:lnTo>
                    <a:pt x="47" y="571"/>
                  </a:lnTo>
                  <a:lnTo>
                    <a:pt x="51" y="570"/>
                  </a:lnTo>
                  <a:lnTo>
                    <a:pt x="57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74" y="568"/>
                  </a:lnTo>
                  <a:lnTo>
                    <a:pt x="75" y="570"/>
                  </a:lnTo>
                  <a:lnTo>
                    <a:pt x="77" y="573"/>
                  </a:lnTo>
                  <a:lnTo>
                    <a:pt x="77" y="573"/>
                  </a:lnTo>
                  <a:lnTo>
                    <a:pt x="77" y="574"/>
                  </a:lnTo>
                  <a:lnTo>
                    <a:pt x="77" y="576"/>
                  </a:lnTo>
                  <a:lnTo>
                    <a:pt x="80" y="577"/>
                  </a:lnTo>
                  <a:lnTo>
                    <a:pt x="90" y="577"/>
                  </a:lnTo>
                  <a:lnTo>
                    <a:pt x="90" y="577"/>
                  </a:lnTo>
                  <a:lnTo>
                    <a:pt x="103" y="576"/>
                  </a:lnTo>
                  <a:lnTo>
                    <a:pt x="115" y="573"/>
                  </a:lnTo>
                  <a:lnTo>
                    <a:pt x="124" y="568"/>
                  </a:lnTo>
                  <a:lnTo>
                    <a:pt x="127" y="565"/>
                  </a:lnTo>
                  <a:lnTo>
                    <a:pt x="130" y="562"/>
                  </a:lnTo>
                  <a:lnTo>
                    <a:pt x="130" y="562"/>
                  </a:lnTo>
                  <a:lnTo>
                    <a:pt x="133" y="555"/>
                  </a:lnTo>
                  <a:lnTo>
                    <a:pt x="136" y="546"/>
                  </a:lnTo>
                  <a:lnTo>
                    <a:pt x="137" y="537"/>
                  </a:lnTo>
                  <a:lnTo>
                    <a:pt x="139" y="530"/>
                  </a:lnTo>
                  <a:lnTo>
                    <a:pt x="139" y="530"/>
                  </a:lnTo>
                  <a:lnTo>
                    <a:pt x="143" y="518"/>
                  </a:lnTo>
                  <a:lnTo>
                    <a:pt x="145" y="512"/>
                  </a:lnTo>
                  <a:lnTo>
                    <a:pt x="145" y="505"/>
                  </a:lnTo>
                  <a:lnTo>
                    <a:pt x="145" y="505"/>
                  </a:lnTo>
                  <a:lnTo>
                    <a:pt x="145" y="497"/>
                  </a:lnTo>
                  <a:lnTo>
                    <a:pt x="145" y="497"/>
                  </a:lnTo>
                  <a:lnTo>
                    <a:pt x="142" y="488"/>
                  </a:lnTo>
                  <a:lnTo>
                    <a:pt x="140" y="477"/>
                  </a:lnTo>
                  <a:lnTo>
                    <a:pt x="142" y="466"/>
                  </a:lnTo>
                  <a:lnTo>
                    <a:pt x="143" y="460"/>
                  </a:lnTo>
                  <a:lnTo>
                    <a:pt x="145" y="457"/>
                  </a:lnTo>
                  <a:lnTo>
                    <a:pt x="145" y="457"/>
                  </a:lnTo>
                  <a:lnTo>
                    <a:pt x="148" y="448"/>
                  </a:lnTo>
                  <a:lnTo>
                    <a:pt x="149" y="435"/>
                  </a:lnTo>
                  <a:lnTo>
                    <a:pt x="148" y="422"/>
                  </a:lnTo>
                  <a:lnTo>
                    <a:pt x="148" y="417"/>
                  </a:lnTo>
                  <a:lnTo>
                    <a:pt x="145" y="413"/>
                  </a:lnTo>
                  <a:lnTo>
                    <a:pt x="145" y="413"/>
                  </a:lnTo>
                  <a:lnTo>
                    <a:pt x="134" y="405"/>
                  </a:lnTo>
                  <a:lnTo>
                    <a:pt x="120" y="395"/>
                  </a:lnTo>
                  <a:lnTo>
                    <a:pt x="105" y="385"/>
                  </a:lnTo>
                  <a:lnTo>
                    <a:pt x="100" y="379"/>
                  </a:lnTo>
                  <a:lnTo>
                    <a:pt x="99" y="374"/>
                  </a:lnTo>
                  <a:lnTo>
                    <a:pt x="99" y="374"/>
                  </a:lnTo>
                  <a:lnTo>
                    <a:pt x="99" y="360"/>
                  </a:lnTo>
                  <a:lnTo>
                    <a:pt x="100" y="354"/>
                  </a:lnTo>
                  <a:lnTo>
                    <a:pt x="103" y="346"/>
                  </a:lnTo>
                  <a:lnTo>
                    <a:pt x="103" y="346"/>
                  </a:lnTo>
                  <a:lnTo>
                    <a:pt x="108" y="336"/>
                  </a:lnTo>
                  <a:lnTo>
                    <a:pt x="112" y="324"/>
                  </a:lnTo>
                  <a:lnTo>
                    <a:pt x="117" y="314"/>
                  </a:lnTo>
                  <a:lnTo>
                    <a:pt x="120" y="306"/>
                  </a:lnTo>
                  <a:lnTo>
                    <a:pt x="120" y="306"/>
                  </a:lnTo>
                  <a:lnTo>
                    <a:pt x="123" y="302"/>
                  </a:lnTo>
                  <a:lnTo>
                    <a:pt x="124" y="299"/>
                  </a:lnTo>
                  <a:lnTo>
                    <a:pt x="124" y="293"/>
                  </a:lnTo>
                  <a:lnTo>
                    <a:pt x="123" y="287"/>
                  </a:lnTo>
                  <a:lnTo>
                    <a:pt x="123" y="287"/>
                  </a:lnTo>
                  <a:lnTo>
                    <a:pt x="118" y="277"/>
                  </a:lnTo>
                  <a:lnTo>
                    <a:pt x="118" y="272"/>
                  </a:lnTo>
                  <a:lnTo>
                    <a:pt x="120" y="269"/>
                  </a:lnTo>
                  <a:lnTo>
                    <a:pt x="120" y="269"/>
                  </a:lnTo>
                  <a:lnTo>
                    <a:pt x="123" y="265"/>
                  </a:lnTo>
                  <a:lnTo>
                    <a:pt x="124" y="263"/>
                  </a:lnTo>
                  <a:lnTo>
                    <a:pt x="126" y="253"/>
                  </a:lnTo>
                  <a:lnTo>
                    <a:pt x="126" y="253"/>
                  </a:lnTo>
                  <a:lnTo>
                    <a:pt x="127" y="241"/>
                  </a:lnTo>
                  <a:lnTo>
                    <a:pt x="128" y="225"/>
                  </a:lnTo>
                  <a:lnTo>
                    <a:pt x="133" y="207"/>
                  </a:lnTo>
                  <a:lnTo>
                    <a:pt x="136" y="201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42" y="194"/>
                  </a:lnTo>
                  <a:lnTo>
                    <a:pt x="143" y="191"/>
                  </a:lnTo>
                  <a:lnTo>
                    <a:pt x="146" y="180"/>
                  </a:lnTo>
                  <a:lnTo>
                    <a:pt x="148" y="170"/>
                  </a:lnTo>
                  <a:lnTo>
                    <a:pt x="148" y="161"/>
                  </a:lnTo>
                  <a:lnTo>
                    <a:pt x="148" y="161"/>
                  </a:lnTo>
                  <a:lnTo>
                    <a:pt x="145" y="154"/>
                  </a:lnTo>
                  <a:lnTo>
                    <a:pt x="140" y="146"/>
                  </a:lnTo>
                  <a:lnTo>
                    <a:pt x="136" y="139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1" y="120"/>
                  </a:lnTo>
                  <a:lnTo>
                    <a:pt x="128" y="102"/>
                  </a:lnTo>
                  <a:lnTo>
                    <a:pt x="126" y="86"/>
                  </a:lnTo>
                  <a:lnTo>
                    <a:pt x="124" y="78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11" y="65"/>
                  </a:lnTo>
                  <a:lnTo>
                    <a:pt x="97" y="56"/>
                  </a:lnTo>
                  <a:lnTo>
                    <a:pt x="86" y="49"/>
                  </a:lnTo>
                  <a:lnTo>
                    <a:pt x="81" y="46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5" y="35"/>
                  </a:lnTo>
                  <a:lnTo>
                    <a:pt x="75" y="28"/>
                  </a:lnTo>
                  <a:lnTo>
                    <a:pt x="74" y="20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2" y="3"/>
                  </a:lnTo>
                  <a:lnTo>
                    <a:pt x="59" y="1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0" y="17"/>
                  </a:lnTo>
                  <a:lnTo>
                    <a:pt x="37" y="2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4" name="Freeform 143">
              <a:extLst>
                <a:ext uri="{FF2B5EF4-FFF2-40B4-BE49-F238E27FC236}">
                  <a16:creationId xmlns:a16="http://schemas.microsoft.com/office/drawing/2014/main" id="{10E612EF-3971-9A42-9862-E693187FC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1900" y="6237288"/>
              <a:ext cx="493713" cy="534987"/>
            </a:xfrm>
            <a:custGeom>
              <a:avLst/>
              <a:gdLst>
                <a:gd name="T0" fmla="*/ 2 w 311"/>
                <a:gd name="T1" fmla="*/ 28 h 337"/>
                <a:gd name="T2" fmla="*/ 5 w 311"/>
                <a:gd name="T3" fmla="*/ 20 h 337"/>
                <a:gd name="T4" fmla="*/ 19 w 311"/>
                <a:gd name="T5" fmla="*/ 20 h 337"/>
                <a:gd name="T6" fmla="*/ 22 w 311"/>
                <a:gd name="T7" fmla="*/ 17 h 337"/>
                <a:gd name="T8" fmla="*/ 39 w 311"/>
                <a:gd name="T9" fmla="*/ 1 h 337"/>
                <a:gd name="T10" fmla="*/ 46 w 311"/>
                <a:gd name="T11" fmla="*/ 0 h 337"/>
                <a:gd name="T12" fmla="*/ 55 w 311"/>
                <a:gd name="T13" fmla="*/ 10 h 337"/>
                <a:gd name="T14" fmla="*/ 74 w 311"/>
                <a:gd name="T15" fmla="*/ 8 h 337"/>
                <a:gd name="T16" fmla="*/ 80 w 311"/>
                <a:gd name="T17" fmla="*/ 8 h 337"/>
                <a:gd name="T18" fmla="*/ 83 w 311"/>
                <a:gd name="T19" fmla="*/ 16 h 337"/>
                <a:gd name="T20" fmla="*/ 87 w 311"/>
                <a:gd name="T21" fmla="*/ 32 h 337"/>
                <a:gd name="T22" fmla="*/ 98 w 311"/>
                <a:gd name="T23" fmla="*/ 28 h 337"/>
                <a:gd name="T24" fmla="*/ 102 w 311"/>
                <a:gd name="T25" fmla="*/ 29 h 337"/>
                <a:gd name="T26" fmla="*/ 102 w 311"/>
                <a:gd name="T27" fmla="*/ 45 h 337"/>
                <a:gd name="T28" fmla="*/ 105 w 311"/>
                <a:gd name="T29" fmla="*/ 51 h 337"/>
                <a:gd name="T30" fmla="*/ 126 w 311"/>
                <a:gd name="T31" fmla="*/ 59 h 337"/>
                <a:gd name="T32" fmla="*/ 135 w 311"/>
                <a:gd name="T33" fmla="*/ 59 h 337"/>
                <a:gd name="T34" fmla="*/ 144 w 311"/>
                <a:gd name="T35" fmla="*/ 53 h 337"/>
                <a:gd name="T36" fmla="*/ 156 w 311"/>
                <a:gd name="T37" fmla="*/ 53 h 337"/>
                <a:gd name="T38" fmla="*/ 160 w 311"/>
                <a:gd name="T39" fmla="*/ 47 h 337"/>
                <a:gd name="T40" fmla="*/ 167 w 311"/>
                <a:gd name="T41" fmla="*/ 43 h 337"/>
                <a:gd name="T42" fmla="*/ 182 w 311"/>
                <a:gd name="T43" fmla="*/ 47 h 337"/>
                <a:gd name="T44" fmla="*/ 187 w 311"/>
                <a:gd name="T45" fmla="*/ 57 h 337"/>
                <a:gd name="T46" fmla="*/ 185 w 311"/>
                <a:gd name="T47" fmla="*/ 69 h 337"/>
                <a:gd name="T48" fmla="*/ 178 w 311"/>
                <a:gd name="T49" fmla="*/ 88 h 337"/>
                <a:gd name="T50" fmla="*/ 172 w 311"/>
                <a:gd name="T51" fmla="*/ 114 h 337"/>
                <a:gd name="T52" fmla="*/ 175 w 311"/>
                <a:gd name="T53" fmla="*/ 122 h 337"/>
                <a:gd name="T54" fmla="*/ 188 w 311"/>
                <a:gd name="T55" fmla="*/ 130 h 337"/>
                <a:gd name="T56" fmla="*/ 194 w 311"/>
                <a:gd name="T57" fmla="*/ 140 h 337"/>
                <a:gd name="T58" fmla="*/ 193 w 311"/>
                <a:gd name="T59" fmla="*/ 154 h 337"/>
                <a:gd name="T60" fmla="*/ 193 w 311"/>
                <a:gd name="T61" fmla="*/ 162 h 337"/>
                <a:gd name="T62" fmla="*/ 213 w 311"/>
                <a:gd name="T63" fmla="*/ 179 h 337"/>
                <a:gd name="T64" fmla="*/ 252 w 311"/>
                <a:gd name="T65" fmla="*/ 202 h 337"/>
                <a:gd name="T66" fmla="*/ 259 w 311"/>
                <a:gd name="T67" fmla="*/ 226 h 337"/>
                <a:gd name="T68" fmla="*/ 264 w 311"/>
                <a:gd name="T69" fmla="*/ 245 h 337"/>
                <a:gd name="T70" fmla="*/ 274 w 311"/>
                <a:gd name="T71" fmla="*/ 260 h 337"/>
                <a:gd name="T72" fmla="*/ 278 w 311"/>
                <a:gd name="T73" fmla="*/ 266 h 337"/>
                <a:gd name="T74" fmla="*/ 286 w 311"/>
                <a:gd name="T75" fmla="*/ 265 h 337"/>
                <a:gd name="T76" fmla="*/ 293 w 311"/>
                <a:gd name="T77" fmla="*/ 263 h 337"/>
                <a:gd name="T78" fmla="*/ 295 w 311"/>
                <a:gd name="T79" fmla="*/ 271 h 337"/>
                <a:gd name="T80" fmla="*/ 292 w 311"/>
                <a:gd name="T81" fmla="*/ 287 h 337"/>
                <a:gd name="T82" fmla="*/ 296 w 311"/>
                <a:gd name="T83" fmla="*/ 308 h 337"/>
                <a:gd name="T84" fmla="*/ 304 w 311"/>
                <a:gd name="T85" fmla="*/ 314 h 337"/>
                <a:gd name="T86" fmla="*/ 307 w 311"/>
                <a:gd name="T87" fmla="*/ 324 h 337"/>
                <a:gd name="T88" fmla="*/ 310 w 311"/>
                <a:gd name="T89" fmla="*/ 33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1" h="337">
                  <a:moveTo>
                    <a:pt x="0" y="34"/>
                  </a:moveTo>
                  <a:lnTo>
                    <a:pt x="0" y="34"/>
                  </a:lnTo>
                  <a:lnTo>
                    <a:pt x="2" y="28"/>
                  </a:lnTo>
                  <a:lnTo>
                    <a:pt x="3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9" y="19"/>
                  </a:lnTo>
                  <a:lnTo>
                    <a:pt x="13" y="20"/>
                  </a:lnTo>
                  <a:lnTo>
                    <a:pt x="19" y="20"/>
                  </a:lnTo>
                  <a:lnTo>
                    <a:pt x="21" y="19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7" y="11"/>
                  </a:lnTo>
                  <a:lnTo>
                    <a:pt x="33" y="5"/>
                  </a:lnTo>
                  <a:lnTo>
                    <a:pt x="39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7" y="1"/>
                  </a:lnTo>
                  <a:lnTo>
                    <a:pt x="50" y="4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6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7" y="8"/>
                  </a:lnTo>
                  <a:lnTo>
                    <a:pt x="80" y="8"/>
                  </a:lnTo>
                  <a:lnTo>
                    <a:pt x="82" y="11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4" y="28"/>
                  </a:lnTo>
                  <a:lnTo>
                    <a:pt x="86" y="32"/>
                  </a:lnTo>
                  <a:lnTo>
                    <a:pt x="87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98" y="28"/>
                  </a:lnTo>
                  <a:lnTo>
                    <a:pt x="101" y="26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2" y="35"/>
                  </a:lnTo>
                  <a:lnTo>
                    <a:pt x="102" y="41"/>
                  </a:lnTo>
                  <a:lnTo>
                    <a:pt x="102" y="45"/>
                  </a:lnTo>
                  <a:lnTo>
                    <a:pt x="102" y="48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11" y="54"/>
                  </a:lnTo>
                  <a:lnTo>
                    <a:pt x="116" y="56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2" y="60"/>
                  </a:lnTo>
                  <a:lnTo>
                    <a:pt x="135" y="59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4" y="53"/>
                  </a:lnTo>
                  <a:lnTo>
                    <a:pt x="148" y="53"/>
                  </a:lnTo>
                  <a:lnTo>
                    <a:pt x="153" y="54"/>
                  </a:lnTo>
                  <a:lnTo>
                    <a:pt x="156" y="53"/>
                  </a:lnTo>
                  <a:lnTo>
                    <a:pt x="156" y="53"/>
                  </a:lnTo>
                  <a:lnTo>
                    <a:pt x="159" y="50"/>
                  </a:lnTo>
                  <a:lnTo>
                    <a:pt x="160" y="47"/>
                  </a:lnTo>
                  <a:lnTo>
                    <a:pt x="163" y="44"/>
                  </a:lnTo>
                  <a:lnTo>
                    <a:pt x="167" y="43"/>
                  </a:lnTo>
                  <a:lnTo>
                    <a:pt x="167" y="43"/>
                  </a:lnTo>
                  <a:lnTo>
                    <a:pt x="172" y="43"/>
                  </a:lnTo>
                  <a:lnTo>
                    <a:pt x="178" y="44"/>
                  </a:lnTo>
                  <a:lnTo>
                    <a:pt x="182" y="47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7" y="57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5" y="69"/>
                  </a:lnTo>
                  <a:lnTo>
                    <a:pt x="184" y="75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73" y="97"/>
                  </a:lnTo>
                  <a:lnTo>
                    <a:pt x="172" y="106"/>
                  </a:lnTo>
                  <a:lnTo>
                    <a:pt x="172" y="114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5" y="122"/>
                  </a:lnTo>
                  <a:lnTo>
                    <a:pt x="179" y="125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91" y="131"/>
                  </a:lnTo>
                  <a:lnTo>
                    <a:pt x="193" y="136"/>
                  </a:lnTo>
                  <a:lnTo>
                    <a:pt x="194" y="140"/>
                  </a:lnTo>
                  <a:lnTo>
                    <a:pt x="194" y="148"/>
                  </a:lnTo>
                  <a:lnTo>
                    <a:pt x="194" y="148"/>
                  </a:lnTo>
                  <a:lnTo>
                    <a:pt x="193" y="154"/>
                  </a:lnTo>
                  <a:lnTo>
                    <a:pt x="191" y="158"/>
                  </a:lnTo>
                  <a:lnTo>
                    <a:pt x="191" y="160"/>
                  </a:lnTo>
                  <a:lnTo>
                    <a:pt x="193" y="162"/>
                  </a:lnTo>
                  <a:lnTo>
                    <a:pt x="198" y="170"/>
                  </a:lnTo>
                  <a:lnTo>
                    <a:pt x="198" y="170"/>
                  </a:lnTo>
                  <a:lnTo>
                    <a:pt x="213" y="179"/>
                  </a:lnTo>
                  <a:lnTo>
                    <a:pt x="230" y="189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5" y="205"/>
                  </a:lnTo>
                  <a:lnTo>
                    <a:pt x="256" y="211"/>
                  </a:lnTo>
                  <a:lnTo>
                    <a:pt x="259" y="226"/>
                  </a:lnTo>
                  <a:lnTo>
                    <a:pt x="259" y="226"/>
                  </a:lnTo>
                  <a:lnTo>
                    <a:pt x="262" y="239"/>
                  </a:lnTo>
                  <a:lnTo>
                    <a:pt x="264" y="245"/>
                  </a:lnTo>
                  <a:lnTo>
                    <a:pt x="268" y="251"/>
                  </a:lnTo>
                  <a:lnTo>
                    <a:pt x="268" y="251"/>
                  </a:lnTo>
                  <a:lnTo>
                    <a:pt x="274" y="260"/>
                  </a:lnTo>
                  <a:lnTo>
                    <a:pt x="277" y="265"/>
                  </a:lnTo>
                  <a:lnTo>
                    <a:pt x="277" y="265"/>
                  </a:lnTo>
                  <a:lnTo>
                    <a:pt x="278" y="266"/>
                  </a:lnTo>
                  <a:lnTo>
                    <a:pt x="280" y="266"/>
                  </a:lnTo>
                  <a:lnTo>
                    <a:pt x="281" y="265"/>
                  </a:lnTo>
                  <a:lnTo>
                    <a:pt x="286" y="265"/>
                  </a:lnTo>
                  <a:lnTo>
                    <a:pt x="286" y="265"/>
                  </a:lnTo>
                  <a:lnTo>
                    <a:pt x="292" y="263"/>
                  </a:lnTo>
                  <a:lnTo>
                    <a:pt x="293" y="263"/>
                  </a:lnTo>
                  <a:lnTo>
                    <a:pt x="295" y="266"/>
                  </a:lnTo>
                  <a:lnTo>
                    <a:pt x="295" y="266"/>
                  </a:lnTo>
                  <a:lnTo>
                    <a:pt x="295" y="271"/>
                  </a:lnTo>
                  <a:lnTo>
                    <a:pt x="293" y="275"/>
                  </a:lnTo>
                  <a:lnTo>
                    <a:pt x="292" y="281"/>
                  </a:lnTo>
                  <a:lnTo>
                    <a:pt x="292" y="287"/>
                  </a:lnTo>
                  <a:lnTo>
                    <a:pt x="292" y="287"/>
                  </a:lnTo>
                  <a:lnTo>
                    <a:pt x="295" y="302"/>
                  </a:lnTo>
                  <a:lnTo>
                    <a:pt x="296" y="308"/>
                  </a:lnTo>
                  <a:lnTo>
                    <a:pt x="299" y="311"/>
                  </a:lnTo>
                  <a:lnTo>
                    <a:pt x="299" y="311"/>
                  </a:lnTo>
                  <a:lnTo>
                    <a:pt x="304" y="314"/>
                  </a:lnTo>
                  <a:lnTo>
                    <a:pt x="305" y="317"/>
                  </a:lnTo>
                  <a:lnTo>
                    <a:pt x="307" y="319"/>
                  </a:lnTo>
                  <a:lnTo>
                    <a:pt x="307" y="324"/>
                  </a:lnTo>
                  <a:lnTo>
                    <a:pt x="307" y="324"/>
                  </a:lnTo>
                  <a:lnTo>
                    <a:pt x="308" y="328"/>
                  </a:lnTo>
                  <a:lnTo>
                    <a:pt x="310" y="333"/>
                  </a:lnTo>
                  <a:lnTo>
                    <a:pt x="311" y="33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5" name="Freeform 144">
              <a:extLst>
                <a:ext uri="{FF2B5EF4-FFF2-40B4-BE49-F238E27FC236}">
                  <a16:creationId xmlns:a16="http://schemas.microsoft.com/office/drawing/2014/main" id="{B6CB2E55-9B45-E24A-A5A0-06EC89D64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3125" y="5202238"/>
              <a:ext cx="714375" cy="795337"/>
            </a:xfrm>
            <a:custGeom>
              <a:avLst/>
              <a:gdLst>
                <a:gd name="T0" fmla="*/ 222 w 450"/>
                <a:gd name="T1" fmla="*/ 0 h 501"/>
                <a:gd name="T2" fmla="*/ 231 w 450"/>
                <a:gd name="T3" fmla="*/ 3 h 501"/>
                <a:gd name="T4" fmla="*/ 241 w 450"/>
                <a:gd name="T5" fmla="*/ 0 h 501"/>
                <a:gd name="T6" fmla="*/ 250 w 450"/>
                <a:gd name="T7" fmla="*/ 4 h 501"/>
                <a:gd name="T8" fmla="*/ 260 w 450"/>
                <a:gd name="T9" fmla="*/ 12 h 501"/>
                <a:gd name="T10" fmla="*/ 268 w 450"/>
                <a:gd name="T11" fmla="*/ 4 h 501"/>
                <a:gd name="T12" fmla="*/ 273 w 450"/>
                <a:gd name="T13" fmla="*/ 10 h 501"/>
                <a:gd name="T14" fmla="*/ 291 w 450"/>
                <a:gd name="T15" fmla="*/ 16 h 501"/>
                <a:gd name="T16" fmla="*/ 300 w 450"/>
                <a:gd name="T17" fmla="*/ 10 h 501"/>
                <a:gd name="T18" fmla="*/ 315 w 450"/>
                <a:gd name="T19" fmla="*/ 4 h 501"/>
                <a:gd name="T20" fmla="*/ 325 w 450"/>
                <a:gd name="T21" fmla="*/ 16 h 501"/>
                <a:gd name="T22" fmla="*/ 337 w 450"/>
                <a:gd name="T23" fmla="*/ 25 h 501"/>
                <a:gd name="T24" fmla="*/ 362 w 450"/>
                <a:gd name="T25" fmla="*/ 43 h 501"/>
                <a:gd name="T26" fmla="*/ 413 w 450"/>
                <a:gd name="T27" fmla="*/ 77 h 501"/>
                <a:gd name="T28" fmla="*/ 442 w 450"/>
                <a:gd name="T29" fmla="*/ 78 h 501"/>
                <a:gd name="T30" fmla="*/ 450 w 450"/>
                <a:gd name="T31" fmla="*/ 86 h 501"/>
                <a:gd name="T32" fmla="*/ 439 w 450"/>
                <a:gd name="T33" fmla="*/ 99 h 501"/>
                <a:gd name="T34" fmla="*/ 427 w 450"/>
                <a:gd name="T35" fmla="*/ 110 h 501"/>
                <a:gd name="T36" fmla="*/ 416 w 450"/>
                <a:gd name="T37" fmla="*/ 138 h 501"/>
                <a:gd name="T38" fmla="*/ 411 w 450"/>
                <a:gd name="T39" fmla="*/ 152 h 501"/>
                <a:gd name="T40" fmla="*/ 396 w 450"/>
                <a:gd name="T41" fmla="*/ 173 h 501"/>
                <a:gd name="T42" fmla="*/ 359 w 450"/>
                <a:gd name="T43" fmla="*/ 194 h 501"/>
                <a:gd name="T44" fmla="*/ 328 w 450"/>
                <a:gd name="T45" fmla="*/ 218 h 501"/>
                <a:gd name="T46" fmla="*/ 312 w 450"/>
                <a:gd name="T47" fmla="*/ 227 h 501"/>
                <a:gd name="T48" fmla="*/ 287 w 450"/>
                <a:gd name="T49" fmla="*/ 228 h 501"/>
                <a:gd name="T50" fmla="*/ 269 w 450"/>
                <a:gd name="T51" fmla="*/ 235 h 501"/>
                <a:gd name="T52" fmla="*/ 268 w 450"/>
                <a:gd name="T53" fmla="*/ 241 h 501"/>
                <a:gd name="T54" fmla="*/ 278 w 450"/>
                <a:gd name="T55" fmla="*/ 256 h 501"/>
                <a:gd name="T56" fmla="*/ 265 w 450"/>
                <a:gd name="T57" fmla="*/ 269 h 501"/>
                <a:gd name="T58" fmla="*/ 268 w 450"/>
                <a:gd name="T59" fmla="*/ 281 h 501"/>
                <a:gd name="T60" fmla="*/ 278 w 450"/>
                <a:gd name="T61" fmla="*/ 298 h 501"/>
                <a:gd name="T62" fmla="*/ 266 w 450"/>
                <a:gd name="T63" fmla="*/ 324 h 501"/>
                <a:gd name="T64" fmla="*/ 253 w 450"/>
                <a:gd name="T65" fmla="*/ 330 h 501"/>
                <a:gd name="T66" fmla="*/ 247 w 450"/>
                <a:gd name="T67" fmla="*/ 341 h 501"/>
                <a:gd name="T68" fmla="*/ 254 w 450"/>
                <a:gd name="T69" fmla="*/ 357 h 501"/>
                <a:gd name="T70" fmla="*/ 232 w 450"/>
                <a:gd name="T71" fmla="*/ 373 h 501"/>
                <a:gd name="T72" fmla="*/ 219 w 450"/>
                <a:gd name="T73" fmla="*/ 378 h 501"/>
                <a:gd name="T74" fmla="*/ 208 w 450"/>
                <a:gd name="T75" fmla="*/ 373 h 501"/>
                <a:gd name="T76" fmla="*/ 186 w 450"/>
                <a:gd name="T77" fmla="*/ 372 h 501"/>
                <a:gd name="T78" fmla="*/ 177 w 450"/>
                <a:gd name="T79" fmla="*/ 379 h 501"/>
                <a:gd name="T80" fmla="*/ 176 w 450"/>
                <a:gd name="T81" fmla="*/ 404 h 501"/>
                <a:gd name="T82" fmla="*/ 167 w 450"/>
                <a:gd name="T83" fmla="*/ 422 h 501"/>
                <a:gd name="T84" fmla="*/ 143 w 450"/>
                <a:gd name="T85" fmla="*/ 423 h 501"/>
                <a:gd name="T86" fmla="*/ 137 w 450"/>
                <a:gd name="T87" fmla="*/ 410 h 501"/>
                <a:gd name="T88" fmla="*/ 133 w 450"/>
                <a:gd name="T89" fmla="*/ 404 h 501"/>
                <a:gd name="T90" fmla="*/ 114 w 450"/>
                <a:gd name="T91" fmla="*/ 415 h 501"/>
                <a:gd name="T92" fmla="*/ 109 w 450"/>
                <a:gd name="T93" fmla="*/ 437 h 501"/>
                <a:gd name="T94" fmla="*/ 99 w 450"/>
                <a:gd name="T95" fmla="*/ 444 h 501"/>
                <a:gd name="T96" fmla="*/ 93 w 450"/>
                <a:gd name="T97" fmla="*/ 458 h 501"/>
                <a:gd name="T98" fmla="*/ 84 w 450"/>
                <a:gd name="T99" fmla="*/ 453 h 501"/>
                <a:gd name="T100" fmla="*/ 48 w 450"/>
                <a:gd name="T101" fmla="*/ 441 h 501"/>
                <a:gd name="T102" fmla="*/ 39 w 450"/>
                <a:gd name="T103" fmla="*/ 441 h 501"/>
                <a:gd name="T104" fmla="*/ 31 w 450"/>
                <a:gd name="T105" fmla="*/ 458 h 501"/>
                <a:gd name="T106" fmla="*/ 0 w 450"/>
                <a:gd name="T107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0" h="501">
                  <a:moveTo>
                    <a:pt x="213" y="4"/>
                  </a:moveTo>
                  <a:lnTo>
                    <a:pt x="213" y="4"/>
                  </a:lnTo>
                  <a:lnTo>
                    <a:pt x="217" y="1"/>
                  </a:lnTo>
                  <a:lnTo>
                    <a:pt x="222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9" y="1"/>
                  </a:lnTo>
                  <a:lnTo>
                    <a:pt x="231" y="3"/>
                  </a:lnTo>
                  <a:lnTo>
                    <a:pt x="233" y="4"/>
                  </a:lnTo>
                  <a:lnTo>
                    <a:pt x="235" y="4"/>
                  </a:lnTo>
                  <a:lnTo>
                    <a:pt x="235" y="4"/>
                  </a:lnTo>
                  <a:lnTo>
                    <a:pt x="241" y="0"/>
                  </a:lnTo>
                  <a:lnTo>
                    <a:pt x="242" y="0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50" y="4"/>
                  </a:lnTo>
                  <a:lnTo>
                    <a:pt x="254" y="9"/>
                  </a:lnTo>
                  <a:lnTo>
                    <a:pt x="257" y="12"/>
                  </a:lnTo>
                  <a:lnTo>
                    <a:pt x="259" y="13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3" y="10"/>
                  </a:lnTo>
                  <a:lnTo>
                    <a:pt x="265" y="7"/>
                  </a:lnTo>
                  <a:lnTo>
                    <a:pt x="268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72" y="7"/>
                  </a:lnTo>
                  <a:lnTo>
                    <a:pt x="273" y="10"/>
                  </a:lnTo>
                  <a:lnTo>
                    <a:pt x="276" y="13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91" y="16"/>
                  </a:lnTo>
                  <a:lnTo>
                    <a:pt x="294" y="16"/>
                  </a:lnTo>
                  <a:lnTo>
                    <a:pt x="297" y="13"/>
                  </a:lnTo>
                  <a:lnTo>
                    <a:pt x="297" y="13"/>
                  </a:lnTo>
                  <a:lnTo>
                    <a:pt x="300" y="10"/>
                  </a:lnTo>
                  <a:lnTo>
                    <a:pt x="305" y="7"/>
                  </a:lnTo>
                  <a:lnTo>
                    <a:pt x="310" y="4"/>
                  </a:lnTo>
                  <a:lnTo>
                    <a:pt x="315" y="4"/>
                  </a:lnTo>
                  <a:lnTo>
                    <a:pt x="315" y="4"/>
                  </a:lnTo>
                  <a:lnTo>
                    <a:pt x="319" y="6"/>
                  </a:lnTo>
                  <a:lnTo>
                    <a:pt x="321" y="9"/>
                  </a:lnTo>
                  <a:lnTo>
                    <a:pt x="322" y="12"/>
                  </a:lnTo>
                  <a:lnTo>
                    <a:pt x="325" y="16"/>
                  </a:lnTo>
                  <a:lnTo>
                    <a:pt x="325" y="16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52" y="27"/>
                  </a:lnTo>
                  <a:lnTo>
                    <a:pt x="361" y="28"/>
                  </a:lnTo>
                  <a:lnTo>
                    <a:pt x="362" y="43"/>
                  </a:lnTo>
                  <a:lnTo>
                    <a:pt x="362" y="43"/>
                  </a:lnTo>
                  <a:lnTo>
                    <a:pt x="383" y="58"/>
                  </a:lnTo>
                  <a:lnTo>
                    <a:pt x="399" y="70"/>
                  </a:lnTo>
                  <a:lnTo>
                    <a:pt x="413" y="77"/>
                  </a:lnTo>
                  <a:lnTo>
                    <a:pt x="413" y="77"/>
                  </a:lnTo>
                  <a:lnTo>
                    <a:pt x="423" y="78"/>
                  </a:lnTo>
                  <a:lnTo>
                    <a:pt x="432" y="78"/>
                  </a:lnTo>
                  <a:lnTo>
                    <a:pt x="442" y="78"/>
                  </a:lnTo>
                  <a:lnTo>
                    <a:pt x="442" y="78"/>
                  </a:lnTo>
                  <a:lnTo>
                    <a:pt x="445" y="78"/>
                  </a:lnTo>
                  <a:lnTo>
                    <a:pt x="448" y="81"/>
                  </a:lnTo>
                  <a:lnTo>
                    <a:pt x="450" y="86"/>
                  </a:lnTo>
                  <a:lnTo>
                    <a:pt x="448" y="92"/>
                  </a:lnTo>
                  <a:lnTo>
                    <a:pt x="448" y="92"/>
                  </a:lnTo>
                  <a:lnTo>
                    <a:pt x="445" y="96"/>
                  </a:lnTo>
                  <a:lnTo>
                    <a:pt x="439" y="99"/>
                  </a:lnTo>
                  <a:lnTo>
                    <a:pt x="435" y="102"/>
                  </a:lnTo>
                  <a:lnTo>
                    <a:pt x="430" y="105"/>
                  </a:lnTo>
                  <a:lnTo>
                    <a:pt x="430" y="105"/>
                  </a:lnTo>
                  <a:lnTo>
                    <a:pt x="427" y="110"/>
                  </a:lnTo>
                  <a:lnTo>
                    <a:pt x="424" y="114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6" y="138"/>
                  </a:lnTo>
                  <a:lnTo>
                    <a:pt x="413" y="142"/>
                  </a:lnTo>
                  <a:lnTo>
                    <a:pt x="411" y="147"/>
                  </a:lnTo>
                  <a:lnTo>
                    <a:pt x="411" y="147"/>
                  </a:lnTo>
                  <a:lnTo>
                    <a:pt x="411" y="152"/>
                  </a:lnTo>
                  <a:lnTo>
                    <a:pt x="408" y="158"/>
                  </a:lnTo>
                  <a:lnTo>
                    <a:pt x="404" y="166"/>
                  </a:lnTo>
                  <a:lnTo>
                    <a:pt x="396" y="173"/>
                  </a:lnTo>
                  <a:lnTo>
                    <a:pt x="396" y="173"/>
                  </a:lnTo>
                  <a:lnTo>
                    <a:pt x="386" y="181"/>
                  </a:lnTo>
                  <a:lnTo>
                    <a:pt x="376" y="187"/>
                  </a:lnTo>
                  <a:lnTo>
                    <a:pt x="359" y="194"/>
                  </a:lnTo>
                  <a:lnTo>
                    <a:pt x="359" y="194"/>
                  </a:lnTo>
                  <a:lnTo>
                    <a:pt x="352" y="198"/>
                  </a:lnTo>
                  <a:lnTo>
                    <a:pt x="343" y="204"/>
                  </a:lnTo>
                  <a:lnTo>
                    <a:pt x="334" y="212"/>
                  </a:lnTo>
                  <a:lnTo>
                    <a:pt x="328" y="218"/>
                  </a:lnTo>
                  <a:lnTo>
                    <a:pt x="328" y="218"/>
                  </a:lnTo>
                  <a:lnTo>
                    <a:pt x="324" y="222"/>
                  </a:lnTo>
                  <a:lnTo>
                    <a:pt x="318" y="225"/>
                  </a:lnTo>
                  <a:lnTo>
                    <a:pt x="312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296" y="227"/>
                  </a:lnTo>
                  <a:lnTo>
                    <a:pt x="287" y="228"/>
                  </a:lnTo>
                  <a:lnTo>
                    <a:pt x="278" y="231"/>
                  </a:lnTo>
                  <a:lnTo>
                    <a:pt x="272" y="234"/>
                  </a:lnTo>
                  <a:lnTo>
                    <a:pt x="272" y="234"/>
                  </a:lnTo>
                  <a:lnTo>
                    <a:pt x="269" y="235"/>
                  </a:lnTo>
                  <a:lnTo>
                    <a:pt x="265" y="237"/>
                  </a:lnTo>
                  <a:lnTo>
                    <a:pt x="265" y="237"/>
                  </a:lnTo>
                  <a:lnTo>
                    <a:pt x="265" y="238"/>
                  </a:lnTo>
                  <a:lnTo>
                    <a:pt x="268" y="241"/>
                  </a:lnTo>
                  <a:lnTo>
                    <a:pt x="268" y="241"/>
                  </a:lnTo>
                  <a:lnTo>
                    <a:pt x="273" y="247"/>
                  </a:lnTo>
                  <a:lnTo>
                    <a:pt x="276" y="252"/>
                  </a:lnTo>
                  <a:lnTo>
                    <a:pt x="278" y="256"/>
                  </a:lnTo>
                  <a:lnTo>
                    <a:pt x="275" y="261"/>
                  </a:lnTo>
                  <a:lnTo>
                    <a:pt x="275" y="261"/>
                  </a:lnTo>
                  <a:lnTo>
                    <a:pt x="268" y="265"/>
                  </a:lnTo>
                  <a:lnTo>
                    <a:pt x="265" y="269"/>
                  </a:lnTo>
                  <a:lnTo>
                    <a:pt x="265" y="272"/>
                  </a:lnTo>
                  <a:lnTo>
                    <a:pt x="265" y="275"/>
                  </a:lnTo>
                  <a:lnTo>
                    <a:pt x="265" y="275"/>
                  </a:lnTo>
                  <a:lnTo>
                    <a:pt x="268" y="281"/>
                  </a:lnTo>
                  <a:lnTo>
                    <a:pt x="272" y="287"/>
                  </a:lnTo>
                  <a:lnTo>
                    <a:pt x="275" y="292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301"/>
                  </a:lnTo>
                  <a:lnTo>
                    <a:pt x="276" y="306"/>
                  </a:lnTo>
                  <a:lnTo>
                    <a:pt x="272" y="315"/>
                  </a:lnTo>
                  <a:lnTo>
                    <a:pt x="266" y="324"/>
                  </a:lnTo>
                  <a:lnTo>
                    <a:pt x="262" y="327"/>
                  </a:lnTo>
                  <a:lnTo>
                    <a:pt x="259" y="329"/>
                  </a:lnTo>
                  <a:lnTo>
                    <a:pt x="259" y="329"/>
                  </a:lnTo>
                  <a:lnTo>
                    <a:pt x="253" y="330"/>
                  </a:lnTo>
                  <a:lnTo>
                    <a:pt x="248" y="332"/>
                  </a:lnTo>
                  <a:lnTo>
                    <a:pt x="247" y="336"/>
                  </a:lnTo>
                  <a:lnTo>
                    <a:pt x="247" y="341"/>
                  </a:lnTo>
                  <a:lnTo>
                    <a:pt x="247" y="341"/>
                  </a:lnTo>
                  <a:lnTo>
                    <a:pt x="250" y="348"/>
                  </a:lnTo>
                  <a:lnTo>
                    <a:pt x="254" y="354"/>
                  </a:lnTo>
                  <a:lnTo>
                    <a:pt x="254" y="354"/>
                  </a:lnTo>
                  <a:lnTo>
                    <a:pt x="254" y="357"/>
                  </a:lnTo>
                  <a:lnTo>
                    <a:pt x="253" y="360"/>
                  </a:lnTo>
                  <a:lnTo>
                    <a:pt x="248" y="366"/>
                  </a:lnTo>
                  <a:lnTo>
                    <a:pt x="241" y="370"/>
                  </a:lnTo>
                  <a:lnTo>
                    <a:pt x="232" y="373"/>
                  </a:lnTo>
                  <a:lnTo>
                    <a:pt x="232" y="373"/>
                  </a:lnTo>
                  <a:lnTo>
                    <a:pt x="226" y="375"/>
                  </a:lnTo>
                  <a:lnTo>
                    <a:pt x="222" y="376"/>
                  </a:lnTo>
                  <a:lnTo>
                    <a:pt x="219" y="378"/>
                  </a:lnTo>
                  <a:lnTo>
                    <a:pt x="214" y="378"/>
                  </a:lnTo>
                  <a:lnTo>
                    <a:pt x="214" y="378"/>
                  </a:lnTo>
                  <a:lnTo>
                    <a:pt x="211" y="376"/>
                  </a:lnTo>
                  <a:lnTo>
                    <a:pt x="208" y="373"/>
                  </a:lnTo>
                  <a:lnTo>
                    <a:pt x="207" y="372"/>
                  </a:lnTo>
                  <a:lnTo>
                    <a:pt x="204" y="370"/>
                  </a:lnTo>
                  <a:lnTo>
                    <a:pt x="204" y="370"/>
                  </a:lnTo>
                  <a:lnTo>
                    <a:pt x="186" y="372"/>
                  </a:lnTo>
                  <a:lnTo>
                    <a:pt x="186" y="372"/>
                  </a:lnTo>
                  <a:lnTo>
                    <a:pt x="182" y="373"/>
                  </a:lnTo>
                  <a:lnTo>
                    <a:pt x="179" y="376"/>
                  </a:lnTo>
                  <a:lnTo>
                    <a:pt x="177" y="379"/>
                  </a:lnTo>
                  <a:lnTo>
                    <a:pt x="176" y="385"/>
                  </a:lnTo>
                  <a:lnTo>
                    <a:pt x="174" y="395"/>
                  </a:lnTo>
                  <a:lnTo>
                    <a:pt x="176" y="404"/>
                  </a:lnTo>
                  <a:lnTo>
                    <a:pt x="176" y="404"/>
                  </a:lnTo>
                  <a:lnTo>
                    <a:pt x="177" y="410"/>
                  </a:lnTo>
                  <a:lnTo>
                    <a:pt x="176" y="416"/>
                  </a:lnTo>
                  <a:lnTo>
                    <a:pt x="173" y="421"/>
                  </a:lnTo>
                  <a:lnTo>
                    <a:pt x="167" y="422"/>
                  </a:lnTo>
                  <a:lnTo>
                    <a:pt x="167" y="422"/>
                  </a:lnTo>
                  <a:lnTo>
                    <a:pt x="159" y="423"/>
                  </a:lnTo>
                  <a:lnTo>
                    <a:pt x="151" y="425"/>
                  </a:lnTo>
                  <a:lnTo>
                    <a:pt x="143" y="423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37" y="410"/>
                  </a:lnTo>
                  <a:lnTo>
                    <a:pt x="136" y="406"/>
                  </a:lnTo>
                  <a:lnTo>
                    <a:pt x="134" y="406"/>
                  </a:lnTo>
                  <a:lnTo>
                    <a:pt x="133" y="404"/>
                  </a:lnTo>
                  <a:lnTo>
                    <a:pt x="133" y="404"/>
                  </a:lnTo>
                  <a:lnTo>
                    <a:pt x="127" y="406"/>
                  </a:lnTo>
                  <a:lnTo>
                    <a:pt x="121" y="409"/>
                  </a:lnTo>
                  <a:lnTo>
                    <a:pt x="115" y="412"/>
                  </a:lnTo>
                  <a:lnTo>
                    <a:pt x="114" y="415"/>
                  </a:lnTo>
                  <a:lnTo>
                    <a:pt x="114" y="415"/>
                  </a:lnTo>
                  <a:lnTo>
                    <a:pt x="114" y="421"/>
                  </a:lnTo>
                  <a:lnTo>
                    <a:pt x="112" y="428"/>
                  </a:lnTo>
                  <a:lnTo>
                    <a:pt x="109" y="437"/>
                  </a:lnTo>
                  <a:lnTo>
                    <a:pt x="106" y="440"/>
                  </a:lnTo>
                  <a:lnTo>
                    <a:pt x="103" y="443"/>
                  </a:lnTo>
                  <a:lnTo>
                    <a:pt x="103" y="443"/>
                  </a:lnTo>
                  <a:lnTo>
                    <a:pt x="99" y="444"/>
                  </a:lnTo>
                  <a:lnTo>
                    <a:pt x="97" y="447"/>
                  </a:lnTo>
                  <a:lnTo>
                    <a:pt x="96" y="453"/>
                  </a:lnTo>
                  <a:lnTo>
                    <a:pt x="94" y="456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1" y="458"/>
                  </a:lnTo>
                  <a:lnTo>
                    <a:pt x="87" y="455"/>
                  </a:lnTo>
                  <a:lnTo>
                    <a:pt x="84" y="453"/>
                  </a:lnTo>
                  <a:lnTo>
                    <a:pt x="79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48" y="441"/>
                  </a:lnTo>
                  <a:lnTo>
                    <a:pt x="48" y="441"/>
                  </a:lnTo>
                  <a:lnTo>
                    <a:pt x="45" y="440"/>
                  </a:lnTo>
                  <a:lnTo>
                    <a:pt x="42" y="440"/>
                  </a:lnTo>
                  <a:lnTo>
                    <a:pt x="39" y="441"/>
                  </a:lnTo>
                  <a:lnTo>
                    <a:pt x="38" y="446"/>
                  </a:lnTo>
                  <a:lnTo>
                    <a:pt x="38" y="446"/>
                  </a:lnTo>
                  <a:lnTo>
                    <a:pt x="35" y="452"/>
                  </a:lnTo>
                  <a:lnTo>
                    <a:pt x="31" y="458"/>
                  </a:lnTo>
                  <a:lnTo>
                    <a:pt x="22" y="471"/>
                  </a:lnTo>
                  <a:lnTo>
                    <a:pt x="22" y="471"/>
                  </a:lnTo>
                  <a:lnTo>
                    <a:pt x="2" y="496"/>
                  </a:lnTo>
                  <a:lnTo>
                    <a:pt x="0" y="50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6" name="Freeform 145">
              <a:extLst>
                <a:ext uri="{FF2B5EF4-FFF2-40B4-BE49-F238E27FC236}">
                  <a16:creationId xmlns:a16="http://schemas.microsoft.com/office/drawing/2014/main" id="{76EC7449-D67E-2147-9334-D166A7C86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6788" y="5041900"/>
              <a:ext cx="244475" cy="166687"/>
            </a:xfrm>
            <a:custGeom>
              <a:avLst/>
              <a:gdLst>
                <a:gd name="T0" fmla="*/ 0 w 154"/>
                <a:gd name="T1" fmla="*/ 65 h 105"/>
                <a:gd name="T2" fmla="*/ 0 w 154"/>
                <a:gd name="T3" fmla="*/ 65 h 105"/>
                <a:gd name="T4" fmla="*/ 6 w 154"/>
                <a:gd name="T5" fmla="*/ 62 h 105"/>
                <a:gd name="T6" fmla="*/ 9 w 154"/>
                <a:gd name="T7" fmla="*/ 59 h 105"/>
                <a:gd name="T8" fmla="*/ 10 w 154"/>
                <a:gd name="T9" fmla="*/ 55 h 105"/>
                <a:gd name="T10" fmla="*/ 10 w 154"/>
                <a:gd name="T11" fmla="*/ 55 h 105"/>
                <a:gd name="T12" fmla="*/ 12 w 154"/>
                <a:gd name="T13" fmla="*/ 52 h 105"/>
                <a:gd name="T14" fmla="*/ 10 w 154"/>
                <a:gd name="T15" fmla="*/ 48 h 105"/>
                <a:gd name="T16" fmla="*/ 10 w 154"/>
                <a:gd name="T17" fmla="*/ 45 h 105"/>
                <a:gd name="T18" fmla="*/ 10 w 154"/>
                <a:gd name="T19" fmla="*/ 40 h 105"/>
                <a:gd name="T20" fmla="*/ 10 w 154"/>
                <a:gd name="T21" fmla="*/ 40 h 105"/>
                <a:gd name="T22" fmla="*/ 12 w 154"/>
                <a:gd name="T23" fmla="*/ 37 h 105"/>
                <a:gd name="T24" fmla="*/ 13 w 154"/>
                <a:gd name="T25" fmla="*/ 36 h 105"/>
                <a:gd name="T26" fmla="*/ 15 w 154"/>
                <a:gd name="T27" fmla="*/ 34 h 105"/>
                <a:gd name="T28" fmla="*/ 13 w 154"/>
                <a:gd name="T29" fmla="*/ 30 h 105"/>
                <a:gd name="T30" fmla="*/ 13 w 154"/>
                <a:gd name="T31" fmla="*/ 30 h 105"/>
                <a:gd name="T32" fmla="*/ 7 w 154"/>
                <a:gd name="T33" fmla="*/ 19 h 105"/>
                <a:gd name="T34" fmla="*/ 4 w 154"/>
                <a:gd name="T35" fmla="*/ 17 h 105"/>
                <a:gd name="T36" fmla="*/ 6 w 154"/>
                <a:gd name="T37" fmla="*/ 14 h 105"/>
                <a:gd name="T38" fmla="*/ 6 w 154"/>
                <a:gd name="T39" fmla="*/ 14 h 105"/>
                <a:gd name="T40" fmla="*/ 26 w 154"/>
                <a:gd name="T41" fmla="*/ 0 h 105"/>
                <a:gd name="T42" fmla="*/ 26 w 154"/>
                <a:gd name="T43" fmla="*/ 0 h 105"/>
                <a:gd name="T44" fmla="*/ 50 w 154"/>
                <a:gd name="T45" fmla="*/ 19 h 105"/>
                <a:gd name="T46" fmla="*/ 50 w 154"/>
                <a:gd name="T47" fmla="*/ 19 h 105"/>
                <a:gd name="T48" fmla="*/ 52 w 154"/>
                <a:gd name="T49" fmla="*/ 21 h 105"/>
                <a:gd name="T50" fmla="*/ 53 w 154"/>
                <a:gd name="T51" fmla="*/ 19 h 105"/>
                <a:gd name="T52" fmla="*/ 56 w 154"/>
                <a:gd name="T53" fmla="*/ 18 h 105"/>
                <a:gd name="T54" fmla="*/ 60 w 154"/>
                <a:gd name="T55" fmla="*/ 19 h 105"/>
                <a:gd name="T56" fmla="*/ 60 w 154"/>
                <a:gd name="T57" fmla="*/ 19 h 105"/>
                <a:gd name="T58" fmla="*/ 63 w 154"/>
                <a:gd name="T59" fmla="*/ 22 h 105"/>
                <a:gd name="T60" fmla="*/ 66 w 154"/>
                <a:gd name="T61" fmla="*/ 25 h 105"/>
                <a:gd name="T62" fmla="*/ 68 w 154"/>
                <a:gd name="T63" fmla="*/ 27 h 105"/>
                <a:gd name="T64" fmla="*/ 71 w 154"/>
                <a:gd name="T65" fmla="*/ 27 h 105"/>
                <a:gd name="T66" fmla="*/ 71 w 154"/>
                <a:gd name="T67" fmla="*/ 27 h 105"/>
                <a:gd name="T68" fmla="*/ 75 w 154"/>
                <a:gd name="T69" fmla="*/ 25 h 105"/>
                <a:gd name="T70" fmla="*/ 81 w 154"/>
                <a:gd name="T71" fmla="*/ 25 h 105"/>
                <a:gd name="T72" fmla="*/ 81 w 154"/>
                <a:gd name="T73" fmla="*/ 25 h 105"/>
                <a:gd name="T74" fmla="*/ 86 w 154"/>
                <a:gd name="T75" fmla="*/ 28 h 105"/>
                <a:gd name="T76" fmla="*/ 93 w 154"/>
                <a:gd name="T77" fmla="*/ 34 h 105"/>
                <a:gd name="T78" fmla="*/ 100 w 154"/>
                <a:gd name="T79" fmla="*/ 40 h 105"/>
                <a:gd name="T80" fmla="*/ 102 w 154"/>
                <a:gd name="T81" fmla="*/ 43 h 105"/>
                <a:gd name="T82" fmla="*/ 102 w 154"/>
                <a:gd name="T83" fmla="*/ 43 h 105"/>
                <a:gd name="T84" fmla="*/ 95 w 154"/>
                <a:gd name="T85" fmla="*/ 51 h 105"/>
                <a:gd name="T86" fmla="*/ 90 w 154"/>
                <a:gd name="T87" fmla="*/ 55 h 105"/>
                <a:gd name="T88" fmla="*/ 90 w 154"/>
                <a:gd name="T89" fmla="*/ 56 h 105"/>
                <a:gd name="T90" fmla="*/ 90 w 154"/>
                <a:gd name="T91" fmla="*/ 59 h 105"/>
                <a:gd name="T92" fmla="*/ 90 w 154"/>
                <a:gd name="T93" fmla="*/ 59 h 105"/>
                <a:gd name="T94" fmla="*/ 97 w 154"/>
                <a:gd name="T95" fmla="*/ 67 h 105"/>
                <a:gd name="T96" fmla="*/ 102 w 154"/>
                <a:gd name="T97" fmla="*/ 70 h 105"/>
                <a:gd name="T98" fmla="*/ 103 w 154"/>
                <a:gd name="T99" fmla="*/ 70 h 105"/>
                <a:gd name="T100" fmla="*/ 106 w 154"/>
                <a:gd name="T101" fmla="*/ 70 h 105"/>
                <a:gd name="T102" fmla="*/ 106 w 154"/>
                <a:gd name="T103" fmla="*/ 70 h 105"/>
                <a:gd name="T104" fmla="*/ 112 w 154"/>
                <a:gd name="T105" fmla="*/ 64 h 105"/>
                <a:gd name="T106" fmla="*/ 114 w 154"/>
                <a:gd name="T107" fmla="*/ 64 h 105"/>
                <a:gd name="T108" fmla="*/ 117 w 154"/>
                <a:gd name="T109" fmla="*/ 65 h 105"/>
                <a:gd name="T110" fmla="*/ 117 w 154"/>
                <a:gd name="T111" fmla="*/ 65 h 105"/>
                <a:gd name="T112" fmla="*/ 133 w 154"/>
                <a:gd name="T113" fmla="*/ 82 h 105"/>
                <a:gd name="T114" fmla="*/ 149 w 154"/>
                <a:gd name="T115" fmla="*/ 101 h 105"/>
                <a:gd name="T116" fmla="*/ 149 w 154"/>
                <a:gd name="T117" fmla="*/ 101 h 105"/>
                <a:gd name="T118" fmla="*/ 154 w 154"/>
                <a:gd name="T11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05">
                  <a:moveTo>
                    <a:pt x="0" y="65"/>
                  </a:moveTo>
                  <a:lnTo>
                    <a:pt x="0" y="65"/>
                  </a:lnTo>
                  <a:lnTo>
                    <a:pt x="6" y="62"/>
                  </a:lnTo>
                  <a:lnTo>
                    <a:pt x="9" y="59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2"/>
                  </a:lnTo>
                  <a:lnTo>
                    <a:pt x="10" y="48"/>
                  </a:lnTo>
                  <a:lnTo>
                    <a:pt x="10" y="45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2" y="37"/>
                  </a:lnTo>
                  <a:lnTo>
                    <a:pt x="13" y="36"/>
                  </a:lnTo>
                  <a:lnTo>
                    <a:pt x="15" y="34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7" y="19"/>
                  </a:lnTo>
                  <a:lnTo>
                    <a:pt x="4" y="17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2" y="21"/>
                  </a:lnTo>
                  <a:lnTo>
                    <a:pt x="53" y="19"/>
                  </a:lnTo>
                  <a:lnTo>
                    <a:pt x="56" y="18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3" y="22"/>
                  </a:lnTo>
                  <a:lnTo>
                    <a:pt x="66" y="25"/>
                  </a:lnTo>
                  <a:lnTo>
                    <a:pt x="68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5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6" y="28"/>
                  </a:lnTo>
                  <a:lnTo>
                    <a:pt x="93" y="34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95" y="51"/>
                  </a:lnTo>
                  <a:lnTo>
                    <a:pt x="90" y="55"/>
                  </a:lnTo>
                  <a:lnTo>
                    <a:pt x="90" y="56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7" y="67"/>
                  </a:lnTo>
                  <a:lnTo>
                    <a:pt x="102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12" y="64"/>
                  </a:lnTo>
                  <a:lnTo>
                    <a:pt x="114" y="64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33" y="82"/>
                  </a:lnTo>
                  <a:lnTo>
                    <a:pt x="149" y="101"/>
                  </a:lnTo>
                  <a:lnTo>
                    <a:pt x="149" y="101"/>
                  </a:lnTo>
                  <a:lnTo>
                    <a:pt x="154" y="105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7" name="Freeform 146">
              <a:extLst>
                <a:ext uri="{FF2B5EF4-FFF2-40B4-BE49-F238E27FC236}">
                  <a16:creationId xmlns:a16="http://schemas.microsoft.com/office/drawing/2014/main" id="{C0D8AA3F-29EA-C647-A264-58BF62B34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288" y="4827588"/>
              <a:ext cx="392113" cy="647700"/>
            </a:xfrm>
            <a:custGeom>
              <a:avLst/>
              <a:gdLst>
                <a:gd name="T0" fmla="*/ 127 w 247"/>
                <a:gd name="T1" fmla="*/ 402 h 408"/>
                <a:gd name="T2" fmla="*/ 141 w 247"/>
                <a:gd name="T3" fmla="*/ 391 h 408"/>
                <a:gd name="T4" fmla="*/ 158 w 247"/>
                <a:gd name="T5" fmla="*/ 384 h 408"/>
                <a:gd name="T6" fmla="*/ 158 w 247"/>
                <a:gd name="T7" fmla="*/ 375 h 408"/>
                <a:gd name="T8" fmla="*/ 163 w 247"/>
                <a:gd name="T9" fmla="*/ 362 h 408"/>
                <a:gd name="T10" fmla="*/ 179 w 247"/>
                <a:gd name="T11" fmla="*/ 357 h 408"/>
                <a:gd name="T12" fmla="*/ 180 w 247"/>
                <a:gd name="T13" fmla="*/ 351 h 408"/>
                <a:gd name="T14" fmla="*/ 164 w 247"/>
                <a:gd name="T15" fmla="*/ 331 h 408"/>
                <a:gd name="T16" fmla="*/ 164 w 247"/>
                <a:gd name="T17" fmla="*/ 325 h 408"/>
                <a:gd name="T18" fmla="*/ 176 w 247"/>
                <a:gd name="T19" fmla="*/ 310 h 408"/>
                <a:gd name="T20" fmla="*/ 188 w 247"/>
                <a:gd name="T21" fmla="*/ 304 h 408"/>
                <a:gd name="T22" fmla="*/ 200 w 247"/>
                <a:gd name="T23" fmla="*/ 295 h 408"/>
                <a:gd name="T24" fmla="*/ 223 w 247"/>
                <a:gd name="T25" fmla="*/ 292 h 408"/>
                <a:gd name="T26" fmla="*/ 229 w 247"/>
                <a:gd name="T27" fmla="*/ 288 h 408"/>
                <a:gd name="T28" fmla="*/ 241 w 247"/>
                <a:gd name="T29" fmla="*/ 264 h 408"/>
                <a:gd name="T30" fmla="*/ 244 w 247"/>
                <a:gd name="T31" fmla="*/ 252 h 408"/>
                <a:gd name="T32" fmla="*/ 244 w 247"/>
                <a:gd name="T33" fmla="*/ 243 h 408"/>
                <a:gd name="T34" fmla="*/ 226 w 247"/>
                <a:gd name="T35" fmla="*/ 237 h 408"/>
                <a:gd name="T36" fmla="*/ 207 w 247"/>
                <a:gd name="T37" fmla="*/ 223 h 408"/>
                <a:gd name="T38" fmla="*/ 201 w 247"/>
                <a:gd name="T39" fmla="*/ 200 h 408"/>
                <a:gd name="T40" fmla="*/ 197 w 247"/>
                <a:gd name="T41" fmla="*/ 187 h 408"/>
                <a:gd name="T42" fmla="*/ 175 w 247"/>
                <a:gd name="T43" fmla="*/ 194 h 408"/>
                <a:gd name="T44" fmla="*/ 161 w 247"/>
                <a:gd name="T45" fmla="*/ 196 h 408"/>
                <a:gd name="T46" fmla="*/ 145 w 247"/>
                <a:gd name="T47" fmla="*/ 200 h 408"/>
                <a:gd name="T48" fmla="*/ 135 w 247"/>
                <a:gd name="T49" fmla="*/ 187 h 408"/>
                <a:gd name="T50" fmla="*/ 129 w 247"/>
                <a:gd name="T51" fmla="*/ 181 h 408"/>
                <a:gd name="T52" fmla="*/ 115 w 247"/>
                <a:gd name="T53" fmla="*/ 177 h 408"/>
                <a:gd name="T54" fmla="*/ 90 w 247"/>
                <a:gd name="T55" fmla="*/ 171 h 408"/>
                <a:gd name="T56" fmla="*/ 83 w 247"/>
                <a:gd name="T57" fmla="*/ 166 h 408"/>
                <a:gd name="T58" fmla="*/ 64 w 247"/>
                <a:gd name="T59" fmla="*/ 160 h 408"/>
                <a:gd name="T60" fmla="*/ 43 w 247"/>
                <a:gd name="T61" fmla="*/ 168 h 408"/>
                <a:gd name="T62" fmla="*/ 34 w 247"/>
                <a:gd name="T63" fmla="*/ 180 h 408"/>
                <a:gd name="T64" fmla="*/ 21 w 247"/>
                <a:gd name="T65" fmla="*/ 184 h 408"/>
                <a:gd name="T66" fmla="*/ 9 w 247"/>
                <a:gd name="T67" fmla="*/ 178 h 408"/>
                <a:gd name="T68" fmla="*/ 13 w 247"/>
                <a:gd name="T69" fmla="*/ 168 h 408"/>
                <a:gd name="T70" fmla="*/ 13 w 247"/>
                <a:gd name="T71" fmla="*/ 157 h 408"/>
                <a:gd name="T72" fmla="*/ 6 w 247"/>
                <a:gd name="T73" fmla="*/ 141 h 408"/>
                <a:gd name="T74" fmla="*/ 6 w 247"/>
                <a:gd name="T75" fmla="*/ 137 h 408"/>
                <a:gd name="T76" fmla="*/ 18 w 247"/>
                <a:gd name="T77" fmla="*/ 131 h 408"/>
                <a:gd name="T78" fmla="*/ 15 w 247"/>
                <a:gd name="T79" fmla="*/ 123 h 408"/>
                <a:gd name="T80" fmla="*/ 0 w 247"/>
                <a:gd name="T81" fmla="*/ 113 h 408"/>
                <a:gd name="T82" fmla="*/ 3 w 247"/>
                <a:gd name="T83" fmla="*/ 106 h 408"/>
                <a:gd name="T84" fmla="*/ 18 w 247"/>
                <a:gd name="T85" fmla="*/ 95 h 408"/>
                <a:gd name="T86" fmla="*/ 29 w 247"/>
                <a:gd name="T87" fmla="*/ 74 h 408"/>
                <a:gd name="T88" fmla="*/ 40 w 247"/>
                <a:gd name="T89" fmla="*/ 63 h 408"/>
                <a:gd name="T90" fmla="*/ 52 w 247"/>
                <a:gd name="T91" fmla="*/ 64 h 408"/>
                <a:gd name="T92" fmla="*/ 56 w 247"/>
                <a:gd name="T93" fmla="*/ 60 h 408"/>
                <a:gd name="T94" fmla="*/ 58 w 247"/>
                <a:gd name="T95" fmla="*/ 45 h 408"/>
                <a:gd name="T96" fmla="*/ 83 w 247"/>
                <a:gd name="T97" fmla="*/ 14 h 408"/>
                <a:gd name="T98" fmla="*/ 87 w 247"/>
                <a:gd name="T99" fmla="*/ 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7" h="408">
                  <a:moveTo>
                    <a:pt x="121" y="408"/>
                  </a:moveTo>
                  <a:lnTo>
                    <a:pt x="121" y="408"/>
                  </a:lnTo>
                  <a:lnTo>
                    <a:pt x="127" y="402"/>
                  </a:lnTo>
                  <a:lnTo>
                    <a:pt x="135" y="396"/>
                  </a:lnTo>
                  <a:lnTo>
                    <a:pt x="141" y="391"/>
                  </a:lnTo>
                  <a:lnTo>
                    <a:pt x="141" y="391"/>
                  </a:lnTo>
                  <a:lnTo>
                    <a:pt x="154" y="387"/>
                  </a:lnTo>
                  <a:lnTo>
                    <a:pt x="154" y="387"/>
                  </a:lnTo>
                  <a:lnTo>
                    <a:pt x="158" y="384"/>
                  </a:lnTo>
                  <a:lnTo>
                    <a:pt x="160" y="381"/>
                  </a:lnTo>
                  <a:lnTo>
                    <a:pt x="160" y="381"/>
                  </a:lnTo>
                  <a:lnTo>
                    <a:pt x="158" y="375"/>
                  </a:lnTo>
                  <a:lnTo>
                    <a:pt x="160" y="369"/>
                  </a:lnTo>
                  <a:lnTo>
                    <a:pt x="161" y="365"/>
                  </a:lnTo>
                  <a:lnTo>
                    <a:pt x="163" y="362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79" y="357"/>
                  </a:lnTo>
                  <a:lnTo>
                    <a:pt x="180" y="356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76" y="346"/>
                  </a:lnTo>
                  <a:lnTo>
                    <a:pt x="169" y="338"/>
                  </a:lnTo>
                  <a:lnTo>
                    <a:pt x="164" y="331"/>
                  </a:lnTo>
                  <a:lnTo>
                    <a:pt x="163" y="328"/>
                  </a:lnTo>
                  <a:lnTo>
                    <a:pt x="164" y="325"/>
                  </a:lnTo>
                  <a:lnTo>
                    <a:pt x="164" y="325"/>
                  </a:lnTo>
                  <a:lnTo>
                    <a:pt x="167" y="319"/>
                  </a:lnTo>
                  <a:lnTo>
                    <a:pt x="172" y="314"/>
                  </a:lnTo>
                  <a:lnTo>
                    <a:pt x="176" y="310"/>
                  </a:lnTo>
                  <a:lnTo>
                    <a:pt x="183" y="307"/>
                  </a:lnTo>
                  <a:lnTo>
                    <a:pt x="183" y="307"/>
                  </a:lnTo>
                  <a:lnTo>
                    <a:pt x="188" y="304"/>
                  </a:lnTo>
                  <a:lnTo>
                    <a:pt x="192" y="300"/>
                  </a:lnTo>
                  <a:lnTo>
                    <a:pt x="197" y="297"/>
                  </a:lnTo>
                  <a:lnTo>
                    <a:pt x="200" y="295"/>
                  </a:lnTo>
                  <a:lnTo>
                    <a:pt x="200" y="295"/>
                  </a:lnTo>
                  <a:lnTo>
                    <a:pt x="215" y="294"/>
                  </a:lnTo>
                  <a:lnTo>
                    <a:pt x="223" y="292"/>
                  </a:lnTo>
                  <a:lnTo>
                    <a:pt x="228" y="289"/>
                  </a:lnTo>
                  <a:lnTo>
                    <a:pt x="229" y="288"/>
                  </a:lnTo>
                  <a:lnTo>
                    <a:pt x="229" y="288"/>
                  </a:lnTo>
                  <a:lnTo>
                    <a:pt x="234" y="282"/>
                  </a:lnTo>
                  <a:lnTo>
                    <a:pt x="238" y="273"/>
                  </a:lnTo>
                  <a:lnTo>
                    <a:pt x="241" y="264"/>
                  </a:lnTo>
                  <a:lnTo>
                    <a:pt x="243" y="257"/>
                  </a:lnTo>
                  <a:lnTo>
                    <a:pt x="243" y="257"/>
                  </a:lnTo>
                  <a:lnTo>
                    <a:pt x="244" y="252"/>
                  </a:lnTo>
                  <a:lnTo>
                    <a:pt x="246" y="248"/>
                  </a:lnTo>
                  <a:lnTo>
                    <a:pt x="247" y="245"/>
                  </a:lnTo>
                  <a:lnTo>
                    <a:pt x="244" y="243"/>
                  </a:lnTo>
                  <a:lnTo>
                    <a:pt x="244" y="243"/>
                  </a:lnTo>
                  <a:lnTo>
                    <a:pt x="238" y="242"/>
                  </a:lnTo>
                  <a:lnTo>
                    <a:pt x="226" y="237"/>
                  </a:lnTo>
                  <a:lnTo>
                    <a:pt x="215" y="230"/>
                  </a:lnTo>
                  <a:lnTo>
                    <a:pt x="210" y="227"/>
                  </a:lnTo>
                  <a:lnTo>
                    <a:pt x="207" y="223"/>
                  </a:lnTo>
                  <a:lnTo>
                    <a:pt x="207" y="223"/>
                  </a:lnTo>
                  <a:lnTo>
                    <a:pt x="204" y="212"/>
                  </a:lnTo>
                  <a:lnTo>
                    <a:pt x="201" y="200"/>
                  </a:lnTo>
                  <a:lnTo>
                    <a:pt x="198" y="191"/>
                  </a:lnTo>
                  <a:lnTo>
                    <a:pt x="197" y="187"/>
                  </a:lnTo>
                  <a:lnTo>
                    <a:pt x="197" y="187"/>
                  </a:lnTo>
                  <a:lnTo>
                    <a:pt x="192" y="189"/>
                  </a:lnTo>
                  <a:lnTo>
                    <a:pt x="183" y="191"/>
                  </a:lnTo>
                  <a:lnTo>
                    <a:pt x="175" y="194"/>
                  </a:lnTo>
                  <a:lnTo>
                    <a:pt x="167" y="196"/>
                  </a:lnTo>
                  <a:lnTo>
                    <a:pt x="167" y="196"/>
                  </a:lnTo>
                  <a:lnTo>
                    <a:pt x="161" y="196"/>
                  </a:lnTo>
                  <a:lnTo>
                    <a:pt x="155" y="197"/>
                  </a:lnTo>
                  <a:lnTo>
                    <a:pt x="145" y="200"/>
                  </a:lnTo>
                  <a:lnTo>
                    <a:pt x="145" y="200"/>
                  </a:lnTo>
                  <a:lnTo>
                    <a:pt x="142" y="199"/>
                  </a:lnTo>
                  <a:lnTo>
                    <a:pt x="139" y="194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3" y="184"/>
                  </a:lnTo>
                  <a:lnTo>
                    <a:pt x="129" y="181"/>
                  </a:lnTo>
                  <a:lnTo>
                    <a:pt x="123" y="178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99" y="175"/>
                  </a:lnTo>
                  <a:lnTo>
                    <a:pt x="93" y="174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87" y="168"/>
                  </a:lnTo>
                  <a:lnTo>
                    <a:pt x="83" y="166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64" y="160"/>
                  </a:lnTo>
                  <a:lnTo>
                    <a:pt x="55" y="162"/>
                  </a:lnTo>
                  <a:lnTo>
                    <a:pt x="47" y="163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37" y="177"/>
                  </a:lnTo>
                  <a:lnTo>
                    <a:pt x="34" y="180"/>
                  </a:lnTo>
                  <a:lnTo>
                    <a:pt x="28" y="183"/>
                  </a:lnTo>
                  <a:lnTo>
                    <a:pt x="28" y="183"/>
                  </a:lnTo>
                  <a:lnTo>
                    <a:pt x="21" y="184"/>
                  </a:lnTo>
                  <a:lnTo>
                    <a:pt x="13" y="183"/>
                  </a:lnTo>
                  <a:lnTo>
                    <a:pt x="10" y="180"/>
                  </a:lnTo>
                  <a:lnTo>
                    <a:pt x="9" y="178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3" y="168"/>
                  </a:lnTo>
                  <a:lnTo>
                    <a:pt x="13" y="163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0" y="152"/>
                  </a:lnTo>
                  <a:lnTo>
                    <a:pt x="7" y="146"/>
                  </a:lnTo>
                  <a:lnTo>
                    <a:pt x="6" y="141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6" y="137"/>
                  </a:lnTo>
                  <a:lnTo>
                    <a:pt x="10" y="134"/>
                  </a:lnTo>
                  <a:lnTo>
                    <a:pt x="16" y="131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" y="114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1" y="109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13" y="98"/>
                  </a:lnTo>
                  <a:lnTo>
                    <a:pt x="18" y="95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9" y="74"/>
                  </a:lnTo>
                  <a:lnTo>
                    <a:pt x="35" y="66"/>
                  </a:lnTo>
                  <a:lnTo>
                    <a:pt x="37" y="64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7" y="64"/>
                  </a:lnTo>
                  <a:lnTo>
                    <a:pt x="52" y="64"/>
                  </a:lnTo>
                  <a:lnTo>
                    <a:pt x="53" y="63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6" y="9"/>
                  </a:lnTo>
                  <a:lnTo>
                    <a:pt x="87" y="6"/>
                  </a:lnTo>
                  <a:lnTo>
                    <a:pt x="89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8" name="Freeform 147">
              <a:extLst>
                <a:ext uri="{FF2B5EF4-FFF2-40B4-BE49-F238E27FC236}">
                  <a16:creationId xmlns:a16="http://schemas.microsoft.com/office/drawing/2014/main" id="{D91AB5C6-8BBA-6443-8830-3B086A56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9100" y="5353050"/>
              <a:ext cx="431800" cy="439737"/>
            </a:xfrm>
            <a:custGeom>
              <a:avLst/>
              <a:gdLst>
                <a:gd name="T0" fmla="*/ 0 w 272"/>
                <a:gd name="T1" fmla="*/ 161 h 277"/>
                <a:gd name="T2" fmla="*/ 4 w 272"/>
                <a:gd name="T3" fmla="*/ 151 h 277"/>
                <a:gd name="T4" fmla="*/ 13 w 272"/>
                <a:gd name="T5" fmla="*/ 142 h 277"/>
                <a:gd name="T6" fmla="*/ 15 w 272"/>
                <a:gd name="T7" fmla="*/ 134 h 277"/>
                <a:gd name="T8" fmla="*/ 25 w 272"/>
                <a:gd name="T9" fmla="*/ 123 h 277"/>
                <a:gd name="T10" fmla="*/ 43 w 272"/>
                <a:gd name="T11" fmla="*/ 118 h 277"/>
                <a:gd name="T12" fmla="*/ 50 w 272"/>
                <a:gd name="T13" fmla="*/ 109 h 277"/>
                <a:gd name="T14" fmla="*/ 57 w 272"/>
                <a:gd name="T15" fmla="*/ 92 h 277"/>
                <a:gd name="T16" fmla="*/ 69 w 272"/>
                <a:gd name="T17" fmla="*/ 66 h 277"/>
                <a:gd name="T18" fmla="*/ 78 w 272"/>
                <a:gd name="T19" fmla="*/ 59 h 277"/>
                <a:gd name="T20" fmla="*/ 89 w 272"/>
                <a:gd name="T21" fmla="*/ 59 h 277"/>
                <a:gd name="T22" fmla="*/ 90 w 272"/>
                <a:gd name="T23" fmla="*/ 66 h 277"/>
                <a:gd name="T24" fmla="*/ 102 w 272"/>
                <a:gd name="T25" fmla="*/ 77 h 277"/>
                <a:gd name="T26" fmla="*/ 111 w 272"/>
                <a:gd name="T27" fmla="*/ 74 h 277"/>
                <a:gd name="T28" fmla="*/ 126 w 272"/>
                <a:gd name="T29" fmla="*/ 63 h 277"/>
                <a:gd name="T30" fmla="*/ 132 w 272"/>
                <a:gd name="T31" fmla="*/ 63 h 277"/>
                <a:gd name="T32" fmla="*/ 136 w 272"/>
                <a:gd name="T33" fmla="*/ 60 h 277"/>
                <a:gd name="T34" fmla="*/ 140 w 272"/>
                <a:gd name="T35" fmla="*/ 46 h 277"/>
                <a:gd name="T36" fmla="*/ 148 w 272"/>
                <a:gd name="T37" fmla="*/ 38 h 277"/>
                <a:gd name="T38" fmla="*/ 155 w 272"/>
                <a:gd name="T39" fmla="*/ 32 h 277"/>
                <a:gd name="T40" fmla="*/ 157 w 272"/>
                <a:gd name="T41" fmla="*/ 23 h 277"/>
                <a:gd name="T42" fmla="*/ 158 w 272"/>
                <a:gd name="T43" fmla="*/ 15 h 277"/>
                <a:gd name="T44" fmla="*/ 170 w 272"/>
                <a:gd name="T45" fmla="*/ 15 h 277"/>
                <a:gd name="T46" fmla="*/ 176 w 272"/>
                <a:gd name="T47" fmla="*/ 12 h 277"/>
                <a:gd name="T48" fmla="*/ 192 w 272"/>
                <a:gd name="T49" fmla="*/ 0 h 277"/>
                <a:gd name="T50" fmla="*/ 200 w 272"/>
                <a:gd name="T51" fmla="*/ 1 h 277"/>
                <a:gd name="T52" fmla="*/ 206 w 272"/>
                <a:gd name="T53" fmla="*/ 13 h 277"/>
                <a:gd name="T54" fmla="*/ 211 w 272"/>
                <a:gd name="T55" fmla="*/ 17 h 277"/>
                <a:gd name="T56" fmla="*/ 219 w 272"/>
                <a:gd name="T57" fmla="*/ 22 h 277"/>
                <a:gd name="T58" fmla="*/ 222 w 272"/>
                <a:gd name="T59" fmla="*/ 31 h 277"/>
                <a:gd name="T60" fmla="*/ 232 w 272"/>
                <a:gd name="T61" fmla="*/ 29 h 277"/>
                <a:gd name="T62" fmla="*/ 241 w 272"/>
                <a:gd name="T63" fmla="*/ 29 h 277"/>
                <a:gd name="T64" fmla="*/ 244 w 272"/>
                <a:gd name="T65" fmla="*/ 34 h 277"/>
                <a:gd name="T66" fmla="*/ 240 w 272"/>
                <a:gd name="T67" fmla="*/ 56 h 277"/>
                <a:gd name="T68" fmla="*/ 243 w 272"/>
                <a:gd name="T69" fmla="*/ 63 h 277"/>
                <a:gd name="T70" fmla="*/ 251 w 272"/>
                <a:gd name="T71" fmla="*/ 60 h 277"/>
                <a:gd name="T72" fmla="*/ 257 w 272"/>
                <a:gd name="T73" fmla="*/ 62 h 277"/>
                <a:gd name="T74" fmla="*/ 266 w 272"/>
                <a:gd name="T75" fmla="*/ 77 h 277"/>
                <a:gd name="T76" fmla="*/ 272 w 272"/>
                <a:gd name="T77" fmla="*/ 86 h 277"/>
                <a:gd name="T78" fmla="*/ 266 w 272"/>
                <a:gd name="T79" fmla="*/ 94 h 277"/>
                <a:gd name="T80" fmla="*/ 257 w 272"/>
                <a:gd name="T81" fmla="*/ 111 h 277"/>
                <a:gd name="T82" fmla="*/ 256 w 272"/>
                <a:gd name="T83" fmla="*/ 130 h 277"/>
                <a:gd name="T84" fmla="*/ 243 w 272"/>
                <a:gd name="T85" fmla="*/ 149 h 277"/>
                <a:gd name="T86" fmla="*/ 231 w 272"/>
                <a:gd name="T87" fmla="*/ 163 h 277"/>
                <a:gd name="T88" fmla="*/ 228 w 272"/>
                <a:gd name="T89" fmla="*/ 173 h 277"/>
                <a:gd name="T90" fmla="*/ 217 w 272"/>
                <a:gd name="T91" fmla="*/ 177 h 277"/>
                <a:gd name="T92" fmla="*/ 207 w 272"/>
                <a:gd name="T93" fmla="*/ 180 h 277"/>
                <a:gd name="T94" fmla="*/ 209 w 272"/>
                <a:gd name="T95" fmla="*/ 194 h 277"/>
                <a:gd name="T96" fmla="*/ 209 w 272"/>
                <a:gd name="T97" fmla="*/ 213 h 277"/>
                <a:gd name="T98" fmla="*/ 206 w 272"/>
                <a:gd name="T99" fmla="*/ 216 h 277"/>
                <a:gd name="T100" fmla="*/ 180 w 272"/>
                <a:gd name="T101" fmla="*/ 219 h 277"/>
                <a:gd name="T102" fmla="*/ 163 w 272"/>
                <a:gd name="T103" fmla="*/ 223 h 277"/>
                <a:gd name="T104" fmla="*/ 161 w 272"/>
                <a:gd name="T105" fmla="*/ 220 h 277"/>
                <a:gd name="T106" fmla="*/ 157 w 272"/>
                <a:gd name="T107" fmla="*/ 214 h 277"/>
                <a:gd name="T108" fmla="*/ 152 w 272"/>
                <a:gd name="T109" fmla="*/ 220 h 277"/>
                <a:gd name="T110" fmla="*/ 155 w 272"/>
                <a:gd name="T111" fmla="*/ 238 h 277"/>
                <a:gd name="T112" fmla="*/ 154 w 272"/>
                <a:gd name="T1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2" h="277">
                  <a:moveTo>
                    <a:pt x="0" y="170"/>
                  </a:moveTo>
                  <a:lnTo>
                    <a:pt x="0" y="170"/>
                  </a:lnTo>
                  <a:lnTo>
                    <a:pt x="0" y="161"/>
                  </a:lnTo>
                  <a:lnTo>
                    <a:pt x="1" y="155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12" y="145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5" y="134"/>
                  </a:lnTo>
                  <a:lnTo>
                    <a:pt x="17" y="129"/>
                  </a:lnTo>
                  <a:lnTo>
                    <a:pt x="22" y="126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35" y="121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6" y="115"/>
                  </a:lnTo>
                  <a:lnTo>
                    <a:pt x="50" y="109"/>
                  </a:lnTo>
                  <a:lnTo>
                    <a:pt x="55" y="100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60" y="83"/>
                  </a:lnTo>
                  <a:lnTo>
                    <a:pt x="65" y="74"/>
                  </a:lnTo>
                  <a:lnTo>
                    <a:pt x="69" y="66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8" y="59"/>
                  </a:lnTo>
                  <a:lnTo>
                    <a:pt x="83" y="57"/>
                  </a:lnTo>
                  <a:lnTo>
                    <a:pt x="87" y="57"/>
                  </a:lnTo>
                  <a:lnTo>
                    <a:pt x="89" y="59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90" y="66"/>
                  </a:lnTo>
                  <a:lnTo>
                    <a:pt x="94" y="71"/>
                  </a:lnTo>
                  <a:lnTo>
                    <a:pt x="99" y="75"/>
                  </a:lnTo>
                  <a:lnTo>
                    <a:pt x="102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11" y="74"/>
                  </a:lnTo>
                  <a:lnTo>
                    <a:pt x="117" y="71"/>
                  </a:lnTo>
                  <a:lnTo>
                    <a:pt x="121" y="66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9" y="62"/>
                  </a:lnTo>
                  <a:lnTo>
                    <a:pt x="132" y="63"/>
                  </a:lnTo>
                  <a:lnTo>
                    <a:pt x="133" y="63"/>
                  </a:lnTo>
                  <a:lnTo>
                    <a:pt x="136" y="60"/>
                  </a:lnTo>
                  <a:lnTo>
                    <a:pt x="136" y="60"/>
                  </a:lnTo>
                  <a:lnTo>
                    <a:pt x="139" y="52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40" y="43"/>
                  </a:lnTo>
                  <a:lnTo>
                    <a:pt x="142" y="41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52" y="37"/>
                  </a:lnTo>
                  <a:lnTo>
                    <a:pt x="155" y="32"/>
                  </a:lnTo>
                  <a:lnTo>
                    <a:pt x="157" y="28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5" y="19"/>
                  </a:lnTo>
                  <a:lnTo>
                    <a:pt x="157" y="16"/>
                  </a:lnTo>
                  <a:lnTo>
                    <a:pt x="158" y="15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70" y="15"/>
                  </a:lnTo>
                  <a:lnTo>
                    <a:pt x="173" y="15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85" y="4"/>
                  </a:lnTo>
                  <a:lnTo>
                    <a:pt x="191" y="0"/>
                  </a:lnTo>
                  <a:lnTo>
                    <a:pt x="192" y="0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200" y="1"/>
                  </a:lnTo>
                  <a:lnTo>
                    <a:pt x="201" y="4"/>
                  </a:lnTo>
                  <a:lnTo>
                    <a:pt x="203" y="9"/>
                  </a:lnTo>
                  <a:lnTo>
                    <a:pt x="206" y="13"/>
                  </a:lnTo>
                  <a:lnTo>
                    <a:pt x="206" y="13"/>
                  </a:lnTo>
                  <a:lnTo>
                    <a:pt x="209" y="16"/>
                  </a:lnTo>
                  <a:lnTo>
                    <a:pt x="211" y="17"/>
                  </a:lnTo>
                  <a:lnTo>
                    <a:pt x="216" y="19"/>
                  </a:lnTo>
                  <a:lnTo>
                    <a:pt x="219" y="22"/>
                  </a:lnTo>
                  <a:lnTo>
                    <a:pt x="219" y="22"/>
                  </a:lnTo>
                  <a:lnTo>
                    <a:pt x="220" y="25"/>
                  </a:lnTo>
                  <a:lnTo>
                    <a:pt x="222" y="29"/>
                  </a:lnTo>
                  <a:lnTo>
                    <a:pt x="222" y="31"/>
                  </a:lnTo>
                  <a:lnTo>
                    <a:pt x="222" y="32"/>
                  </a:lnTo>
                  <a:lnTo>
                    <a:pt x="222" y="32"/>
                  </a:lnTo>
                  <a:lnTo>
                    <a:pt x="232" y="29"/>
                  </a:lnTo>
                  <a:lnTo>
                    <a:pt x="237" y="28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3" y="32"/>
                  </a:lnTo>
                  <a:lnTo>
                    <a:pt x="244" y="34"/>
                  </a:lnTo>
                  <a:lnTo>
                    <a:pt x="241" y="43"/>
                  </a:lnTo>
                  <a:lnTo>
                    <a:pt x="241" y="43"/>
                  </a:lnTo>
                  <a:lnTo>
                    <a:pt x="240" y="56"/>
                  </a:lnTo>
                  <a:lnTo>
                    <a:pt x="240" y="60"/>
                  </a:lnTo>
                  <a:lnTo>
                    <a:pt x="241" y="62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7" y="62"/>
                  </a:lnTo>
                  <a:lnTo>
                    <a:pt x="251" y="60"/>
                  </a:lnTo>
                  <a:lnTo>
                    <a:pt x="254" y="60"/>
                  </a:lnTo>
                  <a:lnTo>
                    <a:pt x="256" y="60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63" y="71"/>
                  </a:lnTo>
                  <a:lnTo>
                    <a:pt x="266" y="77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2" y="86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66" y="94"/>
                  </a:lnTo>
                  <a:lnTo>
                    <a:pt x="262" y="100"/>
                  </a:lnTo>
                  <a:lnTo>
                    <a:pt x="259" y="105"/>
                  </a:lnTo>
                  <a:lnTo>
                    <a:pt x="257" y="111"/>
                  </a:lnTo>
                  <a:lnTo>
                    <a:pt x="257" y="111"/>
                  </a:lnTo>
                  <a:lnTo>
                    <a:pt x="257" y="124"/>
                  </a:lnTo>
                  <a:lnTo>
                    <a:pt x="256" y="130"/>
                  </a:lnTo>
                  <a:lnTo>
                    <a:pt x="253" y="136"/>
                  </a:lnTo>
                  <a:lnTo>
                    <a:pt x="253" y="136"/>
                  </a:lnTo>
                  <a:lnTo>
                    <a:pt x="243" y="149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1" y="163"/>
                  </a:lnTo>
                  <a:lnTo>
                    <a:pt x="229" y="166"/>
                  </a:lnTo>
                  <a:lnTo>
                    <a:pt x="228" y="173"/>
                  </a:lnTo>
                  <a:lnTo>
                    <a:pt x="228" y="173"/>
                  </a:lnTo>
                  <a:lnTo>
                    <a:pt x="226" y="174"/>
                  </a:lnTo>
                  <a:lnTo>
                    <a:pt x="223" y="176"/>
                  </a:lnTo>
                  <a:lnTo>
                    <a:pt x="217" y="177"/>
                  </a:lnTo>
                  <a:lnTo>
                    <a:pt x="210" y="179"/>
                  </a:lnTo>
                  <a:lnTo>
                    <a:pt x="207" y="180"/>
                  </a:lnTo>
                  <a:lnTo>
                    <a:pt x="207" y="180"/>
                  </a:lnTo>
                  <a:lnTo>
                    <a:pt x="206" y="183"/>
                  </a:lnTo>
                  <a:lnTo>
                    <a:pt x="207" y="186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10" y="207"/>
                  </a:lnTo>
                  <a:lnTo>
                    <a:pt x="209" y="213"/>
                  </a:lnTo>
                  <a:lnTo>
                    <a:pt x="207" y="216"/>
                  </a:lnTo>
                  <a:lnTo>
                    <a:pt x="206" y="216"/>
                  </a:lnTo>
                  <a:lnTo>
                    <a:pt x="206" y="216"/>
                  </a:lnTo>
                  <a:lnTo>
                    <a:pt x="195" y="217"/>
                  </a:lnTo>
                  <a:lnTo>
                    <a:pt x="188" y="217"/>
                  </a:lnTo>
                  <a:lnTo>
                    <a:pt x="180" y="219"/>
                  </a:lnTo>
                  <a:lnTo>
                    <a:pt x="180" y="219"/>
                  </a:lnTo>
                  <a:lnTo>
                    <a:pt x="169" y="223"/>
                  </a:lnTo>
                  <a:lnTo>
                    <a:pt x="163" y="223"/>
                  </a:lnTo>
                  <a:lnTo>
                    <a:pt x="161" y="222"/>
                  </a:lnTo>
                  <a:lnTo>
                    <a:pt x="161" y="220"/>
                  </a:lnTo>
                  <a:lnTo>
                    <a:pt x="161" y="220"/>
                  </a:lnTo>
                  <a:lnTo>
                    <a:pt x="160" y="217"/>
                  </a:lnTo>
                  <a:lnTo>
                    <a:pt x="160" y="214"/>
                  </a:lnTo>
                  <a:lnTo>
                    <a:pt x="157" y="214"/>
                  </a:lnTo>
                  <a:lnTo>
                    <a:pt x="154" y="217"/>
                  </a:lnTo>
                  <a:lnTo>
                    <a:pt x="154" y="217"/>
                  </a:lnTo>
                  <a:lnTo>
                    <a:pt x="152" y="220"/>
                  </a:lnTo>
                  <a:lnTo>
                    <a:pt x="152" y="223"/>
                  </a:lnTo>
                  <a:lnTo>
                    <a:pt x="154" y="231"/>
                  </a:lnTo>
                  <a:lnTo>
                    <a:pt x="155" y="238"/>
                  </a:lnTo>
                  <a:lnTo>
                    <a:pt x="155" y="249"/>
                  </a:lnTo>
                  <a:lnTo>
                    <a:pt x="155" y="249"/>
                  </a:lnTo>
                  <a:lnTo>
                    <a:pt x="154" y="266"/>
                  </a:lnTo>
                  <a:lnTo>
                    <a:pt x="155" y="27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9" name="Freeform 148">
              <a:extLst>
                <a:ext uri="{FF2B5EF4-FFF2-40B4-BE49-F238E27FC236}">
                  <a16:creationId xmlns:a16="http://schemas.microsoft.com/office/drawing/2014/main" id="{6A6E634F-EA0B-A247-B325-2D5990B07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200" y="5594350"/>
              <a:ext cx="222250" cy="479425"/>
            </a:xfrm>
            <a:custGeom>
              <a:avLst/>
              <a:gdLst>
                <a:gd name="T0" fmla="*/ 0 w 140"/>
                <a:gd name="T1" fmla="*/ 40 h 302"/>
                <a:gd name="T2" fmla="*/ 6 w 140"/>
                <a:gd name="T3" fmla="*/ 39 h 302"/>
                <a:gd name="T4" fmla="*/ 18 w 140"/>
                <a:gd name="T5" fmla="*/ 45 h 302"/>
                <a:gd name="T6" fmla="*/ 23 w 140"/>
                <a:gd name="T7" fmla="*/ 48 h 302"/>
                <a:gd name="T8" fmla="*/ 37 w 140"/>
                <a:gd name="T9" fmla="*/ 52 h 302"/>
                <a:gd name="T10" fmla="*/ 41 w 140"/>
                <a:gd name="T11" fmla="*/ 54 h 302"/>
                <a:gd name="T12" fmla="*/ 49 w 140"/>
                <a:gd name="T13" fmla="*/ 62 h 302"/>
                <a:gd name="T14" fmla="*/ 53 w 140"/>
                <a:gd name="T15" fmla="*/ 67 h 302"/>
                <a:gd name="T16" fmla="*/ 59 w 140"/>
                <a:gd name="T17" fmla="*/ 70 h 302"/>
                <a:gd name="T18" fmla="*/ 75 w 140"/>
                <a:gd name="T19" fmla="*/ 82 h 302"/>
                <a:gd name="T20" fmla="*/ 84 w 140"/>
                <a:gd name="T21" fmla="*/ 94 h 302"/>
                <a:gd name="T22" fmla="*/ 93 w 140"/>
                <a:gd name="T23" fmla="*/ 113 h 302"/>
                <a:gd name="T24" fmla="*/ 93 w 140"/>
                <a:gd name="T25" fmla="*/ 117 h 302"/>
                <a:gd name="T26" fmla="*/ 89 w 140"/>
                <a:gd name="T27" fmla="*/ 135 h 302"/>
                <a:gd name="T28" fmla="*/ 81 w 140"/>
                <a:gd name="T29" fmla="*/ 153 h 302"/>
                <a:gd name="T30" fmla="*/ 74 w 140"/>
                <a:gd name="T31" fmla="*/ 159 h 302"/>
                <a:gd name="T32" fmla="*/ 65 w 140"/>
                <a:gd name="T33" fmla="*/ 165 h 302"/>
                <a:gd name="T34" fmla="*/ 53 w 140"/>
                <a:gd name="T35" fmla="*/ 171 h 302"/>
                <a:gd name="T36" fmla="*/ 52 w 140"/>
                <a:gd name="T37" fmla="*/ 175 h 302"/>
                <a:gd name="T38" fmla="*/ 55 w 140"/>
                <a:gd name="T39" fmla="*/ 184 h 302"/>
                <a:gd name="T40" fmla="*/ 62 w 140"/>
                <a:gd name="T41" fmla="*/ 190 h 302"/>
                <a:gd name="T42" fmla="*/ 75 w 140"/>
                <a:gd name="T43" fmla="*/ 200 h 302"/>
                <a:gd name="T44" fmla="*/ 83 w 140"/>
                <a:gd name="T45" fmla="*/ 205 h 302"/>
                <a:gd name="T46" fmla="*/ 86 w 140"/>
                <a:gd name="T47" fmla="*/ 202 h 302"/>
                <a:gd name="T48" fmla="*/ 93 w 140"/>
                <a:gd name="T49" fmla="*/ 191 h 302"/>
                <a:gd name="T50" fmla="*/ 99 w 140"/>
                <a:gd name="T51" fmla="*/ 190 h 302"/>
                <a:gd name="T52" fmla="*/ 100 w 140"/>
                <a:gd name="T53" fmla="*/ 190 h 302"/>
                <a:gd name="T54" fmla="*/ 109 w 140"/>
                <a:gd name="T55" fmla="*/ 197 h 302"/>
                <a:gd name="T56" fmla="*/ 108 w 140"/>
                <a:gd name="T57" fmla="*/ 205 h 302"/>
                <a:gd name="T58" fmla="*/ 98 w 140"/>
                <a:gd name="T59" fmla="*/ 211 h 302"/>
                <a:gd name="T60" fmla="*/ 93 w 140"/>
                <a:gd name="T61" fmla="*/ 218 h 302"/>
                <a:gd name="T62" fmla="*/ 93 w 140"/>
                <a:gd name="T63" fmla="*/ 221 h 302"/>
                <a:gd name="T64" fmla="*/ 98 w 140"/>
                <a:gd name="T65" fmla="*/ 227 h 302"/>
                <a:gd name="T66" fmla="*/ 105 w 140"/>
                <a:gd name="T67" fmla="*/ 233 h 302"/>
                <a:gd name="T68" fmla="*/ 108 w 140"/>
                <a:gd name="T69" fmla="*/ 236 h 302"/>
                <a:gd name="T70" fmla="*/ 114 w 140"/>
                <a:gd name="T71" fmla="*/ 237 h 302"/>
                <a:gd name="T72" fmla="*/ 117 w 140"/>
                <a:gd name="T73" fmla="*/ 237 h 302"/>
                <a:gd name="T74" fmla="*/ 127 w 140"/>
                <a:gd name="T75" fmla="*/ 233 h 302"/>
                <a:gd name="T76" fmla="*/ 132 w 140"/>
                <a:gd name="T77" fmla="*/ 236 h 302"/>
                <a:gd name="T78" fmla="*/ 139 w 140"/>
                <a:gd name="T79" fmla="*/ 248 h 302"/>
                <a:gd name="T80" fmla="*/ 138 w 140"/>
                <a:gd name="T81" fmla="*/ 252 h 302"/>
                <a:gd name="T82" fmla="*/ 127 w 140"/>
                <a:gd name="T83" fmla="*/ 265 h 302"/>
                <a:gd name="T84" fmla="*/ 127 w 140"/>
                <a:gd name="T85" fmla="*/ 268 h 302"/>
                <a:gd name="T86" fmla="*/ 135 w 140"/>
                <a:gd name="T87" fmla="*/ 271 h 302"/>
                <a:gd name="T88" fmla="*/ 140 w 140"/>
                <a:gd name="T89" fmla="*/ 274 h 302"/>
                <a:gd name="T90" fmla="*/ 140 w 140"/>
                <a:gd name="T91" fmla="*/ 277 h 302"/>
                <a:gd name="T92" fmla="*/ 136 w 140"/>
                <a:gd name="T93" fmla="*/ 285 h 302"/>
                <a:gd name="T94" fmla="*/ 135 w 140"/>
                <a:gd name="T95" fmla="*/ 289 h 302"/>
                <a:gd name="T96" fmla="*/ 133 w 140"/>
                <a:gd name="T9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0" h="302">
                  <a:moveTo>
                    <a:pt x="0" y="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3" y="48"/>
                  </a:lnTo>
                  <a:lnTo>
                    <a:pt x="28" y="51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4" y="57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53" y="67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9" y="76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84" y="94"/>
                  </a:lnTo>
                  <a:lnTo>
                    <a:pt x="90" y="102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3" y="117"/>
                  </a:lnTo>
                  <a:lnTo>
                    <a:pt x="92" y="123"/>
                  </a:lnTo>
                  <a:lnTo>
                    <a:pt x="89" y="135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78" y="156"/>
                  </a:lnTo>
                  <a:lnTo>
                    <a:pt x="74" y="159"/>
                  </a:lnTo>
                  <a:lnTo>
                    <a:pt x="65" y="165"/>
                  </a:lnTo>
                  <a:lnTo>
                    <a:pt x="65" y="165"/>
                  </a:lnTo>
                  <a:lnTo>
                    <a:pt x="58" y="168"/>
                  </a:lnTo>
                  <a:lnTo>
                    <a:pt x="53" y="171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81"/>
                  </a:lnTo>
                  <a:lnTo>
                    <a:pt x="55" y="184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80" y="205"/>
                  </a:lnTo>
                  <a:lnTo>
                    <a:pt x="83" y="205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90" y="196"/>
                  </a:lnTo>
                  <a:lnTo>
                    <a:pt x="93" y="191"/>
                  </a:lnTo>
                  <a:lnTo>
                    <a:pt x="96" y="190"/>
                  </a:lnTo>
                  <a:lnTo>
                    <a:pt x="99" y="190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6" y="194"/>
                  </a:lnTo>
                  <a:lnTo>
                    <a:pt x="109" y="197"/>
                  </a:lnTo>
                  <a:lnTo>
                    <a:pt x="109" y="200"/>
                  </a:lnTo>
                  <a:lnTo>
                    <a:pt x="108" y="205"/>
                  </a:lnTo>
                  <a:lnTo>
                    <a:pt x="108" y="205"/>
                  </a:lnTo>
                  <a:lnTo>
                    <a:pt x="98" y="211"/>
                  </a:lnTo>
                  <a:lnTo>
                    <a:pt x="95" y="215"/>
                  </a:lnTo>
                  <a:lnTo>
                    <a:pt x="93" y="218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5" y="224"/>
                  </a:lnTo>
                  <a:lnTo>
                    <a:pt x="98" y="227"/>
                  </a:lnTo>
                  <a:lnTo>
                    <a:pt x="100" y="230"/>
                  </a:lnTo>
                  <a:lnTo>
                    <a:pt x="105" y="233"/>
                  </a:lnTo>
                  <a:lnTo>
                    <a:pt x="105" y="233"/>
                  </a:lnTo>
                  <a:lnTo>
                    <a:pt x="108" y="236"/>
                  </a:lnTo>
                  <a:lnTo>
                    <a:pt x="111" y="237"/>
                  </a:lnTo>
                  <a:lnTo>
                    <a:pt x="114" y="237"/>
                  </a:lnTo>
                  <a:lnTo>
                    <a:pt x="117" y="237"/>
                  </a:lnTo>
                  <a:lnTo>
                    <a:pt x="117" y="237"/>
                  </a:lnTo>
                  <a:lnTo>
                    <a:pt x="124" y="233"/>
                  </a:lnTo>
                  <a:lnTo>
                    <a:pt x="127" y="233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8" y="245"/>
                  </a:lnTo>
                  <a:lnTo>
                    <a:pt x="139" y="248"/>
                  </a:lnTo>
                  <a:lnTo>
                    <a:pt x="138" y="252"/>
                  </a:lnTo>
                  <a:lnTo>
                    <a:pt x="138" y="252"/>
                  </a:lnTo>
                  <a:lnTo>
                    <a:pt x="129" y="261"/>
                  </a:lnTo>
                  <a:lnTo>
                    <a:pt x="127" y="265"/>
                  </a:lnTo>
                  <a:lnTo>
                    <a:pt x="127" y="268"/>
                  </a:lnTo>
                  <a:lnTo>
                    <a:pt x="127" y="268"/>
                  </a:lnTo>
                  <a:lnTo>
                    <a:pt x="127" y="268"/>
                  </a:lnTo>
                  <a:lnTo>
                    <a:pt x="135" y="271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0" y="277"/>
                  </a:lnTo>
                  <a:lnTo>
                    <a:pt x="140" y="279"/>
                  </a:lnTo>
                  <a:lnTo>
                    <a:pt x="136" y="285"/>
                  </a:lnTo>
                  <a:lnTo>
                    <a:pt x="136" y="285"/>
                  </a:lnTo>
                  <a:lnTo>
                    <a:pt x="135" y="289"/>
                  </a:lnTo>
                  <a:lnTo>
                    <a:pt x="135" y="295"/>
                  </a:lnTo>
                  <a:lnTo>
                    <a:pt x="133" y="30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0" name="Freeform 149">
              <a:extLst>
                <a:ext uri="{FF2B5EF4-FFF2-40B4-BE49-F238E27FC236}">
                  <a16:creationId xmlns:a16="http://schemas.microsoft.com/office/drawing/2014/main" id="{E777FF55-757F-D54A-BC32-5DD1F56BF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9075" y="6096000"/>
              <a:ext cx="180975" cy="123825"/>
            </a:xfrm>
            <a:custGeom>
              <a:avLst/>
              <a:gdLst>
                <a:gd name="T0" fmla="*/ 0 w 114"/>
                <a:gd name="T1" fmla="*/ 22 h 78"/>
                <a:gd name="T2" fmla="*/ 0 w 114"/>
                <a:gd name="T3" fmla="*/ 22 h 78"/>
                <a:gd name="T4" fmla="*/ 14 w 114"/>
                <a:gd name="T5" fmla="*/ 7 h 78"/>
                <a:gd name="T6" fmla="*/ 14 w 114"/>
                <a:gd name="T7" fmla="*/ 7 h 78"/>
                <a:gd name="T8" fmla="*/ 19 w 114"/>
                <a:gd name="T9" fmla="*/ 1 h 78"/>
                <a:gd name="T10" fmla="*/ 22 w 114"/>
                <a:gd name="T11" fmla="*/ 0 h 78"/>
                <a:gd name="T12" fmla="*/ 25 w 114"/>
                <a:gd name="T13" fmla="*/ 0 h 78"/>
                <a:gd name="T14" fmla="*/ 27 w 114"/>
                <a:gd name="T15" fmla="*/ 3 h 78"/>
                <a:gd name="T16" fmla="*/ 27 w 114"/>
                <a:gd name="T17" fmla="*/ 3 h 78"/>
                <a:gd name="T18" fmla="*/ 34 w 114"/>
                <a:gd name="T19" fmla="*/ 10 h 78"/>
                <a:gd name="T20" fmla="*/ 36 w 114"/>
                <a:gd name="T21" fmla="*/ 12 h 78"/>
                <a:gd name="T22" fmla="*/ 39 w 114"/>
                <a:gd name="T23" fmla="*/ 12 h 78"/>
                <a:gd name="T24" fmla="*/ 39 w 114"/>
                <a:gd name="T25" fmla="*/ 12 h 78"/>
                <a:gd name="T26" fmla="*/ 42 w 114"/>
                <a:gd name="T27" fmla="*/ 9 h 78"/>
                <a:gd name="T28" fmla="*/ 43 w 114"/>
                <a:gd name="T29" fmla="*/ 7 h 78"/>
                <a:gd name="T30" fmla="*/ 45 w 114"/>
                <a:gd name="T31" fmla="*/ 6 h 78"/>
                <a:gd name="T32" fmla="*/ 48 w 114"/>
                <a:gd name="T33" fmla="*/ 6 h 78"/>
                <a:gd name="T34" fmla="*/ 48 w 114"/>
                <a:gd name="T35" fmla="*/ 6 h 78"/>
                <a:gd name="T36" fmla="*/ 52 w 114"/>
                <a:gd name="T37" fmla="*/ 9 h 78"/>
                <a:gd name="T38" fmla="*/ 57 w 114"/>
                <a:gd name="T39" fmla="*/ 13 h 78"/>
                <a:gd name="T40" fmla="*/ 59 w 114"/>
                <a:gd name="T41" fmla="*/ 16 h 78"/>
                <a:gd name="T42" fmla="*/ 65 w 114"/>
                <a:gd name="T43" fmla="*/ 19 h 78"/>
                <a:gd name="T44" fmla="*/ 65 w 114"/>
                <a:gd name="T45" fmla="*/ 19 h 78"/>
                <a:gd name="T46" fmla="*/ 83 w 114"/>
                <a:gd name="T47" fmla="*/ 19 h 78"/>
                <a:gd name="T48" fmla="*/ 96 w 114"/>
                <a:gd name="T49" fmla="*/ 19 h 78"/>
                <a:gd name="T50" fmla="*/ 96 w 114"/>
                <a:gd name="T51" fmla="*/ 19 h 78"/>
                <a:gd name="T52" fmla="*/ 99 w 114"/>
                <a:gd name="T53" fmla="*/ 28 h 78"/>
                <a:gd name="T54" fmla="*/ 105 w 114"/>
                <a:gd name="T55" fmla="*/ 49 h 78"/>
                <a:gd name="T56" fmla="*/ 114 w 114"/>
                <a:gd name="T5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4" h="78">
                  <a:moveTo>
                    <a:pt x="0" y="22"/>
                  </a:moveTo>
                  <a:lnTo>
                    <a:pt x="0" y="22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9" y="1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4" y="10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5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2" y="9"/>
                  </a:lnTo>
                  <a:lnTo>
                    <a:pt x="57" y="13"/>
                  </a:lnTo>
                  <a:lnTo>
                    <a:pt x="59" y="16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83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9" y="28"/>
                  </a:lnTo>
                  <a:lnTo>
                    <a:pt x="105" y="49"/>
                  </a:lnTo>
                  <a:lnTo>
                    <a:pt x="114" y="7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1" name="Freeform 150">
              <a:extLst>
                <a:ext uri="{FF2B5EF4-FFF2-40B4-BE49-F238E27FC236}">
                  <a16:creationId xmlns:a16="http://schemas.microsoft.com/office/drawing/2014/main" id="{BEDA51B7-5E8B-C744-8734-AF5A03851A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525" y="6064250"/>
              <a:ext cx="252413" cy="598487"/>
            </a:xfrm>
            <a:custGeom>
              <a:avLst/>
              <a:gdLst>
                <a:gd name="T0" fmla="*/ 9 w 159"/>
                <a:gd name="T1" fmla="*/ 8 h 377"/>
                <a:gd name="T2" fmla="*/ 23 w 159"/>
                <a:gd name="T3" fmla="*/ 3 h 377"/>
                <a:gd name="T4" fmla="*/ 39 w 159"/>
                <a:gd name="T5" fmla="*/ 0 h 377"/>
                <a:gd name="T6" fmla="*/ 51 w 159"/>
                <a:gd name="T7" fmla="*/ 5 h 377"/>
                <a:gd name="T8" fmla="*/ 57 w 159"/>
                <a:gd name="T9" fmla="*/ 6 h 377"/>
                <a:gd name="T10" fmla="*/ 67 w 159"/>
                <a:gd name="T11" fmla="*/ 5 h 377"/>
                <a:gd name="T12" fmla="*/ 70 w 159"/>
                <a:gd name="T13" fmla="*/ 15 h 377"/>
                <a:gd name="T14" fmla="*/ 72 w 159"/>
                <a:gd name="T15" fmla="*/ 24 h 377"/>
                <a:gd name="T16" fmla="*/ 79 w 159"/>
                <a:gd name="T17" fmla="*/ 26 h 377"/>
                <a:gd name="T18" fmla="*/ 97 w 159"/>
                <a:gd name="T19" fmla="*/ 20 h 377"/>
                <a:gd name="T20" fmla="*/ 98 w 159"/>
                <a:gd name="T21" fmla="*/ 14 h 377"/>
                <a:gd name="T22" fmla="*/ 106 w 159"/>
                <a:gd name="T23" fmla="*/ 3 h 377"/>
                <a:gd name="T24" fmla="*/ 112 w 159"/>
                <a:gd name="T25" fmla="*/ 6 h 377"/>
                <a:gd name="T26" fmla="*/ 112 w 159"/>
                <a:gd name="T27" fmla="*/ 21 h 377"/>
                <a:gd name="T28" fmla="*/ 113 w 159"/>
                <a:gd name="T29" fmla="*/ 33 h 377"/>
                <a:gd name="T30" fmla="*/ 119 w 159"/>
                <a:gd name="T31" fmla="*/ 39 h 377"/>
                <a:gd name="T32" fmla="*/ 131 w 159"/>
                <a:gd name="T33" fmla="*/ 39 h 377"/>
                <a:gd name="T34" fmla="*/ 135 w 159"/>
                <a:gd name="T35" fmla="*/ 48 h 377"/>
                <a:gd name="T36" fmla="*/ 138 w 159"/>
                <a:gd name="T37" fmla="*/ 70 h 377"/>
                <a:gd name="T38" fmla="*/ 147 w 159"/>
                <a:gd name="T39" fmla="*/ 83 h 377"/>
                <a:gd name="T40" fmla="*/ 147 w 159"/>
                <a:gd name="T41" fmla="*/ 89 h 377"/>
                <a:gd name="T42" fmla="*/ 132 w 159"/>
                <a:gd name="T43" fmla="*/ 104 h 377"/>
                <a:gd name="T44" fmla="*/ 123 w 159"/>
                <a:gd name="T45" fmla="*/ 122 h 377"/>
                <a:gd name="T46" fmla="*/ 119 w 159"/>
                <a:gd name="T47" fmla="*/ 140 h 377"/>
                <a:gd name="T48" fmla="*/ 120 w 159"/>
                <a:gd name="T49" fmla="*/ 154 h 377"/>
                <a:gd name="T50" fmla="*/ 122 w 159"/>
                <a:gd name="T51" fmla="*/ 160 h 377"/>
                <a:gd name="T52" fmla="*/ 129 w 159"/>
                <a:gd name="T53" fmla="*/ 174 h 377"/>
                <a:gd name="T54" fmla="*/ 149 w 159"/>
                <a:gd name="T55" fmla="*/ 186 h 377"/>
                <a:gd name="T56" fmla="*/ 156 w 159"/>
                <a:gd name="T57" fmla="*/ 192 h 377"/>
                <a:gd name="T58" fmla="*/ 128 w 159"/>
                <a:gd name="T59" fmla="*/ 192 h 377"/>
                <a:gd name="T60" fmla="*/ 125 w 159"/>
                <a:gd name="T61" fmla="*/ 209 h 377"/>
                <a:gd name="T62" fmla="*/ 123 w 159"/>
                <a:gd name="T63" fmla="*/ 236 h 377"/>
                <a:gd name="T64" fmla="*/ 122 w 159"/>
                <a:gd name="T65" fmla="*/ 270 h 377"/>
                <a:gd name="T66" fmla="*/ 119 w 159"/>
                <a:gd name="T67" fmla="*/ 274 h 377"/>
                <a:gd name="T68" fmla="*/ 100 w 159"/>
                <a:gd name="T69" fmla="*/ 276 h 377"/>
                <a:gd name="T70" fmla="*/ 92 w 159"/>
                <a:gd name="T71" fmla="*/ 269 h 377"/>
                <a:gd name="T72" fmla="*/ 77 w 159"/>
                <a:gd name="T73" fmla="*/ 276 h 377"/>
                <a:gd name="T74" fmla="*/ 72 w 159"/>
                <a:gd name="T75" fmla="*/ 274 h 377"/>
                <a:gd name="T76" fmla="*/ 63 w 159"/>
                <a:gd name="T77" fmla="*/ 266 h 377"/>
                <a:gd name="T78" fmla="*/ 60 w 159"/>
                <a:gd name="T79" fmla="*/ 267 h 377"/>
                <a:gd name="T80" fmla="*/ 60 w 159"/>
                <a:gd name="T81" fmla="*/ 280 h 377"/>
                <a:gd name="T82" fmla="*/ 58 w 159"/>
                <a:gd name="T83" fmla="*/ 294 h 377"/>
                <a:gd name="T84" fmla="*/ 64 w 159"/>
                <a:gd name="T85" fmla="*/ 307 h 377"/>
                <a:gd name="T86" fmla="*/ 70 w 159"/>
                <a:gd name="T87" fmla="*/ 313 h 377"/>
                <a:gd name="T88" fmla="*/ 63 w 159"/>
                <a:gd name="T89" fmla="*/ 317 h 377"/>
                <a:gd name="T90" fmla="*/ 36 w 159"/>
                <a:gd name="T91" fmla="*/ 322 h 377"/>
                <a:gd name="T92" fmla="*/ 14 w 159"/>
                <a:gd name="T93" fmla="*/ 332 h 377"/>
                <a:gd name="T94" fmla="*/ 9 w 159"/>
                <a:gd name="T95" fmla="*/ 343 h 377"/>
                <a:gd name="T96" fmla="*/ 15 w 159"/>
                <a:gd name="T97" fmla="*/ 34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377">
                  <a:moveTo>
                    <a:pt x="0" y="12"/>
                  </a:moveTo>
                  <a:lnTo>
                    <a:pt x="0" y="12"/>
                  </a:lnTo>
                  <a:lnTo>
                    <a:pt x="9" y="8"/>
                  </a:lnTo>
                  <a:lnTo>
                    <a:pt x="17" y="5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9" y="2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51" y="5"/>
                  </a:lnTo>
                  <a:lnTo>
                    <a:pt x="54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9"/>
                  </a:lnTo>
                  <a:lnTo>
                    <a:pt x="70" y="15"/>
                  </a:lnTo>
                  <a:lnTo>
                    <a:pt x="70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9" y="26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97" y="20"/>
                  </a:lnTo>
                  <a:lnTo>
                    <a:pt x="98" y="17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100" y="9"/>
                  </a:lnTo>
                  <a:lnTo>
                    <a:pt x="103" y="6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6"/>
                  </a:lnTo>
                  <a:lnTo>
                    <a:pt x="113" y="11"/>
                  </a:lnTo>
                  <a:lnTo>
                    <a:pt x="113" y="15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9"/>
                  </a:lnTo>
                  <a:lnTo>
                    <a:pt x="113" y="33"/>
                  </a:lnTo>
                  <a:lnTo>
                    <a:pt x="116" y="37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23" y="39"/>
                  </a:lnTo>
                  <a:lnTo>
                    <a:pt x="126" y="39"/>
                  </a:lnTo>
                  <a:lnTo>
                    <a:pt x="131" y="3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5" y="48"/>
                  </a:lnTo>
                  <a:lnTo>
                    <a:pt x="137" y="55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1" y="76"/>
                  </a:lnTo>
                  <a:lnTo>
                    <a:pt x="144" y="80"/>
                  </a:lnTo>
                  <a:lnTo>
                    <a:pt x="147" y="83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47" y="89"/>
                  </a:lnTo>
                  <a:lnTo>
                    <a:pt x="141" y="9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28" y="109"/>
                  </a:lnTo>
                  <a:lnTo>
                    <a:pt x="126" y="113"/>
                  </a:lnTo>
                  <a:lnTo>
                    <a:pt x="123" y="122"/>
                  </a:lnTo>
                  <a:lnTo>
                    <a:pt x="123" y="122"/>
                  </a:lnTo>
                  <a:lnTo>
                    <a:pt x="122" y="132"/>
                  </a:lnTo>
                  <a:lnTo>
                    <a:pt x="119" y="140"/>
                  </a:lnTo>
                  <a:lnTo>
                    <a:pt x="117" y="147"/>
                  </a:lnTo>
                  <a:lnTo>
                    <a:pt x="119" y="15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7"/>
                  </a:lnTo>
                  <a:lnTo>
                    <a:pt x="122" y="160"/>
                  </a:lnTo>
                  <a:lnTo>
                    <a:pt x="122" y="163"/>
                  </a:lnTo>
                  <a:lnTo>
                    <a:pt x="122" y="168"/>
                  </a:lnTo>
                  <a:lnTo>
                    <a:pt x="129" y="174"/>
                  </a:lnTo>
                  <a:lnTo>
                    <a:pt x="129" y="174"/>
                  </a:lnTo>
                  <a:lnTo>
                    <a:pt x="138" y="181"/>
                  </a:lnTo>
                  <a:lnTo>
                    <a:pt x="149" y="186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6" y="192"/>
                  </a:lnTo>
                  <a:lnTo>
                    <a:pt x="146" y="192"/>
                  </a:lnTo>
                  <a:lnTo>
                    <a:pt x="134" y="192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6" y="197"/>
                  </a:lnTo>
                  <a:lnTo>
                    <a:pt x="125" y="209"/>
                  </a:lnTo>
                  <a:lnTo>
                    <a:pt x="122" y="223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5" y="249"/>
                  </a:lnTo>
                  <a:lnTo>
                    <a:pt x="123" y="261"/>
                  </a:lnTo>
                  <a:lnTo>
                    <a:pt x="122" y="270"/>
                  </a:lnTo>
                  <a:lnTo>
                    <a:pt x="120" y="273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0" y="277"/>
                  </a:lnTo>
                  <a:lnTo>
                    <a:pt x="104" y="277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95" y="270"/>
                  </a:lnTo>
                  <a:lnTo>
                    <a:pt x="92" y="269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77" y="276"/>
                  </a:lnTo>
                  <a:lnTo>
                    <a:pt x="74" y="276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67" y="269"/>
                  </a:lnTo>
                  <a:lnTo>
                    <a:pt x="64" y="266"/>
                  </a:lnTo>
                  <a:lnTo>
                    <a:pt x="63" y="266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7"/>
                  </a:lnTo>
                  <a:lnTo>
                    <a:pt x="58" y="270"/>
                  </a:lnTo>
                  <a:lnTo>
                    <a:pt x="58" y="274"/>
                  </a:lnTo>
                  <a:lnTo>
                    <a:pt x="60" y="280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58" y="294"/>
                  </a:lnTo>
                  <a:lnTo>
                    <a:pt x="58" y="300"/>
                  </a:lnTo>
                  <a:lnTo>
                    <a:pt x="60" y="304"/>
                  </a:lnTo>
                  <a:lnTo>
                    <a:pt x="64" y="307"/>
                  </a:lnTo>
                  <a:lnTo>
                    <a:pt x="64" y="307"/>
                  </a:lnTo>
                  <a:lnTo>
                    <a:pt x="67" y="310"/>
                  </a:lnTo>
                  <a:lnTo>
                    <a:pt x="70" y="313"/>
                  </a:lnTo>
                  <a:lnTo>
                    <a:pt x="70" y="314"/>
                  </a:lnTo>
                  <a:lnTo>
                    <a:pt x="69" y="314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51" y="319"/>
                  </a:lnTo>
                  <a:lnTo>
                    <a:pt x="36" y="322"/>
                  </a:lnTo>
                  <a:lnTo>
                    <a:pt x="21" y="328"/>
                  </a:lnTo>
                  <a:lnTo>
                    <a:pt x="17" y="329"/>
                  </a:lnTo>
                  <a:lnTo>
                    <a:pt x="14" y="332"/>
                  </a:lnTo>
                  <a:lnTo>
                    <a:pt x="14" y="332"/>
                  </a:lnTo>
                  <a:lnTo>
                    <a:pt x="11" y="337"/>
                  </a:lnTo>
                  <a:lnTo>
                    <a:pt x="9" y="343"/>
                  </a:lnTo>
                  <a:lnTo>
                    <a:pt x="12" y="346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36" y="359"/>
                  </a:lnTo>
                  <a:lnTo>
                    <a:pt x="39" y="37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2" name="Freeform 151">
              <a:extLst>
                <a:ext uri="{FF2B5EF4-FFF2-40B4-BE49-F238E27FC236}">
                  <a16:creationId xmlns:a16="http://schemas.microsoft.com/office/drawing/2014/main" id="{1072CA27-DFD8-C24C-B516-109D816A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388" y="5564188"/>
              <a:ext cx="660400" cy="674687"/>
            </a:xfrm>
            <a:custGeom>
              <a:avLst/>
              <a:gdLst>
                <a:gd name="T0" fmla="*/ 413 w 416"/>
                <a:gd name="T1" fmla="*/ 13 h 425"/>
                <a:gd name="T2" fmla="*/ 415 w 416"/>
                <a:gd name="T3" fmla="*/ 28 h 425"/>
                <a:gd name="T4" fmla="*/ 410 w 416"/>
                <a:gd name="T5" fmla="*/ 41 h 425"/>
                <a:gd name="T6" fmla="*/ 412 w 416"/>
                <a:gd name="T7" fmla="*/ 56 h 425"/>
                <a:gd name="T8" fmla="*/ 412 w 416"/>
                <a:gd name="T9" fmla="*/ 81 h 425"/>
                <a:gd name="T10" fmla="*/ 396 w 416"/>
                <a:gd name="T11" fmla="*/ 92 h 425"/>
                <a:gd name="T12" fmla="*/ 375 w 416"/>
                <a:gd name="T13" fmla="*/ 110 h 425"/>
                <a:gd name="T14" fmla="*/ 367 w 416"/>
                <a:gd name="T15" fmla="*/ 126 h 425"/>
                <a:gd name="T16" fmla="*/ 370 w 416"/>
                <a:gd name="T17" fmla="*/ 141 h 425"/>
                <a:gd name="T18" fmla="*/ 367 w 416"/>
                <a:gd name="T19" fmla="*/ 163 h 425"/>
                <a:gd name="T20" fmla="*/ 351 w 416"/>
                <a:gd name="T21" fmla="*/ 187 h 425"/>
                <a:gd name="T22" fmla="*/ 335 w 416"/>
                <a:gd name="T23" fmla="*/ 187 h 425"/>
                <a:gd name="T24" fmla="*/ 320 w 416"/>
                <a:gd name="T25" fmla="*/ 178 h 425"/>
                <a:gd name="T26" fmla="*/ 296 w 416"/>
                <a:gd name="T27" fmla="*/ 176 h 425"/>
                <a:gd name="T28" fmla="*/ 271 w 416"/>
                <a:gd name="T29" fmla="*/ 188 h 425"/>
                <a:gd name="T30" fmla="*/ 271 w 416"/>
                <a:gd name="T31" fmla="*/ 204 h 425"/>
                <a:gd name="T32" fmla="*/ 283 w 416"/>
                <a:gd name="T33" fmla="*/ 218 h 425"/>
                <a:gd name="T34" fmla="*/ 283 w 416"/>
                <a:gd name="T35" fmla="*/ 228 h 425"/>
                <a:gd name="T36" fmla="*/ 273 w 416"/>
                <a:gd name="T37" fmla="*/ 255 h 425"/>
                <a:gd name="T38" fmla="*/ 271 w 416"/>
                <a:gd name="T39" fmla="*/ 280 h 425"/>
                <a:gd name="T40" fmla="*/ 273 w 416"/>
                <a:gd name="T41" fmla="*/ 299 h 425"/>
                <a:gd name="T42" fmla="*/ 285 w 416"/>
                <a:gd name="T43" fmla="*/ 318 h 425"/>
                <a:gd name="T44" fmla="*/ 293 w 416"/>
                <a:gd name="T45" fmla="*/ 327 h 425"/>
                <a:gd name="T46" fmla="*/ 293 w 416"/>
                <a:gd name="T47" fmla="*/ 348 h 425"/>
                <a:gd name="T48" fmla="*/ 293 w 416"/>
                <a:gd name="T49" fmla="*/ 364 h 425"/>
                <a:gd name="T50" fmla="*/ 310 w 416"/>
                <a:gd name="T51" fmla="*/ 358 h 425"/>
                <a:gd name="T52" fmla="*/ 323 w 416"/>
                <a:gd name="T53" fmla="*/ 351 h 425"/>
                <a:gd name="T54" fmla="*/ 329 w 416"/>
                <a:gd name="T55" fmla="*/ 355 h 425"/>
                <a:gd name="T56" fmla="*/ 304 w 416"/>
                <a:gd name="T57" fmla="*/ 382 h 425"/>
                <a:gd name="T58" fmla="*/ 267 w 416"/>
                <a:gd name="T59" fmla="*/ 407 h 425"/>
                <a:gd name="T60" fmla="*/ 239 w 416"/>
                <a:gd name="T61" fmla="*/ 397 h 425"/>
                <a:gd name="T62" fmla="*/ 231 w 416"/>
                <a:gd name="T63" fmla="*/ 410 h 425"/>
                <a:gd name="T64" fmla="*/ 218 w 416"/>
                <a:gd name="T65" fmla="*/ 425 h 425"/>
                <a:gd name="T66" fmla="*/ 197 w 416"/>
                <a:gd name="T67" fmla="*/ 421 h 425"/>
                <a:gd name="T68" fmla="*/ 184 w 416"/>
                <a:gd name="T69" fmla="*/ 401 h 425"/>
                <a:gd name="T70" fmla="*/ 179 w 416"/>
                <a:gd name="T71" fmla="*/ 372 h 425"/>
                <a:gd name="T72" fmla="*/ 169 w 416"/>
                <a:gd name="T73" fmla="*/ 360 h 425"/>
                <a:gd name="T74" fmla="*/ 165 w 416"/>
                <a:gd name="T75" fmla="*/ 361 h 425"/>
                <a:gd name="T76" fmla="*/ 157 w 416"/>
                <a:gd name="T77" fmla="*/ 351 h 425"/>
                <a:gd name="T78" fmla="*/ 159 w 416"/>
                <a:gd name="T79" fmla="*/ 326 h 425"/>
                <a:gd name="T80" fmla="*/ 159 w 416"/>
                <a:gd name="T81" fmla="*/ 311 h 425"/>
                <a:gd name="T82" fmla="*/ 117 w 416"/>
                <a:gd name="T83" fmla="*/ 317 h 425"/>
                <a:gd name="T84" fmla="*/ 110 w 416"/>
                <a:gd name="T85" fmla="*/ 320 h 425"/>
                <a:gd name="T86" fmla="*/ 86 w 416"/>
                <a:gd name="T87" fmla="*/ 310 h 425"/>
                <a:gd name="T88" fmla="*/ 76 w 416"/>
                <a:gd name="T89" fmla="*/ 311 h 425"/>
                <a:gd name="T90" fmla="*/ 43 w 416"/>
                <a:gd name="T91" fmla="*/ 280 h 425"/>
                <a:gd name="T92" fmla="*/ 54 w 416"/>
                <a:gd name="T93" fmla="*/ 264 h 425"/>
                <a:gd name="T94" fmla="*/ 70 w 416"/>
                <a:gd name="T95" fmla="*/ 240 h 425"/>
                <a:gd name="T96" fmla="*/ 70 w 416"/>
                <a:gd name="T97" fmla="*/ 234 h 425"/>
                <a:gd name="T98" fmla="*/ 51 w 416"/>
                <a:gd name="T99" fmla="*/ 233 h 425"/>
                <a:gd name="T100" fmla="*/ 34 w 416"/>
                <a:gd name="T101" fmla="*/ 209 h 425"/>
                <a:gd name="T102" fmla="*/ 39 w 416"/>
                <a:gd name="T103" fmla="*/ 198 h 425"/>
                <a:gd name="T104" fmla="*/ 55 w 416"/>
                <a:gd name="T105" fmla="*/ 182 h 425"/>
                <a:gd name="T106" fmla="*/ 61 w 416"/>
                <a:gd name="T107" fmla="*/ 163 h 425"/>
                <a:gd name="T108" fmla="*/ 65 w 416"/>
                <a:gd name="T109" fmla="*/ 153 h 425"/>
                <a:gd name="T110" fmla="*/ 40 w 416"/>
                <a:gd name="T111" fmla="*/ 121 h 425"/>
                <a:gd name="T112" fmla="*/ 24 w 416"/>
                <a:gd name="T113" fmla="*/ 108 h 425"/>
                <a:gd name="T114" fmla="*/ 15 w 416"/>
                <a:gd name="T115" fmla="*/ 116 h 425"/>
                <a:gd name="T116" fmla="*/ 5 w 416"/>
                <a:gd name="T117" fmla="*/ 105 h 425"/>
                <a:gd name="T118" fmla="*/ 2 w 416"/>
                <a:gd name="T119" fmla="*/ 93 h 425"/>
                <a:gd name="T120" fmla="*/ 12 w 416"/>
                <a:gd name="T121" fmla="*/ 86 h 425"/>
                <a:gd name="T122" fmla="*/ 6 w 416"/>
                <a:gd name="T123" fmla="*/ 7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6" h="425">
                  <a:moveTo>
                    <a:pt x="416" y="0"/>
                  </a:moveTo>
                  <a:lnTo>
                    <a:pt x="416" y="0"/>
                  </a:lnTo>
                  <a:lnTo>
                    <a:pt x="415" y="7"/>
                  </a:lnTo>
                  <a:lnTo>
                    <a:pt x="413" y="13"/>
                  </a:lnTo>
                  <a:lnTo>
                    <a:pt x="413" y="19"/>
                  </a:lnTo>
                  <a:lnTo>
                    <a:pt x="413" y="19"/>
                  </a:lnTo>
                  <a:lnTo>
                    <a:pt x="415" y="24"/>
                  </a:lnTo>
                  <a:lnTo>
                    <a:pt x="415" y="28"/>
                  </a:lnTo>
                  <a:lnTo>
                    <a:pt x="415" y="33"/>
                  </a:lnTo>
                  <a:lnTo>
                    <a:pt x="413" y="37"/>
                  </a:lnTo>
                  <a:lnTo>
                    <a:pt x="413" y="37"/>
                  </a:lnTo>
                  <a:lnTo>
                    <a:pt x="410" y="41"/>
                  </a:lnTo>
                  <a:lnTo>
                    <a:pt x="409" y="44"/>
                  </a:lnTo>
                  <a:lnTo>
                    <a:pt x="409" y="49"/>
                  </a:lnTo>
                  <a:lnTo>
                    <a:pt x="412" y="56"/>
                  </a:lnTo>
                  <a:lnTo>
                    <a:pt x="412" y="56"/>
                  </a:lnTo>
                  <a:lnTo>
                    <a:pt x="413" y="65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2" y="81"/>
                  </a:lnTo>
                  <a:lnTo>
                    <a:pt x="410" y="84"/>
                  </a:lnTo>
                  <a:lnTo>
                    <a:pt x="406" y="87"/>
                  </a:lnTo>
                  <a:lnTo>
                    <a:pt x="406" y="87"/>
                  </a:lnTo>
                  <a:lnTo>
                    <a:pt x="396" y="92"/>
                  </a:lnTo>
                  <a:lnTo>
                    <a:pt x="387" y="98"/>
                  </a:lnTo>
                  <a:lnTo>
                    <a:pt x="379" y="105"/>
                  </a:lnTo>
                  <a:lnTo>
                    <a:pt x="375" y="110"/>
                  </a:lnTo>
                  <a:lnTo>
                    <a:pt x="375" y="110"/>
                  </a:lnTo>
                  <a:lnTo>
                    <a:pt x="373" y="114"/>
                  </a:lnTo>
                  <a:lnTo>
                    <a:pt x="370" y="118"/>
                  </a:lnTo>
                  <a:lnTo>
                    <a:pt x="369" y="123"/>
                  </a:lnTo>
                  <a:lnTo>
                    <a:pt x="367" y="126"/>
                  </a:lnTo>
                  <a:lnTo>
                    <a:pt x="367" y="126"/>
                  </a:lnTo>
                  <a:lnTo>
                    <a:pt x="370" y="132"/>
                  </a:lnTo>
                  <a:lnTo>
                    <a:pt x="372" y="135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69" y="151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5" y="172"/>
                  </a:lnTo>
                  <a:lnTo>
                    <a:pt x="359" y="181"/>
                  </a:lnTo>
                  <a:lnTo>
                    <a:pt x="356" y="185"/>
                  </a:lnTo>
                  <a:lnTo>
                    <a:pt x="351" y="187"/>
                  </a:lnTo>
                  <a:lnTo>
                    <a:pt x="347" y="190"/>
                  </a:lnTo>
                  <a:lnTo>
                    <a:pt x="342" y="190"/>
                  </a:lnTo>
                  <a:lnTo>
                    <a:pt x="342" y="190"/>
                  </a:lnTo>
                  <a:lnTo>
                    <a:pt x="335" y="187"/>
                  </a:lnTo>
                  <a:lnTo>
                    <a:pt x="329" y="184"/>
                  </a:lnTo>
                  <a:lnTo>
                    <a:pt x="325" y="181"/>
                  </a:lnTo>
                  <a:lnTo>
                    <a:pt x="320" y="178"/>
                  </a:lnTo>
                  <a:lnTo>
                    <a:pt x="320" y="178"/>
                  </a:lnTo>
                  <a:lnTo>
                    <a:pt x="314" y="175"/>
                  </a:lnTo>
                  <a:lnTo>
                    <a:pt x="310" y="173"/>
                  </a:lnTo>
                  <a:lnTo>
                    <a:pt x="304" y="173"/>
                  </a:lnTo>
                  <a:lnTo>
                    <a:pt x="296" y="176"/>
                  </a:lnTo>
                  <a:lnTo>
                    <a:pt x="296" y="176"/>
                  </a:lnTo>
                  <a:lnTo>
                    <a:pt x="280" y="182"/>
                  </a:lnTo>
                  <a:lnTo>
                    <a:pt x="274" y="184"/>
                  </a:lnTo>
                  <a:lnTo>
                    <a:pt x="271" y="188"/>
                  </a:lnTo>
                  <a:lnTo>
                    <a:pt x="271" y="188"/>
                  </a:lnTo>
                  <a:lnTo>
                    <a:pt x="270" y="193"/>
                  </a:lnTo>
                  <a:lnTo>
                    <a:pt x="270" y="200"/>
                  </a:lnTo>
                  <a:lnTo>
                    <a:pt x="271" y="204"/>
                  </a:lnTo>
                  <a:lnTo>
                    <a:pt x="274" y="209"/>
                  </a:lnTo>
                  <a:lnTo>
                    <a:pt x="274" y="209"/>
                  </a:lnTo>
                  <a:lnTo>
                    <a:pt x="279" y="213"/>
                  </a:lnTo>
                  <a:lnTo>
                    <a:pt x="283" y="218"/>
                  </a:lnTo>
                  <a:lnTo>
                    <a:pt x="285" y="222"/>
                  </a:lnTo>
                  <a:lnTo>
                    <a:pt x="285" y="225"/>
                  </a:lnTo>
                  <a:lnTo>
                    <a:pt x="283" y="228"/>
                  </a:lnTo>
                  <a:lnTo>
                    <a:pt x="283" y="228"/>
                  </a:lnTo>
                  <a:lnTo>
                    <a:pt x="277" y="237"/>
                  </a:lnTo>
                  <a:lnTo>
                    <a:pt x="276" y="243"/>
                  </a:lnTo>
                  <a:lnTo>
                    <a:pt x="276" y="243"/>
                  </a:lnTo>
                  <a:lnTo>
                    <a:pt x="273" y="255"/>
                  </a:lnTo>
                  <a:lnTo>
                    <a:pt x="271" y="264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1" y="280"/>
                  </a:lnTo>
                  <a:lnTo>
                    <a:pt x="273" y="287"/>
                  </a:lnTo>
                  <a:lnTo>
                    <a:pt x="273" y="293"/>
                  </a:lnTo>
                  <a:lnTo>
                    <a:pt x="273" y="299"/>
                  </a:lnTo>
                  <a:lnTo>
                    <a:pt x="273" y="299"/>
                  </a:lnTo>
                  <a:lnTo>
                    <a:pt x="273" y="304"/>
                  </a:lnTo>
                  <a:lnTo>
                    <a:pt x="274" y="310"/>
                  </a:lnTo>
                  <a:lnTo>
                    <a:pt x="279" y="314"/>
                  </a:lnTo>
                  <a:lnTo>
                    <a:pt x="285" y="318"/>
                  </a:lnTo>
                  <a:lnTo>
                    <a:pt x="285" y="318"/>
                  </a:lnTo>
                  <a:lnTo>
                    <a:pt x="290" y="323"/>
                  </a:lnTo>
                  <a:lnTo>
                    <a:pt x="293" y="327"/>
                  </a:lnTo>
                  <a:lnTo>
                    <a:pt x="293" y="327"/>
                  </a:lnTo>
                  <a:lnTo>
                    <a:pt x="295" y="333"/>
                  </a:lnTo>
                  <a:lnTo>
                    <a:pt x="295" y="339"/>
                  </a:lnTo>
                  <a:lnTo>
                    <a:pt x="295" y="339"/>
                  </a:lnTo>
                  <a:lnTo>
                    <a:pt x="293" y="348"/>
                  </a:lnTo>
                  <a:lnTo>
                    <a:pt x="292" y="355"/>
                  </a:lnTo>
                  <a:lnTo>
                    <a:pt x="292" y="361"/>
                  </a:lnTo>
                  <a:lnTo>
                    <a:pt x="292" y="363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8" y="366"/>
                  </a:lnTo>
                  <a:lnTo>
                    <a:pt x="302" y="364"/>
                  </a:lnTo>
                  <a:lnTo>
                    <a:pt x="310" y="358"/>
                  </a:lnTo>
                  <a:lnTo>
                    <a:pt x="310" y="358"/>
                  </a:lnTo>
                  <a:lnTo>
                    <a:pt x="314" y="355"/>
                  </a:lnTo>
                  <a:lnTo>
                    <a:pt x="320" y="352"/>
                  </a:lnTo>
                  <a:lnTo>
                    <a:pt x="323" y="351"/>
                  </a:lnTo>
                  <a:lnTo>
                    <a:pt x="326" y="351"/>
                  </a:lnTo>
                  <a:lnTo>
                    <a:pt x="328" y="352"/>
                  </a:lnTo>
                  <a:lnTo>
                    <a:pt x="329" y="355"/>
                  </a:lnTo>
                  <a:lnTo>
                    <a:pt x="329" y="355"/>
                  </a:lnTo>
                  <a:lnTo>
                    <a:pt x="329" y="357"/>
                  </a:lnTo>
                  <a:lnTo>
                    <a:pt x="328" y="360"/>
                  </a:lnTo>
                  <a:lnTo>
                    <a:pt x="322" y="367"/>
                  </a:lnTo>
                  <a:lnTo>
                    <a:pt x="304" y="382"/>
                  </a:lnTo>
                  <a:lnTo>
                    <a:pt x="285" y="397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67" y="407"/>
                  </a:lnTo>
                  <a:lnTo>
                    <a:pt x="259" y="406"/>
                  </a:lnTo>
                  <a:lnTo>
                    <a:pt x="248" y="400"/>
                  </a:lnTo>
                  <a:lnTo>
                    <a:pt x="243" y="398"/>
                  </a:lnTo>
                  <a:lnTo>
                    <a:pt x="239" y="397"/>
                  </a:lnTo>
                  <a:lnTo>
                    <a:pt x="236" y="398"/>
                  </a:lnTo>
                  <a:lnTo>
                    <a:pt x="233" y="403"/>
                  </a:lnTo>
                  <a:lnTo>
                    <a:pt x="233" y="403"/>
                  </a:lnTo>
                  <a:lnTo>
                    <a:pt x="231" y="410"/>
                  </a:lnTo>
                  <a:lnTo>
                    <a:pt x="227" y="416"/>
                  </a:lnTo>
                  <a:lnTo>
                    <a:pt x="222" y="422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3" y="425"/>
                  </a:lnTo>
                  <a:lnTo>
                    <a:pt x="209" y="425"/>
                  </a:lnTo>
                  <a:lnTo>
                    <a:pt x="203" y="424"/>
                  </a:lnTo>
                  <a:lnTo>
                    <a:pt x="197" y="421"/>
                  </a:lnTo>
                  <a:lnTo>
                    <a:pt x="193" y="418"/>
                  </a:lnTo>
                  <a:lnTo>
                    <a:pt x="188" y="413"/>
                  </a:lnTo>
                  <a:lnTo>
                    <a:pt x="185" y="407"/>
                  </a:lnTo>
                  <a:lnTo>
                    <a:pt x="184" y="401"/>
                  </a:lnTo>
                  <a:lnTo>
                    <a:pt x="184" y="401"/>
                  </a:lnTo>
                  <a:lnTo>
                    <a:pt x="184" y="391"/>
                  </a:lnTo>
                  <a:lnTo>
                    <a:pt x="182" y="381"/>
                  </a:lnTo>
                  <a:lnTo>
                    <a:pt x="179" y="372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3"/>
                  </a:lnTo>
                  <a:lnTo>
                    <a:pt x="169" y="360"/>
                  </a:lnTo>
                  <a:lnTo>
                    <a:pt x="166" y="360"/>
                  </a:lnTo>
                  <a:lnTo>
                    <a:pt x="165" y="360"/>
                  </a:lnTo>
                  <a:lnTo>
                    <a:pt x="165" y="361"/>
                  </a:lnTo>
                  <a:lnTo>
                    <a:pt x="165" y="361"/>
                  </a:lnTo>
                  <a:lnTo>
                    <a:pt x="165" y="364"/>
                  </a:lnTo>
                  <a:lnTo>
                    <a:pt x="163" y="363"/>
                  </a:lnTo>
                  <a:lnTo>
                    <a:pt x="160" y="358"/>
                  </a:lnTo>
                  <a:lnTo>
                    <a:pt x="157" y="351"/>
                  </a:lnTo>
                  <a:lnTo>
                    <a:pt x="156" y="344"/>
                  </a:lnTo>
                  <a:lnTo>
                    <a:pt x="156" y="344"/>
                  </a:lnTo>
                  <a:lnTo>
                    <a:pt x="157" y="336"/>
                  </a:lnTo>
                  <a:lnTo>
                    <a:pt x="159" y="326"/>
                  </a:lnTo>
                  <a:lnTo>
                    <a:pt x="160" y="317"/>
                  </a:lnTo>
                  <a:lnTo>
                    <a:pt x="160" y="312"/>
                  </a:lnTo>
                  <a:lnTo>
                    <a:pt x="159" y="311"/>
                  </a:lnTo>
                  <a:lnTo>
                    <a:pt x="159" y="311"/>
                  </a:lnTo>
                  <a:lnTo>
                    <a:pt x="141" y="287"/>
                  </a:lnTo>
                  <a:lnTo>
                    <a:pt x="141" y="287"/>
                  </a:lnTo>
                  <a:lnTo>
                    <a:pt x="128" y="305"/>
                  </a:lnTo>
                  <a:lnTo>
                    <a:pt x="117" y="317"/>
                  </a:lnTo>
                  <a:lnTo>
                    <a:pt x="113" y="320"/>
                  </a:lnTo>
                  <a:lnTo>
                    <a:pt x="111" y="320"/>
                  </a:lnTo>
                  <a:lnTo>
                    <a:pt x="110" y="320"/>
                  </a:lnTo>
                  <a:lnTo>
                    <a:pt x="110" y="320"/>
                  </a:lnTo>
                  <a:lnTo>
                    <a:pt x="99" y="311"/>
                  </a:lnTo>
                  <a:lnTo>
                    <a:pt x="91" y="305"/>
                  </a:lnTo>
                  <a:lnTo>
                    <a:pt x="91" y="305"/>
                  </a:lnTo>
                  <a:lnTo>
                    <a:pt x="86" y="310"/>
                  </a:lnTo>
                  <a:lnTo>
                    <a:pt x="82" y="312"/>
                  </a:lnTo>
                  <a:lnTo>
                    <a:pt x="79" y="312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65" y="305"/>
                  </a:lnTo>
                  <a:lnTo>
                    <a:pt x="55" y="295"/>
                  </a:lnTo>
                  <a:lnTo>
                    <a:pt x="43" y="280"/>
                  </a:lnTo>
                  <a:lnTo>
                    <a:pt x="43" y="280"/>
                  </a:lnTo>
                  <a:lnTo>
                    <a:pt x="43" y="278"/>
                  </a:lnTo>
                  <a:lnTo>
                    <a:pt x="45" y="275"/>
                  </a:lnTo>
                  <a:lnTo>
                    <a:pt x="48" y="270"/>
                  </a:lnTo>
                  <a:lnTo>
                    <a:pt x="54" y="264"/>
                  </a:lnTo>
                  <a:lnTo>
                    <a:pt x="58" y="258"/>
                  </a:lnTo>
                  <a:lnTo>
                    <a:pt x="58" y="258"/>
                  </a:lnTo>
                  <a:lnTo>
                    <a:pt x="67" y="244"/>
                  </a:lnTo>
                  <a:lnTo>
                    <a:pt x="70" y="240"/>
                  </a:lnTo>
                  <a:lnTo>
                    <a:pt x="71" y="237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67" y="234"/>
                  </a:lnTo>
                  <a:lnTo>
                    <a:pt x="62" y="234"/>
                  </a:lnTo>
                  <a:lnTo>
                    <a:pt x="57" y="234"/>
                  </a:lnTo>
                  <a:lnTo>
                    <a:pt x="51" y="233"/>
                  </a:lnTo>
                  <a:lnTo>
                    <a:pt x="51" y="233"/>
                  </a:lnTo>
                  <a:lnTo>
                    <a:pt x="46" y="228"/>
                  </a:lnTo>
                  <a:lnTo>
                    <a:pt x="42" y="222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4" y="206"/>
                  </a:lnTo>
                  <a:lnTo>
                    <a:pt x="34" y="203"/>
                  </a:lnTo>
                  <a:lnTo>
                    <a:pt x="39" y="198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4" y="187"/>
                  </a:lnTo>
                  <a:lnTo>
                    <a:pt x="55" y="182"/>
                  </a:lnTo>
                  <a:lnTo>
                    <a:pt x="57" y="172"/>
                  </a:lnTo>
                  <a:lnTo>
                    <a:pt x="57" y="172"/>
                  </a:lnTo>
                  <a:lnTo>
                    <a:pt x="58" y="166"/>
                  </a:lnTo>
                  <a:lnTo>
                    <a:pt x="61" y="163"/>
                  </a:lnTo>
                  <a:lnTo>
                    <a:pt x="64" y="160"/>
                  </a:lnTo>
                  <a:lnTo>
                    <a:pt x="65" y="157"/>
                  </a:lnTo>
                  <a:lnTo>
                    <a:pt x="65" y="157"/>
                  </a:lnTo>
                  <a:lnTo>
                    <a:pt x="65" y="153"/>
                  </a:lnTo>
                  <a:lnTo>
                    <a:pt x="62" y="14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40" y="121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25" y="108"/>
                  </a:lnTo>
                  <a:lnTo>
                    <a:pt x="24" y="108"/>
                  </a:lnTo>
                  <a:lnTo>
                    <a:pt x="22" y="110"/>
                  </a:lnTo>
                  <a:lnTo>
                    <a:pt x="20" y="113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2" y="116"/>
                  </a:lnTo>
                  <a:lnTo>
                    <a:pt x="11" y="116"/>
                  </a:lnTo>
                  <a:lnTo>
                    <a:pt x="8" y="111"/>
                  </a:lnTo>
                  <a:lnTo>
                    <a:pt x="5" y="105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0" y="95"/>
                  </a:lnTo>
                  <a:lnTo>
                    <a:pt x="2" y="93"/>
                  </a:lnTo>
                  <a:lnTo>
                    <a:pt x="6" y="90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2" y="86"/>
                  </a:lnTo>
                  <a:lnTo>
                    <a:pt x="12" y="83"/>
                  </a:lnTo>
                  <a:lnTo>
                    <a:pt x="11" y="80"/>
                  </a:lnTo>
                  <a:lnTo>
                    <a:pt x="8" y="76"/>
                  </a:lnTo>
                  <a:lnTo>
                    <a:pt x="6" y="7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3" name="Freeform 152">
              <a:extLst>
                <a:ext uri="{FF2B5EF4-FFF2-40B4-BE49-F238E27FC236}">
                  <a16:creationId xmlns:a16="http://schemas.microsoft.com/office/drawing/2014/main" id="{C1F460CB-ACB2-9B4C-8177-081FC19F8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5822950"/>
              <a:ext cx="519113" cy="333375"/>
            </a:xfrm>
            <a:custGeom>
              <a:avLst/>
              <a:gdLst>
                <a:gd name="T0" fmla="*/ 3 w 327"/>
                <a:gd name="T1" fmla="*/ 1 h 210"/>
                <a:gd name="T2" fmla="*/ 0 w 327"/>
                <a:gd name="T3" fmla="*/ 22 h 210"/>
                <a:gd name="T4" fmla="*/ 7 w 327"/>
                <a:gd name="T5" fmla="*/ 32 h 210"/>
                <a:gd name="T6" fmla="*/ 12 w 327"/>
                <a:gd name="T7" fmla="*/ 46 h 210"/>
                <a:gd name="T8" fmla="*/ 1 w 327"/>
                <a:gd name="T9" fmla="*/ 55 h 210"/>
                <a:gd name="T10" fmla="*/ 3 w 327"/>
                <a:gd name="T11" fmla="*/ 62 h 210"/>
                <a:gd name="T12" fmla="*/ 12 w 327"/>
                <a:gd name="T13" fmla="*/ 65 h 210"/>
                <a:gd name="T14" fmla="*/ 18 w 327"/>
                <a:gd name="T15" fmla="*/ 70 h 210"/>
                <a:gd name="T16" fmla="*/ 15 w 327"/>
                <a:gd name="T17" fmla="*/ 75 h 210"/>
                <a:gd name="T18" fmla="*/ 18 w 327"/>
                <a:gd name="T19" fmla="*/ 83 h 210"/>
                <a:gd name="T20" fmla="*/ 31 w 327"/>
                <a:gd name="T21" fmla="*/ 95 h 210"/>
                <a:gd name="T22" fmla="*/ 40 w 327"/>
                <a:gd name="T23" fmla="*/ 104 h 210"/>
                <a:gd name="T24" fmla="*/ 30 w 327"/>
                <a:gd name="T25" fmla="*/ 114 h 210"/>
                <a:gd name="T26" fmla="*/ 30 w 327"/>
                <a:gd name="T27" fmla="*/ 120 h 210"/>
                <a:gd name="T28" fmla="*/ 31 w 327"/>
                <a:gd name="T29" fmla="*/ 135 h 210"/>
                <a:gd name="T30" fmla="*/ 41 w 327"/>
                <a:gd name="T31" fmla="*/ 147 h 210"/>
                <a:gd name="T32" fmla="*/ 41 w 327"/>
                <a:gd name="T33" fmla="*/ 149 h 210"/>
                <a:gd name="T34" fmla="*/ 33 w 327"/>
                <a:gd name="T35" fmla="*/ 158 h 210"/>
                <a:gd name="T36" fmla="*/ 38 w 327"/>
                <a:gd name="T37" fmla="*/ 161 h 210"/>
                <a:gd name="T38" fmla="*/ 47 w 327"/>
                <a:gd name="T39" fmla="*/ 166 h 210"/>
                <a:gd name="T40" fmla="*/ 52 w 327"/>
                <a:gd name="T41" fmla="*/ 179 h 210"/>
                <a:gd name="T42" fmla="*/ 52 w 327"/>
                <a:gd name="T43" fmla="*/ 189 h 210"/>
                <a:gd name="T44" fmla="*/ 43 w 327"/>
                <a:gd name="T45" fmla="*/ 203 h 210"/>
                <a:gd name="T46" fmla="*/ 44 w 327"/>
                <a:gd name="T47" fmla="*/ 206 h 210"/>
                <a:gd name="T48" fmla="*/ 65 w 327"/>
                <a:gd name="T49" fmla="*/ 209 h 210"/>
                <a:gd name="T50" fmla="*/ 89 w 327"/>
                <a:gd name="T51" fmla="*/ 210 h 210"/>
                <a:gd name="T52" fmla="*/ 110 w 327"/>
                <a:gd name="T53" fmla="*/ 201 h 210"/>
                <a:gd name="T54" fmla="*/ 115 w 327"/>
                <a:gd name="T55" fmla="*/ 191 h 210"/>
                <a:gd name="T56" fmla="*/ 129 w 327"/>
                <a:gd name="T57" fmla="*/ 184 h 210"/>
                <a:gd name="T58" fmla="*/ 133 w 327"/>
                <a:gd name="T59" fmla="*/ 170 h 210"/>
                <a:gd name="T60" fmla="*/ 138 w 327"/>
                <a:gd name="T61" fmla="*/ 164 h 210"/>
                <a:gd name="T62" fmla="*/ 142 w 327"/>
                <a:gd name="T63" fmla="*/ 167 h 210"/>
                <a:gd name="T64" fmla="*/ 154 w 327"/>
                <a:gd name="T65" fmla="*/ 175 h 210"/>
                <a:gd name="T66" fmla="*/ 160 w 327"/>
                <a:gd name="T67" fmla="*/ 172 h 210"/>
                <a:gd name="T68" fmla="*/ 172 w 327"/>
                <a:gd name="T69" fmla="*/ 161 h 210"/>
                <a:gd name="T70" fmla="*/ 181 w 327"/>
                <a:gd name="T71" fmla="*/ 164 h 210"/>
                <a:gd name="T72" fmla="*/ 195 w 327"/>
                <a:gd name="T73" fmla="*/ 166 h 210"/>
                <a:gd name="T74" fmla="*/ 207 w 327"/>
                <a:gd name="T75" fmla="*/ 169 h 210"/>
                <a:gd name="T76" fmla="*/ 209 w 327"/>
                <a:gd name="T77" fmla="*/ 163 h 210"/>
                <a:gd name="T78" fmla="*/ 209 w 327"/>
                <a:gd name="T79" fmla="*/ 151 h 210"/>
                <a:gd name="T80" fmla="*/ 215 w 327"/>
                <a:gd name="T81" fmla="*/ 147 h 210"/>
                <a:gd name="T82" fmla="*/ 225 w 327"/>
                <a:gd name="T83" fmla="*/ 138 h 210"/>
                <a:gd name="T84" fmla="*/ 229 w 327"/>
                <a:gd name="T85" fmla="*/ 126 h 210"/>
                <a:gd name="T86" fmla="*/ 241 w 327"/>
                <a:gd name="T87" fmla="*/ 120 h 210"/>
                <a:gd name="T88" fmla="*/ 268 w 327"/>
                <a:gd name="T89" fmla="*/ 112 h 210"/>
                <a:gd name="T90" fmla="*/ 281 w 327"/>
                <a:gd name="T91" fmla="*/ 105 h 210"/>
                <a:gd name="T92" fmla="*/ 292 w 327"/>
                <a:gd name="T93" fmla="*/ 96 h 210"/>
                <a:gd name="T94" fmla="*/ 308 w 327"/>
                <a:gd name="T95" fmla="*/ 83 h 210"/>
                <a:gd name="T96" fmla="*/ 320 w 327"/>
                <a:gd name="T97" fmla="*/ 81 h 210"/>
                <a:gd name="T98" fmla="*/ 327 w 327"/>
                <a:gd name="T99" fmla="*/ 7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7" h="210">
                  <a:moveTo>
                    <a:pt x="4" y="0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7" y="32"/>
                  </a:lnTo>
                  <a:lnTo>
                    <a:pt x="12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" y="55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7" y="64"/>
                  </a:lnTo>
                  <a:lnTo>
                    <a:pt x="12" y="65"/>
                  </a:lnTo>
                  <a:lnTo>
                    <a:pt x="15" y="67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1"/>
                  </a:lnTo>
                  <a:lnTo>
                    <a:pt x="18" y="74"/>
                  </a:lnTo>
                  <a:lnTo>
                    <a:pt x="15" y="75"/>
                  </a:lnTo>
                  <a:lnTo>
                    <a:pt x="15" y="78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4" y="90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40" y="99"/>
                  </a:lnTo>
                  <a:lnTo>
                    <a:pt x="41" y="101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3" y="110"/>
                  </a:lnTo>
                  <a:lnTo>
                    <a:pt x="30" y="114"/>
                  </a:lnTo>
                  <a:lnTo>
                    <a:pt x="30" y="117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6"/>
                  </a:lnTo>
                  <a:lnTo>
                    <a:pt x="30" y="130"/>
                  </a:lnTo>
                  <a:lnTo>
                    <a:pt x="31" y="135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41" y="147"/>
                  </a:lnTo>
                  <a:lnTo>
                    <a:pt x="43" y="148"/>
                  </a:lnTo>
                  <a:lnTo>
                    <a:pt x="41" y="149"/>
                  </a:lnTo>
                  <a:lnTo>
                    <a:pt x="41" y="149"/>
                  </a:lnTo>
                  <a:lnTo>
                    <a:pt x="35" y="155"/>
                  </a:lnTo>
                  <a:lnTo>
                    <a:pt x="33" y="157"/>
                  </a:lnTo>
                  <a:lnTo>
                    <a:pt x="33" y="158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8" y="161"/>
                  </a:lnTo>
                  <a:lnTo>
                    <a:pt x="41" y="161"/>
                  </a:lnTo>
                  <a:lnTo>
                    <a:pt x="44" y="163"/>
                  </a:lnTo>
                  <a:lnTo>
                    <a:pt x="47" y="166"/>
                  </a:lnTo>
                  <a:lnTo>
                    <a:pt x="47" y="166"/>
                  </a:lnTo>
                  <a:lnTo>
                    <a:pt x="50" y="172"/>
                  </a:lnTo>
                  <a:lnTo>
                    <a:pt x="52" y="179"/>
                  </a:lnTo>
                  <a:lnTo>
                    <a:pt x="52" y="185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49" y="192"/>
                  </a:lnTo>
                  <a:lnTo>
                    <a:pt x="46" y="198"/>
                  </a:lnTo>
                  <a:lnTo>
                    <a:pt x="43" y="203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4" y="206"/>
                  </a:lnTo>
                  <a:lnTo>
                    <a:pt x="52" y="206"/>
                  </a:lnTo>
                  <a:lnTo>
                    <a:pt x="59" y="207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74" y="210"/>
                  </a:lnTo>
                  <a:lnTo>
                    <a:pt x="89" y="210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1"/>
                  </a:lnTo>
                  <a:lnTo>
                    <a:pt x="112" y="195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23" y="187"/>
                  </a:lnTo>
                  <a:lnTo>
                    <a:pt x="129" y="184"/>
                  </a:lnTo>
                  <a:lnTo>
                    <a:pt x="129" y="184"/>
                  </a:lnTo>
                  <a:lnTo>
                    <a:pt x="130" y="181"/>
                  </a:lnTo>
                  <a:lnTo>
                    <a:pt x="130" y="178"/>
                  </a:lnTo>
                  <a:lnTo>
                    <a:pt x="133" y="170"/>
                  </a:lnTo>
                  <a:lnTo>
                    <a:pt x="133" y="170"/>
                  </a:lnTo>
                  <a:lnTo>
                    <a:pt x="136" y="167"/>
                  </a:lnTo>
                  <a:lnTo>
                    <a:pt x="138" y="164"/>
                  </a:lnTo>
                  <a:lnTo>
                    <a:pt x="139" y="164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4" y="170"/>
                  </a:lnTo>
                  <a:lnTo>
                    <a:pt x="150" y="173"/>
                  </a:lnTo>
                  <a:lnTo>
                    <a:pt x="154" y="175"/>
                  </a:lnTo>
                  <a:lnTo>
                    <a:pt x="157" y="173"/>
                  </a:lnTo>
                  <a:lnTo>
                    <a:pt x="160" y="172"/>
                  </a:lnTo>
                  <a:lnTo>
                    <a:pt x="160" y="172"/>
                  </a:lnTo>
                  <a:lnTo>
                    <a:pt x="167" y="163"/>
                  </a:lnTo>
                  <a:lnTo>
                    <a:pt x="170" y="161"/>
                  </a:lnTo>
                  <a:lnTo>
                    <a:pt x="172" y="161"/>
                  </a:lnTo>
                  <a:lnTo>
                    <a:pt x="172" y="161"/>
                  </a:lnTo>
                  <a:lnTo>
                    <a:pt x="176" y="163"/>
                  </a:lnTo>
                  <a:lnTo>
                    <a:pt x="181" y="164"/>
                  </a:lnTo>
                  <a:lnTo>
                    <a:pt x="191" y="164"/>
                  </a:lnTo>
                  <a:lnTo>
                    <a:pt x="191" y="164"/>
                  </a:lnTo>
                  <a:lnTo>
                    <a:pt x="195" y="166"/>
                  </a:lnTo>
                  <a:lnTo>
                    <a:pt x="201" y="167"/>
                  </a:lnTo>
                  <a:lnTo>
                    <a:pt x="204" y="169"/>
                  </a:lnTo>
                  <a:lnTo>
                    <a:pt x="207" y="169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9" y="163"/>
                  </a:lnTo>
                  <a:lnTo>
                    <a:pt x="207" y="160"/>
                  </a:lnTo>
                  <a:lnTo>
                    <a:pt x="207" y="155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12" y="148"/>
                  </a:lnTo>
                  <a:lnTo>
                    <a:pt x="215" y="147"/>
                  </a:lnTo>
                  <a:lnTo>
                    <a:pt x="221" y="142"/>
                  </a:lnTo>
                  <a:lnTo>
                    <a:pt x="221" y="142"/>
                  </a:lnTo>
                  <a:lnTo>
                    <a:pt x="225" y="138"/>
                  </a:lnTo>
                  <a:lnTo>
                    <a:pt x="228" y="133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4" y="123"/>
                  </a:lnTo>
                  <a:lnTo>
                    <a:pt x="237" y="121"/>
                  </a:lnTo>
                  <a:lnTo>
                    <a:pt x="241" y="120"/>
                  </a:lnTo>
                  <a:lnTo>
                    <a:pt x="241" y="120"/>
                  </a:lnTo>
                  <a:lnTo>
                    <a:pt x="252" y="117"/>
                  </a:lnTo>
                  <a:lnTo>
                    <a:pt x="268" y="112"/>
                  </a:lnTo>
                  <a:lnTo>
                    <a:pt x="268" y="112"/>
                  </a:lnTo>
                  <a:lnTo>
                    <a:pt x="275" y="110"/>
                  </a:lnTo>
                  <a:lnTo>
                    <a:pt x="281" y="105"/>
                  </a:lnTo>
                  <a:lnTo>
                    <a:pt x="287" y="101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301" y="87"/>
                  </a:lnTo>
                  <a:lnTo>
                    <a:pt x="304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17" y="81"/>
                  </a:lnTo>
                  <a:lnTo>
                    <a:pt x="320" y="81"/>
                  </a:lnTo>
                  <a:lnTo>
                    <a:pt x="323" y="78"/>
                  </a:lnTo>
                  <a:lnTo>
                    <a:pt x="323" y="78"/>
                  </a:lnTo>
                  <a:lnTo>
                    <a:pt x="327" y="74"/>
                  </a:lnTo>
                  <a:lnTo>
                    <a:pt x="327" y="7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4" name="Freeform 153">
              <a:extLst>
                <a:ext uri="{FF2B5EF4-FFF2-40B4-BE49-F238E27FC236}">
                  <a16:creationId xmlns:a16="http://schemas.microsoft.com/office/drawing/2014/main" id="{6E408F39-4270-584B-A4EE-FA8237A26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763" y="5486400"/>
              <a:ext cx="488950" cy="566737"/>
            </a:xfrm>
            <a:custGeom>
              <a:avLst/>
              <a:gdLst>
                <a:gd name="T0" fmla="*/ 9 w 308"/>
                <a:gd name="T1" fmla="*/ 166 h 357"/>
                <a:gd name="T2" fmla="*/ 15 w 308"/>
                <a:gd name="T3" fmla="*/ 193 h 357"/>
                <a:gd name="T4" fmla="*/ 22 w 308"/>
                <a:gd name="T5" fmla="*/ 212 h 357"/>
                <a:gd name="T6" fmla="*/ 34 w 308"/>
                <a:gd name="T7" fmla="*/ 202 h 357"/>
                <a:gd name="T8" fmla="*/ 49 w 308"/>
                <a:gd name="T9" fmla="*/ 197 h 357"/>
                <a:gd name="T10" fmla="*/ 62 w 308"/>
                <a:gd name="T11" fmla="*/ 203 h 357"/>
                <a:gd name="T12" fmla="*/ 70 w 308"/>
                <a:gd name="T13" fmla="*/ 239 h 357"/>
                <a:gd name="T14" fmla="*/ 83 w 308"/>
                <a:gd name="T15" fmla="*/ 252 h 357"/>
                <a:gd name="T16" fmla="*/ 93 w 308"/>
                <a:gd name="T17" fmla="*/ 268 h 357"/>
                <a:gd name="T18" fmla="*/ 105 w 308"/>
                <a:gd name="T19" fmla="*/ 284 h 357"/>
                <a:gd name="T20" fmla="*/ 111 w 308"/>
                <a:gd name="T21" fmla="*/ 304 h 357"/>
                <a:gd name="T22" fmla="*/ 111 w 308"/>
                <a:gd name="T23" fmla="*/ 324 h 357"/>
                <a:gd name="T24" fmla="*/ 110 w 308"/>
                <a:gd name="T25" fmla="*/ 336 h 357"/>
                <a:gd name="T26" fmla="*/ 114 w 308"/>
                <a:gd name="T27" fmla="*/ 350 h 357"/>
                <a:gd name="T28" fmla="*/ 117 w 308"/>
                <a:gd name="T29" fmla="*/ 357 h 357"/>
                <a:gd name="T30" fmla="*/ 159 w 308"/>
                <a:gd name="T31" fmla="*/ 302 h 357"/>
                <a:gd name="T32" fmla="*/ 185 w 308"/>
                <a:gd name="T33" fmla="*/ 293 h 357"/>
                <a:gd name="T34" fmla="*/ 187 w 308"/>
                <a:gd name="T35" fmla="*/ 265 h 357"/>
                <a:gd name="T36" fmla="*/ 193 w 308"/>
                <a:gd name="T37" fmla="*/ 252 h 357"/>
                <a:gd name="T38" fmla="*/ 213 w 308"/>
                <a:gd name="T39" fmla="*/ 262 h 357"/>
                <a:gd name="T40" fmla="*/ 227 w 308"/>
                <a:gd name="T41" fmla="*/ 262 h 357"/>
                <a:gd name="T42" fmla="*/ 249 w 308"/>
                <a:gd name="T43" fmla="*/ 264 h 357"/>
                <a:gd name="T44" fmla="*/ 261 w 308"/>
                <a:gd name="T45" fmla="*/ 250 h 357"/>
                <a:gd name="T46" fmla="*/ 274 w 308"/>
                <a:gd name="T47" fmla="*/ 234 h 357"/>
                <a:gd name="T48" fmla="*/ 273 w 308"/>
                <a:gd name="T49" fmla="*/ 210 h 357"/>
                <a:gd name="T50" fmla="*/ 280 w 308"/>
                <a:gd name="T51" fmla="*/ 200 h 357"/>
                <a:gd name="T52" fmla="*/ 308 w 308"/>
                <a:gd name="T53" fmla="*/ 196 h 357"/>
                <a:gd name="T54" fmla="*/ 304 w 308"/>
                <a:gd name="T55" fmla="*/ 188 h 357"/>
                <a:gd name="T56" fmla="*/ 287 w 308"/>
                <a:gd name="T57" fmla="*/ 182 h 357"/>
                <a:gd name="T58" fmla="*/ 286 w 308"/>
                <a:gd name="T59" fmla="*/ 170 h 357"/>
                <a:gd name="T60" fmla="*/ 280 w 308"/>
                <a:gd name="T61" fmla="*/ 165 h 357"/>
                <a:gd name="T62" fmla="*/ 271 w 308"/>
                <a:gd name="T63" fmla="*/ 176 h 357"/>
                <a:gd name="T64" fmla="*/ 265 w 308"/>
                <a:gd name="T65" fmla="*/ 173 h 357"/>
                <a:gd name="T66" fmla="*/ 261 w 308"/>
                <a:gd name="T67" fmla="*/ 150 h 357"/>
                <a:gd name="T68" fmla="*/ 274 w 308"/>
                <a:gd name="T69" fmla="*/ 136 h 357"/>
                <a:gd name="T70" fmla="*/ 280 w 308"/>
                <a:gd name="T71" fmla="*/ 122 h 357"/>
                <a:gd name="T72" fmla="*/ 268 w 308"/>
                <a:gd name="T73" fmla="*/ 125 h 357"/>
                <a:gd name="T74" fmla="*/ 253 w 308"/>
                <a:gd name="T75" fmla="*/ 125 h 357"/>
                <a:gd name="T76" fmla="*/ 243 w 308"/>
                <a:gd name="T77" fmla="*/ 123 h 357"/>
                <a:gd name="T78" fmla="*/ 238 w 308"/>
                <a:gd name="T79" fmla="*/ 135 h 357"/>
                <a:gd name="T80" fmla="*/ 236 w 308"/>
                <a:gd name="T81" fmla="*/ 141 h 357"/>
                <a:gd name="T82" fmla="*/ 212 w 308"/>
                <a:gd name="T83" fmla="*/ 138 h 357"/>
                <a:gd name="T84" fmla="*/ 194 w 308"/>
                <a:gd name="T85" fmla="*/ 138 h 357"/>
                <a:gd name="T86" fmla="*/ 185 w 308"/>
                <a:gd name="T87" fmla="*/ 129 h 357"/>
                <a:gd name="T88" fmla="*/ 169 w 308"/>
                <a:gd name="T89" fmla="*/ 117 h 357"/>
                <a:gd name="T90" fmla="*/ 166 w 308"/>
                <a:gd name="T91" fmla="*/ 104 h 357"/>
                <a:gd name="T92" fmla="*/ 175 w 308"/>
                <a:gd name="T93" fmla="*/ 99 h 357"/>
                <a:gd name="T94" fmla="*/ 184 w 308"/>
                <a:gd name="T95" fmla="*/ 95 h 357"/>
                <a:gd name="T96" fmla="*/ 170 w 308"/>
                <a:gd name="T97" fmla="*/ 83 h 357"/>
                <a:gd name="T98" fmla="*/ 157 w 308"/>
                <a:gd name="T99" fmla="*/ 82 h 357"/>
                <a:gd name="T100" fmla="*/ 157 w 308"/>
                <a:gd name="T101" fmla="*/ 74 h 357"/>
                <a:gd name="T102" fmla="*/ 159 w 308"/>
                <a:gd name="T103" fmla="*/ 43 h 357"/>
                <a:gd name="T104" fmla="*/ 154 w 308"/>
                <a:gd name="T105" fmla="*/ 33 h 357"/>
                <a:gd name="T106" fmla="*/ 170 w 308"/>
                <a:gd name="T107" fmla="*/ 13 h 357"/>
                <a:gd name="T108" fmla="*/ 167 w 308"/>
                <a:gd name="T109" fmla="*/ 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357">
                  <a:moveTo>
                    <a:pt x="0" y="159"/>
                  </a:moveTo>
                  <a:lnTo>
                    <a:pt x="0" y="159"/>
                  </a:lnTo>
                  <a:lnTo>
                    <a:pt x="5" y="163"/>
                  </a:lnTo>
                  <a:lnTo>
                    <a:pt x="9" y="166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2" y="181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8" y="206"/>
                  </a:lnTo>
                  <a:lnTo>
                    <a:pt x="21" y="209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5" y="210"/>
                  </a:lnTo>
                  <a:lnTo>
                    <a:pt x="27" y="209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6" y="200"/>
                  </a:lnTo>
                  <a:lnTo>
                    <a:pt x="40" y="199"/>
                  </a:lnTo>
                  <a:lnTo>
                    <a:pt x="49" y="197"/>
                  </a:lnTo>
                  <a:lnTo>
                    <a:pt x="58" y="199"/>
                  </a:lnTo>
                  <a:lnTo>
                    <a:pt x="61" y="200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5" y="212"/>
                  </a:lnTo>
                  <a:lnTo>
                    <a:pt x="67" y="222"/>
                  </a:lnTo>
                  <a:lnTo>
                    <a:pt x="68" y="231"/>
                  </a:lnTo>
                  <a:lnTo>
                    <a:pt x="70" y="239"/>
                  </a:lnTo>
                  <a:lnTo>
                    <a:pt x="70" y="239"/>
                  </a:lnTo>
                  <a:lnTo>
                    <a:pt x="74" y="244"/>
                  </a:lnTo>
                  <a:lnTo>
                    <a:pt x="79" y="247"/>
                  </a:lnTo>
                  <a:lnTo>
                    <a:pt x="83" y="252"/>
                  </a:lnTo>
                  <a:lnTo>
                    <a:pt x="86" y="258"/>
                  </a:lnTo>
                  <a:lnTo>
                    <a:pt x="86" y="258"/>
                  </a:lnTo>
                  <a:lnTo>
                    <a:pt x="90" y="264"/>
                  </a:lnTo>
                  <a:lnTo>
                    <a:pt x="93" y="268"/>
                  </a:lnTo>
                  <a:lnTo>
                    <a:pt x="101" y="276"/>
                  </a:lnTo>
                  <a:lnTo>
                    <a:pt x="101" y="276"/>
                  </a:lnTo>
                  <a:lnTo>
                    <a:pt x="104" y="280"/>
                  </a:lnTo>
                  <a:lnTo>
                    <a:pt x="105" y="284"/>
                  </a:lnTo>
                  <a:lnTo>
                    <a:pt x="105" y="284"/>
                  </a:lnTo>
                  <a:lnTo>
                    <a:pt x="107" y="289"/>
                  </a:lnTo>
                  <a:lnTo>
                    <a:pt x="107" y="289"/>
                  </a:lnTo>
                  <a:lnTo>
                    <a:pt x="111" y="304"/>
                  </a:lnTo>
                  <a:lnTo>
                    <a:pt x="113" y="311"/>
                  </a:lnTo>
                  <a:lnTo>
                    <a:pt x="113" y="319"/>
                  </a:lnTo>
                  <a:lnTo>
                    <a:pt x="113" y="319"/>
                  </a:lnTo>
                  <a:lnTo>
                    <a:pt x="111" y="324"/>
                  </a:lnTo>
                  <a:lnTo>
                    <a:pt x="108" y="329"/>
                  </a:lnTo>
                  <a:lnTo>
                    <a:pt x="108" y="332"/>
                  </a:lnTo>
                  <a:lnTo>
                    <a:pt x="110" y="336"/>
                  </a:lnTo>
                  <a:lnTo>
                    <a:pt x="110" y="336"/>
                  </a:lnTo>
                  <a:lnTo>
                    <a:pt x="113" y="339"/>
                  </a:lnTo>
                  <a:lnTo>
                    <a:pt x="114" y="342"/>
                  </a:lnTo>
                  <a:lnTo>
                    <a:pt x="114" y="350"/>
                  </a:lnTo>
                  <a:lnTo>
                    <a:pt x="114" y="350"/>
                  </a:lnTo>
                  <a:lnTo>
                    <a:pt x="114" y="356"/>
                  </a:lnTo>
                  <a:lnTo>
                    <a:pt x="114" y="357"/>
                  </a:lnTo>
                  <a:lnTo>
                    <a:pt x="117" y="357"/>
                  </a:lnTo>
                  <a:lnTo>
                    <a:pt x="117" y="357"/>
                  </a:lnTo>
                  <a:lnTo>
                    <a:pt x="138" y="329"/>
                  </a:lnTo>
                  <a:lnTo>
                    <a:pt x="153" y="310"/>
                  </a:lnTo>
                  <a:lnTo>
                    <a:pt x="159" y="302"/>
                  </a:lnTo>
                  <a:lnTo>
                    <a:pt x="159" y="302"/>
                  </a:lnTo>
                  <a:lnTo>
                    <a:pt x="172" y="301"/>
                  </a:lnTo>
                  <a:lnTo>
                    <a:pt x="181" y="298"/>
                  </a:lnTo>
                  <a:lnTo>
                    <a:pt x="184" y="295"/>
                  </a:lnTo>
                  <a:lnTo>
                    <a:pt x="185" y="293"/>
                  </a:lnTo>
                  <a:lnTo>
                    <a:pt x="185" y="293"/>
                  </a:lnTo>
                  <a:lnTo>
                    <a:pt x="188" y="287"/>
                  </a:lnTo>
                  <a:lnTo>
                    <a:pt x="188" y="282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58"/>
                  </a:lnTo>
                  <a:lnTo>
                    <a:pt x="190" y="253"/>
                  </a:lnTo>
                  <a:lnTo>
                    <a:pt x="193" y="252"/>
                  </a:lnTo>
                  <a:lnTo>
                    <a:pt x="197" y="253"/>
                  </a:lnTo>
                  <a:lnTo>
                    <a:pt x="197" y="253"/>
                  </a:lnTo>
                  <a:lnTo>
                    <a:pt x="204" y="258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8" y="265"/>
                  </a:lnTo>
                  <a:lnTo>
                    <a:pt x="222" y="264"/>
                  </a:lnTo>
                  <a:lnTo>
                    <a:pt x="227" y="262"/>
                  </a:lnTo>
                  <a:lnTo>
                    <a:pt x="227" y="262"/>
                  </a:lnTo>
                  <a:lnTo>
                    <a:pt x="237" y="264"/>
                  </a:lnTo>
                  <a:lnTo>
                    <a:pt x="244" y="265"/>
                  </a:lnTo>
                  <a:lnTo>
                    <a:pt x="249" y="264"/>
                  </a:lnTo>
                  <a:lnTo>
                    <a:pt x="249" y="264"/>
                  </a:lnTo>
                  <a:lnTo>
                    <a:pt x="253" y="25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8" y="240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5" y="231"/>
                  </a:lnTo>
                  <a:lnTo>
                    <a:pt x="274" y="224"/>
                  </a:lnTo>
                  <a:lnTo>
                    <a:pt x="273" y="210"/>
                  </a:lnTo>
                  <a:lnTo>
                    <a:pt x="273" y="210"/>
                  </a:lnTo>
                  <a:lnTo>
                    <a:pt x="273" y="205"/>
                  </a:lnTo>
                  <a:lnTo>
                    <a:pt x="274" y="202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89" y="200"/>
                  </a:lnTo>
                  <a:lnTo>
                    <a:pt x="299" y="199"/>
                  </a:lnTo>
                  <a:lnTo>
                    <a:pt x="307" y="197"/>
                  </a:lnTo>
                  <a:lnTo>
                    <a:pt x="308" y="196"/>
                  </a:lnTo>
                  <a:lnTo>
                    <a:pt x="308" y="196"/>
                  </a:lnTo>
                  <a:lnTo>
                    <a:pt x="308" y="191"/>
                  </a:lnTo>
                  <a:lnTo>
                    <a:pt x="307" y="190"/>
                  </a:lnTo>
                  <a:lnTo>
                    <a:pt x="304" y="188"/>
                  </a:lnTo>
                  <a:lnTo>
                    <a:pt x="304" y="188"/>
                  </a:lnTo>
                  <a:lnTo>
                    <a:pt x="293" y="185"/>
                  </a:lnTo>
                  <a:lnTo>
                    <a:pt x="287" y="184"/>
                  </a:lnTo>
                  <a:lnTo>
                    <a:pt x="287" y="182"/>
                  </a:lnTo>
                  <a:lnTo>
                    <a:pt x="287" y="181"/>
                  </a:lnTo>
                  <a:lnTo>
                    <a:pt x="287" y="181"/>
                  </a:lnTo>
                  <a:lnTo>
                    <a:pt x="287" y="178"/>
                  </a:lnTo>
                  <a:lnTo>
                    <a:pt x="286" y="170"/>
                  </a:lnTo>
                  <a:lnTo>
                    <a:pt x="283" y="162"/>
                  </a:lnTo>
                  <a:lnTo>
                    <a:pt x="283" y="162"/>
                  </a:lnTo>
                  <a:lnTo>
                    <a:pt x="281" y="162"/>
                  </a:lnTo>
                  <a:lnTo>
                    <a:pt x="280" y="165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5" y="173"/>
                  </a:lnTo>
                  <a:lnTo>
                    <a:pt x="271" y="176"/>
                  </a:lnTo>
                  <a:lnTo>
                    <a:pt x="267" y="178"/>
                  </a:lnTo>
                  <a:lnTo>
                    <a:pt x="265" y="176"/>
                  </a:lnTo>
                  <a:lnTo>
                    <a:pt x="265" y="173"/>
                  </a:lnTo>
                  <a:lnTo>
                    <a:pt x="265" y="173"/>
                  </a:lnTo>
                  <a:lnTo>
                    <a:pt x="259" y="160"/>
                  </a:lnTo>
                  <a:lnTo>
                    <a:pt x="259" y="157"/>
                  </a:lnTo>
                  <a:lnTo>
                    <a:pt x="259" y="153"/>
                  </a:lnTo>
                  <a:lnTo>
                    <a:pt x="261" y="150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70" y="141"/>
                  </a:lnTo>
                  <a:lnTo>
                    <a:pt x="274" y="136"/>
                  </a:lnTo>
                  <a:lnTo>
                    <a:pt x="277" y="135"/>
                  </a:lnTo>
                  <a:lnTo>
                    <a:pt x="278" y="130"/>
                  </a:lnTo>
                  <a:lnTo>
                    <a:pt x="278" y="130"/>
                  </a:lnTo>
                  <a:lnTo>
                    <a:pt x="280" y="122"/>
                  </a:lnTo>
                  <a:lnTo>
                    <a:pt x="278" y="120"/>
                  </a:lnTo>
                  <a:lnTo>
                    <a:pt x="275" y="120"/>
                  </a:lnTo>
                  <a:lnTo>
                    <a:pt x="275" y="120"/>
                  </a:lnTo>
                  <a:lnTo>
                    <a:pt x="268" y="125"/>
                  </a:lnTo>
                  <a:lnTo>
                    <a:pt x="262" y="127"/>
                  </a:lnTo>
                  <a:lnTo>
                    <a:pt x="258" y="127"/>
                  </a:lnTo>
                  <a:lnTo>
                    <a:pt x="258" y="127"/>
                  </a:lnTo>
                  <a:lnTo>
                    <a:pt x="253" y="125"/>
                  </a:lnTo>
                  <a:lnTo>
                    <a:pt x="249" y="123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38" y="130"/>
                  </a:lnTo>
                  <a:lnTo>
                    <a:pt x="237" y="133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40" y="136"/>
                  </a:lnTo>
                  <a:lnTo>
                    <a:pt x="240" y="138"/>
                  </a:lnTo>
                  <a:lnTo>
                    <a:pt x="236" y="141"/>
                  </a:lnTo>
                  <a:lnTo>
                    <a:pt x="230" y="144"/>
                  </a:lnTo>
                  <a:lnTo>
                    <a:pt x="222" y="142"/>
                  </a:lnTo>
                  <a:lnTo>
                    <a:pt x="222" y="142"/>
                  </a:lnTo>
                  <a:lnTo>
                    <a:pt x="212" y="138"/>
                  </a:lnTo>
                  <a:lnTo>
                    <a:pt x="207" y="138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194" y="138"/>
                  </a:lnTo>
                  <a:lnTo>
                    <a:pt x="190" y="136"/>
                  </a:lnTo>
                  <a:lnTo>
                    <a:pt x="187" y="133"/>
                  </a:lnTo>
                  <a:lnTo>
                    <a:pt x="185" y="129"/>
                  </a:lnTo>
                  <a:lnTo>
                    <a:pt x="185" y="129"/>
                  </a:lnTo>
                  <a:lnTo>
                    <a:pt x="184" y="126"/>
                  </a:lnTo>
                  <a:lnTo>
                    <a:pt x="181" y="125"/>
                  </a:lnTo>
                  <a:lnTo>
                    <a:pt x="175" y="120"/>
                  </a:lnTo>
                  <a:lnTo>
                    <a:pt x="169" y="117"/>
                  </a:lnTo>
                  <a:lnTo>
                    <a:pt x="167" y="114"/>
                  </a:lnTo>
                  <a:lnTo>
                    <a:pt x="167" y="113"/>
                  </a:lnTo>
                  <a:lnTo>
                    <a:pt x="167" y="113"/>
                  </a:lnTo>
                  <a:lnTo>
                    <a:pt x="166" y="104"/>
                  </a:lnTo>
                  <a:lnTo>
                    <a:pt x="167" y="101"/>
                  </a:lnTo>
                  <a:lnTo>
                    <a:pt x="170" y="99"/>
                  </a:lnTo>
                  <a:lnTo>
                    <a:pt x="170" y="99"/>
                  </a:lnTo>
                  <a:lnTo>
                    <a:pt x="175" y="99"/>
                  </a:lnTo>
                  <a:lnTo>
                    <a:pt x="179" y="101"/>
                  </a:lnTo>
                  <a:lnTo>
                    <a:pt x="182" y="99"/>
                  </a:lnTo>
                  <a:lnTo>
                    <a:pt x="184" y="95"/>
                  </a:lnTo>
                  <a:lnTo>
                    <a:pt x="184" y="95"/>
                  </a:lnTo>
                  <a:lnTo>
                    <a:pt x="184" y="89"/>
                  </a:lnTo>
                  <a:lnTo>
                    <a:pt x="181" y="86"/>
                  </a:lnTo>
                  <a:lnTo>
                    <a:pt x="176" y="85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83"/>
                  </a:lnTo>
                  <a:lnTo>
                    <a:pt x="160" y="82"/>
                  </a:lnTo>
                  <a:lnTo>
                    <a:pt x="157" y="82"/>
                  </a:lnTo>
                  <a:lnTo>
                    <a:pt x="157" y="79"/>
                  </a:lnTo>
                  <a:lnTo>
                    <a:pt x="156" y="77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60" y="58"/>
                  </a:lnTo>
                  <a:lnTo>
                    <a:pt x="161" y="49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56" y="40"/>
                  </a:lnTo>
                  <a:lnTo>
                    <a:pt x="153" y="39"/>
                  </a:lnTo>
                  <a:lnTo>
                    <a:pt x="151" y="37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64" y="25"/>
                  </a:lnTo>
                  <a:lnTo>
                    <a:pt x="169" y="19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0"/>
                  </a:lnTo>
                  <a:lnTo>
                    <a:pt x="170" y="8"/>
                  </a:lnTo>
                  <a:lnTo>
                    <a:pt x="167" y="5"/>
                  </a:lnTo>
                  <a:lnTo>
                    <a:pt x="163" y="0"/>
                  </a:lnTo>
                  <a:lnTo>
                    <a:pt x="156" y="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5" name="Freeform 154">
              <a:extLst>
                <a:ext uri="{FF2B5EF4-FFF2-40B4-BE49-F238E27FC236}">
                  <a16:creationId xmlns:a16="http://schemas.microsoft.com/office/drawing/2014/main" id="{1B6A7A2F-5E47-6B4F-8FA8-E42313FB3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5524500"/>
              <a:ext cx="473075" cy="298450"/>
            </a:xfrm>
            <a:custGeom>
              <a:avLst/>
              <a:gdLst>
                <a:gd name="T0" fmla="*/ 1 w 298"/>
                <a:gd name="T1" fmla="*/ 142 h 188"/>
                <a:gd name="T2" fmla="*/ 9 w 298"/>
                <a:gd name="T3" fmla="*/ 155 h 188"/>
                <a:gd name="T4" fmla="*/ 34 w 298"/>
                <a:gd name="T5" fmla="*/ 172 h 188"/>
                <a:gd name="T6" fmla="*/ 41 w 298"/>
                <a:gd name="T7" fmla="*/ 170 h 188"/>
                <a:gd name="T8" fmla="*/ 52 w 298"/>
                <a:gd name="T9" fmla="*/ 164 h 188"/>
                <a:gd name="T10" fmla="*/ 56 w 298"/>
                <a:gd name="T11" fmla="*/ 170 h 188"/>
                <a:gd name="T12" fmla="*/ 67 w 298"/>
                <a:gd name="T13" fmla="*/ 183 h 188"/>
                <a:gd name="T14" fmla="*/ 78 w 298"/>
                <a:gd name="T15" fmla="*/ 188 h 188"/>
                <a:gd name="T16" fmla="*/ 84 w 298"/>
                <a:gd name="T17" fmla="*/ 186 h 188"/>
                <a:gd name="T18" fmla="*/ 83 w 298"/>
                <a:gd name="T19" fmla="*/ 178 h 188"/>
                <a:gd name="T20" fmla="*/ 81 w 298"/>
                <a:gd name="T21" fmla="*/ 166 h 188"/>
                <a:gd name="T22" fmla="*/ 89 w 298"/>
                <a:gd name="T23" fmla="*/ 154 h 188"/>
                <a:gd name="T24" fmla="*/ 99 w 298"/>
                <a:gd name="T25" fmla="*/ 136 h 188"/>
                <a:gd name="T26" fmla="*/ 112 w 298"/>
                <a:gd name="T27" fmla="*/ 132 h 188"/>
                <a:gd name="T28" fmla="*/ 124 w 298"/>
                <a:gd name="T29" fmla="*/ 135 h 188"/>
                <a:gd name="T30" fmla="*/ 149 w 298"/>
                <a:gd name="T31" fmla="*/ 129 h 188"/>
                <a:gd name="T32" fmla="*/ 157 w 298"/>
                <a:gd name="T33" fmla="*/ 118 h 188"/>
                <a:gd name="T34" fmla="*/ 163 w 298"/>
                <a:gd name="T35" fmla="*/ 117 h 188"/>
                <a:gd name="T36" fmla="*/ 169 w 298"/>
                <a:gd name="T37" fmla="*/ 123 h 188"/>
                <a:gd name="T38" fmla="*/ 176 w 298"/>
                <a:gd name="T39" fmla="*/ 136 h 188"/>
                <a:gd name="T40" fmla="*/ 185 w 298"/>
                <a:gd name="T41" fmla="*/ 141 h 188"/>
                <a:gd name="T42" fmla="*/ 200 w 298"/>
                <a:gd name="T43" fmla="*/ 145 h 188"/>
                <a:gd name="T44" fmla="*/ 204 w 298"/>
                <a:gd name="T45" fmla="*/ 152 h 188"/>
                <a:gd name="T46" fmla="*/ 216 w 298"/>
                <a:gd name="T47" fmla="*/ 172 h 188"/>
                <a:gd name="T48" fmla="*/ 221 w 298"/>
                <a:gd name="T49" fmla="*/ 181 h 188"/>
                <a:gd name="T50" fmla="*/ 224 w 298"/>
                <a:gd name="T51" fmla="*/ 188 h 188"/>
                <a:gd name="T52" fmla="*/ 232 w 298"/>
                <a:gd name="T53" fmla="*/ 186 h 188"/>
                <a:gd name="T54" fmla="*/ 238 w 298"/>
                <a:gd name="T55" fmla="*/ 181 h 188"/>
                <a:gd name="T56" fmla="*/ 250 w 298"/>
                <a:gd name="T57" fmla="*/ 186 h 188"/>
                <a:gd name="T58" fmla="*/ 256 w 298"/>
                <a:gd name="T59" fmla="*/ 183 h 188"/>
                <a:gd name="T60" fmla="*/ 272 w 298"/>
                <a:gd name="T61" fmla="*/ 169 h 188"/>
                <a:gd name="T62" fmla="*/ 283 w 298"/>
                <a:gd name="T63" fmla="*/ 163 h 188"/>
                <a:gd name="T64" fmla="*/ 292 w 298"/>
                <a:gd name="T65" fmla="*/ 149 h 188"/>
                <a:gd name="T66" fmla="*/ 298 w 298"/>
                <a:gd name="T67" fmla="*/ 139 h 188"/>
                <a:gd name="T68" fmla="*/ 293 w 298"/>
                <a:gd name="T69" fmla="*/ 130 h 188"/>
                <a:gd name="T70" fmla="*/ 286 w 298"/>
                <a:gd name="T71" fmla="*/ 121 h 188"/>
                <a:gd name="T72" fmla="*/ 280 w 298"/>
                <a:gd name="T73" fmla="*/ 102 h 188"/>
                <a:gd name="T74" fmla="*/ 283 w 298"/>
                <a:gd name="T75" fmla="*/ 98 h 188"/>
                <a:gd name="T76" fmla="*/ 295 w 298"/>
                <a:gd name="T77" fmla="*/ 87 h 188"/>
                <a:gd name="T78" fmla="*/ 289 w 298"/>
                <a:gd name="T79" fmla="*/ 81 h 188"/>
                <a:gd name="T80" fmla="*/ 269 w 298"/>
                <a:gd name="T81" fmla="*/ 66 h 188"/>
                <a:gd name="T82" fmla="*/ 256 w 298"/>
                <a:gd name="T83" fmla="*/ 65 h 188"/>
                <a:gd name="T84" fmla="*/ 235 w 298"/>
                <a:gd name="T85" fmla="*/ 59 h 188"/>
                <a:gd name="T86" fmla="*/ 229 w 298"/>
                <a:gd name="T87" fmla="*/ 55 h 188"/>
                <a:gd name="T88" fmla="*/ 218 w 298"/>
                <a:gd name="T89" fmla="*/ 32 h 188"/>
                <a:gd name="T90" fmla="*/ 212 w 298"/>
                <a:gd name="T91" fmla="*/ 26 h 188"/>
                <a:gd name="T92" fmla="*/ 189 w 298"/>
                <a:gd name="T93" fmla="*/ 18 h 188"/>
                <a:gd name="T94" fmla="*/ 178 w 298"/>
                <a:gd name="T95" fmla="*/ 16 h 188"/>
                <a:gd name="T96" fmla="*/ 175 w 298"/>
                <a:gd name="T97" fmla="*/ 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8" h="188">
                  <a:moveTo>
                    <a:pt x="0" y="132"/>
                  </a:moveTo>
                  <a:lnTo>
                    <a:pt x="0" y="132"/>
                  </a:lnTo>
                  <a:lnTo>
                    <a:pt x="1" y="142"/>
                  </a:lnTo>
                  <a:lnTo>
                    <a:pt x="4" y="149"/>
                  </a:lnTo>
                  <a:lnTo>
                    <a:pt x="6" y="152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25" y="167"/>
                  </a:lnTo>
                  <a:lnTo>
                    <a:pt x="34" y="172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41" y="170"/>
                  </a:lnTo>
                  <a:lnTo>
                    <a:pt x="46" y="167"/>
                  </a:lnTo>
                  <a:lnTo>
                    <a:pt x="49" y="164"/>
                  </a:lnTo>
                  <a:lnTo>
                    <a:pt x="52" y="164"/>
                  </a:lnTo>
                  <a:lnTo>
                    <a:pt x="53" y="166"/>
                  </a:lnTo>
                  <a:lnTo>
                    <a:pt x="53" y="166"/>
                  </a:lnTo>
                  <a:lnTo>
                    <a:pt x="56" y="170"/>
                  </a:lnTo>
                  <a:lnTo>
                    <a:pt x="59" y="176"/>
                  </a:lnTo>
                  <a:lnTo>
                    <a:pt x="62" y="181"/>
                  </a:lnTo>
                  <a:lnTo>
                    <a:pt x="67" y="183"/>
                  </a:lnTo>
                  <a:lnTo>
                    <a:pt x="67" y="183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81" y="188"/>
                  </a:lnTo>
                  <a:lnTo>
                    <a:pt x="83" y="188"/>
                  </a:lnTo>
                  <a:lnTo>
                    <a:pt x="84" y="186"/>
                  </a:lnTo>
                  <a:lnTo>
                    <a:pt x="84" y="183"/>
                  </a:lnTo>
                  <a:lnTo>
                    <a:pt x="84" y="183"/>
                  </a:lnTo>
                  <a:lnTo>
                    <a:pt x="83" y="178"/>
                  </a:lnTo>
                  <a:lnTo>
                    <a:pt x="81" y="173"/>
                  </a:lnTo>
                  <a:lnTo>
                    <a:pt x="80" y="169"/>
                  </a:lnTo>
                  <a:lnTo>
                    <a:pt x="81" y="166"/>
                  </a:lnTo>
                  <a:lnTo>
                    <a:pt x="81" y="166"/>
                  </a:lnTo>
                  <a:lnTo>
                    <a:pt x="86" y="161"/>
                  </a:lnTo>
                  <a:lnTo>
                    <a:pt x="89" y="154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9" y="136"/>
                  </a:lnTo>
                  <a:lnTo>
                    <a:pt x="104" y="132"/>
                  </a:lnTo>
                  <a:lnTo>
                    <a:pt x="109" y="130"/>
                  </a:lnTo>
                  <a:lnTo>
                    <a:pt x="112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24" y="135"/>
                  </a:lnTo>
                  <a:lnTo>
                    <a:pt x="133" y="135"/>
                  </a:lnTo>
                  <a:lnTo>
                    <a:pt x="142" y="132"/>
                  </a:lnTo>
                  <a:lnTo>
                    <a:pt x="149" y="129"/>
                  </a:lnTo>
                  <a:lnTo>
                    <a:pt x="149" y="129"/>
                  </a:lnTo>
                  <a:lnTo>
                    <a:pt x="152" y="124"/>
                  </a:lnTo>
                  <a:lnTo>
                    <a:pt x="157" y="118"/>
                  </a:lnTo>
                  <a:lnTo>
                    <a:pt x="158" y="117"/>
                  </a:lnTo>
                  <a:lnTo>
                    <a:pt x="161" y="115"/>
                  </a:lnTo>
                  <a:lnTo>
                    <a:pt x="163" y="117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9" y="123"/>
                  </a:lnTo>
                  <a:lnTo>
                    <a:pt x="169" y="127"/>
                  </a:lnTo>
                  <a:lnTo>
                    <a:pt x="170" y="132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81" y="139"/>
                  </a:lnTo>
                  <a:lnTo>
                    <a:pt x="185" y="141"/>
                  </a:lnTo>
                  <a:lnTo>
                    <a:pt x="192" y="142"/>
                  </a:lnTo>
                  <a:lnTo>
                    <a:pt x="197" y="143"/>
                  </a:lnTo>
                  <a:lnTo>
                    <a:pt x="200" y="145"/>
                  </a:lnTo>
                  <a:lnTo>
                    <a:pt x="201" y="148"/>
                  </a:lnTo>
                  <a:lnTo>
                    <a:pt x="204" y="152"/>
                  </a:lnTo>
                  <a:lnTo>
                    <a:pt x="204" y="152"/>
                  </a:lnTo>
                  <a:lnTo>
                    <a:pt x="207" y="161"/>
                  </a:lnTo>
                  <a:lnTo>
                    <a:pt x="212" y="167"/>
                  </a:lnTo>
                  <a:lnTo>
                    <a:pt x="216" y="172"/>
                  </a:lnTo>
                  <a:lnTo>
                    <a:pt x="219" y="176"/>
                  </a:lnTo>
                  <a:lnTo>
                    <a:pt x="219" y="176"/>
                  </a:lnTo>
                  <a:lnTo>
                    <a:pt x="221" y="181"/>
                  </a:lnTo>
                  <a:lnTo>
                    <a:pt x="221" y="183"/>
                  </a:lnTo>
                  <a:lnTo>
                    <a:pt x="221" y="186"/>
                  </a:lnTo>
                  <a:lnTo>
                    <a:pt x="224" y="188"/>
                  </a:lnTo>
                  <a:lnTo>
                    <a:pt x="224" y="188"/>
                  </a:lnTo>
                  <a:lnTo>
                    <a:pt x="228" y="188"/>
                  </a:lnTo>
                  <a:lnTo>
                    <a:pt x="232" y="186"/>
                  </a:lnTo>
                  <a:lnTo>
                    <a:pt x="237" y="181"/>
                  </a:lnTo>
                  <a:lnTo>
                    <a:pt x="237" y="181"/>
                  </a:lnTo>
                  <a:lnTo>
                    <a:pt x="238" y="181"/>
                  </a:lnTo>
                  <a:lnTo>
                    <a:pt x="241" y="183"/>
                  </a:lnTo>
                  <a:lnTo>
                    <a:pt x="246" y="185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3" y="185"/>
                  </a:lnTo>
                  <a:lnTo>
                    <a:pt x="256" y="183"/>
                  </a:lnTo>
                  <a:lnTo>
                    <a:pt x="262" y="179"/>
                  </a:lnTo>
                  <a:lnTo>
                    <a:pt x="272" y="169"/>
                  </a:lnTo>
                  <a:lnTo>
                    <a:pt x="272" y="169"/>
                  </a:lnTo>
                  <a:lnTo>
                    <a:pt x="277" y="166"/>
                  </a:lnTo>
                  <a:lnTo>
                    <a:pt x="280" y="164"/>
                  </a:lnTo>
                  <a:lnTo>
                    <a:pt x="283" y="163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92" y="149"/>
                  </a:lnTo>
                  <a:lnTo>
                    <a:pt x="296" y="143"/>
                  </a:lnTo>
                  <a:lnTo>
                    <a:pt x="296" y="143"/>
                  </a:lnTo>
                  <a:lnTo>
                    <a:pt x="298" y="139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3" y="130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86" y="121"/>
                  </a:lnTo>
                  <a:lnTo>
                    <a:pt x="281" y="115"/>
                  </a:lnTo>
                  <a:lnTo>
                    <a:pt x="280" y="108"/>
                  </a:lnTo>
                  <a:lnTo>
                    <a:pt x="280" y="102"/>
                  </a:lnTo>
                  <a:lnTo>
                    <a:pt x="280" y="102"/>
                  </a:lnTo>
                  <a:lnTo>
                    <a:pt x="281" y="99"/>
                  </a:lnTo>
                  <a:lnTo>
                    <a:pt x="283" y="98"/>
                  </a:lnTo>
                  <a:lnTo>
                    <a:pt x="289" y="93"/>
                  </a:lnTo>
                  <a:lnTo>
                    <a:pt x="293" y="89"/>
                  </a:lnTo>
                  <a:lnTo>
                    <a:pt x="295" y="87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89" y="81"/>
                  </a:lnTo>
                  <a:lnTo>
                    <a:pt x="281" y="75"/>
                  </a:lnTo>
                  <a:lnTo>
                    <a:pt x="269" y="66"/>
                  </a:lnTo>
                  <a:lnTo>
                    <a:pt x="269" y="66"/>
                  </a:lnTo>
                  <a:lnTo>
                    <a:pt x="266" y="66"/>
                  </a:lnTo>
                  <a:lnTo>
                    <a:pt x="262" y="66"/>
                  </a:lnTo>
                  <a:lnTo>
                    <a:pt x="256" y="65"/>
                  </a:lnTo>
                  <a:lnTo>
                    <a:pt x="249" y="64"/>
                  </a:lnTo>
                  <a:lnTo>
                    <a:pt x="249" y="64"/>
                  </a:lnTo>
                  <a:lnTo>
                    <a:pt x="235" y="59"/>
                  </a:lnTo>
                  <a:lnTo>
                    <a:pt x="231" y="58"/>
                  </a:lnTo>
                  <a:lnTo>
                    <a:pt x="229" y="55"/>
                  </a:lnTo>
                  <a:lnTo>
                    <a:pt x="229" y="55"/>
                  </a:lnTo>
                  <a:lnTo>
                    <a:pt x="226" y="49"/>
                  </a:lnTo>
                  <a:lnTo>
                    <a:pt x="224" y="40"/>
                  </a:lnTo>
                  <a:lnTo>
                    <a:pt x="218" y="32"/>
                  </a:lnTo>
                  <a:lnTo>
                    <a:pt x="215" y="29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198" y="21"/>
                  </a:lnTo>
                  <a:lnTo>
                    <a:pt x="194" y="18"/>
                  </a:lnTo>
                  <a:lnTo>
                    <a:pt x="189" y="18"/>
                  </a:lnTo>
                  <a:lnTo>
                    <a:pt x="189" y="18"/>
                  </a:lnTo>
                  <a:lnTo>
                    <a:pt x="181" y="18"/>
                  </a:lnTo>
                  <a:lnTo>
                    <a:pt x="178" y="16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5" y="6"/>
                  </a:lnTo>
                  <a:lnTo>
                    <a:pt x="176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6" name="Freeform 155">
              <a:extLst>
                <a:ext uri="{FF2B5EF4-FFF2-40B4-BE49-F238E27FC236}">
                  <a16:creationId xmlns:a16="http://schemas.microsoft.com/office/drawing/2014/main" id="{5A33BD39-FCCB-5647-BA9D-BF20E7DEB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338" y="5187950"/>
              <a:ext cx="250825" cy="312737"/>
            </a:xfrm>
            <a:custGeom>
              <a:avLst/>
              <a:gdLst>
                <a:gd name="T0" fmla="*/ 0 w 158"/>
                <a:gd name="T1" fmla="*/ 159 h 197"/>
                <a:gd name="T2" fmla="*/ 19 w 158"/>
                <a:gd name="T3" fmla="*/ 166 h 197"/>
                <a:gd name="T4" fmla="*/ 24 w 158"/>
                <a:gd name="T5" fmla="*/ 167 h 197"/>
                <a:gd name="T6" fmla="*/ 29 w 158"/>
                <a:gd name="T7" fmla="*/ 172 h 197"/>
                <a:gd name="T8" fmla="*/ 38 w 158"/>
                <a:gd name="T9" fmla="*/ 172 h 197"/>
                <a:gd name="T10" fmla="*/ 75 w 158"/>
                <a:gd name="T11" fmla="*/ 167 h 197"/>
                <a:gd name="T12" fmla="*/ 92 w 158"/>
                <a:gd name="T13" fmla="*/ 169 h 197"/>
                <a:gd name="T14" fmla="*/ 106 w 158"/>
                <a:gd name="T15" fmla="*/ 172 h 197"/>
                <a:gd name="T16" fmla="*/ 109 w 158"/>
                <a:gd name="T17" fmla="*/ 175 h 197"/>
                <a:gd name="T18" fmla="*/ 111 w 158"/>
                <a:gd name="T19" fmla="*/ 184 h 197"/>
                <a:gd name="T20" fmla="*/ 118 w 158"/>
                <a:gd name="T21" fmla="*/ 196 h 197"/>
                <a:gd name="T22" fmla="*/ 126 w 158"/>
                <a:gd name="T23" fmla="*/ 197 h 197"/>
                <a:gd name="T24" fmla="*/ 129 w 158"/>
                <a:gd name="T25" fmla="*/ 196 h 197"/>
                <a:gd name="T26" fmla="*/ 136 w 158"/>
                <a:gd name="T27" fmla="*/ 190 h 197"/>
                <a:gd name="T28" fmla="*/ 142 w 158"/>
                <a:gd name="T29" fmla="*/ 179 h 197"/>
                <a:gd name="T30" fmla="*/ 151 w 158"/>
                <a:gd name="T31" fmla="*/ 150 h 197"/>
                <a:gd name="T32" fmla="*/ 155 w 158"/>
                <a:gd name="T33" fmla="*/ 138 h 197"/>
                <a:gd name="T34" fmla="*/ 155 w 158"/>
                <a:gd name="T35" fmla="*/ 132 h 197"/>
                <a:gd name="T36" fmla="*/ 142 w 158"/>
                <a:gd name="T37" fmla="*/ 120 h 197"/>
                <a:gd name="T38" fmla="*/ 136 w 158"/>
                <a:gd name="T39" fmla="*/ 116 h 197"/>
                <a:gd name="T40" fmla="*/ 133 w 158"/>
                <a:gd name="T41" fmla="*/ 107 h 197"/>
                <a:gd name="T42" fmla="*/ 136 w 158"/>
                <a:gd name="T43" fmla="*/ 102 h 197"/>
                <a:gd name="T44" fmla="*/ 146 w 158"/>
                <a:gd name="T45" fmla="*/ 96 h 197"/>
                <a:gd name="T46" fmla="*/ 155 w 158"/>
                <a:gd name="T47" fmla="*/ 87 h 197"/>
                <a:gd name="T48" fmla="*/ 157 w 158"/>
                <a:gd name="T49" fmla="*/ 81 h 197"/>
                <a:gd name="T50" fmla="*/ 157 w 158"/>
                <a:gd name="T51" fmla="*/ 76 h 197"/>
                <a:gd name="T52" fmla="*/ 154 w 158"/>
                <a:gd name="T53" fmla="*/ 79 h 197"/>
                <a:gd name="T54" fmla="*/ 136 w 158"/>
                <a:gd name="T55" fmla="*/ 92 h 197"/>
                <a:gd name="T56" fmla="*/ 132 w 158"/>
                <a:gd name="T57" fmla="*/ 93 h 197"/>
                <a:gd name="T58" fmla="*/ 126 w 158"/>
                <a:gd name="T59" fmla="*/ 87 h 197"/>
                <a:gd name="T60" fmla="*/ 121 w 158"/>
                <a:gd name="T61" fmla="*/ 77 h 197"/>
                <a:gd name="T62" fmla="*/ 115 w 158"/>
                <a:gd name="T63" fmla="*/ 71 h 197"/>
                <a:gd name="T64" fmla="*/ 105 w 158"/>
                <a:gd name="T65" fmla="*/ 65 h 197"/>
                <a:gd name="T66" fmla="*/ 93 w 158"/>
                <a:gd name="T67" fmla="*/ 59 h 197"/>
                <a:gd name="T68" fmla="*/ 84 w 158"/>
                <a:gd name="T69" fmla="*/ 59 h 197"/>
                <a:gd name="T70" fmla="*/ 83 w 158"/>
                <a:gd name="T71" fmla="*/ 61 h 197"/>
                <a:gd name="T72" fmla="*/ 81 w 158"/>
                <a:gd name="T73" fmla="*/ 62 h 197"/>
                <a:gd name="T74" fmla="*/ 74 w 158"/>
                <a:gd name="T75" fmla="*/ 50 h 197"/>
                <a:gd name="T76" fmla="*/ 74 w 158"/>
                <a:gd name="T77" fmla="*/ 46 h 197"/>
                <a:gd name="T78" fmla="*/ 68 w 158"/>
                <a:gd name="T79" fmla="*/ 43 h 197"/>
                <a:gd name="T80" fmla="*/ 59 w 158"/>
                <a:gd name="T81" fmla="*/ 43 h 197"/>
                <a:gd name="T82" fmla="*/ 37 w 158"/>
                <a:gd name="T83" fmla="*/ 46 h 197"/>
                <a:gd name="T84" fmla="*/ 32 w 158"/>
                <a:gd name="T85" fmla="*/ 44 h 197"/>
                <a:gd name="T86" fmla="*/ 22 w 158"/>
                <a:gd name="T87" fmla="*/ 36 h 197"/>
                <a:gd name="T88" fmla="*/ 24 w 158"/>
                <a:gd name="T89" fmla="*/ 31 h 197"/>
                <a:gd name="T90" fmla="*/ 28 w 158"/>
                <a:gd name="T91" fmla="*/ 24 h 197"/>
                <a:gd name="T92" fmla="*/ 26 w 158"/>
                <a:gd name="T93" fmla="*/ 18 h 197"/>
                <a:gd name="T94" fmla="*/ 21 w 158"/>
                <a:gd name="T95" fmla="*/ 10 h 197"/>
                <a:gd name="T96" fmla="*/ 19 w 158"/>
                <a:gd name="T97" fmla="*/ 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" h="197">
                  <a:moveTo>
                    <a:pt x="0" y="159"/>
                  </a:moveTo>
                  <a:lnTo>
                    <a:pt x="0" y="159"/>
                  </a:lnTo>
                  <a:lnTo>
                    <a:pt x="7" y="161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24" y="167"/>
                  </a:lnTo>
                  <a:lnTo>
                    <a:pt x="25" y="169"/>
                  </a:lnTo>
                  <a:lnTo>
                    <a:pt x="29" y="172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75" y="167"/>
                  </a:lnTo>
                  <a:lnTo>
                    <a:pt x="75" y="167"/>
                  </a:lnTo>
                  <a:lnTo>
                    <a:pt x="83" y="167"/>
                  </a:lnTo>
                  <a:lnTo>
                    <a:pt x="92" y="169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8" y="172"/>
                  </a:lnTo>
                  <a:lnTo>
                    <a:pt x="109" y="175"/>
                  </a:lnTo>
                  <a:lnTo>
                    <a:pt x="111" y="184"/>
                  </a:lnTo>
                  <a:lnTo>
                    <a:pt x="111" y="184"/>
                  </a:lnTo>
                  <a:lnTo>
                    <a:pt x="114" y="191"/>
                  </a:lnTo>
                  <a:lnTo>
                    <a:pt x="118" y="196"/>
                  </a:lnTo>
                  <a:lnTo>
                    <a:pt x="123" y="197"/>
                  </a:lnTo>
                  <a:lnTo>
                    <a:pt x="126" y="197"/>
                  </a:lnTo>
                  <a:lnTo>
                    <a:pt x="129" y="196"/>
                  </a:lnTo>
                  <a:lnTo>
                    <a:pt x="129" y="196"/>
                  </a:lnTo>
                  <a:lnTo>
                    <a:pt x="133" y="193"/>
                  </a:lnTo>
                  <a:lnTo>
                    <a:pt x="136" y="190"/>
                  </a:lnTo>
                  <a:lnTo>
                    <a:pt x="139" y="185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1" y="126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36" y="116"/>
                  </a:lnTo>
                  <a:lnTo>
                    <a:pt x="133" y="111"/>
                  </a:lnTo>
                  <a:lnTo>
                    <a:pt x="133" y="107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41" y="99"/>
                  </a:lnTo>
                  <a:lnTo>
                    <a:pt x="146" y="96"/>
                  </a:lnTo>
                  <a:lnTo>
                    <a:pt x="151" y="92"/>
                  </a:lnTo>
                  <a:lnTo>
                    <a:pt x="155" y="87"/>
                  </a:lnTo>
                  <a:lnTo>
                    <a:pt x="155" y="87"/>
                  </a:lnTo>
                  <a:lnTo>
                    <a:pt x="157" y="81"/>
                  </a:lnTo>
                  <a:lnTo>
                    <a:pt x="158" y="77"/>
                  </a:lnTo>
                  <a:lnTo>
                    <a:pt x="157" y="76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42" y="87"/>
                  </a:lnTo>
                  <a:lnTo>
                    <a:pt x="136" y="92"/>
                  </a:lnTo>
                  <a:lnTo>
                    <a:pt x="132" y="93"/>
                  </a:lnTo>
                  <a:lnTo>
                    <a:pt x="132" y="93"/>
                  </a:lnTo>
                  <a:lnTo>
                    <a:pt x="127" y="90"/>
                  </a:lnTo>
                  <a:lnTo>
                    <a:pt x="126" y="8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18" y="73"/>
                  </a:lnTo>
                  <a:lnTo>
                    <a:pt x="115" y="71"/>
                  </a:lnTo>
                  <a:lnTo>
                    <a:pt x="105" y="65"/>
                  </a:lnTo>
                  <a:lnTo>
                    <a:pt x="105" y="65"/>
                  </a:lnTo>
                  <a:lnTo>
                    <a:pt x="99" y="62"/>
                  </a:lnTo>
                  <a:lnTo>
                    <a:pt x="93" y="59"/>
                  </a:lnTo>
                  <a:lnTo>
                    <a:pt x="87" y="59"/>
                  </a:lnTo>
                  <a:lnTo>
                    <a:pt x="84" y="59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78" y="59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46"/>
                  </a:lnTo>
                  <a:lnTo>
                    <a:pt x="71" y="44"/>
                  </a:lnTo>
                  <a:lnTo>
                    <a:pt x="68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43" y="46"/>
                  </a:lnTo>
                  <a:lnTo>
                    <a:pt x="37" y="46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6" y="27"/>
                  </a:lnTo>
                  <a:lnTo>
                    <a:pt x="28" y="24"/>
                  </a:lnTo>
                  <a:lnTo>
                    <a:pt x="28" y="21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1" y="10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7" name="Freeform 156">
              <a:extLst>
                <a:ext uri="{FF2B5EF4-FFF2-40B4-BE49-F238E27FC236}">
                  <a16:creationId xmlns:a16="http://schemas.microsoft.com/office/drawing/2014/main" id="{A311AB8A-D3DB-BC45-8D53-83AA4FF58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63" y="5272088"/>
              <a:ext cx="274638" cy="252412"/>
            </a:xfrm>
            <a:custGeom>
              <a:avLst/>
              <a:gdLst>
                <a:gd name="T0" fmla="*/ 0 w 173"/>
                <a:gd name="T1" fmla="*/ 117 h 159"/>
                <a:gd name="T2" fmla="*/ 3 w 173"/>
                <a:gd name="T3" fmla="*/ 135 h 159"/>
                <a:gd name="T4" fmla="*/ 8 w 173"/>
                <a:gd name="T5" fmla="*/ 141 h 159"/>
                <a:gd name="T6" fmla="*/ 23 w 173"/>
                <a:gd name="T7" fmla="*/ 154 h 159"/>
                <a:gd name="T8" fmla="*/ 34 w 173"/>
                <a:gd name="T9" fmla="*/ 159 h 159"/>
                <a:gd name="T10" fmla="*/ 35 w 173"/>
                <a:gd name="T11" fmla="*/ 159 h 159"/>
                <a:gd name="T12" fmla="*/ 44 w 173"/>
                <a:gd name="T13" fmla="*/ 147 h 159"/>
                <a:gd name="T14" fmla="*/ 48 w 173"/>
                <a:gd name="T15" fmla="*/ 143 h 159"/>
                <a:gd name="T16" fmla="*/ 56 w 173"/>
                <a:gd name="T17" fmla="*/ 144 h 159"/>
                <a:gd name="T18" fmla="*/ 62 w 173"/>
                <a:gd name="T19" fmla="*/ 148 h 159"/>
                <a:gd name="T20" fmla="*/ 65 w 173"/>
                <a:gd name="T21" fmla="*/ 154 h 159"/>
                <a:gd name="T22" fmla="*/ 69 w 173"/>
                <a:gd name="T23" fmla="*/ 156 h 159"/>
                <a:gd name="T24" fmla="*/ 77 w 173"/>
                <a:gd name="T25" fmla="*/ 154 h 159"/>
                <a:gd name="T26" fmla="*/ 88 w 173"/>
                <a:gd name="T27" fmla="*/ 153 h 159"/>
                <a:gd name="T28" fmla="*/ 96 w 173"/>
                <a:gd name="T29" fmla="*/ 154 h 159"/>
                <a:gd name="T30" fmla="*/ 108 w 173"/>
                <a:gd name="T31" fmla="*/ 157 h 159"/>
                <a:gd name="T32" fmla="*/ 111 w 173"/>
                <a:gd name="T33" fmla="*/ 154 h 159"/>
                <a:gd name="T34" fmla="*/ 112 w 173"/>
                <a:gd name="T35" fmla="*/ 150 h 159"/>
                <a:gd name="T36" fmla="*/ 114 w 173"/>
                <a:gd name="T37" fmla="*/ 144 h 159"/>
                <a:gd name="T38" fmla="*/ 108 w 173"/>
                <a:gd name="T39" fmla="*/ 141 h 159"/>
                <a:gd name="T40" fmla="*/ 94 w 173"/>
                <a:gd name="T41" fmla="*/ 137 h 159"/>
                <a:gd name="T42" fmla="*/ 90 w 173"/>
                <a:gd name="T43" fmla="*/ 134 h 159"/>
                <a:gd name="T44" fmla="*/ 91 w 173"/>
                <a:gd name="T45" fmla="*/ 132 h 159"/>
                <a:gd name="T46" fmla="*/ 99 w 173"/>
                <a:gd name="T47" fmla="*/ 126 h 159"/>
                <a:gd name="T48" fmla="*/ 105 w 173"/>
                <a:gd name="T49" fmla="*/ 125 h 159"/>
                <a:gd name="T50" fmla="*/ 108 w 173"/>
                <a:gd name="T51" fmla="*/ 125 h 159"/>
                <a:gd name="T52" fmla="*/ 112 w 173"/>
                <a:gd name="T53" fmla="*/ 126 h 159"/>
                <a:gd name="T54" fmla="*/ 127 w 173"/>
                <a:gd name="T55" fmla="*/ 120 h 159"/>
                <a:gd name="T56" fmla="*/ 131 w 173"/>
                <a:gd name="T57" fmla="*/ 119 h 159"/>
                <a:gd name="T58" fmla="*/ 140 w 173"/>
                <a:gd name="T59" fmla="*/ 117 h 159"/>
                <a:gd name="T60" fmla="*/ 155 w 173"/>
                <a:gd name="T61" fmla="*/ 117 h 159"/>
                <a:gd name="T62" fmla="*/ 164 w 173"/>
                <a:gd name="T63" fmla="*/ 113 h 159"/>
                <a:gd name="T64" fmla="*/ 171 w 173"/>
                <a:gd name="T65" fmla="*/ 108 h 159"/>
                <a:gd name="T66" fmla="*/ 173 w 173"/>
                <a:gd name="T67" fmla="*/ 103 h 159"/>
                <a:gd name="T68" fmla="*/ 173 w 173"/>
                <a:gd name="T69" fmla="*/ 91 h 159"/>
                <a:gd name="T70" fmla="*/ 168 w 173"/>
                <a:gd name="T71" fmla="*/ 76 h 159"/>
                <a:gd name="T72" fmla="*/ 162 w 173"/>
                <a:gd name="T73" fmla="*/ 61 h 159"/>
                <a:gd name="T74" fmla="*/ 158 w 173"/>
                <a:gd name="T75" fmla="*/ 49 h 159"/>
                <a:gd name="T76" fmla="*/ 155 w 173"/>
                <a:gd name="T77" fmla="*/ 43 h 159"/>
                <a:gd name="T78" fmla="*/ 143 w 173"/>
                <a:gd name="T79" fmla="*/ 31 h 159"/>
                <a:gd name="T80" fmla="*/ 130 w 173"/>
                <a:gd name="T81" fmla="*/ 24 h 159"/>
                <a:gd name="T82" fmla="*/ 117 w 173"/>
                <a:gd name="T83" fmla="*/ 11 h 159"/>
                <a:gd name="T84" fmla="*/ 111 w 173"/>
                <a:gd name="T85" fmla="*/ 6 h 159"/>
                <a:gd name="T86" fmla="*/ 99 w 173"/>
                <a:gd name="T8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" h="159">
                  <a:moveTo>
                    <a:pt x="0" y="117"/>
                  </a:moveTo>
                  <a:lnTo>
                    <a:pt x="0" y="117"/>
                  </a:lnTo>
                  <a:lnTo>
                    <a:pt x="0" y="128"/>
                  </a:lnTo>
                  <a:lnTo>
                    <a:pt x="3" y="135"/>
                  </a:lnTo>
                  <a:lnTo>
                    <a:pt x="4" y="138"/>
                  </a:lnTo>
                  <a:lnTo>
                    <a:pt x="8" y="141"/>
                  </a:lnTo>
                  <a:lnTo>
                    <a:pt x="8" y="141"/>
                  </a:lnTo>
                  <a:lnTo>
                    <a:pt x="23" y="154"/>
                  </a:lnTo>
                  <a:lnTo>
                    <a:pt x="31" y="159"/>
                  </a:lnTo>
                  <a:lnTo>
                    <a:pt x="34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40" y="153"/>
                  </a:lnTo>
                  <a:lnTo>
                    <a:pt x="44" y="147"/>
                  </a:lnTo>
                  <a:lnTo>
                    <a:pt x="45" y="144"/>
                  </a:lnTo>
                  <a:lnTo>
                    <a:pt x="48" y="143"/>
                  </a:lnTo>
                  <a:lnTo>
                    <a:pt x="51" y="143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2" y="148"/>
                  </a:lnTo>
                  <a:lnTo>
                    <a:pt x="63" y="153"/>
                  </a:lnTo>
                  <a:lnTo>
                    <a:pt x="65" y="154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74" y="156"/>
                  </a:lnTo>
                  <a:lnTo>
                    <a:pt x="77" y="154"/>
                  </a:lnTo>
                  <a:lnTo>
                    <a:pt x="81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6" y="154"/>
                  </a:lnTo>
                  <a:lnTo>
                    <a:pt x="102" y="156"/>
                  </a:lnTo>
                  <a:lnTo>
                    <a:pt x="108" y="157"/>
                  </a:lnTo>
                  <a:lnTo>
                    <a:pt x="109" y="156"/>
                  </a:lnTo>
                  <a:lnTo>
                    <a:pt x="111" y="154"/>
                  </a:lnTo>
                  <a:lnTo>
                    <a:pt x="111" y="154"/>
                  </a:lnTo>
                  <a:lnTo>
                    <a:pt x="112" y="150"/>
                  </a:lnTo>
                  <a:lnTo>
                    <a:pt x="114" y="145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94" y="137"/>
                  </a:lnTo>
                  <a:lnTo>
                    <a:pt x="91" y="135"/>
                  </a:lnTo>
                  <a:lnTo>
                    <a:pt x="90" y="134"/>
                  </a:lnTo>
                  <a:lnTo>
                    <a:pt x="91" y="132"/>
                  </a:lnTo>
                  <a:lnTo>
                    <a:pt x="91" y="132"/>
                  </a:lnTo>
                  <a:lnTo>
                    <a:pt x="94" y="129"/>
                  </a:lnTo>
                  <a:lnTo>
                    <a:pt x="99" y="126"/>
                  </a:lnTo>
                  <a:lnTo>
                    <a:pt x="103" y="125"/>
                  </a:lnTo>
                  <a:lnTo>
                    <a:pt x="105" y="125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9" y="126"/>
                  </a:lnTo>
                  <a:lnTo>
                    <a:pt x="112" y="126"/>
                  </a:lnTo>
                  <a:lnTo>
                    <a:pt x="119" y="123"/>
                  </a:lnTo>
                  <a:lnTo>
                    <a:pt x="127" y="120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4" y="117"/>
                  </a:lnTo>
                  <a:lnTo>
                    <a:pt x="140" y="117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6"/>
                  </a:lnTo>
                  <a:lnTo>
                    <a:pt x="164" y="113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3" y="107"/>
                  </a:lnTo>
                  <a:lnTo>
                    <a:pt x="173" y="103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85"/>
                  </a:lnTo>
                  <a:lnTo>
                    <a:pt x="168" y="76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59" y="54"/>
                  </a:lnTo>
                  <a:lnTo>
                    <a:pt x="158" y="49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49" y="37"/>
                  </a:lnTo>
                  <a:lnTo>
                    <a:pt x="143" y="31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22" y="17"/>
                  </a:lnTo>
                  <a:lnTo>
                    <a:pt x="117" y="11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03" y="3"/>
                  </a:lnTo>
                  <a:lnTo>
                    <a:pt x="99" y="0"/>
                  </a:lnTo>
                  <a:lnTo>
                    <a:pt x="94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8" name="Freeform 157">
              <a:extLst>
                <a:ext uri="{FF2B5EF4-FFF2-40B4-BE49-F238E27FC236}">
                  <a16:creationId xmlns:a16="http://schemas.microsoft.com/office/drawing/2014/main" id="{2691304D-E250-ED4D-B6C1-D5E0B3C43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463" y="5378450"/>
              <a:ext cx="147638" cy="141287"/>
            </a:xfrm>
            <a:custGeom>
              <a:avLst/>
              <a:gdLst>
                <a:gd name="T0" fmla="*/ 0 w 93"/>
                <a:gd name="T1" fmla="*/ 78 h 89"/>
                <a:gd name="T2" fmla="*/ 0 w 93"/>
                <a:gd name="T3" fmla="*/ 78 h 89"/>
                <a:gd name="T4" fmla="*/ 7 w 93"/>
                <a:gd name="T5" fmla="*/ 77 h 89"/>
                <a:gd name="T6" fmla="*/ 14 w 93"/>
                <a:gd name="T7" fmla="*/ 78 h 89"/>
                <a:gd name="T8" fmla="*/ 17 w 93"/>
                <a:gd name="T9" fmla="*/ 80 h 89"/>
                <a:gd name="T10" fmla="*/ 20 w 93"/>
                <a:gd name="T11" fmla="*/ 81 h 89"/>
                <a:gd name="T12" fmla="*/ 20 w 93"/>
                <a:gd name="T13" fmla="*/ 81 h 89"/>
                <a:gd name="T14" fmla="*/ 28 w 93"/>
                <a:gd name="T15" fmla="*/ 86 h 89"/>
                <a:gd name="T16" fmla="*/ 38 w 93"/>
                <a:gd name="T17" fmla="*/ 87 h 89"/>
                <a:gd name="T18" fmla="*/ 47 w 93"/>
                <a:gd name="T19" fmla="*/ 89 h 89"/>
                <a:gd name="T20" fmla="*/ 53 w 93"/>
                <a:gd name="T21" fmla="*/ 87 h 89"/>
                <a:gd name="T22" fmla="*/ 53 w 93"/>
                <a:gd name="T23" fmla="*/ 87 h 89"/>
                <a:gd name="T24" fmla="*/ 57 w 93"/>
                <a:gd name="T25" fmla="*/ 83 h 89"/>
                <a:gd name="T26" fmla="*/ 60 w 93"/>
                <a:gd name="T27" fmla="*/ 78 h 89"/>
                <a:gd name="T28" fmla="*/ 65 w 93"/>
                <a:gd name="T29" fmla="*/ 68 h 89"/>
                <a:gd name="T30" fmla="*/ 65 w 93"/>
                <a:gd name="T31" fmla="*/ 68 h 89"/>
                <a:gd name="T32" fmla="*/ 71 w 93"/>
                <a:gd name="T33" fmla="*/ 59 h 89"/>
                <a:gd name="T34" fmla="*/ 80 w 93"/>
                <a:gd name="T35" fmla="*/ 50 h 89"/>
                <a:gd name="T36" fmla="*/ 80 w 93"/>
                <a:gd name="T37" fmla="*/ 50 h 89"/>
                <a:gd name="T38" fmla="*/ 84 w 93"/>
                <a:gd name="T39" fmla="*/ 46 h 89"/>
                <a:gd name="T40" fmla="*/ 85 w 93"/>
                <a:gd name="T41" fmla="*/ 39 h 89"/>
                <a:gd name="T42" fmla="*/ 85 w 93"/>
                <a:gd name="T43" fmla="*/ 27 h 89"/>
                <a:gd name="T44" fmla="*/ 85 w 93"/>
                <a:gd name="T45" fmla="*/ 27 h 89"/>
                <a:gd name="T46" fmla="*/ 88 w 93"/>
                <a:gd name="T47" fmla="*/ 24 h 89"/>
                <a:gd name="T48" fmla="*/ 90 w 93"/>
                <a:gd name="T49" fmla="*/ 21 h 89"/>
                <a:gd name="T50" fmla="*/ 93 w 93"/>
                <a:gd name="T51" fmla="*/ 18 h 89"/>
                <a:gd name="T52" fmla="*/ 91 w 93"/>
                <a:gd name="T53" fmla="*/ 15 h 89"/>
                <a:gd name="T54" fmla="*/ 91 w 93"/>
                <a:gd name="T55" fmla="*/ 15 h 89"/>
                <a:gd name="T56" fmla="*/ 84 w 93"/>
                <a:gd name="T5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89">
                  <a:moveTo>
                    <a:pt x="0" y="78"/>
                  </a:moveTo>
                  <a:lnTo>
                    <a:pt x="0" y="78"/>
                  </a:lnTo>
                  <a:lnTo>
                    <a:pt x="7" y="77"/>
                  </a:lnTo>
                  <a:lnTo>
                    <a:pt x="14" y="78"/>
                  </a:lnTo>
                  <a:lnTo>
                    <a:pt x="17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8" y="86"/>
                  </a:lnTo>
                  <a:lnTo>
                    <a:pt x="38" y="87"/>
                  </a:lnTo>
                  <a:lnTo>
                    <a:pt x="47" y="89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7" y="83"/>
                  </a:lnTo>
                  <a:lnTo>
                    <a:pt x="60" y="7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4" y="46"/>
                  </a:lnTo>
                  <a:lnTo>
                    <a:pt x="85" y="39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8" y="24"/>
                  </a:lnTo>
                  <a:lnTo>
                    <a:pt x="90" y="21"/>
                  </a:lnTo>
                  <a:lnTo>
                    <a:pt x="93" y="18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84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9" name="Freeform 158">
              <a:extLst>
                <a:ext uri="{FF2B5EF4-FFF2-40B4-BE49-F238E27FC236}">
                  <a16:creationId xmlns:a16="http://schemas.microsoft.com/office/drawing/2014/main" id="{DAD1AF6D-F317-4A40-A66F-30A17155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25" y="5240338"/>
              <a:ext cx="425450" cy="495300"/>
            </a:xfrm>
            <a:custGeom>
              <a:avLst/>
              <a:gdLst>
                <a:gd name="T0" fmla="*/ 95 w 268"/>
                <a:gd name="T1" fmla="*/ 1 h 312"/>
                <a:gd name="T2" fmla="*/ 92 w 268"/>
                <a:gd name="T3" fmla="*/ 7 h 312"/>
                <a:gd name="T4" fmla="*/ 96 w 268"/>
                <a:gd name="T5" fmla="*/ 11 h 312"/>
                <a:gd name="T6" fmla="*/ 105 w 268"/>
                <a:gd name="T7" fmla="*/ 25 h 312"/>
                <a:gd name="T8" fmla="*/ 127 w 268"/>
                <a:gd name="T9" fmla="*/ 38 h 312"/>
                <a:gd name="T10" fmla="*/ 135 w 268"/>
                <a:gd name="T11" fmla="*/ 40 h 312"/>
                <a:gd name="T12" fmla="*/ 144 w 268"/>
                <a:gd name="T13" fmla="*/ 37 h 312"/>
                <a:gd name="T14" fmla="*/ 150 w 268"/>
                <a:gd name="T15" fmla="*/ 44 h 312"/>
                <a:gd name="T16" fmla="*/ 163 w 268"/>
                <a:gd name="T17" fmla="*/ 74 h 312"/>
                <a:gd name="T18" fmla="*/ 157 w 268"/>
                <a:gd name="T19" fmla="*/ 87 h 312"/>
                <a:gd name="T20" fmla="*/ 158 w 268"/>
                <a:gd name="T21" fmla="*/ 93 h 312"/>
                <a:gd name="T22" fmla="*/ 164 w 268"/>
                <a:gd name="T23" fmla="*/ 99 h 312"/>
                <a:gd name="T24" fmla="*/ 170 w 268"/>
                <a:gd name="T25" fmla="*/ 114 h 312"/>
                <a:gd name="T26" fmla="*/ 173 w 268"/>
                <a:gd name="T27" fmla="*/ 120 h 312"/>
                <a:gd name="T28" fmla="*/ 185 w 268"/>
                <a:gd name="T29" fmla="*/ 115 h 312"/>
                <a:gd name="T30" fmla="*/ 195 w 268"/>
                <a:gd name="T31" fmla="*/ 111 h 312"/>
                <a:gd name="T32" fmla="*/ 206 w 268"/>
                <a:gd name="T33" fmla="*/ 117 h 312"/>
                <a:gd name="T34" fmla="*/ 222 w 268"/>
                <a:gd name="T35" fmla="*/ 133 h 312"/>
                <a:gd name="T36" fmla="*/ 234 w 268"/>
                <a:gd name="T37" fmla="*/ 145 h 312"/>
                <a:gd name="T38" fmla="*/ 250 w 268"/>
                <a:gd name="T39" fmla="*/ 158 h 312"/>
                <a:gd name="T40" fmla="*/ 265 w 268"/>
                <a:gd name="T41" fmla="*/ 171 h 312"/>
                <a:gd name="T42" fmla="*/ 268 w 268"/>
                <a:gd name="T43" fmla="*/ 176 h 312"/>
                <a:gd name="T44" fmla="*/ 261 w 268"/>
                <a:gd name="T45" fmla="*/ 183 h 312"/>
                <a:gd name="T46" fmla="*/ 255 w 268"/>
                <a:gd name="T47" fmla="*/ 192 h 312"/>
                <a:gd name="T48" fmla="*/ 253 w 268"/>
                <a:gd name="T49" fmla="*/ 207 h 312"/>
                <a:gd name="T50" fmla="*/ 246 w 268"/>
                <a:gd name="T51" fmla="*/ 226 h 312"/>
                <a:gd name="T52" fmla="*/ 247 w 268"/>
                <a:gd name="T53" fmla="*/ 248 h 312"/>
                <a:gd name="T54" fmla="*/ 252 w 268"/>
                <a:gd name="T55" fmla="*/ 259 h 312"/>
                <a:gd name="T56" fmla="*/ 252 w 268"/>
                <a:gd name="T57" fmla="*/ 272 h 312"/>
                <a:gd name="T58" fmla="*/ 247 w 268"/>
                <a:gd name="T59" fmla="*/ 277 h 312"/>
                <a:gd name="T60" fmla="*/ 238 w 268"/>
                <a:gd name="T61" fmla="*/ 290 h 312"/>
                <a:gd name="T62" fmla="*/ 227 w 268"/>
                <a:gd name="T63" fmla="*/ 294 h 312"/>
                <a:gd name="T64" fmla="*/ 218 w 268"/>
                <a:gd name="T65" fmla="*/ 300 h 312"/>
                <a:gd name="T66" fmla="*/ 212 w 268"/>
                <a:gd name="T67" fmla="*/ 311 h 312"/>
                <a:gd name="T68" fmla="*/ 201 w 268"/>
                <a:gd name="T69" fmla="*/ 312 h 312"/>
                <a:gd name="T70" fmla="*/ 194 w 268"/>
                <a:gd name="T71" fmla="*/ 309 h 312"/>
                <a:gd name="T72" fmla="*/ 179 w 268"/>
                <a:gd name="T73" fmla="*/ 293 h 312"/>
                <a:gd name="T74" fmla="*/ 167 w 268"/>
                <a:gd name="T75" fmla="*/ 285 h 312"/>
                <a:gd name="T76" fmla="*/ 157 w 268"/>
                <a:gd name="T77" fmla="*/ 288 h 312"/>
                <a:gd name="T78" fmla="*/ 147 w 268"/>
                <a:gd name="T79" fmla="*/ 291 h 312"/>
                <a:gd name="T80" fmla="*/ 123 w 268"/>
                <a:gd name="T81" fmla="*/ 280 h 312"/>
                <a:gd name="T82" fmla="*/ 123 w 268"/>
                <a:gd name="T83" fmla="*/ 275 h 312"/>
                <a:gd name="T84" fmla="*/ 132 w 268"/>
                <a:gd name="T85" fmla="*/ 269 h 312"/>
                <a:gd name="T86" fmla="*/ 108 w 268"/>
                <a:gd name="T87" fmla="*/ 257 h 312"/>
                <a:gd name="T88" fmla="*/ 96 w 268"/>
                <a:gd name="T89" fmla="*/ 250 h 312"/>
                <a:gd name="T90" fmla="*/ 87 w 268"/>
                <a:gd name="T91" fmla="*/ 243 h 312"/>
                <a:gd name="T92" fmla="*/ 89 w 268"/>
                <a:gd name="T93" fmla="*/ 231 h 312"/>
                <a:gd name="T94" fmla="*/ 86 w 268"/>
                <a:gd name="T95" fmla="*/ 219 h 312"/>
                <a:gd name="T96" fmla="*/ 80 w 268"/>
                <a:gd name="T97" fmla="*/ 217 h 312"/>
                <a:gd name="T98" fmla="*/ 62 w 268"/>
                <a:gd name="T99" fmla="*/ 222 h 312"/>
                <a:gd name="T100" fmla="*/ 59 w 268"/>
                <a:gd name="T101" fmla="*/ 220 h 312"/>
                <a:gd name="T102" fmla="*/ 50 w 268"/>
                <a:gd name="T103" fmla="*/ 205 h 312"/>
                <a:gd name="T104" fmla="*/ 30 w 268"/>
                <a:gd name="T105" fmla="*/ 180 h 312"/>
                <a:gd name="T106" fmla="*/ 15 w 268"/>
                <a:gd name="T107" fmla="*/ 167 h 312"/>
                <a:gd name="T108" fmla="*/ 16 w 268"/>
                <a:gd name="T109" fmla="*/ 154 h 312"/>
                <a:gd name="T110" fmla="*/ 12 w 268"/>
                <a:gd name="T111" fmla="*/ 151 h 312"/>
                <a:gd name="T112" fmla="*/ 1 w 268"/>
                <a:gd name="T113" fmla="*/ 14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" h="312">
                  <a:moveTo>
                    <a:pt x="96" y="0"/>
                  </a:moveTo>
                  <a:lnTo>
                    <a:pt x="96" y="0"/>
                  </a:lnTo>
                  <a:lnTo>
                    <a:pt x="95" y="1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7"/>
                  </a:lnTo>
                  <a:lnTo>
                    <a:pt x="93" y="9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101" y="17"/>
                  </a:lnTo>
                  <a:lnTo>
                    <a:pt x="104" y="20"/>
                  </a:lnTo>
                  <a:lnTo>
                    <a:pt x="105" y="25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27" y="38"/>
                  </a:lnTo>
                  <a:lnTo>
                    <a:pt x="132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9" y="38"/>
                  </a:lnTo>
                  <a:lnTo>
                    <a:pt x="142" y="37"/>
                  </a:lnTo>
                  <a:lnTo>
                    <a:pt x="144" y="37"/>
                  </a:lnTo>
                  <a:lnTo>
                    <a:pt x="145" y="38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58" y="59"/>
                  </a:lnTo>
                  <a:lnTo>
                    <a:pt x="161" y="66"/>
                  </a:lnTo>
                  <a:lnTo>
                    <a:pt x="163" y="74"/>
                  </a:lnTo>
                  <a:lnTo>
                    <a:pt x="163" y="74"/>
                  </a:lnTo>
                  <a:lnTo>
                    <a:pt x="160" y="81"/>
                  </a:lnTo>
                  <a:lnTo>
                    <a:pt x="157" y="87"/>
                  </a:lnTo>
                  <a:lnTo>
                    <a:pt x="157" y="88"/>
                  </a:lnTo>
                  <a:lnTo>
                    <a:pt x="157" y="90"/>
                  </a:lnTo>
                  <a:lnTo>
                    <a:pt x="158" y="93"/>
                  </a:lnTo>
                  <a:lnTo>
                    <a:pt x="161" y="96"/>
                  </a:lnTo>
                  <a:lnTo>
                    <a:pt x="161" y="96"/>
                  </a:lnTo>
                  <a:lnTo>
                    <a:pt x="164" y="99"/>
                  </a:lnTo>
                  <a:lnTo>
                    <a:pt x="166" y="102"/>
                  </a:lnTo>
                  <a:lnTo>
                    <a:pt x="167" y="108"/>
                  </a:lnTo>
                  <a:lnTo>
                    <a:pt x="170" y="114"/>
                  </a:lnTo>
                  <a:lnTo>
                    <a:pt x="172" y="117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8" y="123"/>
                  </a:lnTo>
                  <a:lnTo>
                    <a:pt x="181" y="123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90" y="112"/>
                  </a:lnTo>
                  <a:lnTo>
                    <a:pt x="195" y="111"/>
                  </a:lnTo>
                  <a:lnTo>
                    <a:pt x="200" y="112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12" y="123"/>
                  </a:lnTo>
                  <a:lnTo>
                    <a:pt x="216" y="127"/>
                  </a:lnTo>
                  <a:lnTo>
                    <a:pt x="222" y="133"/>
                  </a:lnTo>
                  <a:lnTo>
                    <a:pt x="228" y="139"/>
                  </a:lnTo>
                  <a:lnTo>
                    <a:pt x="228" y="139"/>
                  </a:lnTo>
                  <a:lnTo>
                    <a:pt x="234" y="145"/>
                  </a:lnTo>
                  <a:lnTo>
                    <a:pt x="240" y="149"/>
                  </a:lnTo>
                  <a:lnTo>
                    <a:pt x="250" y="158"/>
                  </a:lnTo>
                  <a:lnTo>
                    <a:pt x="250" y="158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65" y="171"/>
                  </a:lnTo>
                  <a:lnTo>
                    <a:pt x="267" y="173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67" y="177"/>
                  </a:lnTo>
                  <a:lnTo>
                    <a:pt x="265" y="179"/>
                  </a:lnTo>
                  <a:lnTo>
                    <a:pt x="261" y="183"/>
                  </a:lnTo>
                  <a:lnTo>
                    <a:pt x="256" y="188"/>
                  </a:lnTo>
                  <a:lnTo>
                    <a:pt x="255" y="192"/>
                  </a:lnTo>
                  <a:lnTo>
                    <a:pt x="255" y="192"/>
                  </a:lnTo>
                  <a:lnTo>
                    <a:pt x="256" y="198"/>
                  </a:lnTo>
                  <a:lnTo>
                    <a:pt x="256" y="203"/>
                  </a:lnTo>
                  <a:lnTo>
                    <a:pt x="253" y="207"/>
                  </a:lnTo>
                  <a:lnTo>
                    <a:pt x="253" y="207"/>
                  </a:lnTo>
                  <a:lnTo>
                    <a:pt x="249" y="217"/>
                  </a:lnTo>
                  <a:lnTo>
                    <a:pt x="246" y="226"/>
                  </a:lnTo>
                  <a:lnTo>
                    <a:pt x="246" y="226"/>
                  </a:lnTo>
                  <a:lnTo>
                    <a:pt x="246" y="241"/>
                  </a:lnTo>
                  <a:lnTo>
                    <a:pt x="247" y="248"/>
                  </a:lnTo>
                  <a:lnTo>
                    <a:pt x="249" y="254"/>
                  </a:lnTo>
                  <a:lnTo>
                    <a:pt x="249" y="254"/>
                  </a:lnTo>
                  <a:lnTo>
                    <a:pt x="252" y="259"/>
                  </a:lnTo>
                  <a:lnTo>
                    <a:pt x="253" y="265"/>
                  </a:lnTo>
                  <a:lnTo>
                    <a:pt x="252" y="271"/>
                  </a:lnTo>
                  <a:lnTo>
                    <a:pt x="252" y="272"/>
                  </a:lnTo>
                  <a:lnTo>
                    <a:pt x="250" y="274"/>
                  </a:lnTo>
                  <a:lnTo>
                    <a:pt x="250" y="274"/>
                  </a:lnTo>
                  <a:lnTo>
                    <a:pt x="247" y="277"/>
                  </a:lnTo>
                  <a:lnTo>
                    <a:pt x="244" y="281"/>
                  </a:lnTo>
                  <a:lnTo>
                    <a:pt x="241" y="285"/>
                  </a:lnTo>
                  <a:lnTo>
                    <a:pt x="238" y="290"/>
                  </a:lnTo>
                  <a:lnTo>
                    <a:pt x="238" y="290"/>
                  </a:lnTo>
                  <a:lnTo>
                    <a:pt x="232" y="293"/>
                  </a:lnTo>
                  <a:lnTo>
                    <a:pt x="227" y="294"/>
                  </a:lnTo>
                  <a:lnTo>
                    <a:pt x="221" y="297"/>
                  </a:lnTo>
                  <a:lnTo>
                    <a:pt x="219" y="299"/>
                  </a:lnTo>
                  <a:lnTo>
                    <a:pt x="218" y="300"/>
                  </a:lnTo>
                  <a:lnTo>
                    <a:pt x="218" y="300"/>
                  </a:lnTo>
                  <a:lnTo>
                    <a:pt x="216" y="306"/>
                  </a:lnTo>
                  <a:lnTo>
                    <a:pt x="212" y="311"/>
                  </a:lnTo>
                  <a:lnTo>
                    <a:pt x="209" y="312"/>
                  </a:lnTo>
                  <a:lnTo>
                    <a:pt x="206" y="312"/>
                  </a:lnTo>
                  <a:lnTo>
                    <a:pt x="201" y="312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87" y="300"/>
                  </a:lnTo>
                  <a:lnTo>
                    <a:pt x="179" y="293"/>
                  </a:lnTo>
                  <a:lnTo>
                    <a:pt x="173" y="288"/>
                  </a:lnTo>
                  <a:lnTo>
                    <a:pt x="170" y="287"/>
                  </a:lnTo>
                  <a:lnTo>
                    <a:pt x="167" y="285"/>
                  </a:lnTo>
                  <a:lnTo>
                    <a:pt x="167" y="285"/>
                  </a:lnTo>
                  <a:lnTo>
                    <a:pt x="161" y="287"/>
                  </a:lnTo>
                  <a:lnTo>
                    <a:pt x="157" y="288"/>
                  </a:lnTo>
                  <a:lnTo>
                    <a:pt x="152" y="291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39" y="290"/>
                  </a:lnTo>
                  <a:lnTo>
                    <a:pt x="130" y="284"/>
                  </a:lnTo>
                  <a:lnTo>
                    <a:pt x="123" y="280"/>
                  </a:lnTo>
                  <a:lnTo>
                    <a:pt x="123" y="278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32" y="272"/>
                  </a:lnTo>
                  <a:lnTo>
                    <a:pt x="133" y="271"/>
                  </a:lnTo>
                  <a:lnTo>
                    <a:pt x="132" y="269"/>
                  </a:lnTo>
                  <a:lnTo>
                    <a:pt x="127" y="265"/>
                  </a:lnTo>
                  <a:lnTo>
                    <a:pt x="127" y="265"/>
                  </a:lnTo>
                  <a:lnTo>
                    <a:pt x="108" y="257"/>
                  </a:lnTo>
                  <a:lnTo>
                    <a:pt x="102" y="254"/>
                  </a:lnTo>
                  <a:lnTo>
                    <a:pt x="96" y="250"/>
                  </a:lnTo>
                  <a:lnTo>
                    <a:pt x="96" y="250"/>
                  </a:lnTo>
                  <a:lnTo>
                    <a:pt x="92" y="247"/>
                  </a:lnTo>
                  <a:lnTo>
                    <a:pt x="89" y="245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7" y="237"/>
                  </a:lnTo>
                  <a:lnTo>
                    <a:pt x="89" y="231"/>
                  </a:lnTo>
                  <a:lnTo>
                    <a:pt x="89" y="223"/>
                  </a:lnTo>
                  <a:lnTo>
                    <a:pt x="87" y="222"/>
                  </a:lnTo>
                  <a:lnTo>
                    <a:pt x="86" y="219"/>
                  </a:lnTo>
                  <a:lnTo>
                    <a:pt x="84" y="219"/>
                  </a:lnTo>
                  <a:lnTo>
                    <a:pt x="80" y="217"/>
                  </a:lnTo>
                  <a:lnTo>
                    <a:pt x="80" y="217"/>
                  </a:lnTo>
                  <a:lnTo>
                    <a:pt x="73" y="219"/>
                  </a:lnTo>
                  <a:lnTo>
                    <a:pt x="67" y="220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56" y="213"/>
                  </a:lnTo>
                  <a:lnTo>
                    <a:pt x="50" y="205"/>
                  </a:lnTo>
                  <a:lnTo>
                    <a:pt x="50" y="205"/>
                  </a:lnTo>
                  <a:lnTo>
                    <a:pt x="40" y="192"/>
                  </a:lnTo>
                  <a:lnTo>
                    <a:pt x="30" y="180"/>
                  </a:lnTo>
                  <a:lnTo>
                    <a:pt x="30" y="180"/>
                  </a:lnTo>
                  <a:lnTo>
                    <a:pt x="19" y="174"/>
                  </a:lnTo>
                  <a:lnTo>
                    <a:pt x="16" y="171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8" y="158"/>
                  </a:lnTo>
                  <a:lnTo>
                    <a:pt x="16" y="154"/>
                  </a:lnTo>
                  <a:lnTo>
                    <a:pt x="15" y="152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4" y="151"/>
                  </a:lnTo>
                  <a:lnTo>
                    <a:pt x="3" y="149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0" y="14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0" name="Freeform 159">
              <a:extLst>
                <a:ext uri="{FF2B5EF4-FFF2-40B4-BE49-F238E27FC236}">
                  <a16:creationId xmlns:a16="http://schemas.microsoft.com/office/drawing/2014/main" id="{55B04692-0C06-6C4B-90DD-9FAA4FEFF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888" y="5148263"/>
              <a:ext cx="155575" cy="93662"/>
            </a:xfrm>
            <a:custGeom>
              <a:avLst/>
              <a:gdLst>
                <a:gd name="T0" fmla="*/ 98 w 98"/>
                <a:gd name="T1" fmla="*/ 0 h 59"/>
                <a:gd name="T2" fmla="*/ 98 w 98"/>
                <a:gd name="T3" fmla="*/ 0 h 59"/>
                <a:gd name="T4" fmla="*/ 93 w 98"/>
                <a:gd name="T5" fmla="*/ 0 h 59"/>
                <a:gd name="T6" fmla="*/ 90 w 98"/>
                <a:gd name="T7" fmla="*/ 1 h 59"/>
                <a:gd name="T8" fmla="*/ 89 w 98"/>
                <a:gd name="T9" fmla="*/ 6 h 59"/>
                <a:gd name="T10" fmla="*/ 89 w 98"/>
                <a:gd name="T11" fmla="*/ 6 h 59"/>
                <a:gd name="T12" fmla="*/ 89 w 98"/>
                <a:gd name="T13" fmla="*/ 16 h 59"/>
                <a:gd name="T14" fmla="*/ 87 w 98"/>
                <a:gd name="T15" fmla="*/ 22 h 59"/>
                <a:gd name="T16" fmla="*/ 84 w 98"/>
                <a:gd name="T17" fmla="*/ 24 h 59"/>
                <a:gd name="T18" fmla="*/ 84 w 98"/>
                <a:gd name="T19" fmla="*/ 24 h 59"/>
                <a:gd name="T20" fmla="*/ 80 w 98"/>
                <a:gd name="T21" fmla="*/ 27 h 59"/>
                <a:gd name="T22" fmla="*/ 75 w 98"/>
                <a:gd name="T23" fmla="*/ 31 h 59"/>
                <a:gd name="T24" fmla="*/ 71 w 98"/>
                <a:gd name="T25" fmla="*/ 34 h 59"/>
                <a:gd name="T26" fmla="*/ 65 w 98"/>
                <a:gd name="T27" fmla="*/ 35 h 59"/>
                <a:gd name="T28" fmla="*/ 65 w 98"/>
                <a:gd name="T29" fmla="*/ 35 h 59"/>
                <a:gd name="T30" fmla="*/ 55 w 98"/>
                <a:gd name="T31" fmla="*/ 35 h 59"/>
                <a:gd name="T32" fmla="*/ 50 w 98"/>
                <a:gd name="T33" fmla="*/ 35 h 59"/>
                <a:gd name="T34" fmla="*/ 47 w 98"/>
                <a:gd name="T35" fmla="*/ 38 h 59"/>
                <a:gd name="T36" fmla="*/ 47 w 98"/>
                <a:gd name="T37" fmla="*/ 38 h 59"/>
                <a:gd name="T38" fmla="*/ 46 w 98"/>
                <a:gd name="T39" fmla="*/ 44 h 59"/>
                <a:gd name="T40" fmla="*/ 43 w 98"/>
                <a:gd name="T41" fmla="*/ 49 h 59"/>
                <a:gd name="T42" fmla="*/ 40 w 98"/>
                <a:gd name="T43" fmla="*/ 50 h 59"/>
                <a:gd name="T44" fmla="*/ 37 w 98"/>
                <a:gd name="T45" fmla="*/ 52 h 59"/>
                <a:gd name="T46" fmla="*/ 34 w 98"/>
                <a:gd name="T47" fmla="*/ 50 h 59"/>
                <a:gd name="T48" fmla="*/ 34 w 98"/>
                <a:gd name="T49" fmla="*/ 50 h 59"/>
                <a:gd name="T50" fmla="*/ 32 w 98"/>
                <a:gd name="T51" fmla="*/ 49 h 59"/>
                <a:gd name="T52" fmla="*/ 30 w 98"/>
                <a:gd name="T53" fmla="*/ 49 h 59"/>
                <a:gd name="T54" fmla="*/ 25 w 98"/>
                <a:gd name="T55" fmla="*/ 52 h 59"/>
                <a:gd name="T56" fmla="*/ 21 w 98"/>
                <a:gd name="T57" fmla="*/ 56 h 59"/>
                <a:gd name="T58" fmla="*/ 18 w 98"/>
                <a:gd name="T59" fmla="*/ 59 h 59"/>
                <a:gd name="T60" fmla="*/ 18 w 98"/>
                <a:gd name="T61" fmla="*/ 59 h 59"/>
                <a:gd name="T62" fmla="*/ 16 w 98"/>
                <a:gd name="T63" fmla="*/ 59 h 59"/>
                <a:gd name="T64" fmla="*/ 13 w 98"/>
                <a:gd name="T65" fmla="*/ 58 h 59"/>
                <a:gd name="T66" fmla="*/ 13 w 98"/>
                <a:gd name="T67" fmla="*/ 58 h 59"/>
                <a:gd name="T68" fmla="*/ 6 w 98"/>
                <a:gd name="T69" fmla="*/ 53 h 59"/>
                <a:gd name="T70" fmla="*/ 0 w 98"/>
                <a:gd name="T71" fmla="*/ 4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8" h="59">
                  <a:moveTo>
                    <a:pt x="98" y="0"/>
                  </a:moveTo>
                  <a:lnTo>
                    <a:pt x="98" y="0"/>
                  </a:lnTo>
                  <a:lnTo>
                    <a:pt x="93" y="0"/>
                  </a:lnTo>
                  <a:lnTo>
                    <a:pt x="90" y="1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16"/>
                  </a:lnTo>
                  <a:lnTo>
                    <a:pt x="87" y="22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0" y="27"/>
                  </a:lnTo>
                  <a:lnTo>
                    <a:pt x="75" y="31"/>
                  </a:lnTo>
                  <a:lnTo>
                    <a:pt x="71" y="34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55" y="35"/>
                  </a:lnTo>
                  <a:lnTo>
                    <a:pt x="50" y="35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6" y="44"/>
                  </a:lnTo>
                  <a:lnTo>
                    <a:pt x="43" y="49"/>
                  </a:lnTo>
                  <a:lnTo>
                    <a:pt x="40" y="50"/>
                  </a:lnTo>
                  <a:lnTo>
                    <a:pt x="37" y="52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2" y="49"/>
                  </a:lnTo>
                  <a:lnTo>
                    <a:pt x="30" y="49"/>
                  </a:lnTo>
                  <a:lnTo>
                    <a:pt x="25" y="52"/>
                  </a:lnTo>
                  <a:lnTo>
                    <a:pt x="21" y="56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6" y="59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6" y="53"/>
                  </a:lnTo>
                  <a:lnTo>
                    <a:pt x="0" y="49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1" name="Freeform 160">
              <a:extLst>
                <a:ext uri="{FF2B5EF4-FFF2-40B4-BE49-F238E27FC236}">
                  <a16:creationId xmlns:a16="http://schemas.microsoft.com/office/drawing/2014/main" id="{C48ACC9C-FD2F-EB4E-9CF6-8B3EB8D7B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5037138"/>
              <a:ext cx="762000" cy="342900"/>
            </a:xfrm>
            <a:custGeom>
              <a:avLst/>
              <a:gdLst>
                <a:gd name="T0" fmla="*/ 9 w 480"/>
                <a:gd name="T1" fmla="*/ 11 h 216"/>
                <a:gd name="T2" fmla="*/ 0 w 480"/>
                <a:gd name="T3" fmla="*/ 36 h 216"/>
                <a:gd name="T4" fmla="*/ 5 w 480"/>
                <a:gd name="T5" fmla="*/ 57 h 216"/>
                <a:gd name="T6" fmla="*/ 11 w 480"/>
                <a:gd name="T7" fmla="*/ 61 h 216"/>
                <a:gd name="T8" fmla="*/ 14 w 480"/>
                <a:gd name="T9" fmla="*/ 77 h 216"/>
                <a:gd name="T10" fmla="*/ 30 w 480"/>
                <a:gd name="T11" fmla="*/ 92 h 216"/>
                <a:gd name="T12" fmla="*/ 40 w 480"/>
                <a:gd name="T13" fmla="*/ 98 h 216"/>
                <a:gd name="T14" fmla="*/ 52 w 480"/>
                <a:gd name="T15" fmla="*/ 119 h 216"/>
                <a:gd name="T16" fmla="*/ 58 w 480"/>
                <a:gd name="T17" fmla="*/ 138 h 216"/>
                <a:gd name="T18" fmla="*/ 59 w 480"/>
                <a:gd name="T19" fmla="*/ 162 h 216"/>
                <a:gd name="T20" fmla="*/ 67 w 480"/>
                <a:gd name="T21" fmla="*/ 181 h 216"/>
                <a:gd name="T22" fmla="*/ 70 w 480"/>
                <a:gd name="T23" fmla="*/ 187 h 216"/>
                <a:gd name="T24" fmla="*/ 67 w 480"/>
                <a:gd name="T25" fmla="*/ 193 h 216"/>
                <a:gd name="T26" fmla="*/ 71 w 480"/>
                <a:gd name="T27" fmla="*/ 199 h 216"/>
                <a:gd name="T28" fmla="*/ 88 w 480"/>
                <a:gd name="T29" fmla="*/ 212 h 216"/>
                <a:gd name="T30" fmla="*/ 99 w 480"/>
                <a:gd name="T31" fmla="*/ 212 h 216"/>
                <a:gd name="T32" fmla="*/ 108 w 480"/>
                <a:gd name="T33" fmla="*/ 205 h 216"/>
                <a:gd name="T34" fmla="*/ 119 w 480"/>
                <a:gd name="T35" fmla="*/ 200 h 216"/>
                <a:gd name="T36" fmla="*/ 139 w 480"/>
                <a:gd name="T37" fmla="*/ 193 h 216"/>
                <a:gd name="T38" fmla="*/ 147 w 480"/>
                <a:gd name="T39" fmla="*/ 188 h 216"/>
                <a:gd name="T40" fmla="*/ 165 w 480"/>
                <a:gd name="T41" fmla="*/ 188 h 216"/>
                <a:gd name="T42" fmla="*/ 150 w 480"/>
                <a:gd name="T43" fmla="*/ 197 h 216"/>
                <a:gd name="T44" fmla="*/ 148 w 480"/>
                <a:gd name="T45" fmla="*/ 205 h 216"/>
                <a:gd name="T46" fmla="*/ 160 w 480"/>
                <a:gd name="T47" fmla="*/ 215 h 216"/>
                <a:gd name="T48" fmla="*/ 168 w 480"/>
                <a:gd name="T49" fmla="*/ 216 h 216"/>
                <a:gd name="T50" fmla="*/ 185 w 480"/>
                <a:gd name="T51" fmla="*/ 211 h 216"/>
                <a:gd name="T52" fmla="*/ 205 w 480"/>
                <a:gd name="T53" fmla="*/ 208 h 216"/>
                <a:gd name="T54" fmla="*/ 218 w 480"/>
                <a:gd name="T55" fmla="*/ 203 h 216"/>
                <a:gd name="T56" fmla="*/ 218 w 480"/>
                <a:gd name="T57" fmla="*/ 187 h 216"/>
                <a:gd name="T58" fmla="*/ 216 w 480"/>
                <a:gd name="T59" fmla="*/ 172 h 216"/>
                <a:gd name="T60" fmla="*/ 222 w 480"/>
                <a:gd name="T61" fmla="*/ 160 h 216"/>
                <a:gd name="T62" fmla="*/ 231 w 480"/>
                <a:gd name="T63" fmla="*/ 159 h 216"/>
                <a:gd name="T64" fmla="*/ 240 w 480"/>
                <a:gd name="T65" fmla="*/ 157 h 216"/>
                <a:gd name="T66" fmla="*/ 255 w 480"/>
                <a:gd name="T67" fmla="*/ 148 h 216"/>
                <a:gd name="T68" fmla="*/ 265 w 480"/>
                <a:gd name="T69" fmla="*/ 148 h 216"/>
                <a:gd name="T70" fmla="*/ 259 w 480"/>
                <a:gd name="T71" fmla="*/ 123 h 216"/>
                <a:gd name="T72" fmla="*/ 262 w 480"/>
                <a:gd name="T73" fmla="*/ 117 h 216"/>
                <a:gd name="T74" fmla="*/ 276 w 480"/>
                <a:gd name="T75" fmla="*/ 108 h 216"/>
                <a:gd name="T76" fmla="*/ 271 w 480"/>
                <a:gd name="T77" fmla="*/ 99 h 216"/>
                <a:gd name="T78" fmla="*/ 268 w 480"/>
                <a:gd name="T79" fmla="*/ 91 h 216"/>
                <a:gd name="T80" fmla="*/ 279 w 480"/>
                <a:gd name="T81" fmla="*/ 79 h 216"/>
                <a:gd name="T82" fmla="*/ 283 w 480"/>
                <a:gd name="T83" fmla="*/ 79 h 216"/>
                <a:gd name="T84" fmla="*/ 298 w 480"/>
                <a:gd name="T85" fmla="*/ 85 h 216"/>
                <a:gd name="T86" fmla="*/ 310 w 480"/>
                <a:gd name="T87" fmla="*/ 77 h 216"/>
                <a:gd name="T88" fmla="*/ 323 w 480"/>
                <a:gd name="T89" fmla="*/ 77 h 216"/>
                <a:gd name="T90" fmla="*/ 347 w 480"/>
                <a:gd name="T91" fmla="*/ 94 h 216"/>
                <a:gd name="T92" fmla="*/ 360 w 480"/>
                <a:gd name="T93" fmla="*/ 95 h 216"/>
                <a:gd name="T94" fmla="*/ 367 w 480"/>
                <a:gd name="T95" fmla="*/ 94 h 216"/>
                <a:gd name="T96" fmla="*/ 376 w 480"/>
                <a:gd name="T97" fmla="*/ 85 h 216"/>
                <a:gd name="T98" fmla="*/ 388 w 480"/>
                <a:gd name="T99" fmla="*/ 71 h 216"/>
                <a:gd name="T100" fmla="*/ 397 w 480"/>
                <a:gd name="T101" fmla="*/ 61 h 216"/>
                <a:gd name="T102" fmla="*/ 405 w 480"/>
                <a:gd name="T103" fmla="*/ 61 h 216"/>
                <a:gd name="T104" fmla="*/ 409 w 480"/>
                <a:gd name="T105" fmla="*/ 71 h 216"/>
                <a:gd name="T106" fmla="*/ 421 w 480"/>
                <a:gd name="T107" fmla="*/ 76 h 216"/>
                <a:gd name="T108" fmla="*/ 430 w 480"/>
                <a:gd name="T109" fmla="*/ 80 h 216"/>
                <a:gd name="T110" fmla="*/ 442 w 480"/>
                <a:gd name="T111" fmla="*/ 88 h 216"/>
                <a:gd name="T112" fmla="*/ 461 w 480"/>
                <a:gd name="T113" fmla="*/ 79 h 216"/>
                <a:gd name="T114" fmla="*/ 476 w 480"/>
                <a:gd name="T115" fmla="*/ 74 h 216"/>
                <a:gd name="T116" fmla="*/ 477 w 480"/>
                <a:gd name="T117" fmla="*/ 61 h 216"/>
                <a:gd name="T118" fmla="*/ 462 w 480"/>
                <a:gd name="T119" fmla="*/ 42 h 216"/>
                <a:gd name="T120" fmla="*/ 442 w 480"/>
                <a:gd name="T121" fmla="*/ 1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" h="216">
                  <a:moveTo>
                    <a:pt x="14" y="0"/>
                  </a:moveTo>
                  <a:lnTo>
                    <a:pt x="14" y="0"/>
                  </a:lnTo>
                  <a:lnTo>
                    <a:pt x="9" y="11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lnTo>
                    <a:pt x="3" y="54"/>
                  </a:lnTo>
                  <a:lnTo>
                    <a:pt x="5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1" y="68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21" y="86"/>
                  </a:lnTo>
                  <a:lnTo>
                    <a:pt x="30" y="92"/>
                  </a:lnTo>
                  <a:lnTo>
                    <a:pt x="36" y="97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5" y="102"/>
                  </a:lnTo>
                  <a:lnTo>
                    <a:pt x="49" y="110"/>
                  </a:lnTo>
                  <a:lnTo>
                    <a:pt x="52" y="119"/>
                  </a:lnTo>
                  <a:lnTo>
                    <a:pt x="55" y="128"/>
                  </a:lnTo>
                  <a:lnTo>
                    <a:pt x="55" y="128"/>
                  </a:lnTo>
                  <a:lnTo>
                    <a:pt x="58" y="138"/>
                  </a:lnTo>
                  <a:lnTo>
                    <a:pt x="58" y="151"/>
                  </a:lnTo>
                  <a:lnTo>
                    <a:pt x="58" y="151"/>
                  </a:lnTo>
                  <a:lnTo>
                    <a:pt x="59" y="162"/>
                  </a:lnTo>
                  <a:lnTo>
                    <a:pt x="61" y="171"/>
                  </a:lnTo>
                  <a:lnTo>
                    <a:pt x="64" y="176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70" y="184"/>
                  </a:lnTo>
                  <a:lnTo>
                    <a:pt x="70" y="187"/>
                  </a:lnTo>
                  <a:lnTo>
                    <a:pt x="68" y="190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6"/>
                  </a:lnTo>
                  <a:lnTo>
                    <a:pt x="71" y="199"/>
                  </a:lnTo>
                  <a:lnTo>
                    <a:pt x="82" y="208"/>
                  </a:lnTo>
                  <a:lnTo>
                    <a:pt x="82" y="208"/>
                  </a:lnTo>
                  <a:lnTo>
                    <a:pt x="88" y="212"/>
                  </a:lnTo>
                  <a:lnTo>
                    <a:pt x="92" y="215"/>
                  </a:lnTo>
                  <a:lnTo>
                    <a:pt x="97" y="215"/>
                  </a:lnTo>
                  <a:lnTo>
                    <a:pt x="99" y="212"/>
                  </a:lnTo>
                  <a:lnTo>
                    <a:pt x="99" y="212"/>
                  </a:lnTo>
                  <a:lnTo>
                    <a:pt x="104" y="208"/>
                  </a:lnTo>
                  <a:lnTo>
                    <a:pt x="108" y="205"/>
                  </a:lnTo>
                  <a:lnTo>
                    <a:pt x="113" y="20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26" y="200"/>
                  </a:lnTo>
                  <a:lnTo>
                    <a:pt x="134" y="197"/>
                  </a:lnTo>
                  <a:lnTo>
                    <a:pt x="139" y="193"/>
                  </a:lnTo>
                  <a:lnTo>
                    <a:pt x="144" y="190"/>
                  </a:lnTo>
                  <a:lnTo>
                    <a:pt x="144" y="190"/>
                  </a:lnTo>
                  <a:lnTo>
                    <a:pt x="147" y="188"/>
                  </a:lnTo>
                  <a:lnTo>
                    <a:pt x="154" y="188"/>
                  </a:lnTo>
                  <a:lnTo>
                    <a:pt x="165" y="188"/>
                  </a:lnTo>
                  <a:lnTo>
                    <a:pt x="165" y="188"/>
                  </a:lnTo>
                  <a:lnTo>
                    <a:pt x="157" y="191"/>
                  </a:lnTo>
                  <a:lnTo>
                    <a:pt x="151" y="196"/>
                  </a:lnTo>
                  <a:lnTo>
                    <a:pt x="150" y="197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48" y="205"/>
                  </a:lnTo>
                  <a:lnTo>
                    <a:pt x="151" y="209"/>
                  </a:lnTo>
                  <a:lnTo>
                    <a:pt x="156" y="214"/>
                  </a:lnTo>
                  <a:lnTo>
                    <a:pt x="160" y="215"/>
                  </a:lnTo>
                  <a:lnTo>
                    <a:pt x="160" y="215"/>
                  </a:lnTo>
                  <a:lnTo>
                    <a:pt x="163" y="216"/>
                  </a:lnTo>
                  <a:lnTo>
                    <a:pt x="168" y="216"/>
                  </a:lnTo>
                  <a:lnTo>
                    <a:pt x="175" y="215"/>
                  </a:lnTo>
                  <a:lnTo>
                    <a:pt x="175" y="215"/>
                  </a:lnTo>
                  <a:lnTo>
                    <a:pt x="185" y="211"/>
                  </a:lnTo>
                  <a:lnTo>
                    <a:pt x="185" y="211"/>
                  </a:lnTo>
                  <a:lnTo>
                    <a:pt x="194" y="209"/>
                  </a:lnTo>
                  <a:lnTo>
                    <a:pt x="205" y="208"/>
                  </a:lnTo>
                  <a:lnTo>
                    <a:pt x="213" y="206"/>
                  </a:lnTo>
                  <a:lnTo>
                    <a:pt x="216" y="205"/>
                  </a:lnTo>
                  <a:lnTo>
                    <a:pt x="218" y="203"/>
                  </a:lnTo>
                  <a:lnTo>
                    <a:pt x="218" y="203"/>
                  </a:lnTo>
                  <a:lnTo>
                    <a:pt x="218" y="197"/>
                  </a:lnTo>
                  <a:lnTo>
                    <a:pt x="218" y="187"/>
                  </a:lnTo>
                  <a:lnTo>
                    <a:pt x="218" y="187"/>
                  </a:lnTo>
                  <a:lnTo>
                    <a:pt x="216" y="179"/>
                  </a:lnTo>
                  <a:lnTo>
                    <a:pt x="216" y="172"/>
                  </a:lnTo>
                  <a:lnTo>
                    <a:pt x="218" y="165"/>
                  </a:lnTo>
                  <a:lnTo>
                    <a:pt x="221" y="162"/>
                  </a:lnTo>
                  <a:lnTo>
                    <a:pt x="222" y="160"/>
                  </a:lnTo>
                  <a:lnTo>
                    <a:pt x="222" y="160"/>
                  </a:lnTo>
                  <a:lnTo>
                    <a:pt x="228" y="159"/>
                  </a:lnTo>
                  <a:lnTo>
                    <a:pt x="231" y="159"/>
                  </a:lnTo>
                  <a:lnTo>
                    <a:pt x="236" y="159"/>
                  </a:lnTo>
                  <a:lnTo>
                    <a:pt x="240" y="157"/>
                  </a:lnTo>
                  <a:lnTo>
                    <a:pt x="240" y="157"/>
                  </a:lnTo>
                  <a:lnTo>
                    <a:pt x="246" y="156"/>
                  </a:lnTo>
                  <a:lnTo>
                    <a:pt x="251" y="153"/>
                  </a:lnTo>
                  <a:lnTo>
                    <a:pt x="255" y="148"/>
                  </a:lnTo>
                  <a:lnTo>
                    <a:pt x="255" y="148"/>
                  </a:lnTo>
                  <a:lnTo>
                    <a:pt x="261" y="147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1" y="134"/>
                  </a:lnTo>
                  <a:lnTo>
                    <a:pt x="259" y="123"/>
                  </a:lnTo>
                  <a:lnTo>
                    <a:pt x="261" y="119"/>
                  </a:lnTo>
                  <a:lnTo>
                    <a:pt x="262" y="117"/>
                  </a:lnTo>
                  <a:lnTo>
                    <a:pt x="262" y="117"/>
                  </a:lnTo>
                  <a:lnTo>
                    <a:pt x="273" y="113"/>
                  </a:lnTo>
                  <a:lnTo>
                    <a:pt x="276" y="111"/>
                  </a:lnTo>
                  <a:lnTo>
                    <a:pt x="276" y="108"/>
                  </a:lnTo>
                  <a:lnTo>
                    <a:pt x="276" y="108"/>
                  </a:lnTo>
                  <a:lnTo>
                    <a:pt x="274" y="104"/>
                  </a:lnTo>
                  <a:lnTo>
                    <a:pt x="271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8" y="91"/>
                  </a:lnTo>
                  <a:lnTo>
                    <a:pt x="271" y="86"/>
                  </a:lnTo>
                  <a:lnTo>
                    <a:pt x="274" y="82"/>
                  </a:lnTo>
                  <a:lnTo>
                    <a:pt x="279" y="79"/>
                  </a:lnTo>
                  <a:lnTo>
                    <a:pt x="282" y="79"/>
                  </a:lnTo>
                  <a:lnTo>
                    <a:pt x="283" y="79"/>
                  </a:lnTo>
                  <a:lnTo>
                    <a:pt x="283" y="79"/>
                  </a:lnTo>
                  <a:lnTo>
                    <a:pt x="290" y="85"/>
                  </a:lnTo>
                  <a:lnTo>
                    <a:pt x="293" y="86"/>
                  </a:lnTo>
                  <a:lnTo>
                    <a:pt x="298" y="85"/>
                  </a:lnTo>
                  <a:lnTo>
                    <a:pt x="298" y="85"/>
                  </a:lnTo>
                  <a:lnTo>
                    <a:pt x="304" y="80"/>
                  </a:lnTo>
                  <a:lnTo>
                    <a:pt x="310" y="77"/>
                  </a:lnTo>
                  <a:lnTo>
                    <a:pt x="316" y="76"/>
                  </a:lnTo>
                  <a:lnTo>
                    <a:pt x="323" y="77"/>
                  </a:lnTo>
                  <a:lnTo>
                    <a:pt x="323" y="77"/>
                  </a:lnTo>
                  <a:lnTo>
                    <a:pt x="336" y="85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50" y="95"/>
                  </a:lnTo>
                  <a:lnTo>
                    <a:pt x="353" y="95"/>
                  </a:lnTo>
                  <a:lnTo>
                    <a:pt x="360" y="95"/>
                  </a:lnTo>
                  <a:lnTo>
                    <a:pt x="360" y="95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70" y="92"/>
                  </a:lnTo>
                  <a:lnTo>
                    <a:pt x="373" y="91"/>
                  </a:lnTo>
                  <a:lnTo>
                    <a:pt x="376" y="85"/>
                  </a:lnTo>
                  <a:lnTo>
                    <a:pt x="376" y="85"/>
                  </a:lnTo>
                  <a:lnTo>
                    <a:pt x="381" y="79"/>
                  </a:lnTo>
                  <a:lnTo>
                    <a:pt x="388" y="71"/>
                  </a:lnTo>
                  <a:lnTo>
                    <a:pt x="388" y="71"/>
                  </a:lnTo>
                  <a:lnTo>
                    <a:pt x="394" y="64"/>
                  </a:lnTo>
                  <a:lnTo>
                    <a:pt x="397" y="61"/>
                  </a:lnTo>
                  <a:lnTo>
                    <a:pt x="402" y="59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5" y="64"/>
                  </a:lnTo>
                  <a:lnTo>
                    <a:pt x="405" y="68"/>
                  </a:lnTo>
                  <a:lnTo>
                    <a:pt x="409" y="71"/>
                  </a:lnTo>
                  <a:lnTo>
                    <a:pt x="409" y="71"/>
                  </a:lnTo>
                  <a:lnTo>
                    <a:pt x="415" y="74"/>
                  </a:lnTo>
                  <a:lnTo>
                    <a:pt x="421" y="76"/>
                  </a:lnTo>
                  <a:lnTo>
                    <a:pt x="425" y="77"/>
                  </a:lnTo>
                  <a:lnTo>
                    <a:pt x="430" y="80"/>
                  </a:lnTo>
                  <a:lnTo>
                    <a:pt x="430" y="80"/>
                  </a:lnTo>
                  <a:lnTo>
                    <a:pt x="434" y="85"/>
                  </a:lnTo>
                  <a:lnTo>
                    <a:pt x="437" y="88"/>
                  </a:lnTo>
                  <a:lnTo>
                    <a:pt x="442" y="88"/>
                  </a:lnTo>
                  <a:lnTo>
                    <a:pt x="447" y="86"/>
                  </a:lnTo>
                  <a:lnTo>
                    <a:pt x="447" y="86"/>
                  </a:lnTo>
                  <a:lnTo>
                    <a:pt x="461" y="79"/>
                  </a:lnTo>
                  <a:lnTo>
                    <a:pt x="473" y="77"/>
                  </a:lnTo>
                  <a:lnTo>
                    <a:pt x="473" y="77"/>
                  </a:lnTo>
                  <a:lnTo>
                    <a:pt x="476" y="74"/>
                  </a:lnTo>
                  <a:lnTo>
                    <a:pt x="479" y="71"/>
                  </a:lnTo>
                  <a:lnTo>
                    <a:pt x="480" y="67"/>
                  </a:lnTo>
                  <a:lnTo>
                    <a:pt x="477" y="61"/>
                  </a:lnTo>
                  <a:lnTo>
                    <a:pt x="477" y="61"/>
                  </a:lnTo>
                  <a:lnTo>
                    <a:pt x="471" y="52"/>
                  </a:lnTo>
                  <a:lnTo>
                    <a:pt x="462" y="42"/>
                  </a:lnTo>
                  <a:lnTo>
                    <a:pt x="446" y="22"/>
                  </a:lnTo>
                  <a:lnTo>
                    <a:pt x="446" y="22"/>
                  </a:lnTo>
                  <a:lnTo>
                    <a:pt x="442" y="17"/>
                  </a:lnTo>
                  <a:lnTo>
                    <a:pt x="440" y="11"/>
                  </a:lnTo>
                  <a:lnTo>
                    <a:pt x="437" y="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2" name="Freeform 161">
              <a:extLst>
                <a:ext uri="{FF2B5EF4-FFF2-40B4-BE49-F238E27FC236}">
                  <a16:creationId xmlns:a16="http://schemas.microsoft.com/office/drawing/2014/main" id="{A9B6171E-F068-4547-9A1D-771FEFC5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4879975"/>
              <a:ext cx="296863" cy="160337"/>
            </a:xfrm>
            <a:custGeom>
              <a:avLst/>
              <a:gdLst>
                <a:gd name="T0" fmla="*/ 0 w 187"/>
                <a:gd name="T1" fmla="*/ 0 h 101"/>
                <a:gd name="T2" fmla="*/ 0 w 187"/>
                <a:gd name="T3" fmla="*/ 0 h 101"/>
                <a:gd name="T4" fmla="*/ 11 w 187"/>
                <a:gd name="T5" fmla="*/ 24 h 101"/>
                <a:gd name="T6" fmla="*/ 11 w 187"/>
                <a:gd name="T7" fmla="*/ 24 h 101"/>
                <a:gd name="T8" fmla="*/ 11 w 187"/>
                <a:gd name="T9" fmla="*/ 28 h 101"/>
                <a:gd name="T10" fmla="*/ 11 w 187"/>
                <a:gd name="T11" fmla="*/ 34 h 101"/>
                <a:gd name="T12" fmla="*/ 11 w 187"/>
                <a:gd name="T13" fmla="*/ 40 h 101"/>
                <a:gd name="T14" fmla="*/ 11 w 187"/>
                <a:gd name="T15" fmla="*/ 43 h 101"/>
                <a:gd name="T16" fmla="*/ 12 w 187"/>
                <a:gd name="T17" fmla="*/ 46 h 101"/>
                <a:gd name="T18" fmla="*/ 12 w 187"/>
                <a:gd name="T19" fmla="*/ 46 h 101"/>
                <a:gd name="T20" fmla="*/ 16 w 187"/>
                <a:gd name="T21" fmla="*/ 49 h 101"/>
                <a:gd name="T22" fmla="*/ 19 w 187"/>
                <a:gd name="T23" fmla="*/ 52 h 101"/>
                <a:gd name="T24" fmla="*/ 22 w 187"/>
                <a:gd name="T25" fmla="*/ 53 h 101"/>
                <a:gd name="T26" fmla="*/ 27 w 187"/>
                <a:gd name="T27" fmla="*/ 58 h 101"/>
                <a:gd name="T28" fmla="*/ 27 w 187"/>
                <a:gd name="T29" fmla="*/ 58 h 101"/>
                <a:gd name="T30" fmla="*/ 33 w 187"/>
                <a:gd name="T31" fmla="*/ 68 h 101"/>
                <a:gd name="T32" fmla="*/ 36 w 187"/>
                <a:gd name="T33" fmla="*/ 77 h 101"/>
                <a:gd name="T34" fmla="*/ 36 w 187"/>
                <a:gd name="T35" fmla="*/ 77 h 101"/>
                <a:gd name="T36" fmla="*/ 39 w 187"/>
                <a:gd name="T37" fmla="*/ 89 h 101"/>
                <a:gd name="T38" fmla="*/ 42 w 187"/>
                <a:gd name="T39" fmla="*/ 95 h 101"/>
                <a:gd name="T40" fmla="*/ 45 w 187"/>
                <a:gd name="T41" fmla="*/ 99 h 101"/>
                <a:gd name="T42" fmla="*/ 45 w 187"/>
                <a:gd name="T43" fmla="*/ 99 h 101"/>
                <a:gd name="T44" fmla="*/ 48 w 187"/>
                <a:gd name="T45" fmla="*/ 101 h 101"/>
                <a:gd name="T46" fmla="*/ 53 w 187"/>
                <a:gd name="T47" fmla="*/ 101 h 101"/>
                <a:gd name="T48" fmla="*/ 70 w 187"/>
                <a:gd name="T49" fmla="*/ 99 h 101"/>
                <a:gd name="T50" fmla="*/ 70 w 187"/>
                <a:gd name="T51" fmla="*/ 99 h 101"/>
                <a:gd name="T52" fmla="*/ 77 w 187"/>
                <a:gd name="T53" fmla="*/ 98 h 101"/>
                <a:gd name="T54" fmla="*/ 83 w 187"/>
                <a:gd name="T55" fmla="*/ 96 h 101"/>
                <a:gd name="T56" fmla="*/ 88 w 187"/>
                <a:gd name="T57" fmla="*/ 93 h 101"/>
                <a:gd name="T58" fmla="*/ 90 w 187"/>
                <a:gd name="T59" fmla="*/ 90 h 101"/>
                <a:gd name="T60" fmla="*/ 90 w 187"/>
                <a:gd name="T61" fmla="*/ 90 h 101"/>
                <a:gd name="T62" fmla="*/ 96 w 187"/>
                <a:gd name="T63" fmla="*/ 87 h 101"/>
                <a:gd name="T64" fmla="*/ 104 w 187"/>
                <a:gd name="T65" fmla="*/ 86 h 101"/>
                <a:gd name="T66" fmla="*/ 113 w 187"/>
                <a:gd name="T67" fmla="*/ 86 h 101"/>
                <a:gd name="T68" fmla="*/ 120 w 187"/>
                <a:gd name="T69" fmla="*/ 87 h 101"/>
                <a:gd name="T70" fmla="*/ 120 w 187"/>
                <a:gd name="T71" fmla="*/ 87 h 101"/>
                <a:gd name="T72" fmla="*/ 128 w 187"/>
                <a:gd name="T73" fmla="*/ 89 h 101"/>
                <a:gd name="T74" fmla="*/ 133 w 187"/>
                <a:gd name="T75" fmla="*/ 89 h 101"/>
                <a:gd name="T76" fmla="*/ 139 w 187"/>
                <a:gd name="T77" fmla="*/ 89 h 101"/>
                <a:gd name="T78" fmla="*/ 144 w 187"/>
                <a:gd name="T79" fmla="*/ 86 h 101"/>
                <a:gd name="T80" fmla="*/ 144 w 187"/>
                <a:gd name="T81" fmla="*/ 86 h 101"/>
                <a:gd name="T82" fmla="*/ 150 w 187"/>
                <a:gd name="T83" fmla="*/ 80 h 101"/>
                <a:gd name="T84" fmla="*/ 153 w 187"/>
                <a:gd name="T85" fmla="*/ 77 h 101"/>
                <a:gd name="T86" fmla="*/ 157 w 187"/>
                <a:gd name="T87" fmla="*/ 76 h 101"/>
                <a:gd name="T88" fmla="*/ 157 w 187"/>
                <a:gd name="T89" fmla="*/ 76 h 101"/>
                <a:gd name="T90" fmla="*/ 162 w 187"/>
                <a:gd name="T91" fmla="*/ 76 h 101"/>
                <a:gd name="T92" fmla="*/ 167 w 187"/>
                <a:gd name="T93" fmla="*/ 77 h 101"/>
                <a:gd name="T94" fmla="*/ 173 w 187"/>
                <a:gd name="T95" fmla="*/ 80 h 101"/>
                <a:gd name="T96" fmla="*/ 187 w 187"/>
                <a:gd name="T97" fmla="*/ 5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01">
                  <a:moveTo>
                    <a:pt x="0" y="0"/>
                  </a:moveTo>
                  <a:lnTo>
                    <a:pt x="0" y="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8"/>
                  </a:lnTo>
                  <a:lnTo>
                    <a:pt x="11" y="34"/>
                  </a:lnTo>
                  <a:lnTo>
                    <a:pt x="11" y="40"/>
                  </a:lnTo>
                  <a:lnTo>
                    <a:pt x="11" y="43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6" y="49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33" y="68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9" y="89"/>
                  </a:lnTo>
                  <a:lnTo>
                    <a:pt x="42" y="95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53" y="101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7" y="98"/>
                  </a:lnTo>
                  <a:lnTo>
                    <a:pt x="83" y="96"/>
                  </a:lnTo>
                  <a:lnTo>
                    <a:pt x="88" y="93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6" y="87"/>
                  </a:lnTo>
                  <a:lnTo>
                    <a:pt x="104" y="86"/>
                  </a:lnTo>
                  <a:lnTo>
                    <a:pt x="113" y="86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8" y="89"/>
                  </a:lnTo>
                  <a:lnTo>
                    <a:pt x="133" y="89"/>
                  </a:lnTo>
                  <a:lnTo>
                    <a:pt x="139" y="89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50" y="80"/>
                  </a:lnTo>
                  <a:lnTo>
                    <a:pt x="153" y="77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62" y="76"/>
                  </a:lnTo>
                  <a:lnTo>
                    <a:pt x="167" y="77"/>
                  </a:lnTo>
                  <a:lnTo>
                    <a:pt x="173" y="80"/>
                  </a:lnTo>
                  <a:lnTo>
                    <a:pt x="187" y="55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3" name="Freeform 162">
              <a:extLst>
                <a:ext uri="{FF2B5EF4-FFF2-40B4-BE49-F238E27FC236}">
                  <a16:creationId xmlns:a16="http://schemas.microsoft.com/office/drawing/2014/main" id="{B45B8198-6A10-EE4F-ABD4-4E881E35F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425" y="4678363"/>
              <a:ext cx="315913" cy="298450"/>
            </a:xfrm>
            <a:custGeom>
              <a:avLst/>
              <a:gdLst>
                <a:gd name="T0" fmla="*/ 0 w 199"/>
                <a:gd name="T1" fmla="*/ 0 h 188"/>
                <a:gd name="T2" fmla="*/ 14 w 199"/>
                <a:gd name="T3" fmla="*/ 12 h 188"/>
                <a:gd name="T4" fmla="*/ 17 w 199"/>
                <a:gd name="T5" fmla="*/ 16 h 188"/>
                <a:gd name="T6" fmla="*/ 12 w 199"/>
                <a:gd name="T7" fmla="*/ 22 h 188"/>
                <a:gd name="T8" fmla="*/ 8 w 199"/>
                <a:gd name="T9" fmla="*/ 28 h 188"/>
                <a:gd name="T10" fmla="*/ 5 w 199"/>
                <a:gd name="T11" fmla="*/ 35 h 188"/>
                <a:gd name="T12" fmla="*/ 3 w 199"/>
                <a:gd name="T13" fmla="*/ 51 h 188"/>
                <a:gd name="T14" fmla="*/ 5 w 199"/>
                <a:gd name="T15" fmla="*/ 60 h 188"/>
                <a:gd name="T16" fmla="*/ 8 w 199"/>
                <a:gd name="T17" fmla="*/ 63 h 188"/>
                <a:gd name="T18" fmla="*/ 21 w 199"/>
                <a:gd name="T19" fmla="*/ 65 h 188"/>
                <a:gd name="T20" fmla="*/ 26 w 199"/>
                <a:gd name="T21" fmla="*/ 68 h 188"/>
                <a:gd name="T22" fmla="*/ 32 w 199"/>
                <a:gd name="T23" fmla="*/ 77 h 188"/>
                <a:gd name="T24" fmla="*/ 37 w 199"/>
                <a:gd name="T25" fmla="*/ 87 h 188"/>
                <a:gd name="T26" fmla="*/ 52 w 199"/>
                <a:gd name="T27" fmla="*/ 108 h 188"/>
                <a:gd name="T28" fmla="*/ 57 w 199"/>
                <a:gd name="T29" fmla="*/ 115 h 188"/>
                <a:gd name="T30" fmla="*/ 58 w 199"/>
                <a:gd name="T31" fmla="*/ 130 h 188"/>
                <a:gd name="T32" fmla="*/ 60 w 199"/>
                <a:gd name="T33" fmla="*/ 142 h 188"/>
                <a:gd name="T34" fmla="*/ 64 w 199"/>
                <a:gd name="T35" fmla="*/ 148 h 188"/>
                <a:gd name="T36" fmla="*/ 79 w 199"/>
                <a:gd name="T37" fmla="*/ 166 h 188"/>
                <a:gd name="T38" fmla="*/ 82 w 199"/>
                <a:gd name="T39" fmla="*/ 170 h 188"/>
                <a:gd name="T40" fmla="*/ 89 w 199"/>
                <a:gd name="T41" fmla="*/ 179 h 188"/>
                <a:gd name="T42" fmla="*/ 97 w 199"/>
                <a:gd name="T43" fmla="*/ 183 h 188"/>
                <a:gd name="T44" fmla="*/ 110 w 199"/>
                <a:gd name="T45" fmla="*/ 188 h 188"/>
                <a:gd name="T46" fmla="*/ 119 w 199"/>
                <a:gd name="T47" fmla="*/ 183 h 188"/>
                <a:gd name="T48" fmla="*/ 129 w 199"/>
                <a:gd name="T49" fmla="*/ 171 h 188"/>
                <a:gd name="T50" fmla="*/ 140 w 199"/>
                <a:gd name="T51" fmla="*/ 167 h 188"/>
                <a:gd name="T52" fmla="*/ 143 w 199"/>
                <a:gd name="T53" fmla="*/ 167 h 188"/>
                <a:gd name="T54" fmla="*/ 149 w 199"/>
                <a:gd name="T55" fmla="*/ 173 h 188"/>
                <a:gd name="T56" fmla="*/ 151 w 199"/>
                <a:gd name="T57" fmla="*/ 171 h 188"/>
                <a:gd name="T58" fmla="*/ 162 w 199"/>
                <a:gd name="T59" fmla="*/ 155 h 188"/>
                <a:gd name="T60" fmla="*/ 174 w 199"/>
                <a:gd name="T61" fmla="*/ 145 h 188"/>
                <a:gd name="T62" fmla="*/ 177 w 199"/>
                <a:gd name="T63" fmla="*/ 143 h 188"/>
                <a:gd name="T64" fmla="*/ 186 w 199"/>
                <a:gd name="T65" fmla="*/ 134 h 188"/>
                <a:gd name="T66" fmla="*/ 193 w 199"/>
                <a:gd name="T67" fmla="*/ 13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9" h="188">
                  <a:moveTo>
                    <a:pt x="0" y="0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14" y="12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5" y="19"/>
                  </a:lnTo>
                  <a:lnTo>
                    <a:pt x="12" y="22"/>
                  </a:lnTo>
                  <a:lnTo>
                    <a:pt x="9" y="23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5" y="35"/>
                  </a:lnTo>
                  <a:lnTo>
                    <a:pt x="3" y="46"/>
                  </a:lnTo>
                  <a:lnTo>
                    <a:pt x="3" y="51"/>
                  </a:lnTo>
                  <a:lnTo>
                    <a:pt x="3" y="56"/>
                  </a:lnTo>
                  <a:lnTo>
                    <a:pt x="5" y="60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15" y="65"/>
                  </a:lnTo>
                  <a:lnTo>
                    <a:pt x="21" y="65"/>
                  </a:lnTo>
                  <a:lnTo>
                    <a:pt x="24" y="66"/>
                  </a:lnTo>
                  <a:lnTo>
                    <a:pt x="26" y="68"/>
                  </a:lnTo>
                  <a:lnTo>
                    <a:pt x="29" y="71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7" y="87"/>
                  </a:lnTo>
                  <a:lnTo>
                    <a:pt x="45" y="97"/>
                  </a:lnTo>
                  <a:lnTo>
                    <a:pt x="52" y="108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8" y="123"/>
                  </a:lnTo>
                  <a:lnTo>
                    <a:pt x="58" y="130"/>
                  </a:lnTo>
                  <a:lnTo>
                    <a:pt x="58" y="136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4" y="148"/>
                  </a:lnTo>
                  <a:lnTo>
                    <a:pt x="69" y="155"/>
                  </a:lnTo>
                  <a:lnTo>
                    <a:pt x="79" y="166"/>
                  </a:lnTo>
                  <a:lnTo>
                    <a:pt x="79" y="166"/>
                  </a:lnTo>
                  <a:lnTo>
                    <a:pt x="82" y="170"/>
                  </a:lnTo>
                  <a:lnTo>
                    <a:pt x="85" y="174"/>
                  </a:lnTo>
                  <a:lnTo>
                    <a:pt x="89" y="179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104" y="186"/>
                  </a:lnTo>
                  <a:lnTo>
                    <a:pt x="110" y="188"/>
                  </a:lnTo>
                  <a:lnTo>
                    <a:pt x="114" y="186"/>
                  </a:lnTo>
                  <a:lnTo>
                    <a:pt x="119" y="183"/>
                  </a:lnTo>
                  <a:lnTo>
                    <a:pt x="119" y="183"/>
                  </a:lnTo>
                  <a:lnTo>
                    <a:pt x="129" y="171"/>
                  </a:lnTo>
                  <a:lnTo>
                    <a:pt x="137" y="167"/>
                  </a:lnTo>
                  <a:lnTo>
                    <a:pt x="140" y="167"/>
                  </a:lnTo>
                  <a:lnTo>
                    <a:pt x="143" y="167"/>
                  </a:lnTo>
                  <a:lnTo>
                    <a:pt x="143" y="167"/>
                  </a:lnTo>
                  <a:lnTo>
                    <a:pt x="147" y="170"/>
                  </a:lnTo>
                  <a:lnTo>
                    <a:pt x="149" y="173"/>
                  </a:lnTo>
                  <a:lnTo>
                    <a:pt x="150" y="174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62" y="155"/>
                  </a:lnTo>
                  <a:lnTo>
                    <a:pt x="169" y="148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7" y="143"/>
                  </a:lnTo>
                  <a:lnTo>
                    <a:pt x="181" y="140"/>
                  </a:lnTo>
                  <a:lnTo>
                    <a:pt x="186" y="134"/>
                  </a:lnTo>
                  <a:lnTo>
                    <a:pt x="186" y="134"/>
                  </a:lnTo>
                  <a:lnTo>
                    <a:pt x="193" y="130"/>
                  </a:lnTo>
                  <a:lnTo>
                    <a:pt x="199" y="127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4" name="Freeform 163">
              <a:extLst>
                <a:ext uri="{FF2B5EF4-FFF2-40B4-BE49-F238E27FC236}">
                  <a16:creationId xmlns:a16="http://schemas.microsoft.com/office/drawing/2014/main" id="{FDC42A03-E409-104D-9B28-3CA528654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4357688"/>
              <a:ext cx="206375" cy="336550"/>
            </a:xfrm>
            <a:custGeom>
              <a:avLst/>
              <a:gdLst>
                <a:gd name="T0" fmla="*/ 130 w 130"/>
                <a:gd name="T1" fmla="*/ 0 h 212"/>
                <a:gd name="T2" fmla="*/ 109 w 130"/>
                <a:gd name="T3" fmla="*/ 3 h 212"/>
                <a:gd name="T4" fmla="*/ 105 w 130"/>
                <a:gd name="T5" fmla="*/ 6 h 212"/>
                <a:gd name="T6" fmla="*/ 99 w 130"/>
                <a:gd name="T7" fmla="*/ 14 h 212"/>
                <a:gd name="T8" fmla="*/ 99 w 130"/>
                <a:gd name="T9" fmla="*/ 21 h 212"/>
                <a:gd name="T10" fmla="*/ 93 w 130"/>
                <a:gd name="T11" fmla="*/ 31 h 212"/>
                <a:gd name="T12" fmla="*/ 88 w 130"/>
                <a:gd name="T13" fmla="*/ 31 h 212"/>
                <a:gd name="T14" fmla="*/ 78 w 130"/>
                <a:gd name="T15" fmla="*/ 24 h 212"/>
                <a:gd name="T16" fmla="*/ 72 w 130"/>
                <a:gd name="T17" fmla="*/ 21 h 212"/>
                <a:gd name="T18" fmla="*/ 71 w 130"/>
                <a:gd name="T19" fmla="*/ 22 h 212"/>
                <a:gd name="T20" fmla="*/ 60 w 130"/>
                <a:gd name="T21" fmla="*/ 33 h 212"/>
                <a:gd name="T22" fmla="*/ 54 w 130"/>
                <a:gd name="T23" fmla="*/ 43 h 212"/>
                <a:gd name="T24" fmla="*/ 54 w 130"/>
                <a:gd name="T25" fmla="*/ 48 h 212"/>
                <a:gd name="T26" fmla="*/ 54 w 130"/>
                <a:gd name="T27" fmla="*/ 67 h 212"/>
                <a:gd name="T28" fmla="*/ 50 w 130"/>
                <a:gd name="T29" fmla="*/ 83 h 212"/>
                <a:gd name="T30" fmla="*/ 48 w 130"/>
                <a:gd name="T31" fmla="*/ 88 h 212"/>
                <a:gd name="T32" fmla="*/ 45 w 130"/>
                <a:gd name="T33" fmla="*/ 110 h 212"/>
                <a:gd name="T34" fmla="*/ 44 w 130"/>
                <a:gd name="T35" fmla="*/ 111 h 212"/>
                <a:gd name="T36" fmla="*/ 38 w 130"/>
                <a:gd name="T37" fmla="*/ 117 h 212"/>
                <a:gd name="T38" fmla="*/ 31 w 130"/>
                <a:gd name="T39" fmla="*/ 125 h 212"/>
                <a:gd name="T40" fmla="*/ 29 w 130"/>
                <a:gd name="T41" fmla="*/ 128 h 212"/>
                <a:gd name="T42" fmla="*/ 23 w 130"/>
                <a:gd name="T43" fmla="*/ 138 h 212"/>
                <a:gd name="T44" fmla="*/ 14 w 130"/>
                <a:gd name="T45" fmla="*/ 144 h 212"/>
                <a:gd name="T46" fmla="*/ 10 w 130"/>
                <a:gd name="T47" fmla="*/ 145 h 212"/>
                <a:gd name="T48" fmla="*/ 0 w 130"/>
                <a:gd name="T49" fmla="*/ 154 h 212"/>
                <a:gd name="T50" fmla="*/ 0 w 130"/>
                <a:gd name="T51" fmla="*/ 159 h 212"/>
                <a:gd name="T52" fmla="*/ 2 w 130"/>
                <a:gd name="T53" fmla="*/ 163 h 212"/>
                <a:gd name="T54" fmla="*/ 10 w 130"/>
                <a:gd name="T55" fmla="*/ 176 h 212"/>
                <a:gd name="T56" fmla="*/ 11 w 130"/>
                <a:gd name="T57" fmla="*/ 181 h 212"/>
                <a:gd name="T58" fmla="*/ 7 w 130"/>
                <a:gd name="T59" fmla="*/ 190 h 212"/>
                <a:gd name="T60" fmla="*/ 4 w 130"/>
                <a:gd name="T61" fmla="*/ 197 h 212"/>
                <a:gd name="T62" fmla="*/ 5 w 130"/>
                <a:gd name="T63" fmla="*/ 199 h 212"/>
                <a:gd name="T64" fmla="*/ 16 w 130"/>
                <a:gd name="T65" fmla="*/ 205 h 212"/>
                <a:gd name="T66" fmla="*/ 23 w 130"/>
                <a:gd name="T67" fmla="*/ 206 h 212"/>
                <a:gd name="T68" fmla="*/ 35 w 130"/>
                <a:gd name="T69" fmla="*/ 206 h 212"/>
                <a:gd name="T70" fmla="*/ 42 w 130"/>
                <a:gd name="T71" fmla="*/ 202 h 212"/>
                <a:gd name="T72" fmla="*/ 54 w 130"/>
                <a:gd name="T73" fmla="*/ 202 h 212"/>
                <a:gd name="T74" fmla="*/ 62 w 130"/>
                <a:gd name="T75" fmla="*/ 200 h 212"/>
                <a:gd name="T76" fmla="*/ 63 w 130"/>
                <a:gd name="T77" fmla="*/ 199 h 212"/>
                <a:gd name="T78" fmla="*/ 71 w 130"/>
                <a:gd name="T79" fmla="*/ 191 h 212"/>
                <a:gd name="T80" fmla="*/ 84 w 130"/>
                <a:gd name="T81" fmla="*/ 193 h 212"/>
                <a:gd name="T82" fmla="*/ 96 w 130"/>
                <a:gd name="T83" fmla="*/ 200 h 212"/>
                <a:gd name="T84" fmla="*/ 108 w 130"/>
                <a:gd name="T85" fmla="*/ 209 h 212"/>
                <a:gd name="T86" fmla="*/ 121 w 130"/>
                <a:gd name="T8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0" h="212">
                  <a:moveTo>
                    <a:pt x="130" y="0"/>
                  </a:moveTo>
                  <a:lnTo>
                    <a:pt x="130" y="0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5"/>
                  </a:lnTo>
                  <a:lnTo>
                    <a:pt x="105" y="6"/>
                  </a:lnTo>
                  <a:lnTo>
                    <a:pt x="100" y="9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21"/>
                  </a:lnTo>
                  <a:lnTo>
                    <a:pt x="96" y="27"/>
                  </a:lnTo>
                  <a:lnTo>
                    <a:pt x="93" y="31"/>
                  </a:lnTo>
                  <a:lnTo>
                    <a:pt x="91" y="33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78" y="24"/>
                  </a:lnTo>
                  <a:lnTo>
                    <a:pt x="74" y="21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5" y="25"/>
                  </a:lnTo>
                  <a:lnTo>
                    <a:pt x="60" y="33"/>
                  </a:lnTo>
                  <a:lnTo>
                    <a:pt x="56" y="40"/>
                  </a:lnTo>
                  <a:lnTo>
                    <a:pt x="54" y="43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57"/>
                  </a:lnTo>
                  <a:lnTo>
                    <a:pt x="54" y="67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8" y="88"/>
                  </a:lnTo>
                  <a:lnTo>
                    <a:pt x="47" y="95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4" y="111"/>
                  </a:lnTo>
                  <a:lnTo>
                    <a:pt x="42" y="113"/>
                  </a:lnTo>
                  <a:lnTo>
                    <a:pt x="38" y="117"/>
                  </a:lnTo>
                  <a:lnTo>
                    <a:pt x="32" y="122"/>
                  </a:lnTo>
                  <a:lnTo>
                    <a:pt x="31" y="125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6" y="134"/>
                  </a:lnTo>
                  <a:lnTo>
                    <a:pt x="23" y="138"/>
                  </a:lnTo>
                  <a:lnTo>
                    <a:pt x="20" y="141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10" y="145"/>
                  </a:lnTo>
                  <a:lnTo>
                    <a:pt x="4" y="150"/>
                  </a:lnTo>
                  <a:lnTo>
                    <a:pt x="0" y="154"/>
                  </a:lnTo>
                  <a:lnTo>
                    <a:pt x="0" y="156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2" y="163"/>
                  </a:lnTo>
                  <a:lnTo>
                    <a:pt x="5" y="171"/>
                  </a:lnTo>
                  <a:lnTo>
                    <a:pt x="10" y="176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0" y="185"/>
                  </a:lnTo>
                  <a:lnTo>
                    <a:pt x="7" y="190"/>
                  </a:lnTo>
                  <a:lnTo>
                    <a:pt x="4" y="196"/>
                  </a:lnTo>
                  <a:lnTo>
                    <a:pt x="4" y="197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11" y="203"/>
                  </a:lnTo>
                  <a:lnTo>
                    <a:pt x="16" y="205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31" y="206"/>
                  </a:lnTo>
                  <a:lnTo>
                    <a:pt x="35" y="206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7" y="200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66" y="194"/>
                  </a:lnTo>
                  <a:lnTo>
                    <a:pt x="71" y="191"/>
                  </a:lnTo>
                  <a:lnTo>
                    <a:pt x="78" y="191"/>
                  </a:lnTo>
                  <a:lnTo>
                    <a:pt x="84" y="193"/>
                  </a:lnTo>
                  <a:lnTo>
                    <a:pt x="84" y="193"/>
                  </a:lnTo>
                  <a:lnTo>
                    <a:pt x="96" y="200"/>
                  </a:lnTo>
                  <a:lnTo>
                    <a:pt x="108" y="209"/>
                  </a:lnTo>
                  <a:lnTo>
                    <a:pt x="108" y="209"/>
                  </a:lnTo>
                  <a:lnTo>
                    <a:pt x="114" y="211"/>
                  </a:lnTo>
                  <a:lnTo>
                    <a:pt x="121" y="212"/>
                  </a:lnTo>
                  <a:lnTo>
                    <a:pt x="130" y="21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5" name="Freeform 164">
              <a:extLst>
                <a:ext uri="{FF2B5EF4-FFF2-40B4-BE49-F238E27FC236}">
                  <a16:creationId xmlns:a16="http://schemas.microsoft.com/office/drawing/2014/main" id="{40154F51-9713-304C-9404-11E9D1329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25" y="4600575"/>
              <a:ext cx="708025" cy="439737"/>
            </a:xfrm>
            <a:custGeom>
              <a:avLst/>
              <a:gdLst>
                <a:gd name="T0" fmla="*/ 120 w 446"/>
                <a:gd name="T1" fmla="*/ 10 h 277"/>
                <a:gd name="T2" fmla="*/ 109 w 446"/>
                <a:gd name="T3" fmla="*/ 22 h 277"/>
                <a:gd name="T4" fmla="*/ 83 w 446"/>
                <a:gd name="T5" fmla="*/ 34 h 277"/>
                <a:gd name="T6" fmla="*/ 47 w 446"/>
                <a:gd name="T7" fmla="*/ 32 h 277"/>
                <a:gd name="T8" fmla="*/ 25 w 446"/>
                <a:gd name="T9" fmla="*/ 32 h 277"/>
                <a:gd name="T10" fmla="*/ 22 w 446"/>
                <a:gd name="T11" fmla="*/ 43 h 277"/>
                <a:gd name="T12" fmla="*/ 7 w 446"/>
                <a:gd name="T13" fmla="*/ 53 h 277"/>
                <a:gd name="T14" fmla="*/ 7 w 446"/>
                <a:gd name="T15" fmla="*/ 71 h 277"/>
                <a:gd name="T16" fmla="*/ 22 w 446"/>
                <a:gd name="T17" fmla="*/ 89 h 277"/>
                <a:gd name="T18" fmla="*/ 53 w 446"/>
                <a:gd name="T19" fmla="*/ 106 h 277"/>
                <a:gd name="T20" fmla="*/ 61 w 446"/>
                <a:gd name="T21" fmla="*/ 106 h 277"/>
                <a:gd name="T22" fmla="*/ 71 w 446"/>
                <a:gd name="T23" fmla="*/ 95 h 277"/>
                <a:gd name="T24" fmla="*/ 84 w 446"/>
                <a:gd name="T25" fmla="*/ 78 h 277"/>
                <a:gd name="T26" fmla="*/ 87 w 446"/>
                <a:gd name="T27" fmla="*/ 78 h 277"/>
                <a:gd name="T28" fmla="*/ 84 w 446"/>
                <a:gd name="T29" fmla="*/ 117 h 277"/>
                <a:gd name="T30" fmla="*/ 87 w 446"/>
                <a:gd name="T31" fmla="*/ 135 h 277"/>
                <a:gd name="T32" fmla="*/ 115 w 446"/>
                <a:gd name="T33" fmla="*/ 142 h 277"/>
                <a:gd name="T34" fmla="*/ 126 w 446"/>
                <a:gd name="T35" fmla="*/ 148 h 277"/>
                <a:gd name="T36" fmla="*/ 120 w 446"/>
                <a:gd name="T37" fmla="*/ 154 h 277"/>
                <a:gd name="T38" fmla="*/ 103 w 446"/>
                <a:gd name="T39" fmla="*/ 163 h 277"/>
                <a:gd name="T40" fmla="*/ 103 w 446"/>
                <a:gd name="T41" fmla="*/ 166 h 277"/>
                <a:gd name="T42" fmla="*/ 118 w 446"/>
                <a:gd name="T43" fmla="*/ 182 h 277"/>
                <a:gd name="T44" fmla="*/ 133 w 446"/>
                <a:gd name="T45" fmla="*/ 188 h 277"/>
                <a:gd name="T46" fmla="*/ 138 w 446"/>
                <a:gd name="T47" fmla="*/ 192 h 277"/>
                <a:gd name="T48" fmla="*/ 132 w 446"/>
                <a:gd name="T49" fmla="*/ 207 h 277"/>
                <a:gd name="T50" fmla="*/ 138 w 446"/>
                <a:gd name="T51" fmla="*/ 216 h 277"/>
                <a:gd name="T52" fmla="*/ 158 w 446"/>
                <a:gd name="T53" fmla="*/ 223 h 277"/>
                <a:gd name="T54" fmla="*/ 173 w 446"/>
                <a:gd name="T55" fmla="*/ 223 h 277"/>
                <a:gd name="T56" fmla="*/ 188 w 446"/>
                <a:gd name="T57" fmla="*/ 225 h 277"/>
                <a:gd name="T58" fmla="*/ 207 w 446"/>
                <a:gd name="T59" fmla="*/ 220 h 277"/>
                <a:gd name="T60" fmla="*/ 217 w 446"/>
                <a:gd name="T61" fmla="*/ 217 h 277"/>
                <a:gd name="T62" fmla="*/ 238 w 446"/>
                <a:gd name="T63" fmla="*/ 226 h 277"/>
                <a:gd name="T64" fmla="*/ 244 w 446"/>
                <a:gd name="T65" fmla="*/ 238 h 277"/>
                <a:gd name="T66" fmla="*/ 244 w 446"/>
                <a:gd name="T67" fmla="*/ 252 h 277"/>
                <a:gd name="T68" fmla="*/ 255 w 446"/>
                <a:gd name="T69" fmla="*/ 256 h 277"/>
                <a:gd name="T70" fmla="*/ 266 w 446"/>
                <a:gd name="T71" fmla="*/ 259 h 277"/>
                <a:gd name="T72" fmla="*/ 286 w 446"/>
                <a:gd name="T73" fmla="*/ 277 h 277"/>
                <a:gd name="T74" fmla="*/ 289 w 446"/>
                <a:gd name="T75" fmla="*/ 275 h 277"/>
                <a:gd name="T76" fmla="*/ 302 w 446"/>
                <a:gd name="T77" fmla="*/ 262 h 277"/>
                <a:gd name="T78" fmla="*/ 314 w 446"/>
                <a:gd name="T79" fmla="*/ 263 h 277"/>
                <a:gd name="T80" fmla="*/ 323 w 446"/>
                <a:gd name="T81" fmla="*/ 262 h 277"/>
                <a:gd name="T82" fmla="*/ 334 w 446"/>
                <a:gd name="T83" fmla="*/ 250 h 277"/>
                <a:gd name="T84" fmla="*/ 339 w 446"/>
                <a:gd name="T85" fmla="*/ 252 h 277"/>
                <a:gd name="T86" fmla="*/ 361 w 446"/>
                <a:gd name="T87" fmla="*/ 259 h 277"/>
                <a:gd name="T88" fmla="*/ 374 w 446"/>
                <a:gd name="T89" fmla="*/ 268 h 277"/>
                <a:gd name="T90" fmla="*/ 380 w 446"/>
                <a:gd name="T91" fmla="*/ 266 h 277"/>
                <a:gd name="T92" fmla="*/ 386 w 446"/>
                <a:gd name="T93" fmla="*/ 259 h 277"/>
                <a:gd name="T94" fmla="*/ 395 w 446"/>
                <a:gd name="T95" fmla="*/ 260 h 277"/>
                <a:gd name="T96" fmla="*/ 404 w 446"/>
                <a:gd name="T97" fmla="*/ 266 h 277"/>
                <a:gd name="T98" fmla="*/ 410 w 446"/>
                <a:gd name="T99" fmla="*/ 263 h 277"/>
                <a:gd name="T100" fmla="*/ 410 w 446"/>
                <a:gd name="T101" fmla="*/ 234 h 277"/>
                <a:gd name="T102" fmla="*/ 411 w 446"/>
                <a:gd name="T103" fmla="*/ 229 h 277"/>
                <a:gd name="T104" fmla="*/ 417 w 446"/>
                <a:gd name="T105" fmla="*/ 216 h 277"/>
                <a:gd name="T106" fmla="*/ 420 w 446"/>
                <a:gd name="T107" fmla="*/ 207 h 277"/>
                <a:gd name="T108" fmla="*/ 434 w 446"/>
                <a:gd name="T109" fmla="*/ 20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6" h="277">
                  <a:moveTo>
                    <a:pt x="129" y="0"/>
                  </a:moveTo>
                  <a:lnTo>
                    <a:pt x="129" y="0"/>
                  </a:lnTo>
                  <a:lnTo>
                    <a:pt x="120" y="10"/>
                  </a:lnTo>
                  <a:lnTo>
                    <a:pt x="114" y="16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102" y="26"/>
                  </a:lnTo>
                  <a:lnTo>
                    <a:pt x="93" y="31"/>
                  </a:lnTo>
                  <a:lnTo>
                    <a:pt x="83" y="34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47" y="32"/>
                  </a:lnTo>
                  <a:lnTo>
                    <a:pt x="32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4" y="35"/>
                  </a:lnTo>
                  <a:lnTo>
                    <a:pt x="24" y="38"/>
                  </a:lnTo>
                  <a:lnTo>
                    <a:pt x="22" y="43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7" y="5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7" y="71"/>
                  </a:lnTo>
                  <a:lnTo>
                    <a:pt x="13" y="8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37" y="100"/>
                  </a:lnTo>
                  <a:lnTo>
                    <a:pt x="44" y="105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8" y="108"/>
                  </a:lnTo>
                  <a:lnTo>
                    <a:pt x="61" y="106"/>
                  </a:lnTo>
                  <a:lnTo>
                    <a:pt x="63" y="103"/>
                  </a:lnTo>
                  <a:lnTo>
                    <a:pt x="66" y="102"/>
                  </a:lnTo>
                  <a:lnTo>
                    <a:pt x="71" y="95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84" y="78"/>
                  </a:lnTo>
                  <a:lnTo>
                    <a:pt x="86" y="77"/>
                  </a:lnTo>
                  <a:lnTo>
                    <a:pt x="87" y="77"/>
                  </a:lnTo>
                  <a:lnTo>
                    <a:pt x="87" y="78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4" y="117"/>
                  </a:lnTo>
                  <a:lnTo>
                    <a:pt x="84" y="129"/>
                  </a:lnTo>
                  <a:lnTo>
                    <a:pt x="84" y="133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20" y="143"/>
                  </a:lnTo>
                  <a:lnTo>
                    <a:pt x="124" y="146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51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06" y="160"/>
                  </a:lnTo>
                  <a:lnTo>
                    <a:pt x="103" y="163"/>
                  </a:lnTo>
                  <a:lnTo>
                    <a:pt x="102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11" y="176"/>
                  </a:lnTo>
                  <a:lnTo>
                    <a:pt x="111" y="176"/>
                  </a:lnTo>
                  <a:lnTo>
                    <a:pt x="118" y="182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33" y="188"/>
                  </a:lnTo>
                  <a:lnTo>
                    <a:pt x="136" y="189"/>
                  </a:lnTo>
                  <a:lnTo>
                    <a:pt x="138" y="192"/>
                  </a:lnTo>
                  <a:lnTo>
                    <a:pt x="138" y="192"/>
                  </a:lnTo>
                  <a:lnTo>
                    <a:pt x="136" y="197"/>
                  </a:lnTo>
                  <a:lnTo>
                    <a:pt x="133" y="204"/>
                  </a:lnTo>
                  <a:lnTo>
                    <a:pt x="132" y="207"/>
                  </a:lnTo>
                  <a:lnTo>
                    <a:pt x="133" y="212"/>
                  </a:lnTo>
                  <a:lnTo>
                    <a:pt x="135" y="213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8" y="219"/>
                  </a:lnTo>
                  <a:lnTo>
                    <a:pt x="158" y="223"/>
                  </a:lnTo>
                  <a:lnTo>
                    <a:pt x="158" y="223"/>
                  </a:lnTo>
                  <a:lnTo>
                    <a:pt x="166" y="225"/>
                  </a:lnTo>
                  <a:lnTo>
                    <a:pt x="173" y="223"/>
                  </a:lnTo>
                  <a:lnTo>
                    <a:pt x="180" y="223"/>
                  </a:lnTo>
                  <a:lnTo>
                    <a:pt x="188" y="225"/>
                  </a:lnTo>
                  <a:lnTo>
                    <a:pt x="188" y="225"/>
                  </a:lnTo>
                  <a:lnTo>
                    <a:pt x="195" y="225"/>
                  </a:lnTo>
                  <a:lnTo>
                    <a:pt x="201" y="223"/>
                  </a:lnTo>
                  <a:lnTo>
                    <a:pt x="207" y="220"/>
                  </a:lnTo>
                  <a:lnTo>
                    <a:pt x="215" y="217"/>
                  </a:lnTo>
                  <a:lnTo>
                    <a:pt x="215" y="217"/>
                  </a:lnTo>
                  <a:lnTo>
                    <a:pt x="217" y="217"/>
                  </a:lnTo>
                  <a:lnTo>
                    <a:pt x="222" y="217"/>
                  </a:lnTo>
                  <a:lnTo>
                    <a:pt x="231" y="222"/>
                  </a:lnTo>
                  <a:lnTo>
                    <a:pt x="238" y="226"/>
                  </a:lnTo>
                  <a:lnTo>
                    <a:pt x="244" y="232"/>
                  </a:lnTo>
                  <a:lnTo>
                    <a:pt x="244" y="232"/>
                  </a:lnTo>
                  <a:lnTo>
                    <a:pt x="244" y="238"/>
                  </a:lnTo>
                  <a:lnTo>
                    <a:pt x="243" y="243"/>
                  </a:lnTo>
                  <a:lnTo>
                    <a:pt x="243" y="247"/>
                  </a:lnTo>
                  <a:lnTo>
                    <a:pt x="244" y="252"/>
                  </a:lnTo>
                  <a:lnTo>
                    <a:pt x="244" y="252"/>
                  </a:lnTo>
                  <a:lnTo>
                    <a:pt x="249" y="255"/>
                  </a:lnTo>
                  <a:lnTo>
                    <a:pt x="255" y="256"/>
                  </a:lnTo>
                  <a:lnTo>
                    <a:pt x="260" y="257"/>
                  </a:lnTo>
                  <a:lnTo>
                    <a:pt x="266" y="259"/>
                  </a:lnTo>
                  <a:lnTo>
                    <a:pt x="266" y="259"/>
                  </a:lnTo>
                  <a:lnTo>
                    <a:pt x="272" y="263"/>
                  </a:lnTo>
                  <a:lnTo>
                    <a:pt x="277" y="268"/>
                  </a:lnTo>
                  <a:lnTo>
                    <a:pt x="286" y="277"/>
                  </a:lnTo>
                  <a:lnTo>
                    <a:pt x="286" y="277"/>
                  </a:lnTo>
                  <a:lnTo>
                    <a:pt x="287" y="277"/>
                  </a:lnTo>
                  <a:lnTo>
                    <a:pt x="289" y="275"/>
                  </a:lnTo>
                  <a:lnTo>
                    <a:pt x="294" y="271"/>
                  </a:lnTo>
                  <a:lnTo>
                    <a:pt x="299" y="265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8" y="262"/>
                  </a:lnTo>
                  <a:lnTo>
                    <a:pt x="314" y="263"/>
                  </a:lnTo>
                  <a:lnTo>
                    <a:pt x="320" y="262"/>
                  </a:lnTo>
                  <a:lnTo>
                    <a:pt x="320" y="262"/>
                  </a:lnTo>
                  <a:lnTo>
                    <a:pt x="323" y="262"/>
                  </a:lnTo>
                  <a:lnTo>
                    <a:pt x="326" y="259"/>
                  </a:lnTo>
                  <a:lnTo>
                    <a:pt x="330" y="255"/>
                  </a:lnTo>
                  <a:lnTo>
                    <a:pt x="334" y="250"/>
                  </a:lnTo>
                  <a:lnTo>
                    <a:pt x="337" y="250"/>
                  </a:lnTo>
                  <a:lnTo>
                    <a:pt x="339" y="252"/>
                  </a:lnTo>
                  <a:lnTo>
                    <a:pt x="339" y="252"/>
                  </a:lnTo>
                  <a:lnTo>
                    <a:pt x="345" y="255"/>
                  </a:lnTo>
                  <a:lnTo>
                    <a:pt x="354" y="256"/>
                  </a:lnTo>
                  <a:lnTo>
                    <a:pt x="361" y="259"/>
                  </a:lnTo>
                  <a:lnTo>
                    <a:pt x="367" y="260"/>
                  </a:lnTo>
                  <a:lnTo>
                    <a:pt x="367" y="260"/>
                  </a:lnTo>
                  <a:lnTo>
                    <a:pt x="374" y="268"/>
                  </a:lnTo>
                  <a:lnTo>
                    <a:pt x="377" y="268"/>
                  </a:lnTo>
                  <a:lnTo>
                    <a:pt x="379" y="268"/>
                  </a:lnTo>
                  <a:lnTo>
                    <a:pt x="380" y="266"/>
                  </a:lnTo>
                  <a:lnTo>
                    <a:pt x="380" y="266"/>
                  </a:lnTo>
                  <a:lnTo>
                    <a:pt x="383" y="262"/>
                  </a:lnTo>
                  <a:lnTo>
                    <a:pt x="386" y="259"/>
                  </a:lnTo>
                  <a:lnTo>
                    <a:pt x="391" y="257"/>
                  </a:lnTo>
                  <a:lnTo>
                    <a:pt x="392" y="257"/>
                  </a:lnTo>
                  <a:lnTo>
                    <a:pt x="395" y="260"/>
                  </a:lnTo>
                  <a:lnTo>
                    <a:pt x="395" y="260"/>
                  </a:lnTo>
                  <a:lnTo>
                    <a:pt x="400" y="263"/>
                  </a:lnTo>
                  <a:lnTo>
                    <a:pt x="404" y="266"/>
                  </a:lnTo>
                  <a:lnTo>
                    <a:pt x="409" y="266"/>
                  </a:lnTo>
                  <a:lnTo>
                    <a:pt x="410" y="266"/>
                  </a:lnTo>
                  <a:lnTo>
                    <a:pt x="410" y="263"/>
                  </a:lnTo>
                  <a:lnTo>
                    <a:pt x="410" y="263"/>
                  </a:lnTo>
                  <a:lnTo>
                    <a:pt x="410" y="247"/>
                  </a:lnTo>
                  <a:lnTo>
                    <a:pt x="410" y="234"/>
                  </a:lnTo>
                  <a:lnTo>
                    <a:pt x="410" y="234"/>
                  </a:lnTo>
                  <a:lnTo>
                    <a:pt x="410" y="232"/>
                  </a:lnTo>
                  <a:lnTo>
                    <a:pt x="411" y="229"/>
                  </a:lnTo>
                  <a:lnTo>
                    <a:pt x="416" y="223"/>
                  </a:lnTo>
                  <a:lnTo>
                    <a:pt x="416" y="223"/>
                  </a:lnTo>
                  <a:lnTo>
                    <a:pt x="417" y="216"/>
                  </a:lnTo>
                  <a:lnTo>
                    <a:pt x="419" y="210"/>
                  </a:lnTo>
                  <a:lnTo>
                    <a:pt x="420" y="207"/>
                  </a:lnTo>
                  <a:lnTo>
                    <a:pt x="420" y="207"/>
                  </a:lnTo>
                  <a:lnTo>
                    <a:pt x="426" y="203"/>
                  </a:lnTo>
                  <a:lnTo>
                    <a:pt x="434" y="200"/>
                  </a:lnTo>
                  <a:lnTo>
                    <a:pt x="434" y="200"/>
                  </a:lnTo>
                  <a:lnTo>
                    <a:pt x="441" y="194"/>
                  </a:lnTo>
                  <a:lnTo>
                    <a:pt x="446" y="189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6" name="Freeform 165">
              <a:extLst>
                <a:ext uri="{FF2B5EF4-FFF2-40B4-BE49-F238E27FC236}">
                  <a16:creationId xmlns:a16="http://schemas.microsoft.com/office/drawing/2014/main" id="{2B57D3E7-219E-D843-9B2D-03690A96F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4238625"/>
              <a:ext cx="931863" cy="665162"/>
            </a:xfrm>
            <a:custGeom>
              <a:avLst/>
              <a:gdLst>
                <a:gd name="T0" fmla="*/ 8 w 587"/>
                <a:gd name="T1" fmla="*/ 12 h 419"/>
                <a:gd name="T2" fmla="*/ 20 w 587"/>
                <a:gd name="T3" fmla="*/ 15 h 419"/>
                <a:gd name="T4" fmla="*/ 52 w 587"/>
                <a:gd name="T5" fmla="*/ 29 h 419"/>
                <a:gd name="T6" fmla="*/ 52 w 587"/>
                <a:gd name="T7" fmla="*/ 41 h 419"/>
                <a:gd name="T8" fmla="*/ 43 w 587"/>
                <a:gd name="T9" fmla="*/ 72 h 419"/>
                <a:gd name="T10" fmla="*/ 51 w 587"/>
                <a:gd name="T11" fmla="*/ 78 h 419"/>
                <a:gd name="T12" fmla="*/ 79 w 587"/>
                <a:gd name="T13" fmla="*/ 81 h 419"/>
                <a:gd name="T14" fmla="*/ 91 w 587"/>
                <a:gd name="T15" fmla="*/ 92 h 419"/>
                <a:gd name="T16" fmla="*/ 108 w 587"/>
                <a:gd name="T17" fmla="*/ 120 h 419"/>
                <a:gd name="T18" fmla="*/ 119 w 587"/>
                <a:gd name="T19" fmla="*/ 127 h 419"/>
                <a:gd name="T20" fmla="*/ 129 w 587"/>
                <a:gd name="T21" fmla="*/ 115 h 419"/>
                <a:gd name="T22" fmla="*/ 140 w 587"/>
                <a:gd name="T23" fmla="*/ 127 h 419"/>
                <a:gd name="T24" fmla="*/ 148 w 587"/>
                <a:gd name="T25" fmla="*/ 152 h 419"/>
                <a:gd name="T26" fmla="*/ 153 w 587"/>
                <a:gd name="T27" fmla="*/ 197 h 419"/>
                <a:gd name="T28" fmla="*/ 169 w 587"/>
                <a:gd name="T29" fmla="*/ 225 h 419"/>
                <a:gd name="T30" fmla="*/ 181 w 587"/>
                <a:gd name="T31" fmla="*/ 232 h 419"/>
                <a:gd name="T32" fmla="*/ 196 w 587"/>
                <a:gd name="T33" fmla="*/ 229 h 419"/>
                <a:gd name="T34" fmla="*/ 214 w 587"/>
                <a:gd name="T35" fmla="*/ 217 h 419"/>
                <a:gd name="T36" fmla="*/ 243 w 587"/>
                <a:gd name="T37" fmla="*/ 231 h 419"/>
                <a:gd name="T38" fmla="*/ 267 w 587"/>
                <a:gd name="T39" fmla="*/ 219 h 419"/>
                <a:gd name="T40" fmla="*/ 283 w 587"/>
                <a:gd name="T41" fmla="*/ 217 h 419"/>
                <a:gd name="T42" fmla="*/ 277 w 587"/>
                <a:gd name="T43" fmla="*/ 234 h 419"/>
                <a:gd name="T44" fmla="*/ 283 w 587"/>
                <a:gd name="T45" fmla="*/ 241 h 419"/>
                <a:gd name="T46" fmla="*/ 288 w 587"/>
                <a:gd name="T47" fmla="*/ 253 h 419"/>
                <a:gd name="T48" fmla="*/ 288 w 587"/>
                <a:gd name="T49" fmla="*/ 268 h 419"/>
                <a:gd name="T50" fmla="*/ 304 w 587"/>
                <a:gd name="T51" fmla="*/ 278 h 419"/>
                <a:gd name="T52" fmla="*/ 319 w 587"/>
                <a:gd name="T53" fmla="*/ 280 h 419"/>
                <a:gd name="T54" fmla="*/ 316 w 587"/>
                <a:gd name="T55" fmla="*/ 294 h 419"/>
                <a:gd name="T56" fmla="*/ 319 w 587"/>
                <a:gd name="T57" fmla="*/ 308 h 419"/>
                <a:gd name="T58" fmla="*/ 338 w 587"/>
                <a:gd name="T59" fmla="*/ 339 h 419"/>
                <a:gd name="T60" fmla="*/ 357 w 587"/>
                <a:gd name="T61" fmla="*/ 370 h 419"/>
                <a:gd name="T62" fmla="*/ 377 w 587"/>
                <a:gd name="T63" fmla="*/ 377 h 419"/>
                <a:gd name="T64" fmla="*/ 394 w 587"/>
                <a:gd name="T65" fmla="*/ 386 h 419"/>
                <a:gd name="T66" fmla="*/ 409 w 587"/>
                <a:gd name="T67" fmla="*/ 410 h 419"/>
                <a:gd name="T68" fmla="*/ 434 w 587"/>
                <a:gd name="T69" fmla="*/ 411 h 419"/>
                <a:gd name="T70" fmla="*/ 448 w 587"/>
                <a:gd name="T71" fmla="*/ 397 h 419"/>
                <a:gd name="T72" fmla="*/ 456 w 587"/>
                <a:gd name="T73" fmla="*/ 394 h 419"/>
                <a:gd name="T74" fmla="*/ 474 w 587"/>
                <a:gd name="T75" fmla="*/ 411 h 419"/>
                <a:gd name="T76" fmla="*/ 488 w 587"/>
                <a:gd name="T77" fmla="*/ 419 h 419"/>
                <a:gd name="T78" fmla="*/ 493 w 587"/>
                <a:gd name="T79" fmla="*/ 410 h 419"/>
                <a:gd name="T80" fmla="*/ 501 w 587"/>
                <a:gd name="T81" fmla="*/ 398 h 419"/>
                <a:gd name="T82" fmla="*/ 513 w 587"/>
                <a:gd name="T83" fmla="*/ 389 h 419"/>
                <a:gd name="T84" fmla="*/ 508 w 587"/>
                <a:gd name="T85" fmla="*/ 379 h 419"/>
                <a:gd name="T86" fmla="*/ 502 w 587"/>
                <a:gd name="T87" fmla="*/ 345 h 419"/>
                <a:gd name="T88" fmla="*/ 510 w 587"/>
                <a:gd name="T89" fmla="*/ 343 h 419"/>
                <a:gd name="T90" fmla="*/ 526 w 587"/>
                <a:gd name="T91" fmla="*/ 352 h 419"/>
                <a:gd name="T92" fmla="*/ 542 w 587"/>
                <a:gd name="T93" fmla="*/ 348 h 419"/>
                <a:gd name="T94" fmla="*/ 557 w 587"/>
                <a:gd name="T95" fmla="*/ 342 h 419"/>
                <a:gd name="T96" fmla="*/ 570 w 587"/>
                <a:gd name="T97" fmla="*/ 334 h 419"/>
                <a:gd name="T98" fmla="*/ 587 w 587"/>
                <a:gd name="T99" fmla="*/ 318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7" h="419">
                  <a:moveTo>
                    <a:pt x="0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8" y="12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5" y="15"/>
                  </a:lnTo>
                  <a:lnTo>
                    <a:pt x="20" y="15"/>
                  </a:lnTo>
                  <a:lnTo>
                    <a:pt x="24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2" y="41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3" y="65"/>
                  </a:lnTo>
                  <a:lnTo>
                    <a:pt x="43" y="72"/>
                  </a:lnTo>
                  <a:lnTo>
                    <a:pt x="43" y="74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51" y="78"/>
                  </a:lnTo>
                  <a:lnTo>
                    <a:pt x="5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9" y="81"/>
                  </a:lnTo>
                  <a:lnTo>
                    <a:pt x="85" y="84"/>
                  </a:lnTo>
                  <a:lnTo>
                    <a:pt x="88" y="87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101" y="106"/>
                  </a:lnTo>
                  <a:lnTo>
                    <a:pt x="106" y="114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11" y="126"/>
                  </a:lnTo>
                  <a:lnTo>
                    <a:pt x="113" y="129"/>
                  </a:lnTo>
                  <a:lnTo>
                    <a:pt x="116" y="129"/>
                  </a:lnTo>
                  <a:lnTo>
                    <a:pt x="119" y="127"/>
                  </a:lnTo>
                  <a:lnTo>
                    <a:pt x="119" y="127"/>
                  </a:lnTo>
                  <a:lnTo>
                    <a:pt x="123" y="120"/>
                  </a:lnTo>
                  <a:lnTo>
                    <a:pt x="126" y="117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4" y="118"/>
                  </a:lnTo>
                  <a:lnTo>
                    <a:pt x="140" y="127"/>
                  </a:lnTo>
                  <a:lnTo>
                    <a:pt x="146" y="139"/>
                  </a:lnTo>
                  <a:lnTo>
                    <a:pt x="147" y="145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8" y="177"/>
                  </a:lnTo>
                  <a:lnTo>
                    <a:pt x="150" y="188"/>
                  </a:lnTo>
                  <a:lnTo>
                    <a:pt x="153" y="197"/>
                  </a:lnTo>
                  <a:lnTo>
                    <a:pt x="153" y="197"/>
                  </a:lnTo>
                  <a:lnTo>
                    <a:pt x="160" y="210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9" y="225"/>
                  </a:lnTo>
                  <a:lnTo>
                    <a:pt x="174" y="228"/>
                  </a:lnTo>
                  <a:lnTo>
                    <a:pt x="174" y="228"/>
                  </a:lnTo>
                  <a:lnTo>
                    <a:pt x="177" y="231"/>
                  </a:lnTo>
                  <a:lnTo>
                    <a:pt x="181" y="232"/>
                  </a:lnTo>
                  <a:lnTo>
                    <a:pt x="181" y="232"/>
                  </a:lnTo>
                  <a:lnTo>
                    <a:pt x="185" y="232"/>
                  </a:lnTo>
                  <a:lnTo>
                    <a:pt x="190" y="232"/>
                  </a:lnTo>
                  <a:lnTo>
                    <a:pt x="196" y="229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9" y="219"/>
                  </a:lnTo>
                  <a:lnTo>
                    <a:pt x="214" y="217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34" y="226"/>
                  </a:lnTo>
                  <a:lnTo>
                    <a:pt x="243" y="231"/>
                  </a:lnTo>
                  <a:lnTo>
                    <a:pt x="243" y="231"/>
                  </a:lnTo>
                  <a:lnTo>
                    <a:pt x="248" y="229"/>
                  </a:lnTo>
                  <a:lnTo>
                    <a:pt x="254" y="226"/>
                  </a:lnTo>
                  <a:lnTo>
                    <a:pt x="267" y="219"/>
                  </a:lnTo>
                  <a:lnTo>
                    <a:pt x="267" y="219"/>
                  </a:lnTo>
                  <a:lnTo>
                    <a:pt x="274" y="217"/>
                  </a:lnTo>
                  <a:lnTo>
                    <a:pt x="279" y="216"/>
                  </a:lnTo>
                  <a:lnTo>
                    <a:pt x="283" y="217"/>
                  </a:lnTo>
                  <a:lnTo>
                    <a:pt x="283" y="219"/>
                  </a:lnTo>
                  <a:lnTo>
                    <a:pt x="283" y="219"/>
                  </a:lnTo>
                  <a:lnTo>
                    <a:pt x="279" y="228"/>
                  </a:lnTo>
                  <a:lnTo>
                    <a:pt x="277" y="234"/>
                  </a:lnTo>
                  <a:lnTo>
                    <a:pt x="277" y="238"/>
                  </a:lnTo>
                  <a:lnTo>
                    <a:pt x="277" y="238"/>
                  </a:lnTo>
                  <a:lnTo>
                    <a:pt x="280" y="240"/>
                  </a:lnTo>
                  <a:lnTo>
                    <a:pt x="283" y="241"/>
                  </a:lnTo>
                  <a:lnTo>
                    <a:pt x="286" y="243"/>
                  </a:lnTo>
                  <a:lnTo>
                    <a:pt x="288" y="247"/>
                  </a:lnTo>
                  <a:lnTo>
                    <a:pt x="288" y="247"/>
                  </a:lnTo>
                  <a:lnTo>
                    <a:pt x="288" y="253"/>
                  </a:lnTo>
                  <a:lnTo>
                    <a:pt x="286" y="257"/>
                  </a:lnTo>
                  <a:lnTo>
                    <a:pt x="286" y="263"/>
                  </a:lnTo>
                  <a:lnTo>
                    <a:pt x="286" y="266"/>
                  </a:lnTo>
                  <a:lnTo>
                    <a:pt x="288" y="268"/>
                  </a:lnTo>
                  <a:lnTo>
                    <a:pt x="288" y="268"/>
                  </a:lnTo>
                  <a:lnTo>
                    <a:pt x="297" y="275"/>
                  </a:lnTo>
                  <a:lnTo>
                    <a:pt x="300" y="277"/>
                  </a:lnTo>
                  <a:lnTo>
                    <a:pt x="304" y="278"/>
                  </a:lnTo>
                  <a:lnTo>
                    <a:pt x="304" y="278"/>
                  </a:lnTo>
                  <a:lnTo>
                    <a:pt x="310" y="278"/>
                  </a:lnTo>
                  <a:lnTo>
                    <a:pt x="316" y="278"/>
                  </a:lnTo>
                  <a:lnTo>
                    <a:pt x="319" y="280"/>
                  </a:lnTo>
                  <a:lnTo>
                    <a:pt x="320" y="283"/>
                  </a:lnTo>
                  <a:lnTo>
                    <a:pt x="320" y="283"/>
                  </a:lnTo>
                  <a:lnTo>
                    <a:pt x="319" y="287"/>
                  </a:lnTo>
                  <a:lnTo>
                    <a:pt x="316" y="294"/>
                  </a:lnTo>
                  <a:lnTo>
                    <a:pt x="314" y="297"/>
                  </a:lnTo>
                  <a:lnTo>
                    <a:pt x="314" y="300"/>
                  </a:lnTo>
                  <a:lnTo>
                    <a:pt x="316" y="305"/>
                  </a:lnTo>
                  <a:lnTo>
                    <a:pt x="319" y="308"/>
                  </a:lnTo>
                  <a:lnTo>
                    <a:pt x="319" y="308"/>
                  </a:lnTo>
                  <a:lnTo>
                    <a:pt x="326" y="315"/>
                  </a:lnTo>
                  <a:lnTo>
                    <a:pt x="331" y="323"/>
                  </a:lnTo>
                  <a:lnTo>
                    <a:pt x="338" y="339"/>
                  </a:lnTo>
                  <a:lnTo>
                    <a:pt x="338" y="339"/>
                  </a:lnTo>
                  <a:lnTo>
                    <a:pt x="347" y="358"/>
                  </a:lnTo>
                  <a:lnTo>
                    <a:pt x="351" y="364"/>
                  </a:lnTo>
                  <a:lnTo>
                    <a:pt x="357" y="370"/>
                  </a:lnTo>
                  <a:lnTo>
                    <a:pt x="357" y="370"/>
                  </a:lnTo>
                  <a:lnTo>
                    <a:pt x="365" y="374"/>
                  </a:lnTo>
                  <a:lnTo>
                    <a:pt x="377" y="377"/>
                  </a:lnTo>
                  <a:lnTo>
                    <a:pt x="377" y="377"/>
                  </a:lnTo>
                  <a:lnTo>
                    <a:pt x="384" y="379"/>
                  </a:lnTo>
                  <a:lnTo>
                    <a:pt x="388" y="382"/>
                  </a:lnTo>
                  <a:lnTo>
                    <a:pt x="394" y="386"/>
                  </a:lnTo>
                  <a:lnTo>
                    <a:pt x="394" y="386"/>
                  </a:lnTo>
                  <a:lnTo>
                    <a:pt x="402" y="397"/>
                  </a:lnTo>
                  <a:lnTo>
                    <a:pt x="406" y="404"/>
                  </a:lnTo>
                  <a:lnTo>
                    <a:pt x="409" y="410"/>
                  </a:lnTo>
                  <a:lnTo>
                    <a:pt x="409" y="410"/>
                  </a:lnTo>
                  <a:lnTo>
                    <a:pt x="415" y="411"/>
                  </a:lnTo>
                  <a:lnTo>
                    <a:pt x="422" y="413"/>
                  </a:lnTo>
                  <a:lnTo>
                    <a:pt x="431" y="413"/>
                  </a:lnTo>
                  <a:lnTo>
                    <a:pt x="434" y="411"/>
                  </a:lnTo>
                  <a:lnTo>
                    <a:pt x="437" y="410"/>
                  </a:lnTo>
                  <a:lnTo>
                    <a:pt x="437" y="410"/>
                  </a:lnTo>
                  <a:lnTo>
                    <a:pt x="442" y="404"/>
                  </a:lnTo>
                  <a:lnTo>
                    <a:pt x="448" y="397"/>
                  </a:lnTo>
                  <a:lnTo>
                    <a:pt x="452" y="392"/>
                  </a:lnTo>
                  <a:lnTo>
                    <a:pt x="455" y="392"/>
                  </a:lnTo>
                  <a:lnTo>
                    <a:pt x="456" y="394"/>
                  </a:lnTo>
                  <a:lnTo>
                    <a:pt x="456" y="394"/>
                  </a:lnTo>
                  <a:lnTo>
                    <a:pt x="465" y="406"/>
                  </a:lnTo>
                  <a:lnTo>
                    <a:pt x="470" y="410"/>
                  </a:lnTo>
                  <a:lnTo>
                    <a:pt x="474" y="411"/>
                  </a:lnTo>
                  <a:lnTo>
                    <a:pt x="474" y="411"/>
                  </a:lnTo>
                  <a:lnTo>
                    <a:pt x="479" y="414"/>
                  </a:lnTo>
                  <a:lnTo>
                    <a:pt x="482" y="417"/>
                  </a:lnTo>
                  <a:lnTo>
                    <a:pt x="486" y="419"/>
                  </a:lnTo>
                  <a:lnTo>
                    <a:pt x="488" y="419"/>
                  </a:lnTo>
                  <a:lnTo>
                    <a:pt x="491" y="417"/>
                  </a:lnTo>
                  <a:lnTo>
                    <a:pt x="491" y="417"/>
                  </a:lnTo>
                  <a:lnTo>
                    <a:pt x="493" y="414"/>
                  </a:lnTo>
                  <a:lnTo>
                    <a:pt x="493" y="410"/>
                  </a:lnTo>
                  <a:lnTo>
                    <a:pt x="493" y="406"/>
                  </a:lnTo>
                  <a:lnTo>
                    <a:pt x="495" y="403"/>
                  </a:lnTo>
                  <a:lnTo>
                    <a:pt x="495" y="403"/>
                  </a:lnTo>
                  <a:lnTo>
                    <a:pt x="501" y="398"/>
                  </a:lnTo>
                  <a:lnTo>
                    <a:pt x="505" y="395"/>
                  </a:lnTo>
                  <a:lnTo>
                    <a:pt x="511" y="394"/>
                  </a:lnTo>
                  <a:lnTo>
                    <a:pt x="513" y="392"/>
                  </a:lnTo>
                  <a:lnTo>
                    <a:pt x="513" y="389"/>
                  </a:lnTo>
                  <a:lnTo>
                    <a:pt x="513" y="389"/>
                  </a:lnTo>
                  <a:lnTo>
                    <a:pt x="513" y="386"/>
                  </a:lnTo>
                  <a:lnTo>
                    <a:pt x="511" y="383"/>
                  </a:lnTo>
                  <a:lnTo>
                    <a:pt x="508" y="379"/>
                  </a:lnTo>
                  <a:lnTo>
                    <a:pt x="505" y="373"/>
                  </a:lnTo>
                  <a:lnTo>
                    <a:pt x="505" y="373"/>
                  </a:lnTo>
                  <a:lnTo>
                    <a:pt x="502" y="354"/>
                  </a:lnTo>
                  <a:lnTo>
                    <a:pt x="502" y="345"/>
                  </a:lnTo>
                  <a:lnTo>
                    <a:pt x="504" y="342"/>
                  </a:lnTo>
                  <a:lnTo>
                    <a:pt x="505" y="342"/>
                  </a:lnTo>
                  <a:lnTo>
                    <a:pt x="505" y="342"/>
                  </a:lnTo>
                  <a:lnTo>
                    <a:pt x="510" y="343"/>
                  </a:lnTo>
                  <a:lnTo>
                    <a:pt x="514" y="346"/>
                  </a:lnTo>
                  <a:lnTo>
                    <a:pt x="520" y="351"/>
                  </a:lnTo>
                  <a:lnTo>
                    <a:pt x="526" y="352"/>
                  </a:lnTo>
                  <a:lnTo>
                    <a:pt x="526" y="352"/>
                  </a:lnTo>
                  <a:lnTo>
                    <a:pt x="532" y="352"/>
                  </a:lnTo>
                  <a:lnTo>
                    <a:pt x="536" y="352"/>
                  </a:lnTo>
                  <a:lnTo>
                    <a:pt x="541" y="351"/>
                  </a:lnTo>
                  <a:lnTo>
                    <a:pt x="542" y="348"/>
                  </a:lnTo>
                  <a:lnTo>
                    <a:pt x="542" y="348"/>
                  </a:lnTo>
                  <a:lnTo>
                    <a:pt x="544" y="345"/>
                  </a:lnTo>
                  <a:lnTo>
                    <a:pt x="548" y="343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62" y="340"/>
                  </a:lnTo>
                  <a:lnTo>
                    <a:pt x="566" y="337"/>
                  </a:lnTo>
                  <a:lnTo>
                    <a:pt x="570" y="334"/>
                  </a:lnTo>
                  <a:lnTo>
                    <a:pt x="573" y="331"/>
                  </a:lnTo>
                  <a:lnTo>
                    <a:pt x="573" y="331"/>
                  </a:lnTo>
                  <a:lnTo>
                    <a:pt x="581" y="324"/>
                  </a:lnTo>
                  <a:lnTo>
                    <a:pt x="587" y="31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7" name="Freeform 166">
              <a:extLst>
                <a:ext uri="{FF2B5EF4-FFF2-40B4-BE49-F238E27FC236}">
                  <a16:creationId xmlns:a16="http://schemas.microsoft.com/office/drawing/2014/main" id="{11DD27E0-765F-D44B-9C0A-4B626D18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5775" y="5119688"/>
              <a:ext cx="265113" cy="392112"/>
            </a:xfrm>
            <a:custGeom>
              <a:avLst/>
              <a:gdLst>
                <a:gd name="T0" fmla="*/ 0 w 167"/>
                <a:gd name="T1" fmla="*/ 247 h 247"/>
                <a:gd name="T2" fmla="*/ 10 w 167"/>
                <a:gd name="T3" fmla="*/ 233 h 247"/>
                <a:gd name="T4" fmla="*/ 16 w 167"/>
                <a:gd name="T5" fmla="*/ 230 h 247"/>
                <a:gd name="T6" fmla="*/ 29 w 167"/>
                <a:gd name="T7" fmla="*/ 230 h 247"/>
                <a:gd name="T8" fmla="*/ 43 w 167"/>
                <a:gd name="T9" fmla="*/ 227 h 247"/>
                <a:gd name="T10" fmla="*/ 47 w 167"/>
                <a:gd name="T11" fmla="*/ 222 h 247"/>
                <a:gd name="T12" fmla="*/ 57 w 167"/>
                <a:gd name="T13" fmla="*/ 218 h 247"/>
                <a:gd name="T14" fmla="*/ 62 w 167"/>
                <a:gd name="T15" fmla="*/ 219 h 247"/>
                <a:gd name="T16" fmla="*/ 71 w 167"/>
                <a:gd name="T17" fmla="*/ 218 h 247"/>
                <a:gd name="T18" fmla="*/ 84 w 167"/>
                <a:gd name="T19" fmla="*/ 216 h 247"/>
                <a:gd name="T20" fmla="*/ 88 w 167"/>
                <a:gd name="T21" fmla="*/ 216 h 247"/>
                <a:gd name="T22" fmla="*/ 96 w 167"/>
                <a:gd name="T23" fmla="*/ 212 h 247"/>
                <a:gd name="T24" fmla="*/ 102 w 167"/>
                <a:gd name="T25" fmla="*/ 209 h 247"/>
                <a:gd name="T26" fmla="*/ 105 w 167"/>
                <a:gd name="T27" fmla="*/ 209 h 247"/>
                <a:gd name="T28" fmla="*/ 111 w 167"/>
                <a:gd name="T29" fmla="*/ 207 h 247"/>
                <a:gd name="T30" fmla="*/ 120 w 167"/>
                <a:gd name="T31" fmla="*/ 197 h 247"/>
                <a:gd name="T32" fmla="*/ 122 w 167"/>
                <a:gd name="T33" fmla="*/ 190 h 247"/>
                <a:gd name="T34" fmla="*/ 133 w 167"/>
                <a:gd name="T35" fmla="*/ 160 h 247"/>
                <a:gd name="T36" fmla="*/ 137 w 167"/>
                <a:gd name="T37" fmla="*/ 153 h 247"/>
                <a:gd name="T38" fmla="*/ 140 w 167"/>
                <a:gd name="T39" fmla="*/ 145 h 247"/>
                <a:gd name="T40" fmla="*/ 137 w 167"/>
                <a:gd name="T41" fmla="*/ 127 h 247"/>
                <a:gd name="T42" fmla="*/ 134 w 167"/>
                <a:gd name="T43" fmla="*/ 120 h 247"/>
                <a:gd name="T44" fmla="*/ 125 w 167"/>
                <a:gd name="T45" fmla="*/ 108 h 247"/>
                <a:gd name="T46" fmla="*/ 127 w 167"/>
                <a:gd name="T47" fmla="*/ 105 h 247"/>
                <a:gd name="T48" fmla="*/ 136 w 167"/>
                <a:gd name="T49" fmla="*/ 104 h 247"/>
                <a:gd name="T50" fmla="*/ 140 w 167"/>
                <a:gd name="T51" fmla="*/ 99 h 247"/>
                <a:gd name="T52" fmla="*/ 140 w 167"/>
                <a:gd name="T53" fmla="*/ 96 h 247"/>
                <a:gd name="T54" fmla="*/ 143 w 167"/>
                <a:gd name="T55" fmla="*/ 89 h 247"/>
                <a:gd name="T56" fmla="*/ 151 w 167"/>
                <a:gd name="T57" fmla="*/ 85 h 247"/>
                <a:gd name="T58" fmla="*/ 157 w 167"/>
                <a:gd name="T59" fmla="*/ 82 h 247"/>
                <a:gd name="T60" fmla="*/ 167 w 167"/>
                <a:gd name="T61" fmla="*/ 67 h 247"/>
                <a:gd name="T62" fmla="*/ 155 w 167"/>
                <a:gd name="T63" fmla="*/ 49 h 247"/>
                <a:gd name="T64" fmla="*/ 142 w 167"/>
                <a:gd name="T65" fmla="*/ 34 h 247"/>
                <a:gd name="T66" fmla="*/ 139 w 167"/>
                <a:gd name="T67" fmla="*/ 33 h 247"/>
                <a:gd name="T68" fmla="*/ 124 w 167"/>
                <a:gd name="T69" fmla="*/ 45 h 247"/>
                <a:gd name="T70" fmla="*/ 111 w 167"/>
                <a:gd name="T71" fmla="*/ 53 h 247"/>
                <a:gd name="T72" fmla="*/ 108 w 167"/>
                <a:gd name="T73" fmla="*/ 55 h 247"/>
                <a:gd name="T74" fmla="*/ 93 w 167"/>
                <a:gd name="T75" fmla="*/ 52 h 247"/>
                <a:gd name="T76" fmla="*/ 91 w 167"/>
                <a:gd name="T77" fmla="*/ 49 h 247"/>
                <a:gd name="T78" fmla="*/ 91 w 167"/>
                <a:gd name="T79" fmla="*/ 43 h 247"/>
                <a:gd name="T80" fmla="*/ 88 w 167"/>
                <a:gd name="T81" fmla="*/ 33 h 247"/>
                <a:gd name="T82" fmla="*/ 87 w 167"/>
                <a:gd name="T83" fmla="*/ 30 h 247"/>
                <a:gd name="T84" fmla="*/ 88 w 167"/>
                <a:gd name="T85" fmla="*/ 19 h 247"/>
                <a:gd name="T86" fmla="*/ 88 w 167"/>
                <a:gd name="T87" fmla="*/ 15 h 247"/>
                <a:gd name="T88" fmla="*/ 84 w 167"/>
                <a:gd name="T89" fmla="*/ 9 h 247"/>
                <a:gd name="T90" fmla="*/ 81 w 167"/>
                <a:gd name="T91" fmla="*/ 7 h 247"/>
                <a:gd name="T92" fmla="*/ 75 w 167"/>
                <a:gd name="T93" fmla="*/ 5 h 247"/>
                <a:gd name="T94" fmla="*/ 69 w 167"/>
                <a:gd name="T95" fmla="*/ 0 h 247"/>
                <a:gd name="T96" fmla="*/ 65 w 167"/>
                <a:gd name="T97" fmla="*/ 2 h 247"/>
                <a:gd name="T98" fmla="*/ 53 w 167"/>
                <a:gd name="T99" fmla="*/ 5 h 247"/>
                <a:gd name="T100" fmla="*/ 47 w 167"/>
                <a:gd name="T101" fmla="*/ 2 h 247"/>
                <a:gd name="T102" fmla="*/ 43 w 167"/>
                <a:gd name="T103" fmla="*/ 0 h 247"/>
                <a:gd name="T104" fmla="*/ 35 w 167"/>
                <a:gd name="T105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7" h="247">
                  <a:moveTo>
                    <a:pt x="0" y="247"/>
                  </a:moveTo>
                  <a:lnTo>
                    <a:pt x="0" y="247"/>
                  </a:lnTo>
                  <a:lnTo>
                    <a:pt x="4" y="239"/>
                  </a:lnTo>
                  <a:lnTo>
                    <a:pt x="10" y="233"/>
                  </a:lnTo>
                  <a:lnTo>
                    <a:pt x="13" y="231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29" y="230"/>
                  </a:lnTo>
                  <a:lnTo>
                    <a:pt x="37" y="230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7" y="222"/>
                  </a:lnTo>
                  <a:lnTo>
                    <a:pt x="51" y="219"/>
                  </a:lnTo>
                  <a:lnTo>
                    <a:pt x="57" y="218"/>
                  </a:lnTo>
                  <a:lnTo>
                    <a:pt x="62" y="219"/>
                  </a:lnTo>
                  <a:lnTo>
                    <a:pt x="62" y="219"/>
                  </a:lnTo>
                  <a:lnTo>
                    <a:pt x="66" y="219"/>
                  </a:lnTo>
                  <a:lnTo>
                    <a:pt x="71" y="218"/>
                  </a:lnTo>
                  <a:lnTo>
                    <a:pt x="77" y="216"/>
                  </a:lnTo>
                  <a:lnTo>
                    <a:pt x="84" y="216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91" y="215"/>
                  </a:lnTo>
                  <a:lnTo>
                    <a:pt x="96" y="212"/>
                  </a:lnTo>
                  <a:lnTo>
                    <a:pt x="100" y="209"/>
                  </a:lnTo>
                  <a:lnTo>
                    <a:pt x="102" y="20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8" y="209"/>
                  </a:lnTo>
                  <a:lnTo>
                    <a:pt x="111" y="207"/>
                  </a:lnTo>
                  <a:lnTo>
                    <a:pt x="115" y="203"/>
                  </a:lnTo>
                  <a:lnTo>
                    <a:pt x="120" y="197"/>
                  </a:lnTo>
                  <a:lnTo>
                    <a:pt x="122" y="190"/>
                  </a:lnTo>
                  <a:lnTo>
                    <a:pt x="122" y="190"/>
                  </a:lnTo>
                  <a:lnTo>
                    <a:pt x="130" y="170"/>
                  </a:lnTo>
                  <a:lnTo>
                    <a:pt x="133" y="160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9" y="150"/>
                  </a:lnTo>
                  <a:lnTo>
                    <a:pt x="140" y="145"/>
                  </a:lnTo>
                  <a:lnTo>
                    <a:pt x="139" y="136"/>
                  </a:lnTo>
                  <a:lnTo>
                    <a:pt x="137" y="127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7" y="111"/>
                  </a:lnTo>
                  <a:lnTo>
                    <a:pt x="125" y="108"/>
                  </a:lnTo>
                  <a:lnTo>
                    <a:pt x="125" y="107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36" y="104"/>
                  </a:lnTo>
                  <a:lnTo>
                    <a:pt x="139" y="101"/>
                  </a:lnTo>
                  <a:lnTo>
                    <a:pt x="140" y="99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0" y="92"/>
                  </a:lnTo>
                  <a:lnTo>
                    <a:pt x="143" y="89"/>
                  </a:lnTo>
                  <a:lnTo>
                    <a:pt x="146" y="87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7" y="82"/>
                  </a:lnTo>
                  <a:lnTo>
                    <a:pt x="161" y="76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55" y="49"/>
                  </a:lnTo>
                  <a:lnTo>
                    <a:pt x="146" y="37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1" y="37"/>
                  </a:lnTo>
                  <a:lnTo>
                    <a:pt x="124" y="45"/>
                  </a:lnTo>
                  <a:lnTo>
                    <a:pt x="115" y="52"/>
                  </a:lnTo>
                  <a:lnTo>
                    <a:pt x="111" y="53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96" y="55"/>
                  </a:lnTo>
                  <a:lnTo>
                    <a:pt x="93" y="52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1" y="43"/>
                  </a:lnTo>
                  <a:lnTo>
                    <a:pt x="91" y="39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5"/>
                  </a:lnTo>
                  <a:lnTo>
                    <a:pt x="87" y="10"/>
                  </a:lnTo>
                  <a:lnTo>
                    <a:pt x="84" y="9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7" y="6"/>
                  </a:lnTo>
                  <a:lnTo>
                    <a:pt x="75" y="5"/>
                  </a:lnTo>
                  <a:lnTo>
                    <a:pt x="72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5" y="2"/>
                  </a:lnTo>
                  <a:lnTo>
                    <a:pt x="59" y="3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5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8" name="Freeform 167">
              <a:extLst>
                <a:ext uri="{FF2B5EF4-FFF2-40B4-BE49-F238E27FC236}">
                  <a16:creationId xmlns:a16="http://schemas.microsoft.com/office/drawing/2014/main" id="{D20299CC-75A8-0D45-B6FA-55AA6C42E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413" y="5299075"/>
              <a:ext cx="488950" cy="298450"/>
            </a:xfrm>
            <a:custGeom>
              <a:avLst/>
              <a:gdLst>
                <a:gd name="T0" fmla="*/ 0 w 308"/>
                <a:gd name="T1" fmla="*/ 118 h 188"/>
                <a:gd name="T2" fmla="*/ 19 w 308"/>
                <a:gd name="T3" fmla="*/ 133 h 188"/>
                <a:gd name="T4" fmla="*/ 28 w 308"/>
                <a:gd name="T5" fmla="*/ 142 h 188"/>
                <a:gd name="T6" fmla="*/ 40 w 308"/>
                <a:gd name="T7" fmla="*/ 160 h 188"/>
                <a:gd name="T8" fmla="*/ 52 w 308"/>
                <a:gd name="T9" fmla="*/ 174 h 188"/>
                <a:gd name="T10" fmla="*/ 62 w 308"/>
                <a:gd name="T11" fmla="*/ 180 h 188"/>
                <a:gd name="T12" fmla="*/ 81 w 308"/>
                <a:gd name="T13" fmla="*/ 185 h 188"/>
                <a:gd name="T14" fmla="*/ 87 w 308"/>
                <a:gd name="T15" fmla="*/ 183 h 188"/>
                <a:gd name="T16" fmla="*/ 89 w 308"/>
                <a:gd name="T17" fmla="*/ 180 h 188"/>
                <a:gd name="T18" fmla="*/ 93 w 308"/>
                <a:gd name="T19" fmla="*/ 171 h 188"/>
                <a:gd name="T20" fmla="*/ 96 w 308"/>
                <a:gd name="T21" fmla="*/ 170 h 188"/>
                <a:gd name="T22" fmla="*/ 102 w 308"/>
                <a:gd name="T23" fmla="*/ 171 h 188"/>
                <a:gd name="T24" fmla="*/ 113 w 308"/>
                <a:gd name="T25" fmla="*/ 173 h 188"/>
                <a:gd name="T26" fmla="*/ 116 w 308"/>
                <a:gd name="T27" fmla="*/ 173 h 188"/>
                <a:gd name="T28" fmla="*/ 126 w 308"/>
                <a:gd name="T29" fmla="*/ 168 h 188"/>
                <a:gd name="T30" fmla="*/ 130 w 308"/>
                <a:gd name="T31" fmla="*/ 167 h 188"/>
                <a:gd name="T32" fmla="*/ 136 w 308"/>
                <a:gd name="T33" fmla="*/ 167 h 188"/>
                <a:gd name="T34" fmla="*/ 151 w 308"/>
                <a:gd name="T35" fmla="*/ 161 h 188"/>
                <a:gd name="T36" fmla="*/ 156 w 308"/>
                <a:gd name="T37" fmla="*/ 155 h 188"/>
                <a:gd name="T38" fmla="*/ 157 w 308"/>
                <a:gd name="T39" fmla="*/ 152 h 188"/>
                <a:gd name="T40" fmla="*/ 166 w 308"/>
                <a:gd name="T41" fmla="*/ 148 h 188"/>
                <a:gd name="T42" fmla="*/ 167 w 308"/>
                <a:gd name="T43" fmla="*/ 145 h 188"/>
                <a:gd name="T44" fmla="*/ 169 w 308"/>
                <a:gd name="T45" fmla="*/ 127 h 188"/>
                <a:gd name="T46" fmla="*/ 169 w 308"/>
                <a:gd name="T47" fmla="*/ 126 h 188"/>
                <a:gd name="T48" fmla="*/ 175 w 308"/>
                <a:gd name="T49" fmla="*/ 124 h 188"/>
                <a:gd name="T50" fmla="*/ 185 w 308"/>
                <a:gd name="T51" fmla="*/ 124 h 188"/>
                <a:gd name="T52" fmla="*/ 204 w 308"/>
                <a:gd name="T53" fmla="*/ 127 h 188"/>
                <a:gd name="T54" fmla="*/ 212 w 308"/>
                <a:gd name="T55" fmla="*/ 130 h 188"/>
                <a:gd name="T56" fmla="*/ 227 w 308"/>
                <a:gd name="T57" fmla="*/ 133 h 188"/>
                <a:gd name="T58" fmla="*/ 237 w 308"/>
                <a:gd name="T59" fmla="*/ 134 h 188"/>
                <a:gd name="T60" fmla="*/ 252 w 308"/>
                <a:gd name="T61" fmla="*/ 151 h 188"/>
                <a:gd name="T62" fmla="*/ 256 w 308"/>
                <a:gd name="T63" fmla="*/ 157 h 188"/>
                <a:gd name="T64" fmla="*/ 264 w 308"/>
                <a:gd name="T65" fmla="*/ 167 h 188"/>
                <a:gd name="T66" fmla="*/ 271 w 308"/>
                <a:gd name="T67" fmla="*/ 171 h 188"/>
                <a:gd name="T68" fmla="*/ 289 w 308"/>
                <a:gd name="T69" fmla="*/ 186 h 188"/>
                <a:gd name="T70" fmla="*/ 295 w 308"/>
                <a:gd name="T71" fmla="*/ 188 h 188"/>
                <a:gd name="T72" fmla="*/ 298 w 308"/>
                <a:gd name="T73" fmla="*/ 186 h 188"/>
                <a:gd name="T74" fmla="*/ 307 w 308"/>
                <a:gd name="T75" fmla="*/ 173 h 188"/>
                <a:gd name="T76" fmla="*/ 308 w 308"/>
                <a:gd name="T77" fmla="*/ 157 h 188"/>
                <a:gd name="T78" fmla="*/ 307 w 308"/>
                <a:gd name="T79" fmla="*/ 151 h 188"/>
                <a:gd name="T80" fmla="*/ 308 w 308"/>
                <a:gd name="T81" fmla="*/ 140 h 188"/>
                <a:gd name="T82" fmla="*/ 307 w 308"/>
                <a:gd name="T83" fmla="*/ 134 h 188"/>
                <a:gd name="T84" fmla="*/ 301 w 308"/>
                <a:gd name="T85" fmla="*/ 126 h 188"/>
                <a:gd name="T86" fmla="*/ 295 w 308"/>
                <a:gd name="T87" fmla="*/ 120 h 188"/>
                <a:gd name="T88" fmla="*/ 295 w 308"/>
                <a:gd name="T89" fmla="*/ 117 h 188"/>
                <a:gd name="T90" fmla="*/ 296 w 308"/>
                <a:gd name="T91" fmla="*/ 114 h 188"/>
                <a:gd name="T92" fmla="*/ 295 w 308"/>
                <a:gd name="T93" fmla="*/ 108 h 188"/>
                <a:gd name="T94" fmla="*/ 289 w 308"/>
                <a:gd name="T95" fmla="*/ 103 h 188"/>
                <a:gd name="T96" fmla="*/ 278 w 308"/>
                <a:gd name="T97" fmla="*/ 89 h 188"/>
                <a:gd name="T98" fmla="*/ 277 w 308"/>
                <a:gd name="T99" fmla="*/ 84 h 188"/>
                <a:gd name="T100" fmla="*/ 274 w 308"/>
                <a:gd name="T101" fmla="*/ 71 h 188"/>
                <a:gd name="T102" fmla="*/ 271 w 308"/>
                <a:gd name="T103" fmla="*/ 66 h 188"/>
                <a:gd name="T104" fmla="*/ 270 w 308"/>
                <a:gd name="T105" fmla="*/ 59 h 188"/>
                <a:gd name="T106" fmla="*/ 265 w 308"/>
                <a:gd name="T107" fmla="*/ 53 h 188"/>
                <a:gd name="T108" fmla="*/ 253 w 308"/>
                <a:gd name="T109" fmla="*/ 44 h 188"/>
                <a:gd name="T110" fmla="*/ 247 w 308"/>
                <a:gd name="T111" fmla="*/ 37 h 188"/>
                <a:gd name="T112" fmla="*/ 249 w 308"/>
                <a:gd name="T113" fmla="*/ 34 h 188"/>
                <a:gd name="T114" fmla="*/ 256 w 308"/>
                <a:gd name="T115" fmla="*/ 28 h 188"/>
                <a:gd name="T116" fmla="*/ 258 w 308"/>
                <a:gd name="T117" fmla="*/ 25 h 188"/>
                <a:gd name="T118" fmla="*/ 261 w 308"/>
                <a:gd name="T119" fmla="*/ 11 h 188"/>
                <a:gd name="T120" fmla="*/ 259 w 308"/>
                <a:gd name="T121" fmla="*/ 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8" h="188">
                  <a:moveTo>
                    <a:pt x="0" y="118"/>
                  </a:moveTo>
                  <a:lnTo>
                    <a:pt x="0" y="118"/>
                  </a:lnTo>
                  <a:lnTo>
                    <a:pt x="10" y="126"/>
                  </a:lnTo>
                  <a:lnTo>
                    <a:pt x="19" y="133"/>
                  </a:lnTo>
                  <a:lnTo>
                    <a:pt x="28" y="142"/>
                  </a:lnTo>
                  <a:lnTo>
                    <a:pt x="28" y="142"/>
                  </a:lnTo>
                  <a:lnTo>
                    <a:pt x="34" y="151"/>
                  </a:lnTo>
                  <a:lnTo>
                    <a:pt x="40" y="160"/>
                  </a:lnTo>
                  <a:lnTo>
                    <a:pt x="46" y="168"/>
                  </a:lnTo>
                  <a:lnTo>
                    <a:pt x="52" y="174"/>
                  </a:lnTo>
                  <a:lnTo>
                    <a:pt x="52" y="174"/>
                  </a:lnTo>
                  <a:lnTo>
                    <a:pt x="62" y="180"/>
                  </a:lnTo>
                  <a:lnTo>
                    <a:pt x="73" y="183"/>
                  </a:lnTo>
                  <a:lnTo>
                    <a:pt x="81" y="185"/>
                  </a:lnTo>
                  <a:lnTo>
                    <a:pt x="84" y="185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9" y="180"/>
                  </a:lnTo>
                  <a:lnTo>
                    <a:pt x="90" y="176"/>
                  </a:lnTo>
                  <a:lnTo>
                    <a:pt x="93" y="171"/>
                  </a:lnTo>
                  <a:lnTo>
                    <a:pt x="95" y="171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102" y="171"/>
                  </a:lnTo>
                  <a:lnTo>
                    <a:pt x="107" y="173"/>
                  </a:lnTo>
                  <a:lnTo>
                    <a:pt x="113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21" y="170"/>
                  </a:lnTo>
                  <a:lnTo>
                    <a:pt x="126" y="168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45" y="166"/>
                  </a:lnTo>
                  <a:lnTo>
                    <a:pt x="151" y="161"/>
                  </a:lnTo>
                  <a:lnTo>
                    <a:pt x="154" y="158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7" y="152"/>
                  </a:lnTo>
                  <a:lnTo>
                    <a:pt x="160" y="151"/>
                  </a:lnTo>
                  <a:lnTo>
                    <a:pt x="166" y="148"/>
                  </a:lnTo>
                  <a:lnTo>
                    <a:pt x="166" y="148"/>
                  </a:lnTo>
                  <a:lnTo>
                    <a:pt x="167" y="145"/>
                  </a:lnTo>
                  <a:lnTo>
                    <a:pt x="169" y="139"/>
                  </a:lnTo>
                  <a:lnTo>
                    <a:pt x="169" y="127"/>
                  </a:lnTo>
                  <a:lnTo>
                    <a:pt x="169" y="127"/>
                  </a:lnTo>
                  <a:lnTo>
                    <a:pt x="169" y="126"/>
                  </a:lnTo>
                  <a:lnTo>
                    <a:pt x="170" y="124"/>
                  </a:lnTo>
                  <a:lnTo>
                    <a:pt x="175" y="124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97" y="126"/>
                  </a:lnTo>
                  <a:lnTo>
                    <a:pt x="204" y="127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9" y="131"/>
                  </a:lnTo>
                  <a:lnTo>
                    <a:pt x="227" y="133"/>
                  </a:lnTo>
                  <a:lnTo>
                    <a:pt x="237" y="134"/>
                  </a:lnTo>
                  <a:lnTo>
                    <a:pt x="237" y="134"/>
                  </a:lnTo>
                  <a:lnTo>
                    <a:pt x="241" y="139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6" y="157"/>
                  </a:lnTo>
                  <a:lnTo>
                    <a:pt x="261" y="161"/>
                  </a:lnTo>
                  <a:lnTo>
                    <a:pt x="264" y="167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80" y="180"/>
                  </a:lnTo>
                  <a:lnTo>
                    <a:pt x="289" y="186"/>
                  </a:lnTo>
                  <a:lnTo>
                    <a:pt x="289" y="186"/>
                  </a:lnTo>
                  <a:lnTo>
                    <a:pt x="295" y="188"/>
                  </a:lnTo>
                  <a:lnTo>
                    <a:pt x="298" y="186"/>
                  </a:lnTo>
                  <a:lnTo>
                    <a:pt x="298" y="186"/>
                  </a:lnTo>
                  <a:lnTo>
                    <a:pt x="302" y="180"/>
                  </a:lnTo>
                  <a:lnTo>
                    <a:pt x="307" y="173"/>
                  </a:lnTo>
                  <a:lnTo>
                    <a:pt x="308" y="164"/>
                  </a:lnTo>
                  <a:lnTo>
                    <a:pt x="308" y="157"/>
                  </a:lnTo>
                  <a:lnTo>
                    <a:pt x="308" y="157"/>
                  </a:lnTo>
                  <a:lnTo>
                    <a:pt x="307" y="151"/>
                  </a:lnTo>
                  <a:lnTo>
                    <a:pt x="308" y="146"/>
                  </a:lnTo>
                  <a:lnTo>
                    <a:pt x="308" y="140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4" y="130"/>
                  </a:lnTo>
                  <a:lnTo>
                    <a:pt x="301" y="126"/>
                  </a:lnTo>
                  <a:lnTo>
                    <a:pt x="298" y="123"/>
                  </a:lnTo>
                  <a:lnTo>
                    <a:pt x="295" y="120"/>
                  </a:lnTo>
                  <a:lnTo>
                    <a:pt x="295" y="120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296" y="114"/>
                  </a:lnTo>
                  <a:lnTo>
                    <a:pt x="298" y="111"/>
                  </a:lnTo>
                  <a:lnTo>
                    <a:pt x="295" y="108"/>
                  </a:lnTo>
                  <a:lnTo>
                    <a:pt x="295" y="108"/>
                  </a:lnTo>
                  <a:lnTo>
                    <a:pt x="289" y="103"/>
                  </a:lnTo>
                  <a:lnTo>
                    <a:pt x="283" y="96"/>
                  </a:lnTo>
                  <a:lnTo>
                    <a:pt x="278" y="89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5" y="77"/>
                  </a:lnTo>
                  <a:lnTo>
                    <a:pt x="274" y="71"/>
                  </a:lnTo>
                  <a:lnTo>
                    <a:pt x="271" y="66"/>
                  </a:lnTo>
                  <a:lnTo>
                    <a:pt x="271" y="66"/>
                  </a:lnTo>
                  <a:lnTo>
                    <a:pt x="270" y="63"/>
                  </a:lnTo>
                  <a:lnTo>
                    <a:pt x="270" y="59"/>
                  </a:lnTo>
                  <a:lnTo>
                    <a:pt x="270" y="56"/>
                  </a:lnTo>
                  <a:lnTo>
                    <a:pt x="265" y="53"/>
                  </a:lnTo>
                  <a:lnTo>
                    <a:pt x="265" y="53"/>
                  </a:lnTo>
                  <a:lnTo>
                    <a:pt x="253" y="44"/>
                  </a:lnTo>
                  <a:lnTo>
                    <a:pt x="249" y="40"/>
                  </a:lnTo>
                  <a:lnTo>
                    <a:pt x="247" y="37"/>
                  </a:lnTo>
                  <a:lnTo>
                    <a:pt x="247" y="37"/>
                  </a:lnTo>
                  <a:lnTo>
                    <a:pt x="249" y="34"/>
                  </a:lnTo>
                  <a:lnTo>
                    <a:pt x="252" y="32"/>
                  </a:lnTo>
                  <a:lnTo>
                    <a:pt x="256" y="28"/>
                  </a:lnTo>
                  <a:lnTo>
                    <a:pt x="258" y="25"/>
                  </a:lnTo>
                  <a:lnTo>
                    <a:pt x="258" y="25"/>
                  </a:lnTo>
                  <a:lnTo>
                    <a:pt x="261" y="14"/>
                  </a:lnTo>
                  <a:lnTo>
                    <a:pt x="261" y="11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5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9" name="Freeform 168">
              <a:extLst>
                <a:ext uri="{FF2B5EF4-FFF2-40B4-BE49-F238E27FC236}">
                  <a16:creationId xmlns:a16="http://schemas.microsoft.com/office/drawing/2014/main" id="{99A266D0-83C5-8948-90CC-933EFAEF2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75" y="4978400"/>
              <a:ext cx="338138" cy="320675"/>
            </a:xfrm>
            <a:custGeom>
              <a:avLst/>
              <a:gdLst>
                <a:gd name="T0" fmla="*/ 0 w 213"/>
                <a:gd name="T1" fmla="*/ 88 h 202"/>
                <a:gd name="T2" fmla="*/ 17 w 213"/>
                <a:gd name="T3" fmla="*/ 79 h 202"/>
                <a:gd name="T4" fmla="*/ 23 w 213"/>
                <a:gd name="T5" fmla="*/ 77 h 202"/>
                <a:gd name="T6" fmla="*/ 32 w 213"/>
                <a:gd name="T7" fmla="*/ 82 h 202"/>
                <a:gd name="T8" fmla="*/ 35 w 213"/>
                <a:gd name="T9" fmla="*/ 94 h 202"/>
                <a:gd name="T10" fmla="*/ 34 w 213"/>
                <a:gd name="T11" fmla="*/ 110 h 202"/>
                <a:gd name="T12" fmla="*/ 35 w 213"/>
                <a:gd name="T13" fmla="*/ 119 h 202"/>
                <a:gd name="T14" fmla="*/ 38 w 213"/>
                <a:gd name="T15" fmla="*/ 120 h 202"/>
                <a:gd name="T16" fmla="*/ 49 w 213"/>
                <a:gd name="T17" fmla="*/ 120 h 202"/>
                <a:gd name="T18" fmla="*/ 54 w 213"/>
                <a:gd name="T19" fmla="*/ 117 h 202"/>
                <a:gd name="T20" fmla="*/ 59 w 213"/>
                <a:gd name="T21" fmla="*/ 120 h 202"/>
                <a:gd name="T22" fmla="*/ 63 w 213"/>
                <a:gd name="T23" fmla="*/ 129 h 202"/>
                <a:gd name="T24" fmla="*/ 63 w 213"/>
                <a:gd name="T25" fmla="*/ 134 h 202"/>
                <a:gd name="T26" fmla="*/ 57 w 213"/>
                <a:gd name="T27" fmla="*/ 141 h 202"/>
                <a:gd name="T28" fmla="*/ 59 w 213"/>
                <a:gd name="T29" fmla="*/ 150 h 202"/>
                <a:gd name="T30" fmla="*/ 62 w 213"/>
                <a:gd name="T31" fmla="*/ 156 h 202"/>
                <a:gd name="T32" fmla="*/ 72 w 213"/>
                <a:gd name="T33" fmla="*/ 163 h 202"/>
                <a:gd name="T34" fmla="*/ 75 w 213"/>
                <a:gd name="T35" fmla="*/ 166 h 202"/>
                <a:gd name="T36" fmla="*/ 83 w 213"/>
                <a:gd name="T37" fmla="*/ 178 h 202"/>
                <a:gd name="T38" fmla="*/ 84 w 213"/>
                <a:gd name="T39" fmla="*/ 184 h 202"/>
                <a:gd name="T40" fmla="*/ 90 w 213"/>
                <a:gd name="T41" fmla="*/ 194 h 202"/>
                <a:gd name="T42" fmla="*/ 99 w 213"/>
                <a:gd name="T43" fmla="*/ 200 h 202"/>
                <a:gd name="T44" fmla="*/ 105 w 213"/>
                <a:gd name="T45" fmla="*/ 202 h 202"/>
                <a:gd name="T46" fmla="*/ 118 w 213"/>
                <a:gd name="T47" fmla="*/ 200 h 202"/>
                <a:gd name="T48" fmla="*/ 123 w 213"/>
                <a:gd name="T49" fmla="*/ 199 h 202"/>
                <a:gd name="T50" fmla="*/ 130 w 213"/>
                <a:gd name="T51" fmla="*/ 194 h 202"/>
                <a:gd name="T52" fmla="*/ 136 w 213"/>
                <a:gd name="T53" fmla="*/ 191 h 202"/>
                <a:gd name="T54" fmla="*/ 143 w 213"/>
                <a:gd name="T55" fmla="*/ 185 h 202"/>
                <a:gd name="T56" fmla="*/ 140 w 213"/>
                <a:gd name="T57" fmla="*/ 184 h 202"/>
                <a:gd name="T58" fmla="*/ 136 w 213"/>
                <a:gd name="T59" fmla="*/ 181 h 202"/>
                <a:gd name="T60" fmla="*/ 131 w 213"/>
                <a:gd name="T61" fmla="*/ 174 h 202"/>
                <a:gd name="T62" fmla="*/ 131 w 213"/>
                <a:gd name="T63" fmla="*/ 168 h 202"/>
                <a:gd name="T64" fmla="*/ 127 w 213"/>
                <a:gd name="T65" fmla="*/ 141 h 202"/>
                <a:gd name="T66" fmla="*/ 127 w 213"/>
                <a:gd name="T67" fmla="*/ 136 h 202"/>
                <a:gd name="T68" fmla="*/ 136 w 213"/>
                <a:gd name="T69" fmla="*/ 132 h 202"/>
                <a:gd name="T70" fmla="*/ 148 w 213"/>
                <a:gd name="T71" fmla="*/ 126 h 202"/>
                <a:gd name="T72" fmla="*/ 171 w 213"/>
                <a:gd name="T73" fmla="*/ 110 h 202"/>
                <a:gd name="T74" fmla="*/ 183 w 213"/>
                <a:gd name="T75" fmla="*/ 98 h 202"/>
                <a:gd name="T76" fmla="*/ 195 w 213"/>
                <a:gd name="T77" fmla="*/ 89 h 202"/>
                <a:gd name="T78" fmla="*/ 198 w 213"/>
                <a:gd name="T79" fmla="*/ 88 h 202"/>
                <a:gd name="T80" fmla="*/ 207 w 213"/>
                <a:gd name="T81" fmla="*/ 74 h 202"/>
                <a:gd name="T82" fmla="*/ 213 w 213"/>
                <a:gd name="T83" fmla="*/ 55 h 202"/>
                <a:gd name="T84" fmla="*/ 211 w 213"/>
                <a:gd name="T85" fmla="*/ 49 h 202"/>
                <a:gd name="T86" fmla="*/ 207 w 213"/>
                <a:gd name="T87" fmla="*/ 39 h 202"/>
                <a:gd name="T88" fmla="*/ 204 w 213"/>
                <a:gd name="T89" fmla="*/ 37 h 202"/>
                <a:gd name="T90" fmla="*/ 188 w 213"/>
                <a:gd name="T91" fmla="*/ 39 h 202"/>
                <a:gd name="T92" fmla="*/ 183 w 213"/>
                <a:gd name="T93" fmla="*/ 39 h 202"/>
                <a:gd name="T94" fmla="*/ 174 w 213"/>
                <a:gd name="T95" fmla="*/ 34 h 202"/>
                <a:gd name="T96" fmla="*/ 173 w 213"/>
                <a:gd name="T97" fmla="*/ 31 h 202"/>
                <a:gd name="T98" fmla="*/ 171 w 213"/>
                <a:gd name="T99" fmla="*/ 27 h 202"/>
                <a:gd name="T100" fmla="*/ 174 w 213"/>
                <a:gd name="T101" fmla="*/ 22 h 202"/>
                <a:gd name="T102" fmla="*/ 180 w 213"/>
                <a:gd name="T103" fmla="*/ 12 h 202"/>
                <a:gd name="T104" fmla="*/ 177 w 213"/>
                <a:gd name="T105" fmla="*/ 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3" h="202">
                  <a:moveTo>
                    <a:pt x="0" y="88"/>
                  </a:moveTo>
                  <a:lnTo>
                    <a:pt x="0" y="88"/>
                  </a:lnTo>
                  <a:lnTo>
                    <a:pt x="10" y="82"/>
                  </a:lnTo>
                  <a:lnTo>
                    <a:pt x="17" y="79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8" y="79"/>
                  </a:lnTo>
                  <a:lnTo>
                    <a:pt x="32" y="82"/>
                  </a:lnTo>
                  <a:lnTo>
                    <a:pt x="34" y="86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4" y="110"/>
                  </a:lnTo>
                  <a:lnTo>
                    <a:pt x="34" y="116"/>
                  </a:lnTo>
                  <a:lnTo>
                    <a:pt x="35" y="119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43" y="122"/>
                  </a:lnTo>
                  <a:lnTo>
                    <a:pt x="49" y="120"/>
                  </a:lnTo>
                  <a:lnTo>
                    <a:pt x="51" y="119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9" y="120"/>
                  </a:lnTo>
                  <a:lnTo>
                    <a:pt x="62" y="123"/>
                  </a:lnTo>
                  <a:lnTo>
                    <a:pt x="63" y="129"/>
                  </a:lnTo>
                  <a:lnTo>
                    <a:pt x="63" y="131"/>
                  </a:lnTo>
                  <a:lnTo>
                    <a:pt x="63" y="134"/>
                  </a:lnTo>
                  <a:lnTo>
                    <a:pt x="63" y="134"/>
                  </a:lnTo>
                  <a:lnTo>
                    <a:pt x="57" y="141"/>
                  </a:lnTo>
                  <a:lnTo>
                    <a:pt x="57" y="145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62" y="156"/>
                  </a:lnTo>
                  <a:lnTo>
                    <a:pt x="68" y="160"/>
                  </a:lnTo>
                  <a:lnTo>
                    <a:pt x="72" y="163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80" y="174"/>
                  </a:lnTo>
                  <a:lnTo>
                    <a:pt x="83" y="178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6" y="188"/>
                  </a:lnTo>
                  <a:lnTo>
                    <a:pt x="90" y="194"/>
                  </a:lnTo>
                  <a:lnTo>
                    <a:pt x="94" y="197"/>
                  </a:lnTo>
                  <a:lnTo>
                    <a:pt x="99" y="200"/>
                  </a:lnTo>
                  <a:lnTo>
                    <a:pt x="99" y="200"/>
                  </a:lnTo>
                  <a:lnTo>
                    <a:pt x="105" y="202"/>
                  </a:lnTo>
                  <a:lnTo>
                    <a:pt x="112" y="202"/>
                  </a:lnTo>
                  <a:lnTo>
                    <a:pt x="118" y="200"/>
                  </a:lnTo>
                  <a:lnTo>
                    <a:pt x="123" y="199"/>
                  </a:lnTo>
                  <a:lnTo>
                    <a:pt x="123" y="199"/>
                  </a:lnTo>
                  <a:lnTo>
                    <a:pt x="126" y="196"/>
                  </a:lnTo>
                  <a:lnTo>
                    <a:pt x="130" y="194"/>
                  </a:lnTo>
                  <a:lnTo>
                    <a:pt x="136" y="191"/>
                  </a:lnTo>
                  <a:lnTo>
                    <a:pt x="136" y="191"/>
                  </a:lnTo>
                  <a:lnTo>
                    <a:pt x="142" y="188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0" y="184"/>
                  </a:lnTo>
                  <a:lnTo>
                    <a:pt x="140" y="184"/>
                  </a:lnTo>
                  <a:lnTo>
                    <a:pt x="136" y="181"/>
                  </a:lnTo>
                  <a:lnTo>
                    <a:pt x="134" y="178"/>
                  </a:lnTo>
                  <a:lnTo>
                    <a:pt x="131" y="174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8" y="150"/>
                  </a:lnTo>
                  <a:lnTo>
                    <a:pt x="127" y="141"/>
                  </a:lnTo>
                  <a:lnTo>
                    <a:pt x="127" y="138"/>
                  </a:lnTo>
                  <a:lnTo>
                    <a:pt x="127" y="136"/>
                  </a:lnTo>
                  <a:lnTo>
                    <a:pt x="127" y="136"/>
                  </a:lnTo>
                  <a:lnTo>
                    <a:pt x="136" y="132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60" y="119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83" y="98"/>
                  </a:lnTo>
                  <a:lnTo>
                    <a:pt x="191" y="94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8" y="88"/>
                  </a:lnTo>
                  <a:lnTo>
                    <a:pt x="201" y="85"/>
                  </a:lnTo>
                  <a:lnTo>
                    <a:pt x="207" y="74"/>
                  </a:lnTo>
                  <a:lnTo>
                    <a:pt x="211" y="62"/>
                  </a:lnTo>
                  <a:lnTo>
                    <a:pt x="213" y="55"/>
                  </a:lnTo>
                  <a:lnTo>
                    <a:pt x="213" y="55"/>
                  </a:lnTo>
                  <a:lnTo>
                    <a:pt x="211" y="49"/>
                  </a:lnTo>
                  <a:lnTo>
                    <a:pt x="210" y="45"/>
                  </a:lnTo>
                  <a:lnTo>
                    <a:pt x="207" y="39"/>
                  </a:lnTo>
                  <a:lnTo>
                    <a:pt x="204" y="37"/>
                  </a:lnTo>
                  <a:lnTo>
                    <a:pt x="204" y="37"/>
                  </a:lnTo>
                  <a:lnTo>
                    <a:pt x="195" y="37"/>
                  </a:lnTo>
                  <a:lnTo>
                    <a:pt x="188" y="39"/>
                  </a:lnTo>
                  <a:lnTo>
                    <a:pt x="188" y="39"/>
                  </a:lnTo>
                  <a:lnTo>
                    <a:pt x="183" y="39"/>
                  </a:lnTo>
                  <a:lnTo>
                    <a:pt x="179" y="37"/>
                  </a:lnTo>
                  <a:lnTo>
                    <a:pt x="174" y="34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1" y="28"/>
                  </a:lnTo>
                  <a:lnTo>
                    <a:pt x="171" y="27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9" y="18"/>
                  </a:lnTo>
                  <a:lnTo>
                    <a:pt x="180" y="12"/>
                  </a:lnTo>
                  <a:lnTo>
                    <a:pt x="180" y="12"/>
                  </a:lnTo>
                  <a:lnTo>
                    <a:pt x="177" y="6"/>
                  </a:lnTo>
                  <a:lnTo>
                    <a:pt x="174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0" name="Freeform 169">
              <a:extLst>
                <a:ext uri="{FF2B5EF4-FFF2-40B4-BE49-F238E27FC236}">
                  <a16:creationId xmlns:a16="http://schemas.microsoft.com/office/drawing/2014/main" id="{79774DB4-D258-0549-B0DF-13053EC3B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7300" y="5129213"/>
              <a:ext cx="173038" cy="306387"/>
            </a:xfrm>
            <a:custGeom>
              <a:avLst/>
              <a:gdLst>
                <a:gd name="T0" fmla="*/ 108 w 109"/>
                <a:gd name="T1" fmla="*/ 0 h 193"/>
                <a:gd name="T2" fmla="*/ 108 w 109"/>
                <a:gd name="T3" fmla="*/ 0 h 193"/>
                <a:gd name="T4" fmla="*/ 109 w 109"/>
                <a:gd name="T5" fmla="*/ 10 h 193"/>
                <a:gd name="T6" fmla="*/ 109 w 109"/>
                <a:gd name="T7" fmla="*/ 18 h 193"/>
                <a:gd name="T8" fmla="*/ 108 w 109"/>
                <a:gd name="T9" fmla="*/ 24 h 193"/>
                <a:gd name="T10" fmla="*/ 108 w 109"/>
                <a:gd name="T11" fmla="*/ 24 h 193"/>
                <a:gd name="T12" fmla="*/ 105 w 109"/>
                <a:gd name="T13" fmla="*/ 34 h 193"/>
                <a:gd name="T14" fmla="*/ 102 w 109"/>
                <a:gd name="T15" fmla="*/ 40 h 193"/>
                <a:gd name="T16" fmla="*/ 97 w 109"/>
                <a:gd name="T17" fmla="*/ 43 h 193"/>
                <a:gd name="T18" fmla="*/ 97 w 109"/>
                <a:gd name="T19" fmla="*/ 43 h 193"/>
                <a:gd name="T20" fmla="*/ 93 w 109"/>
                <a:gd name="T21" fmla="*/ 44 h 193"/>
                <a:gd name="T22" fmla="*/ 87 w 109"/>
                <a:gd name="T23" fmla="*/ 46 h 193"/>
                <a:gd name="T24" fmla="*/ 84 w 109"/>
                <a:gd name="T25" fmla="*/ 46 h 193"/>
                <a:gd name="T26" fmla="*/ 84 w 109"/>
                <a:gd name="T27" fmla="*/ 47 h 193"/>
                <a:gd name="T28" fmla="*/ 84 w 109"/>
                <a:gd name="T29" fmla="*/ 49 h 193"/>
                <a:gd name="T30" fmla="*/ 84 w 109"/>
                <a:gd name="T31" fmla="*/ 49 h 193"/>
                <a:gd name="T32" fmla="*/ 86 w 109"/>
                <a:gd name="T33" fmla="*/ 53 h 193"/>
                <a:gd name="T34" fmla="*/ 90 w 109"/>
                <a:gd name="T35" fmla="*/ 58 h 193"/>
                <a:gd name="T36" fmla="*/ 99 w 109"/>
                <a:gd name="T37" fmla="*/ 68 h 193"/>
                <a:gd name="T38" fmla="*/ 99 w 109"/>
                <a:gd name="T39" fmla="*/ 68 h 193"/>
                <a:gd name="T40" fmla="*/ 100 w 109"/>
                <a:gd name="T41" fmla="*/ 70 h 193"/>
                <a:gd name="T42" fmla="*/ 99 w 109"/>
                <a:gd name="T43" fmla="*/ 73 h 193"/>
                <a:gd name="T44" fmla="*/ 94 w 109"/>
                <a:gd name="T45" fmla="*/ 79 h 193"/>
                <a:gd name="T46" fmla="*/ 88 w 109"/>
                <a:gd name="T47" fmla="*/ 81 h 193"/>
                <a:gd name="T48" fmla="*/ 84 w 109"/>
                <a:gd name="T49" fmla="*/ 83 h 193"/>
                <a:gd name="T50" fmla="*/ 84 w 109"/>
                <a:gd name="T51" fmla="*/ 83 h 193"/>
                <a:gd name="T52" fmla="*/ 81 w 109"/>
                <a:gd name="T53" fmla="*/ 81 h 193"/>
                <a:gd name="T54" fmla="*/ 80 w 109"/>
                <a:gd name="T55" fmla="*/ 80 h 193"/>
                <a:gd name="T56" fmla="*/ 80 w 109"/>
                <a:gd name="T57" fmla="*/ 79 h 193"/>
                <a:gd name="T58" fmla="*/ 77 w 109"/>
                <a:gd name="T59" fmla="*/ 79 h 193"/>
                <a:gd name="T60" fmla="*/ 77 w 109"/>
                <a:gd name="T61" fmla="*/ 79 h 193"/>
                <a:gd name="T62" fmla="*/ 74 w 109"/>
                <a:gd name="T63" fmla="*/ 81 h 193"/>
                <a:gd name="T64" fmla="*/ 71 w 109"/>
                <a:gd name="T65" fmla="*/ 84 h 193"/>
                <a:gd name="T66" fmla="*/ 68 w 109"/>
                <a:gd name="T67" fmla="*/ 90 h 193"/>
                <a:gd name="T68" fmla="*/ 66 w 109"/>
                <a:gd name="T69" fmla="*/ 98 h 193"/>
                <a:gd name="T70" fmla="*/ 66 w 109"/>
                <a:gd name="T71" fmla="*/ 98 h 193"/>
                <a:gd name="T72" fmla="*/ 65 w 109"/>
                <a:gd name="T73" fmla="*/ 107 h 193"/>
                <a:gd name="T74" fmla="*/ 62 w 109"/>
                <a:gd name="T75" fmla="*/ 113 h 193"/>
                <a:gd name="T76" fmla="*/ 59 w 109"/>
                <a:gd name="T77" fmla="*/ 117 h 193"/>
                <a:gd name="T78" fmla="*/ 54 w 109"/>
                <a:gd name="T79" fmla="*/ 121 h 193"/>
                <a:gd name="T80" fmla="*/ 54 w 109"/>
                <a:gd name="T81" fmla="*/ 121 h 193"/>
                <a:gd name="T82" fmla="*/ 51 w 109"/>
                <a:gd name="T83" fmla="*/ 123 h 193"/>
                <a:gd name="T84" fmla="*/ 49 w 109"/>
                <a:gd name="T85" fmla="*/ 123 h 193"/>
                <a:gd name="T86" fmla="*/ 47 w 109"/>
                <a:gd name="T87" fmla="*/ 124 h 193"/>
                <a:gd name="T88" fmla="*/ 46 w 109"/>
                <a:gd name="T89" fmla="*/ 130 h 193"/>
                <a:gd name="T90" fmla="*/ 46 w 109"/>
                <a:gd name="T91" fmla="*/ 130 h 193"/>
                <a:gd name="T92" fmla="*/ 46 w 109"/>
                <a:gd name="T93" fmla="*/ 136 h 193"/>
                <a:gd name="T94" fmla="*/ 46 w 109"/>
                <a:gd name="T95" fmla="*/ 141 h 193"/>
                <a:gd name="T96" fmla="*/ 44 w 109"/>
                <a:gd name="T97" fmla="*/ 144 h 193"/>
                <a:gd name="T98" fmla="*/ 41 w 109"/>
                <a:gd name="T99" fmla="*/ 145 h 193"/>
                <a:gd name="T100" fmla="*/ 41 w 109"/>
                <a:gd name="T101" fmla="*/ 145 h 193"/>
                <a:gd name="T102" fmla="*/ 35 w 109"/>
                <a:gd name="T103" fmla="*/ 147 h 193"/>
                <a:gd name="T104" fmla="*/ 31 w 109"/>
                <a:gd name="T105" fmla="*/ 148 h 193"/>
                <a:gd name="T106" fmla="*/ 28 w 109"/>
                <a:gd name="T107" fmla="*/ 151 h 193"/>
                <a:gd name="T108" fmla="*/ 26 w 109"/>
                <a:gd name="T109" fmla="*/ 156 h 193"/>
                <a:gd name="T110" fmla="*/ 26 w 109"/>
                <a:gd name="T111" fmla="*/ 156 h 193"/>
                <a:gd name="T112" fmla="*/ 26 w 109"/>
                <a:gd name="T113" fmla="*/ 161 h 193"/>
                <a:gd name="T114" fmla="*/ 25 w 109"/>
                <a:gd name="T115" fmla="*/ 166 h 193"/>
                <a:gd name="T116" fmla="*/ 19 w 109"/>
                <a:gd name="T117" fmla="*/ 173 h 193"/>
                <a:gd name="T118" fmla="*/ 19 w 109"/>
                <a:gd name="T119" fmla="*/ 173 h 193"/>
                <a:gd name="T120" fmla="*/ 0 w 109"/>
                <a:gd name="T12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9" h="193">
                  <a:moveTo>
                    <a:pt x="108" y="0"/>
                  </a:moveTo>
                  <a:lnTo>
                    <a:pt x="108" y="0"/>
                  </a:lnTo>
                  <a:lnTo>
                    <a:pt x="109" y="10"/>
                  </a:lnTo>
                  <a:lnTo>
                    <a:pt x="109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34"/>
                  </a:lnTo>
                  <a:lnTo>
                    <a:pt x="102" y="40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3" y="44"/>
                  </a:lnTo>
                  <a:lnTo>
                    <a:pt x="87" y="46"/>
                  </a:lnTo>
                  <a:lnTo>
                    <a:pt x="84" y="46"/>
                  </a:lnTo>
                  <a:lnTo>
                    <a:pt x="84" y="47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6" y="53"/>
                  </a:lnTo>
                  <a:lnTo>
                    <a:pt x="90" y="5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100" y="70"/>
                  </a:lnTo>
                  <a:lnTo>
                    <a:pt x="99" y="73"/>
                  </a:lnTo>
                  <a:lnTo>
                    <a:pt x="94" y="79"/>
                  </a:lnTo>
                  <a:lnTo>
                    <a:pt x="88" y="81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1" y="81"/>
                  </a:lnTo>
                  <a:lnTo>
                    <a:pt x="80" y="80"/>
                  </a:lnTo>
                  <a:lnTo>
                    <a:pt x="80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4" y="81"/>
                  </a:lnTo>
                  <a:lnTo>
                    <a:pt x="71" y="84"/>
                  </a:lnTo>
                  <a:lnTo>
                    <a:pt x="68" y="90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5" y="107"/>
                  </a:lnTo>
                  <a:lnTo>
                    <a:pt x="62" y="113"/>
                  </a:lnTo>
                  <a:lnTo>
                    <a:pt x="59" y="117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1" y="123"/>
                  </a:lnTo>
                  <a:lnTo>
                    <a:pt x="49" y="123"/>
                  </a:lnTo>
                  <a:lnTo>
                    <a:pt x="47" y="124"/>
                  </a:lnTo>
                  <a:lnTo>
                    <a:pt x="46" y="130"/>
                  </a:lnTo>
                  <a:lnTo>
                    <a:pt x="46" y="130"/>
                  </a:lnTo>
                  <a:lnTo>
                    <a:pt x="46" y="136"/>
                  </a:lnTo>
                  <a:lnTo>
                    <a:pt x="46" y="141"/>
                  </a:lnTo>
                  <a:lnTo>
                    <a:pt x="44" y="144"/>
                  </a:lnTo>
                  <a:lnTo>
                    <a:pt x="41" y="145"/>
                  </a:lnTo>
                  <a:lnTo>
                    <a:pt x="41" y="145"/>
                  </a:lnTo>
                  <a:lnTo>
                    <a:pt x="35" y="147"/>
                  </a:lnTo>
                  <a:lnTo>
                    <a:pt x="31" y="148"/>
                  </a:lnTo>
                  <a:lnTo>
                    <a:pt x="28" y="151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61"/>
                  </a:lnTo>
                  <a:lnTo>
                    <a:pt x="25" y="166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0" y="19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1" name="Freeform 170">
              <a:extLst>
                <a:ext uri="{FF2B5EF4-FFF2-40B4-BE49-F238E27FC236}">
                  <a16:creationId xmlns:a16="http://schemas.microsoft.com/office/drawing/2014/main" id="{F2131C41-EB2C-2B4C-BA26-A77798BEB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38" y="4908550"/>
              <a:ext cx="325438" cy="227012"/>
            </a:xfrm>
            <a:custGeom>
              <a:avLst/>
              <a:gdLst>
                <a:gd name="T0" fmla="*/ 0 w 205"/>
                <a:gd name="T1" fmla="*/ 0 h 143"/>
                <a:gd name="T2" fmla="*/ 0 w 205"/>
                <a:gd name="T3" fmla="*/ 0 h 143"/>
                <a:gd name="T4" fmla="*/ 5 w 205"/>
                <a:gd name="T5" fmla="*/ 1 h 143"/>
                <a:gd name="T6" fmla="*/ 11 w 205"/>
                <a:gd name="T7" fmla="*/ 4 h 143"/>
                <a:gd name="T8" fmla="*/ 17 w 205"/>
                <a:gd name="T9" fmla="*/ 9 h 143"/>
                <a:gd name="T10" fmla="*/ 20 w 205"/>
                <a:gd name="T11" fmla="*/ 16 h 143"/>
                <a:gd name="T12" fmla="*/ 20 w 205"/>
                <a:gd name="T13" fmla="*/ 16 h 143"/>
                <a:gd name="T14" fmla="*/ 24 w 205"/>
                <a:gd name="T15" fmla="*/ 34 h 143"/>
                <a:gd name="T16" fmla="*/ 28 w 205"/>
                <a:gd name="T17" fmla="*/ 41 h 143"/>
                <a:gd name="T18" fmla="*/ 31 w 205"/>
                <a:gd name="T19" fmla="*/ 46 h 143"/>
                <a:gd name="T20" fmla="*/ 34 w 205"/>
                <a:gd name="T21" fmla="*/ 49 h 143"/>
                <a:gd name="T22" fmla="*/ 34 w 205"/>
                <a:gd name="T23" fmla="*/ 49 h 143"/>
                <a:gd name="T24" fmla="*/ 42 w 205"/>
                <a:gd name="T25" fmla="*/ 53 h 143"/>
                <a:gd name="T26" fmla="*/ 48 w 205"/>
                <a:gd name="T27" fmla="*/ 59 h 143"/>
                <a:gd name="T28" fmla="*/ 54 w 205"/>
                <a:gd name="T29" fmla="*/ 66 h 143"/>
                <a:gd name="T30" fmla="*/ 57 w 205"/>
                <a:gd name="T31" fmla="*/ 75 h 143"/>
                <a:gd name="T32" fmla="*/ 57 w 205"/>
                <a:gd name="T33" fmla="*/ 75 h 143"/>
                <a:gd name="T34" fmla="*/ 60 w 205"/>
                <a:gd name="T35" fmla="*/ 84 h 143"/>
                <a:gd name="T36" fmla="*/ 62 w 205"/>
                <a:gd name="T37" fmla="*/ 90 h 143"/>
                <a:gd name="T38" fmla="*/ 65 w 205"/>
                <a:gd name="T39" fmla="*/ 95 h 143"/>
                <a:gd name="T40" fmla="*/ 71 w 205"/>
                <a:gd name="T41" fmla="*/ 98 h 143"/>
                <a:gd name="T42" fmla="*/ 71 w 205"/>
                <a:gd name="T43" fmla="*/ 98 h 143"/>
                <a:gd name="T44" fmla="*/ 85 w 205"/>
                <a:gd name="T45" fmla="*/ 103 h 143"/>
                <a:gd name="T46" fmla="*/ 98 w 205"/>
                <a:gd name="T47" fmla="*/ 111 h 143"/>
                <a:gd name="T48" fmla="*/ 98 w 205"/>
                <a:gd name="T49" fmla="*/ 111 h 143"/>
                <a:gd name="T50" fmla="*/ 104 w 205"/>
                <a:gd name="T51" fmla="*/ 114 h 143"/>
                <a:gd name="T52" fmla="*/ 111 w 205"/>
                <a:gd name="T53" fmla="*/ 115 h 143"/>
                <a:gd name="T54" fmla="*/ 117 w 205"/>
                <a:gd name="T55" fmla="*/ 117 h 143"/>
                <a:gd name="T56" fmla="*/ 122 w 205"/>
                <a:gd name="T57" fmla="*/ 118 h 143"/>
                <a:gd name="T58" fmla="*/ 122 w 205"/>
                <a:gd name="T59" fmla="*/ 118 h 143"/>
                <a:gd name="T60" fmla="*/ 131 w 205"/>
                <a:gd name="T61" fmla="*/ 124 h 143"/>
                <a:gd name="T62" fmla="*/ 139 w 205"/>
                <a:gd name="T63" fmla="*/ 133 h 143"/>
                <a:gd name="T64" fmla="*/ 139 w 205"/>
                <a:gd name="T65" fmla="*/ 133 h 143"/>
                <a:gd name="T66" fmla="*/ 142 w 205"/>
                <a:gd name="T67" fmla="*/ 135 h 143"/>
                <a:gd name="T68" fmla="*/ 147 w 205"/>
                <a:gd name="T69" fmla="*/ 136 h 143"/>
                <a:gd name="T70" fmla="*/ 159 w 205"/>
                <a:gd name="T71" fmla="*/ 139 h 143"/>
                <a:gd name="T72" fmla="*/ 159 w 205"/>
                <a:gd name="T73" fmla="*/ 139 h 143"/>
                <a:gd name="T74" fmla="*/ 175 w 205"/>
                <a:gd name="T75" fmla="*/ 143 h 143"/>
                <a:gd name="T76" fmla="*/ 175 w 205"/>
                <a:gd name="T77" fmla="*/ 143 h 143"/>
                <a:gd name="T78" fmla="*/ 182 w 205"/>
                <a:gd name="T79" fmla="*/ 142 h 143"/>
                <a:gd name="T80" fmla="*/ 191 w 205"/>
                <a:gd name="T81" fmla="*/ 139 h 143"/>
                <a:gd name="T82" fmla="*/ 200 w 205"/>
                <a:gd name="T83" fmla="*/ 135 h 143"/>
                <a:gd name="T84" fmla="*/ 205 w 205"/>
                <a:gd name="T85" fmla="*/ 132 h 143"/>
                <a:gd name="T86" fmla="*/ 205 w 205"/>
                <a:gd name="T87" fmla="*/ 132 h 143"/>
                <a:gd name="T88" fmla="*/ 205 w 205"/>
                <a:gd name="T89" fmla="*/ 129 h 143"/>
                <a:gd name="T90" fmla="*/ 202 w 205"/>
                <a:gd name="T91" fmla="*/ 123 h 143"/>
                <a:gd name="T92" fmla="*/ 199 w 205"/>
                <a:gd name="T93" fmla="*/ 115 h 143"/>
                <a:gd name="T94" fmla="*/ 194 w 205"/>
                <a:gd name="T95" fmla="*/ 111 h 143"/>
                <a:gd name="T96" fmla="*/ 194 w 205"/>
                <a:gd name="T97" fmla="*/ 111 h 143"/>
                <a:gd name="T98" fmla="*/ 193 w 205"/>
                <a:gd name="T99" fmla="*/ 108 h 143"/>
                <a:gd name="T100" fmla="*/ 191 w 205"/>
                <a:gd name="T101" fmla="*/ 105 h 143"/>
                <a:gd name="T102" fmla="*/ 191 w 205"/>
                <a:gd name="T103" fmla="*/ 99 h 143"/>
                <a:gd name="T104" fmla="*/ 193 w 205"/>
                <a:gd name="T105" fmla="*/ 9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143">
                  <a:moveTo>
                    <a:pt x="0" y="0"/>
                  </a:moveTo>
                  <a:lnTo>
                    <a:pt x="0" y="0"/>
                  </a:lnTo>
                  <a:lnTo>
                    <a:pt x="5" y="1"/>
                  </a:lnTo>
                  <a:lnTo>
                    <a:pt x="11" y="4"/>
                  </a:lnTo>
                  <a:lnTo>
                    <a:pt x="17" y="9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34"/>
                  </a:lnTo>
                  <a:lnTo>
                    <a:pt x="28" y="41"/>
                  </a:lnTo>
                  <a:lnTo>
                    <a:pt x="31" y="46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42" y="53"/>
                  </a:lnTo>
                  <a:lnTo>
                    <a:pt x="48" y="59"/>
                  </a:lnTo>
                  <a:lnTo>
                    <a:pt x="54" y="66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60" y="84"/>
                  </a:lnTo>
                  <a:lnTo>
                    <a:pt x="62" y="90"/>
                  </a:lnTo>
                  <a:lnTo>
                    <a:pt x="65" y="95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85" y="103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104" y="114"/>
                  </a:lnTo>
                  <a:lnTo>
                    <a:pt x="111" y="115"/>
                  </a:lnTo>
                  <a:lnTo>
                    <a:pt x="117" y="117"/>
                  </a:lnTo>
                  <a:lnTo>
                    <a:pt x="122" y="118"/>
                  </a:lnTo>
                  <a:lnTo>
                    <a:pt x="122" y="118"/>
                  </a:lnTo>
                  <a:lnTo>
                    <a:pt x="131" y="124"/>
                  </a:lnTo>
                  <a:lnTo>
                    <a:pt x="139" y="133"/>
                  </a:lnTo>
                  <a:lnTo>
                    <a:pt x="139" y="133"/>
                  </a:lnTo>
                  <a:lnTo>
                    <a:pt x="142" y="135"/>
                  </a:lnTo>
                  <a:lnTo>
                    <a:pt x="147" y="136"/>
                  </a:lnTo>
                  <a:lnTo>
                    <a:pt x="159" y="139"/>
                  </a:lnTo>
                  <a:lnTo>
                    <a:pt x="159" y="139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82" y="142"/>
                  </a:lnTo>
                  <a:lnTo>
                    <a:pt x="191" y="139"/>
                  </a:lnTo>
                  <a:lnTo>
                    <a:pt x="200" y="135"/>
                  </a:lnTo>
                  <a:lnTo>
                    <a:pt x="205" y="132"/>
                  </a:lnTo>
                  <a:lnTo>
                    <a:pt x="205" y="132"/>
                  </a:lnTo>
                  <a:lnTo>
                    <a:pt x="205" y="129"/>
                  </a:lnTo>
                  <a:lnTo>
                    <a:pt x="202" y="123"/>
                  </a:lnTo>
                  <a:lnTo>
                    <a:pt x="199" y="115"/>
                  </a:lnTo>
                  <a:lnTo>
                    <a:pt x="194" y="111"/>
                  </a:lnTo>
                  <a:lnTo>
                    <a:pt x="194" y="111"/>
                  </a:lnTo>
                  <a:lnTo>
                    <a:pt x="193" y="108"/>
                  </a:lnTo>
                  <a:lnTo>
                    <a:pt x="191" y="105"/>
                  </a:lnTo>
                  <a:lnTo>
                    <a:pt x="191" y="99"/>
                  </a:lnTo>
                  <a:lnTo>
                    <a:pt x="193" y="9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2" name="Freeform 171">
              <a:extLst>
                <a:ext uri="{FF2B5EF4-FFF2-40B4-BE49-F238E27FC236}">
                  <a16:creationId xmlns:a16="http://schemas.microsoft.com/office/drawing/2014/main" id="{C57784C5-7261-A449-922A-15B52DD50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4873625"/>
              <a:ext cx="231775" cy="138112"/>
            </a:xfrm>
            <a:custGeom>
              <a:avLst/>
              <a:gdLst>
                <a:gd name="T0" fmla="*/ 0 w 146"/>
                <a:gd name="T1" fmla="*/ 50 h 87"/>
                <a:gd name="T2" fmla="*/ 0 w 146"/>
                <a:gd name="T3" fmla="*/ 50 h 87"/>
                <a:gd name="T4" fmla="*/ 7 w 146"/>
                <a:gd name="T5" fmla="*/ 51 h 87"/>
                <a:gd name="T6" fmla="*/ 11 w 146"/>
                <a:gd name="T7" fmla="*/ 54 h 87"/>
                <a:gd name="T8" fmla="*/ 14 w 146"/>
                <a:gd name="T9" fmla="*/ 59 h 87"/>
                <a:gd name="T10" fmla="*/ 14 w 146"/>
                <a:gd name="T11" fmla="*/ 59 h 87"/>
                <a:gd name="T12" fmla="*/ 17 w 146"/>
                <a:gd name="T13" fmla="*/ 69 h 87"/>
                <a:gd name="T14" fmla="*/ 20 w 146"/>
                <a:gd name="T15" fmla="*/ 75 h 87"/>
                <a:gd name="T16" fmla="*/ 23 w 146"/>
                <a:gd name="T17" fmla="*/ 78 h 87"/>
                <a:gd name="T18" fmla="*/ 23 w 146"/>
                <a:gd name="T19" fmla="*/ 78 h 87"/>
                <a:gd name="T20" fmla="*/ 28 w 146"/>
                <a:gd name="T21" fmla="*/ 83 h 87"/>
                <a:gd name="T22" fmla="*/ 29 w 146"/>
                <a:gd name="T23" fmla="*/ 85 h 87"/>
                <a:gd name="T24" fmla="*/ 32 w 146"/>
                <a:gd name="T25" fmla="*/ 87 h 87"/>
                <a:gd name="T26" fmla="*/ 37 w 146"/>
                <a:gd name="T27" fmla="*/ 87 h 87"/>
                <a:gd name="T28" fmla="*/ 37 w 146"/>
                <a:gd name="T29" fmla="*/ 87 h 87"/>
                <a:gd name="T30" fmla="*/ 40 w 146"/>
                <a:gd name="T31" fmla="*/ 87 h 87"/>
                <a:gd name="T32" fmla="*/ 43 w 146"/>
                <a:gd name="T33" fmla="*/ 84 h 87"/>
                <a:gd name="T34" fmla="*/ 48 w 146"/>
                <a:gd name="T35" fmla="*/ 78 h 87"/>
                <a:gd name="T36" fmla="*/ 56 w 146"/>
                <a:gd name="T37" fmla="*/ 68 h 87"/>
                <a:gd name="T38" fmla="*/ 56 w 146"/>
                <a:gd name="T39" fmla="*/ 68 h 87"/>
                <a:gd name="T40" fmla="*/ 62 w 146"/>
                <a:gd name="T41" fmla="*/ 63 h 87"/>
                <a:gd name="T42" fmla="*/ 65 w 146"/>
                <a:gd name="T43" fmla="*/ 62 h 87"/>
                <a:gd name="T44" fmla="*/ 69 w 146"/>
                <a:gd name="T45" fmla="*/ 60 h 87"/>
                <a:gd name="T46" fmla="*/ 69 w 146"/>
                <a:gd name="T47" fmla="*/ 60 h 87"/>
                <a:gd name="T48" fmla="*/ 80 w 146"/>
                <a:gd name="T49" fmla="*/ 60 h 87"/>
                <a:gd name="T50" fmla="*/ 84 w 146"/>
                <a:gd name="T51" fmla="*/ 60 h 87"/>
                <a:gd name="T52" fmla="*/ 88 w 146"/>
                <a:gd name="T53" fmla="*/ 63 h 87"/>
                <a:gd name="T54" fmla="*/ 88 w 146"/>
                <a:gd name="T55" fmla="*/ 63 h 87"/>
                <a:gd name="T56" fmla="*/ 93 w 146"/>
                <a:gd name="T57" fmla="*/ 66 h 87"/>
                <a:gd name="T58" fmla="*/ 97 w 146"/>
                <a:gd name="T59" fmla="*/ 66 h 87"/>
                <a:gd name="T60" fmla="*/ 102 w 146"/>
                <a:gd name="T61" fmla="*/ 66 h 87"/>
                <a:gd name="T62" fmla="*/ 105 w 146"/>
                <a:gd name="T63" fmla="*/ 63 h 87"/>
                <a:gd name="T64" fmla="*/ 105 w 146"/>
                <a:gd name="T65" fmla="*/ 63 h 87"/>
                <a:gd name="T66" fmla="*/ 128 w 146"/>
                <a:gd name="T67" fmla="*/ 32 h 87"/>
                <a:gd name="T68" fmla="*/ 128 w 146"/>
                <a:gd name="T69" fmla="*/ 32 h 87"/>
                <a:gd name="T70" fmla="*/ 133 w 146"/>
                <a:gd name="T71" fmla="*/ 28 h 87"/>
                <a:gd name="T72" fmla="*/ 139 w 146"/>
                <a:gd name="T73" fmla="*/ 23 h 87"/>
                <a:gd name="T74" fmla="*/ 143 w 146"/>
                <a:gd name="T75" fmla="*/ 20 h 87"/>
                <a:gd name="T76" fmla="*/ 145 w 146"/>
                <a:gd name="T77" fmla="*/ 17 h 87"/>
                <a:gd name="T78" fmla="*/ 146 w 146"/>
                <a:gd name="T79" fmla="*/ 14 h 87"/>
                <a:gd name="T80" fmla="*/ 146 w 146"/>
                <a:gd name="T81" fmla="*/ 14 h 87"/>
                <a:gd name="T82" fmla="*/ 145 w 146"/>
                <a:gd name="T83" fmla="*/ 6 h 87"/>
                <a:gd name="T84" fmla="*/ 146 w 146"/>
                <a:gd name="T8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6" h="87">
                  <a:moveTo>
                    <a:pt x="0" y="50"/>
                  </a:moveTo>
                  <a:lnTo>
                    <a:pt x="0" y="50"/>
                  </a:lnTo>
                  <a:lnTo>
                    <a:pt x="7" y="51"/>
                  </a:lnTo>
                  <a:lnTo>
                    <a:pt x="11" y="54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7" y="69"/>
                  </a:lnTo>
                  <a:lnTo>
                    <a:pt x="20" y="75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8" y="83"/>
                  </a:lnTo>
                  <a:lnTo>
                    <a:pt x="29" y="85"/>
                  </a:lnTo>
                  <a:lnTo>
                    <a:pt x="32" y="87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0" y="87"/>
                  </a:lnTo>
                  <a:lnTo>
                    <a:pt x="43" y="84"/>
                  </a:lnTo>
                  <a:lnTo>
                    <a:pt x="48" y="7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62" y="63"/>
                  </a:lnTo>
                  <a:lnTo>
                    <a:pt x="65" y="62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80" y="60"/>
                  </a:lnTo>
                  <a:lnTo>
                    <a:pt x="84" y="60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93" y="66"/>
                  </a:lnTo>
                  <a:lnTo>
                    <a:pt x="97" y="66"/>
                  </a:lnTo>
                  <a:lnTo>
                    <a:pt x="102" y="66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33" y="28"/>
                  </a:lnTo>
                  <a:lnTo>
                    <a:pt x="139" y="23"/>
                  </a:lnTo>
                  <a:lnTo>
                    <a:pt x="143" y="20"/>
                  </a:lnTo>
                  <a:lnTo>
                    <a:pt x="145" y="17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5" y="6"/>
                  </a:lnTo>
                  <a:lnTo>
                    <a:pt x="146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3" name="Freeform 172">
              <a:extLst>
                <a:ext uri="{FF2B5EF4-FFF2-40B4-BE49-F238E27FC236}">
                  <a16:creationId xmlns:a16="http://schemas.microsoft.com/office/drawing/2014/main" id="{78A53AC9-5B79-8145-811B-4C272A153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4738688"/>
              <a:ext cx="288925" cy="315912"/>
            </a:xfrm>
            <a:custGeom>
              <a:avLst/>
              <a:gdLst>
                <a:gd name="T0" fmla="*/ 0 w 182"/>
                <a:gd name="T1" fmla="*/ 16 h 199"/>
                <a:gd name="T2" fmla="*/ 4 w 182"/>
                <a:gd name="T3" fmla="*/ 27 h 199"/>
                <a:gd name="T4" fmla="*/ 9 w 182"/>
                <a:gd name="T5" fmla="*/ 31 h 199"/>
                <a:gd name="T6" fmla="*/ 19 w 182"/>
                <a:gd name="T7" fmla="*/ 36 h 199"/>
                <a:gd name="T8" fmla="*/ 25 w 182"/>
                <a:gd name="T9" fmla="*/ 43 h 199"/>
                <a:gd name="T10" fmla="*/ 26 w 182"/>
                <a:gd name="T11" fmla="*/ 48 h 199"/>
                <a:gd name="T12" fmla="*/ 22 w 182"/>
                <a:gd name="T13" fmla="*/ 62 h 199"/>
                <a:gd name="T14" fmla="*/ 22 w 182"/>
                <a:gd name="T15" fmla="*/ 65 h 199"/>
                <a:gd name="T16" fmla="*/ 25 w 182"/>
                <a:gd name="T17" fmla="*/ 71 h 199"/>
                <a:gd name="T18" fmla="*/ 32 w 182"/>
                <a:gd name="T19" fmla="*/ 82 h 199"/>
                <a:gd name="T20" fmla="*/ 37 w 182"/>
                <a:gd name="T21" fmla="*/ 93 h 199"/>
                <a:gd name="T22" fmla="*/ 43 w 182"/>
                <a:gd name="T23" fmla="*/ 96 h 199"/>
                <a:gd name="T24" fmla="*/ 47 w 182"/>
                <a:gd name="T25" fmla="*/ 98 h 199"/>
                <a:gd name="T26" fmla="*/ 53 w 182"/>
                <a:gd name="T27" fmla="*/ 104 h 199"/>
                <a:gd name="T28" fmla="*/ 55 w 182"/>
                <a:gd name="T29" fmla="*/ 111 h 199"/>
                <a:gd name="T30" fmla="*/ 56 w 182"/>
                <a:gd name="T31" fmla="*/ 130 h 199"/>
                <a:gd name="T32" fmla="*/ 55 w 182"/>
                <a:gd name="T33" fmla="*/ 144 h 199"/>
                <a:gd name="T34" fmla="*/ 58 w 182"/>
                <a:gd name="T35" fmla="*/ 159 h 199"/>
                <a:gd name="T36" fmla="*/ 59 w 182"/>
                <a:gd name="T37" fmla="*/ 165 h 199"/>
                <a:gd name="T38" fmla="*/ 62 w 182"/>
                <a:gd name="T39" fmla="*/ 175 h 199"/>
                <a:gd name="T40" fmla="*/ 65 w 182"/>
                <a:gd name="T41" fmla="*/ 178 h 199"/>
                <a:gd name="T42" fmla="*/ 72 w 182"/>
                <a:gd name="T43" fmla="*/ 194 h 199"/>
                <a:gd name="T44" fmla="*/ 75 w 182"/>
                <a:gd name="T45" fmla="*/ 197 h 199"/>
                <a:gd name="T46" fmla="*/ 77 w 182"/>
                <a:gd name="T47" fmla="*/ 199 h 199"/>
                <a:gd name="T48" fmla="*/ 93 w 182"/>
                <a:gd name="T49" fmla="*/ 190 h 199"/>
                <a:gd name="T50" fmla="*/ 100 w 182"/>
                <a:gd name="T51" fmla="*/ 188 h 199"/>
                <a:gd name="T52" fmla="*/ 106 w 182"/>
                <a:gd name="T53" fmla="*/ 191 h 199"/>
                <a:gd name="T54" fmla="*/ 111 w 182"/>
                <a:gd name="T55" fmla="*/ 194 h 199"/>
                <a:gd name="T56" fmla="*/ 114 w 182"/>
                <a:gd name="T57" fmla="*/ 191 h 199"/>
                <a:gd name="T58" fmla="*/ 121 w 182"/>
                <a:gd name="T59" fmla="*/ 176 h 199"/>
                <a:gd name="T60" fmla="*/ 124 w 182"/>
                <a:gd name="T61" fmla="*/ 172 h 199"/>
                <a:gd name="T62" fmla="*/ 126 w 182"/>
                <a:gd name="T63" fmla="*/ 162 h 199"/>
                <a:gd name="T64" fmla="*/ 127 w 182"/>
                <a:gd name="T65" fmla="*/ 159 h 199"/>
                <a:gd name="T66" fmla="*/ 130 w 182"/>
                <a:gd name="T67" fmla="*/ 160 h 199"/>
                <a:gd name="T68" fmla="*/ 138 w 182"/>
                <a:gd name="T69" fmla="*/ 157 h 199"/>
                <a:gd name="T70" fmla="*/ 155 w 182"/>
                <a:gd name="T71" fmla="*/ 145 h 199"/>
                <a:gd name="T72" fmla="*/ 169 w 182"/>
                <a:gd name="T73" fmla="*/ 135 h 199"/>
                <a:gd name="T74" fmla="*/ 170 w 182"/>
                <a:gd name="T75" fmla="*/ 126 h 199"/>
                <a:gd name="T76" fmla="*/ 169 w 182"/>
                <a:gd name="T77" fmla="*/ 119 h 199"/>
                <a:gd name="T78" fmla="*/ 166 w 182"/>
                <a:gd name="T79" fmla="*/ 113 h 199"/>
                <a:gd name="T80" fmla="*/ 170 w 182"/>
                <a:gd name="T81" fmla="*/ 110 h 199"/>
                <a:gd name="T82" fmla="*/ 176 w 182"/>
                <a:gd name="T83" fmla="*/ 108 h 199"/>
                <a:gd name="T84" fmla="*/ 180 w 182"/>
                <a:gd name="T85" fmla="*/ 107 h 199"/>
                <a:gd name="T86" fmla="*/ 180 w 182"/>
                <a:gd name="T87" fmla="*/ 102 h 199"/>
                <a:gd name="T88" fmla="*/ 173 w 182"/>
                <a:gd name="T89" fmla="*/ 95 h 199"/>
                <a:gd name="T90" fmla="*/ 164 w 182"/>
                <a:gd name="T91" fmla="*/ 86 h 199"/>
                <a:gd name="T92" fmla="*/ 152 w 182"/>
                <a:gd name="T93" fmla="*/ 74 h 199"/>
                <a:gd name="T94" fmla="*/ 152 w 182"/>
                <a:gd name="T95" fmla="*/ 68 h 199"/>
                <a:gd name="T96" fmla="*/ 154 w 182"/>
                <a:gd name="T97" fmla="*/ 56 h 199"/>
                <a:gd name="T98" fmla="*/ 152 w 182"/>
                <a:gd name="T99" fmla="*/ 49 h 199"/>
                <a:gd name="T100" fmla="*/ 148 w 182"/>
                <a:gd name="T101" fmla="*/ 45 h 199"/>
                <a:gd name="T102" fmla="*/ 146 w 182"/>
                <a:gd name="T103" fmla="*/ 39 h 199"/>
                <a:gd name="T104" fmla="*/ 149 w 182"/>
                <a:gd name="T105" fmla="*/ 30 h 199"/>
                <a:gd name="T106" fmla="*/ 152 w 182"/>
                <a:gd name="T107" fmla="*/ 19 h 199"/>
                <a:gd name="T108" fmla="*/ 160 w 182"/>
                <a:gd name="T10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2" h="199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5" y="34"/>
                  </a:lnTo>
                  <a:lnTo>
                    <a:pt x="19" y="36"/>
                  </a:lnTo>
                  <a:lnTo>
                    <a:pt x="23" y="39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6" y="48"/>
                  </a:lnTo>
                  <a:lnTo>
                    <a:pt x="25" y="5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5"/>
                  </a:lnTo>
                  <a:lnTo>
                    <a:pt x="22" y="68"/>
                  </a:lnTo>
                  <a:lnTo>
                    <a:pt x="25" y="71"/>
                  </a:lnTo>
                  <a:lnTo>
                    <a:pt x="29" y="76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7" y="93"/>
                  </a:lnTo>
                  <a:lnTo>
                    <a:pt x="38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7" y="98"/>
                  </a:lnTo>
                  <a:lnTo>
                    <a:pt x="50" y="99"/>
                  </a:lnTo>
                  <a:lnTo>
                    <a:pt x="53" y="104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6" y="122"/>
                  </a:lnTo>
                  <a:lnTo>
                    <a:pt x="56" y="130"/>
                  </a:lnTo>
                  <a:lnTo>
                    <a:pt x="55" y="144"/>
                  </a:lnTo>
                  <a:lnTo>
                    <a:pt x="55" y="144"/>
                  </a:lnTo>
                  <a:lnTo>
                    <a:pt x="58" y="148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9" y="165"/>
                  </a:lnTo>
                  <a:lnTo>
                    <a:pt x="59" y="170"/>
                  </a:lnTo>
                  <a:lnTo>
                    <a:pt x="62" y="175"/>
                  </a:lnTo>
                  <a:lnTo>
                    <a:pt x="65" y="178"/>
                  </a:lnTo>
                  <a:lnTo>
                    <a:pt x="65" y="178"/>
                  </a:lnTo>
                  <a:lnTo>
                    <a:pt x="69" y="187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5" y="197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86" y="194"/>
                  </a:lnTo>
                  <a:lnTo>
                    <a:pt x="93" y="190"/>
                  </a:lnTo>
                  <a:lnTo>
                    <a:pt x="100" y="188"/>
                  </a:lnTo>
                  <a:lnTo>
                    <a:pt x="100" y="188"/>
                  </a:lnTo>
                  <a:lnTo>
                    <a:pt x="103" y="190"/>
                  </a:lnTo>
                  <a:lnTo>
                    <a:pt x="106" y="191"/>
                  </a:lnTo>
                  <a:lnTo>
                    <a:pt x="108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4" y="191"/>
                  </a:lnTo>
                  <a:lnTo>
                    <a:pt x="117" y="187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4" y="172"/>
                  </a:lnTo>
                  <a:lnTo>
                    <a:pt x="124" y="168"/>
                  </a:lnTo>
                  <a:lnTo>
                    <a:pt x="126" y="162"/>
                  </a:lnTo>
                  <a:lnTo>
                    <a:pt x="127" y="159"/>
                  </a:lnTo>
                  <a:lnTo>
                    <a:pt x="127" y="159"/>
                  </a:lnTo>
                  <a:lnTo>
                    <a:pt x="129" y="159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55" y="14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70" y="132"/>
                  </a:lnTo>
                  <a:lnTo>
                    <a:pt x="170" y="126"/>
                  </a:lnTo>
                  <a:lnTo>
                    <a:pt x="170" y="122"/>
                  </a:lnTo>
                  <a:lnTo>
                    <a:pt x="169" y="119"/>
                  </a:lnTo>
                  <a:lnTo>
                    <a:pt x="169" y="119"/>
                  </a:lnTo>
                  <a:lnTo>
                    <a:pt x="166" y="113"/>
                  </a:lnTo>
                  <a:lnTo>
                    <a:pt x="166" y="110"/>
                  </a:lnTo>
                  <a:lnTo>
                    <a:pt x="170" y="110"/>
                  </a:lnTo>
                  <a:lnTo>
                    <a:pt x="170" y="110"/>
                  </a:lnTo>
                  <a:lnTo>
                    <a:pt x="176" y="108"/>
                  </a:lnTo>
                  <a:lnTo>
                    <a:pt x="179" y="108"/>
                  </a:lnTo>
                  <a:lnTo>
                    <a:pt x="180" y="107"/>
                  </a:lnTo>
                  <a:lnTo>
                    <a:pt x="182" y="104"/>
                  </a:lnTo>
                  <a:lnTo>
                    <a:pt x="180" y="102"/>
                  </a:lnTo>
                  <a:lnTo>
                    <a:pt x="179" y="98"/>
                  </a:lnTo>
                  <a:lnTo>
                    <a:pt x="173" y="95"/>
                  </a:lnTo>
                  <a:lnTo>
                    <a:pt x="173" y="95"/>
                  </a:lnTo>
                  <a:lnTo>
                    <a:pt x="164" y="86"/>
                  </a:lnTo>
                  <a:lnTo>
                    <a:pt x="157" y="80"/>
                  </a:lnTo>
                  <a:lnTo>
                    <a:pt x="152" y="74"/>
                  </a:lnTo>
                  <a:lnTo>
                    <a:pt x="152" y="71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54" y="56"/>
                  </a:lnTo>
                  <a:lnTo>
                    <a:pt x="154" y="52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48" y="45"/>
                  </a:lnTo>
                  <a:lnTo>
                    <a:pt x="146" y="42"/>
                  </a:lnTo>
                  <a:lnTo>
                    <a:pt x="146" y="39"/>
                  </a:lnTo>
                  <a:lnTo>
                    <a:pt x="146" y="39"/>
                  </a:lnTo>
                  <a:lnTo>
                    <a:pt x="149" y="30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4" y="3"/>
                  </a:lnTo>
                  <a:lnTo>
                    <a:pt x="160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4" name="Freeform 173">
              <a:extLst>
                <a:ext uri="{FF2B5EF4-FFF2-40B4-BE49-F238E27FC236}">
                  <a16:creationId xmlns:a16="http://schemas.microsoft.com/office/drawing/2014/main" id="{096521C1-B55D-4748-8790-B5C24352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8600" y="4699000"/>
              <a:ext cx="361950" cy="44450"/>
            </a:xfrm>
            <a:custGeom>
              <a:avLst/>
              <a:gdLst>
                <a:gd name="T0" fmla="*/ 0 w 228"/>
                <a:gd name="T1" fmla="*/ 0 h 28"/>
                <a:gd name="T2" fmla="*/ 19 w 228"/>
                <a:gd name="T3" fmla="*/ 9 h 28"/>
                <a:gd name="T4" fmla="*/ 28 w 228"/>
                <a:gd name="T5" fmla="*/ 12 h 28"/>
                <a:gd name="T6" fmla="*/ 39 w 228"/>
                <a:gd name="T7" fmla="*/ 9 h 28"/>
                <a:gd name="T8" fmla="*/ 48 w 228"/>
                <a:gd name="T9" fmla="*/ 9 h 28"/>
                <a:gd name="T10" fmla="*/ 56 w 228"/>
                <a:gd name="T11" fmla="*/ 15 h 28"/>
                <a:gd name="T12" fmla="*/ 64 w 228"/>
                <a:gd name="T13" fmla="*/ 21 h 28"/>
                <a:gd name="T14" fmla="*/ 73 w 228"/>
                <a:gd name="T15" fmla="*/ 25 h 28"/>
                <a:gd name="T16" fmla="*/ 77 w 228"/>
                <a:gd name="T17" fmla="*/ 24 h 28"/>
                <a:gd name="T18" fmla="*/ 79 w 228"/>
                <a:gd name="T19" fmla="*/ 19 h 28"/>
                <a:gd name="T20" fmla="*/ 80 w 228"/>
                <a:gd name="T21" fmla="*/ 9 h 28"/>
                <a:gd name="T22" fmla="*/ 83 w 228"/>
                <a:gd name="T23" fmla="*/ 4 h 28"/>
                <a:gd name="T24" fmla="*/ 86 w 228"/>
                <a:gd name="T25" fmla="*/ 6 h 28"/>
                <a:gd name="T26" fmla="*/ 98 w 228"/>
                <a:gd name="T27" fmla="*/ 7 h 28"/>
                <a:gd name="T28" fmla="*/ 107 w 228"/>
                <a:gd name="T29" fmla="*/ 6 h 28"/>
                <a:gd name="T30" fmla="*/ 110 w 228"/>
                <a:gd name="T31" fmla="*/ 4 h 28"/>
                <a:gd name="T32" fmla="*/ 120 w 228"/>
                <a:gd name="T33" fmla="*/ 1 h 28"/>
                <a:gd name="T34" fmla="*/ 126 w 228"/>
                <a:gd name="T35" fmla="*/ 3 h 28"/>
                <a:gd name="T36" fmla="*/ 141 w 228"/>
                <a:gd name="T37" fmla="*/ 6 h 28"/>
                <a:gd name="T38" fmla="*/ 150 w 228"/>
                <a:gd name="T39" fmla="*/ 9 h 28"/>
                <a:gd name="T40" fmla="*/ 151 w 228"/>
                <a:gd name="T41" fmla="*/ 12 h 28"/>
                <a:gd name="T42" fmla="*/ 157 w 228"/>
                <a:gd name="T43" fmla="*/ 25 h 28"/>
                <a:gd name="T44" fmla="*/ 165 w 228"/>
                <a:gd name="T45" fmla="*/ 28 h 28"/>
                <a:gd name="T46" fmla="*/ 166 w 228"/>
                <a:gd name="T47" fmla="*/ 28 h 28"/>
                <a:gd name="T48" fmla="*/ 172 w 228"/>
                <a:gd name="T49" fmla="*/ 18 h 28"/>
                <a:gd name="T50" fmla="*/ 176 w 228"/>
                <a:gd name="T51" fmla="*/ 13 h 28"/>
                <a:gd name="T52" fmla="*/ 179 w 228"/>
                <a:gd name="T53" fmla="*/ 13 h 28"/>
                <a:gd name="T54" fmla="*/ 185 w 228"/>
                <a:gd name="T55" fmla="*/ 18 h 28"/>
                <a:gd name="T56" fmla="*/ 193 w 228"/>
                <a:gd name="T57" fmla="*/ 21 h 28"/>
                <a:gd name="T58" fmla="*/ 199 w 228"/>
                <a:gd name="T59" fmla="*/ 19 h 28"/>
                <a:gd name="T60" fmla="*/ 215 w 228"/>
                <a:gd name="T61" fmla="*/ 15 h 28"/>
                <a:gd name="T62" fmla="*/ 224 w 228"/>
                <a:gd name="T63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8" h="28">
                  <a:moveTo>
                    <a:pt x="0" y="0"/>
                  </a:moveTo>
                  <a:lnTo>
                    <a:pt x="0" y="0"/>
                  </a:lnTo>
                  <a:lnTo>
                    <a:pt x="11" y="6"/>
                  </a:lnTo>
                  <a:lnTo>
                    <a:pt x="1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4" y="10"/>
                  </a:lnTo>
                  <a:lnTo>
                    <a:pt x="39" y="9"/>
                  </a:lnTo>
                  <a:lnTo>
                    <a:pt x="43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56" y="15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8" y="24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7" y="24"/>
                  </a:lnTo>
                  <a:lnTo>
                    <a:pt x="79" y="22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9"/>
                  </a:lnTo>
                  <a:lnTo>
                    <a:pt x="82" y="6"/>
                  </a:lnTo>
                  <a:lnTo>
                    <a:pt x="83" y="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92" y="7"/>
                  </a:lnTo>
                  <a:lnTo>
                    <a:pt x="98" y="7"/>
                  </a:lnTo>
                  <a:lnTo>
                    <a:pt x="104" y="7"/>
                  </a:lnTo>
                  <a:lnTo>
                    <a:pt x="107" y="6"/>
                  </a:lnTo>
                  <a:lnTo>
                    <a:pt x="107" y="6"/>
                  </a:lnTo>
                  <a:lnTo>
                    <a:pt x="110" y="4"/>
                  </a:lnTo>
                  <a:lnTo>
                    <a:pt x="114" y="3"/>
                  </a:lnTo>
                  <a:lnTo>
                    <a:pt x="120" y="1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33" y="4"/>
                  </a:lnTo>
                  <a:lnTo>
                    <a:pt x="141" y="6"/>
                  </a:lnTo>
                  <a:lnTo>
                    <a:pt x="147" y="7"/>
                  </a:lnTo>
                  <a:lnTo>
                    <a:pt x="150" y="9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3" y="18"/>
                  </a:lnTo>
                  <a:lnTo>
                    <a:pt x="157" y="25"/>
                  </a:lnTo>
                  <a:lnTo>
                    <a:pt x="162" y="28"/>
                  </a:lnTo>
                  <a:lnTo>
                    <a:pt x="165" y="28"/>
                  </a:lnTo>
                  <a:lnTo>
                    <a:pt x="166" y="28"/>
                  </a:lnTo>
                  <a:lnTo>
                    <a:pt x="166" y="28"/>
                  </a:lnTo>
                  <a:lnTo>
                    <a:pt x="169" y="24"/>
                  </a:lnTo>
                  <a:lnTo>
                    <a:pt x="172" y="18"/>
                  </a:lnTo>
                  <a:lnTo>
                    <a:pt x="173" y="15"/>
                  </a:lnTo>
                  <a:lnTo>
                    <a:pt x="176" y="13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82" y="15"/>
                  </a:lnTo>
                  <a:lnTo>
                    <a:pt x="185" y="18"/>
                  </a:lnTo>
                  <a:lnTo>
                    <a:pt x="188" y="19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9" y="19"/>
                  </a:lnTo>
                  <a:lnTo>
                    <a:pt x="206" y="18"/>
                  </a:lnTo>
                  <a:lnTo>
                    <a:pt x="215" y="15"/>
                  </a:lnTo>
                  <a:lnTo>
                    <a:pt x="215" y="15"/>
                  </a:lnTo>
                  <a:lnTo>
                    <a:pt x="224" y="13"/>
                  </a:lnTo>
                  <a:lnTo>
                    <a:pt x="228" y="15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5" name="Freeform 174">
              <a:extLst>
                <a:ext uri="{FF2B5EF4-FFF2-40B4-BE49-F238E27FC236}">
                  <a16:creationId xmlns:a16="http://schemas.microsoft.com/office/drawing/2014/main" id="{AE451F15-D279-6842-B9ED-BC45FF0BA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0" y="4483100"/>
              <a:ext cx="311150" cy="295275"/>
            </a:xfrm>
            <a:custGeom>
              <a:avLst/>
              <a:gdLst>
                <a:gd name="T0" fmla="*/ 196 w 196"/>
                <a:gd name="T1" fmla="*/ 0 h 186"/>
                <a:gd name="T2" fmla="*/ 184 w 196"/>
                <a:gd name="T3" fmla="*/ 23 h 186"/>
                <a:gd name="T4" fmla="*/ 188 w 196"/>
                <a:gd name="T5" fmla="*/ 29 h 186"/>
                <a:gd name="T6" fmla="*/ 193 w 196"/>
                <a:gd name="T7" fmla="*/ 38 h 186"/>
                <a:gd name="T8" fmla="*/ 193 w 196"/>
                <a:gd name="T9" fmla="*/ 49 h 186"/>
                <a:gd name="T10" fmla="*/ 190 w 196"/>
                <a:gd name="T11" fmla="*/ 62 h 186"/>
                <a:gd name="T12" fmla="*/ 178 w 196"/>
                <a:gd name="T13" fmla="*/ 74 h 186"/>
                <a:gd name="T14" fmla="*/ 168 w 196"/>
                <a:gd name="T15" fmla="*/ 86 h 186"/>
                <a:gd name="T16" fmla="*/ 166 w 196"/>
                <a:gd name="T17" fmla="*/ 90 h 186"/>
                <a:gd name="T18" fmla="*/ 166 w 196"/>
                <a:gd name="T19" fmla="*/ 103 h 186"/>
                <a:gd name="T20" fmla="*/ 171 w 196"/>
                <a:gd name="T21" fmla="*/ 109 h 186"/>
                <a:gd name="T22" fmla="*/ 175 w 196"/>
                <a:gd name="T23" fmla="*/ 115 h 186"/>
                <a:gd name="T24" fmla="*/ 178 w 196"/>
                <a:gd name="T25" fmla="*/ 126 h 186"/>
                <a:gd name="T26" fmla="*/ 178 w 196"/>
                <a:gd name="T27" fmla="*/ 130 h 186"/>
                <a:gd name="T28" fmla="*/ 172 w 196"/>
                <a:gd name="T29" fmla="*/ 136 h 186"/>
                <a:gd name="T30" fmla="*/ 165 w 196"/>
                <a:gd name="T31" fmla="*/ 142 h 186"/>
                <a:gd name="T32" fmla="*/ 160 w 196"/>
                <a:gd name="T33" fmla="*/ 148 h 186"/>
                <a:gd name="T34" fmla="*/ 160 w 196"/>
                <a:gd name="T35" fmla="*/ 158 h 186"/>
                <a:gd name="T36" fmla="*/ 157 w 196"/>
                <a:gd name="T37" fmla="*/ 163 h 186"/>
                <a:gd name="T38" fmla="*/ 156 w 196"/>
                <a:gd name="T39" fmla="*/ 161 h 186"/>
                <a:gd name="T40" fmla="*/ 141 w 196"/>
                <a:gd name="T41" fmla="*/ 149 h 186"/>
                <a:gd name="T42" fmla="*/ 137 w 196"/>
                <a:gd name="T43" fmla="*/ 149 h 186"/>
                <a:gd name="T44" fmla="*/ 134 w 196"/>
                <a:gd name="T45" fmla="*/ 151 h 186"/>
                <a:gd name="T46" fmla="*/ 131 w 196"/>
                <a:gd name="T47" fmla="*/ 158 h 186"/>
                <a:gd name="T48" fmla="*/ 125 w 196"/>
                <a:gd name="T49" fmla="*/ 164 h 186"/>
                <a:gd name="T50" fmla="*/ 120 w 196"/>
                <a:gd name="T51" fmla="*/ 166 h 186"/>
                <a:gd name="T52" fmla="*/ 97 w 196"/>
                <a:gd name="T53" fmla="*/ 167 h 186"/>
                <a:gd name="T54" fmla="*/ 91 w 196"/>
                <a:gd name="T55" fmla="*/ 170 h 186"/>
                <a:gd name="T56" fmla="*/ 85 w 196"/>
                <a:gd name="T57" fmla="*/ 177 h 186"/>
                <a:gd name="T58" fmla="*/ 74 w 196"/>
                <a:gd name="T59" fmla="*/ 186 h 186"/>
                <a:gd name="T60" fmla="*/ 73 w 196"/>
                <a:gd name="T61" fmla="*/ 186 h 186"/>
                <a:gd name="T62" fmla="*/ 61 w 196"/>
                <a:gd name="T63" fmla="*/ 183 h 186"/>
                <a:gd name="T64" fmla="*/ 60 w 196"/>
                <a:gd name="T65" fmla="*/ 180 h 186"/>
                <a:gd name="T66" fmla="*/ 52 w 196"/>
                <a:gd name="T67" fmla="*/ 176 h 186"/>
                <a:gd name="T68" fmla="*/ 42 w 196"/>
                <a:gd name="T69" fmla="*/ 174 h 186"/>
                <a:gd name="T70" fmla="*/ 31 w 196"/>
                <a:gd name="T71" fmla="*/ 179 h 186"/>
                <a:gd name="T72" fmla="*/ 23 w 196"/>
                <a:gd name="T73" fmla="*/ 179 h 186"/>
                <a:gd name="T74" fmla="*/ 15 w 196"/>
                <a:gd name="T75" fmla="*/ 176 h 186"/>
                <a:gd name="T76" fmla="*/ 9 w 196"/>
                <a:gd name="T77" fmla="*/ 17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6" h="186">
                  <a:moveTo>
                    <a:pt x="196" y="0"/>
                  </a:moveTo>
                  <a:lnTo>
                    <a:pt x="196" y="0"/>
                  </a:lnTo>
                  <a:lnTo>
                    <a:pt x="190" y="10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8" y="29"/>
                  </a:lnTo>
                  <a:lnTo>
                    <a:pt x="191" y="34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49"/>
                  </a:lnTo>
                  <a:lnTo>
                    <a:pt x="193" y="56"/>
                  </a:lnTo>
                  <a:lnTo>
                    <a:pt x="190" y="62"/>
                  </a:lnTo>
                  <a:lnTo>
                    <a:pt x="190" y="62"/>
                  </a:lnTo>
                  <a:lnTo>
                    <a:pt x="178" y="74"/>
                  </a:lnTo>
                  <a:lnTo>
                    <a:pt x="172" y="80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6" y="90"/>
                  </a:lnTo>
                  <a:lnTo>
                    <a:pt x="166" y="97"/>
                  </a:lnTo>
                  <a:lnTo>
                    <a:pt x="166" y="103"/>
                  </a:lnTo>
                  <a:lnTo>
                    <a:pt x="168" y="106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5" y="115"/>
                  </a:lnTo>
                  <a:lnTo>
                    <a:pt x="178" y="120"/>
                  </a:lnTo>
                  <a:lnTo>
                    <a:pt x="178" y="126"/>
                  </a:lnTo>
                  <a:lnTo>
                    <a:pt x="178" y="130"/>
                  </a:lnTo>
                  <a:lnTo>
                    <a:pt x="178" y="130"/>
                  </a:lnTo>
                  <a:lnTo>
                    <a:pt x="175" y="133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65" y="142"/>
                  </a:lnTo>
                  <a:lnTo>
                    <a:pt x="162" y="145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58"/>
                  </a:lnTo>
                  <a:lnTo>
                    <a:pt x="159" y="161"/>
                  </a:lnTo>
                  <a:lnTo>
                    <a:pt x="157" y="163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47" y="152"/>
                  </a:lnTo>
                  <a:lnTo>
                    <a:pt x="141" y="149"/>
                  </a:lnTo>
                  <a:lnTo>
                    <a:pt x="138" y="148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4" y="151"/>
                  </a:lnTo>
                  <a:lnTo>
                    <a:pt x="132" y="152"/>
                  </a:lnTo>
                  <a:lnTo>
                    <a:pt x="131" y="158"/>
                  </a:lnTo>
                  <a:lnTo>
                    <a:pt x="128" y="163"/>
                  </a:lnTo>
                  <a:lnTo>
                    <a:pt x="125" y="164"/>
                  </a:lnTo>
                  <a:lnTo>
                    <a:pt x="120" y="166"/>
                  </a:lnTo>
                  <a:lnTo>
                    <a:pt x="120" y="166"/>
                  </a:lnTo>
                  <a:lnTo>
                    <a:pt x="103" y="167"/>
                  </a:lnTo>
                  <a:lnTo>
                    <a:pt x="97" y="167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77" y="185"/>
                  </a:lnTo>
                  <a:lnTo>
                    <a:pt x="74" y="186"/>
                  </a:lnTo>
                  <a:lnTo>
                    <a:pt x="73" y="186"/>
                  </a:lnTo>
                  <a:lnTo>
                    <a:pt x="73" y="186"/>
                  </a:lnTo>
                  <a:lnTo>
                    <a:pt x="66" y="185"/>
                  </a:lnTo>
                  <a:lnTo>
                    <a:pt x="61" y="183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57" y="177"/>
                  </a:lnTo>
                  <a:lnTo>
                    <a:pt x="52" y="176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37" y="176"/>
                  </a:lnTo>
                  <a:lnTo>
                    <a:pt x="31" y="179"/>
                  </a:lnTo>
                  <a:lnTo>
                    <a:pt x="27" y="180"/>
                  </a:lnTo>
                  <a:lnTo>
                    <a:pt x="23" y="179"/>
                  </a:lnTo>
                  <a:lnTo>
                    <a:pt x="23" y="179"/>
                  </a:lnTo>
                  <a:lnTo>
                    <a:pt x="15" y="176"/>
                  </a:lnTo>
                  <a:lnTo>
                    <a:pt x="9" y="172"/>
                  </a:lnTo>
                  <a:lnTo>
                    <a:pt x="9" y="172"/>
                  </a:lnTo>
                  <a:lnTo>
                    <a:pt x="0" y="166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6" name="Freeform 175">
              <a:extLst>
                <a:ext uri="{FF2B5EF4-FFF2-40B4-BE49-F238E27FC236}">
                  <a16:creationId xmlns:a16="http://schemas.microsoft.com/office/drawing/2014/main" id="{B174177A-811D-D648-AF3D-3EBD956DF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4443413"/>
              <a:ext cx="439738" cy="90487"/>
            </a:xfrm>
            <a:custGeom>
              <a:avLst/>
              <a:gdLst>
                <a:gd name="T0" fmla="*/ 0 w 277"/>
                <a:gd name="T1" fmla="*/ 0 h 57"/>
                <a:gd name="T2" fmla="*/ 9 w 277"/>
                <a:gd name="T3" fmla="*/ 17 h 57"/>
                <a:gd name="T4" fmla="*/ 15 w 277"/>
                <a:gd name="T5" fmla="*/ 22 h 57"/>
                <a:gd name="T6" fmla="*/ 19 w 277"/>
                <a:gd name="T7" fmla="*/ 22 h 57"/>
                <a:gd name="T8" fmla="*/ 30 w 277"/>
                <a:gd name="T9" fmla="*/ 16 h 57"/>
                <a:gd name="T10" fmla="*/ 36 w 277"/>
                <a:gd name="T11" fmla="*/ 14 h 57"/>
                <a:gd name="T12" fmla="*/ 46 w 277"/>
                <a:gd name="T13" fmla="*/ 16 h 57"/>
                <a:gd name="T14" fmla="*/ 48 w 277"/>
                <a:gd name="T15" fmla="*/ 19 h 57"/>
                <a:gd name="T16" fmla="*/ 54 w 277"/>
                <a:gd name="T17" fmla="*/ 26 h 57"/>
                <a:gd name="T18" fmla="*/ 61 w 277"/>
                <a:gd name="T19" fmla="*/ 26 h 57"/>
                <a:gd name="T20" fmla="*/ 64 w 277"/>
                <a:gd name="T21" fmla="*/ 22 h 57"/>
                <a:gd name="T22" fmla="*/ 77 w 277"/>
                <a:gd name="T23" fmla="*/ 14 h 57"/>
                <a:gd name="T24" fmla="*/ 85 w 277"/>
                <a:gd name="T25" fmla="*/ 16 h 57"/>
                <a:gd name="T26" fmla="*/ 101 w 277"/>
                <a:gd name="T27" fmla="*/ 22 h 57"/>
                <a:gd name="T28" fmla="*/ 111 w 277"/>
                <a:gd name="T29" fmla="*/ 25 h 57"/>
                <a:gd name="T30" fmla="*/ 113 w 277"/>
                <a:gd name="T31" fmla="*/ 23 h 57"/>
                <a:gd name="T32" fmla="*/ 132 w 277"/>
                <a:gd name="T33" fmla="*/ 5 h 57"/>
                <a:gd name="T34" fmla="*/ 138 w 277"/>
                <a:gd name="T35" fmla="*/ 1 h 57"/>
                <a:gd name="T36" fmla="*/ 148 w 277"/>
                <a:gd name="T37" fmla="*/ 1 h 57"/>
                <a:gd name="T38" fmla="*/ 156 w 277"/>
                <a:gd name="T39" fmla="*/ 7 h 57"/>
                <a:gd name="T40" fmla="*/ 163 w 277"/>
                <a:gd name="T41" fmla="*/ 13 h 57"/>
                <a:gd name="T42" fmla="*/ 162 w 277"/>
                <a:gd name="T43" fmla="*/ 23 h 57"/>
                <a:gd name="T44" fmla="*/ 159 w 277"/>
                <a:gd name="T45" fmla="*/ 35 h 57"/>
                <a:gd name="T46" fmla="*/ 160 w 277"/>
                <a:gd name="T47" fmla="*/ 50 h 57"/>
                <a:gd name="T48" fmla="*/ 163 w 277"/>
                <a:gd name="T49" fmla="*/ 54 h 57"/>
                <a:gd name="T50" fmla="*/ 166 w 277"/>
                <a:gd name="T51" fmla="*/ 53 h 57"/>
                <a:gd name="T52" fmla="*/ 187 w 277"/>
                <a:gd name="T53" fmla="*/ 41 h 57"/>
                <a:gd name="T54" fmla="*/ 190 w 277"/>
                <a:gd name="T55" fmla="*/ 44 h 57"/>
                <a:gd name="T56" fmla="*/ 193 w 277"/>
                <a:gd name="T57" fmla="*/ 53 h 57"/>
                <a:gd name="T58" fmla="*/ 199 w 277"/>
                <a:gd name="T59" fmla="*/ 57 h 57"/>
                <a:gd name="T60" fmla="*/ 203 w 277"/>
                <a:gd name="T61" fmla="*/ 56 h 57"/>
                <a:gd name="T62" fmla="*/ 215 w 277"/>
                <a:gd name="T63" fmla="*/ 50 h 57"/>
                <a:gd name="T64" fmla="*/ 218 w 277"/>
                <a:gd name="T65" fmla="*/ 48 h 57"/>
                <a:gd name="T66" fmla="*/ 248 w 277"/>
                <a:gd name="T6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57">
                  <a:moveTo>
                    <a:pt x="0" y="0"/>
                  </a:moveTo>
                  <a:lnTo>
                    <a:pt x="0" y="0"/>
                  </a:lnTo>
                  <a:lnTo>
                    <a:pt x="5" y="10"/>
                  </a:lnTo>
                  <a:lnTo>
                    <a:pt x="9" y="17"/>
                  </a:lnTo>
                  <a:lnTo>
                    <a:pt x="12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9" y="22"/>
                  </a:lnTo>
                  <a:lnTo>
                    <a:pt x="24" y="19"/>
                  </a:lnTo>
                  <a:lnTo>
                    <a:pt x="30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45" y="14"/>
                  </a:lnTo>
                  <a:lnTo>
                    <a:pt x="46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7" y="28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4" y="22"/>
                  </a:lnTo>
                  <a:lnTo>
                    <a:pt x="70" y="17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101" y="22"/>
                  </a:lnTo>
                  <a:lnTo>
                    <a:pt x="108" y="25"/>
                  </a:lnTo>
                  <a:lnTo>
                    <a:pt x="111" y="25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25" y="11"/>
                  </a:lnTo>
                  <a:lnTo>
                    <a:pt x="132" y="5"/>
                  </a:lnTo>
                  <a:lnTo>
                    <a:pt x="138" y="1"/>
                  </a:lnTo>
                  <a:lnTo>
                    <a:pt x="138" y="1"/>
                  </a:lnTo>
                  <a:lnTo>
                    <a:pt x="142" y="0"/>
                  </a:lnTo>
                  <a:lnTo>
                    <a:pt x="148" y="1"/>
                  </a:lnTo>
                  <a:lnTo>
                    <a:pt x="153" y="4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63" y="13"/>
                  </a:lnTo>
                  <a:lnTo>
                    <a:pt x="163" y="16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59" y="35"/>
                  </a:lnTo>
                  <a:lnTo>
                    <a:pt x="159" y="45"/>
                  </a:lnTo>
                  <a:lnTo>
                    <a:pt x="160" y="50"/>
                  </a:lnTo>
                  <a:lnTo>
                    <a:pt x="162" y="53"/>
                  </a:lnTo>
                  <a:lnTo>
                    <a:pt x="163" y="54"/>
                  </a:lnTo>
                  <a:lnTo>
                    <a:pt x="166" y="53"/>
                  </a:lnTo>
                  <a:lnTo>
                    <a:pt x="166" y="53"/>
                  </a:lnTo>
                  <a:lnTo>
                    <a:pt x="181" y="44"/>
                  </a:lnTo>
                  <a:lnTo>
                    <a:pt x="187" y="41"/>
                  </a:lnTo>
                  <a:lnTo>
                    <a:pt x="190" y="43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3" y="53"/>
                  </a:lnTo>
                  <a:lnTo>
                    <a:pt x="194" y="56"/>
                  </a:lnTo>
                  <a:lnTo>
                    <a:pt x="199" y="57"/>
                  </a:lnTo>
                  <a:lnTo>
                    <a:pt x="199" y="57"/>
                  </a:lnTo>
                  <a:lnTo>
                    <a:pt x="203" y="56"/>
                  </a:lnTo>
                  <a:lnTo>
                    <a:pt x="208" y="54"/>
                  </a:lnTo>
                  <a:lnTo>
                    <a:pt x="215" y="50"/>
                  </a:lnTo>
                  <a:lnTo>
                    <a:pt x="215" y="50"/>
                  </a:lnTo>
                  <a:lnTo>
                    <a:pt x="218" y="48"/>
                  </a:lnTo>
                  <a:lnTo>
                    <a:pt x="227" y="48"/>
                  </a:lnTo>
                  <a:lnTo>
                    <a:pt x="248" y="48"/>
                  </a:lnTo>
                  <a:lnTo>
                    <a:pt x="277" y="5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7" name="Freeform 176">
              <a:extLst>
                <a:ext uri="{FF2B5EF4-FFF2-40B4-BE49-F238E27FC236}">
                  <a16:creationId xmlns:a16="http://schemas.microsoft.com/office/drawing/2014/main" id="{E80D4AC9-3FC6-C540-977F-014081F23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5" y="4406900"/>
              <a:ext cx="387350" cy="479425"/>
            </a:xfrm>
            <a:custGeom>
              <a:avLst/>
              <a:gdLst>
                <a:gd name="T0" fmla="*/ 3 w 244"/>
                <a:gd name="T1" fmla="*/ 63 h 302"/>
                <a:gd name="T2" fmla="*/ 13 w 244"/>
                <a:gd name="T3" fmla="*/ 58 h 302"/>
                <a:gd name="T4" fmla="*/ 37 w 244"/>
                <a:gd name="T5" fmla="*/ 46 h 302"/>
                <a:gd name="T6" fmla="*/ 48 w 244"/>
                <a:gd name="T7" fmla="*/ 30 h 302"/>
                <a:gd name="T8" fmla="*/ 62 w 244"/>
                <a:gd name="T9" fmla="*/ 15 h 302"/>
                <a:gd name="T10" fmla="*/ 90 w 244"/>
                <a:gd name="T11" fmla="*/ 12 h 302"/>
                <a:gd name="T12" fmla="*/ 119 w 244"/>
                <a:gd name="T13" fmla="*/ 0 h 302"/>
                <a:gd name="T14" fmla="*/ 117 w 244"/>
                <a:gd name="T15" fmla="*/ 6 h 302"/>
                <a:gd name="T16" fmla="*/ 113 w 244"/>
                <a:gd name="T17" fmla="*/ 17 h 302"/>
                <a:gd name="T18" fmla="*/ 145 w 244"/>
                <a:gd name="T19" fmla="*/ 43 h 302"/>
                <a:gd name="T20" fmla="*/ 165 w 244"/>
                <a:gd name="T21" fmla="*/ 55 h 302"/>
                <a:gd name="T22" fmla="*/ 172 w 244"/>
                <a:gd name="T23" fmla="*/ 73 h 302"/>
                <a:gd name="T24" fmla="*/ 185 w 244"/>
                <a:gd name="T25" fmla="*/ 71 h 302"/>
                <a:gd name="T26" fmla="*/ 202 w 244"/>
                <a:gd name="T27" fmla="*/ 67 h 302"/>
                <a:gd name="T28" fmla="*/ 213 w 244"/>
                <a:gd name="T29" fmla="*/ 77 h 302"/>
                <a:gd name="T30" fmla="*/ 225 w 244"/>
                <a:gd name="T31" fmla="*/ 74 h 302"/>
                <a:gd name="T32" fmla="*/ 237 w 244"/>
                <a:gd name="T33" fmla="*/ 74 h 302"/>
                <a:gd name="T34" fmla="*/ 240 w 244"/>
                <a:gd name="T35" fmla="*/ 92 h 302"/>
                <a:gd name="T36" fmla="*/ 234 w 244"/>
                <a:gd name="T37" fmla="*/ 103 h 302"/>
                <a:gd name="T38" fmla="*/ 243 w 244"/>
                <a:gd name="T39" fmla="*/ 116 h 302"/>
                <a:gd name="T40" fmla="*/ 242 w 244"/>
                <a:gd name="T41" fmla="*/ 123 h 302"/>
                <a:gd name="T42" fmla="*/ 219 w 244"/>
                <a:gd name="T43" fmla="*/ 129 h 302"/>
                <a:gd name="T44" fmla="*/ 216 w 244"/>
                <a:gd name="T45" fmla="*/ 138 h 302"/>
                <a:gd name="T46" fmla="*/ 204 w 244"/>
                <a:gd name="T47" fmla="*/ 151 h 302"/>
                <a:gd name="T48" fmla="*/ 196 w 244"/>
                <a:gd name="T49" fmla="*/ 160 h 302"/>
                <a:gd name="T50" fmla="*/ 190 w 244"/>
                <a:gd name="T51" fmla="*/ 178 h 302"/>
                <a:gd name="T52" fmla="*/ 182 w 244"/>
                <a:gd name="T53" fmla="*/ 188 h 302"/>
                <a:gd name="T54" fmla="*/ 194 w 244"/>
                <a:gd name="T55" fmla="*/ 197 h 302"/>
                <a:gd name="T56" fmla="*/ 196 w 244"/>
                <a:gd name="T57" fmla="*/ 209 h 302"/>
                <a:gd name="T58" fmla="*/ 185 w 244"/>
                <a:gd name="T59" fmla="*/ 220 h 302"/>
                <a:gd name="T60" fmla="*/ 188 w 244"/>
                <a:gd name="T61" fmla="*/ 227 h 302"/>
                <a:gd name="T62" fmla="*/ 200 w 244"/>
                <a:gd name="T63" fmla="*/ 245 h 302"/>
                <a:gd name="T64" fmla="*/ 216 w 244"/>
                <a:gd name="T65" fmla="*/ 251 h 302"/>
                <a:gd name="T66" fmla="*/ 212 w 244"/>
                <a:gd name="T67" fmla="*/ 268 h 302"/>
                <a:gd name="T68" fmla="*/ 200 w 244"/>
                <a:gd name="T69" fmla="*/ 295 h 302"/>
                <a:gd name="T70" fmla="*/ 191 w 244"/>
                <a:gd name="T71" fmla="*/ 298 h 302"/>
                <a:gd name="T72" fmla="*/ 169 w 244"/>
                <a:gd name="T73" fmla="*/ 300 h 302"/>
                <a:gd name="T74" fmla="*/ 147 w 244"/>
                <a:gd name="T75" fmla="*/ 301 h 302"/>
                <a:gd name="T76" fmla="*/ 114 w 244"/>
                <a:gd name="T77" fmla="*/ 300 h 302"/>
                <a:gd name="T78" fmla="*/ 88 w 244"/>
                <a:gd name="T79" fmla="*/ 302 h 302"/>
                <a:gd name="T80" fmla="*/ 62 w 244"/>
                <a:gd name="T81" fmla="*/ 289 h 302"/>
                <a:gd name="T82" fmla="*/ 53 w 244"/>
                <a:gd name="T83" fmla="*/ 300 h 302"/>
                <a:gd name="T84" fmla="*/ 45 w 244"/>
                <a:gd name="T85" fmla="*/ 302 h 302"/>
                <a:gd name="T86" fmla="*/ 34 w 244"/>
                <a:gd name="T87" fmla="*/ 294 h 302"/>
                <a:gd name="T88" fmla="*/ 36 w 244"/>
                <a:gd name="T89" fmla="*/ 271 h 302"/>
                <a:gd name="T90" fmla="*/ 48 w 244"/>
                <a:gd name="T91" fmla="*/ 255 h 302"/>
                <a:gd name="T92" fmla="*/ 48 w 244"/>
                <a:gd name="T93" fmla="*/ 231 h 302"/>
                <a:gd name="T94" fmla="*/ 34 w 244"/>
                <a:gd name="T95" fmla="*/ 212 h 302"/>
                <a:gd name="T96" fmla="*/ 34 w 244"/>
                <a:gd name="T97" fmla="*/ 197 h 302"/>
                <a:gd name="T98" fmla="*/ 48 w 244"/>
                <a:gd name="T99" fmla="*/ 165 h 302"/>
                <a:gd name="T100" fmla="*/ 49 w 244"/>
                <a:gd name="T101" fmla="*/ 138 h 302"/>
                <a:gd name="T102" fmla="*/ 39 w 244"/>
                <a:gd name="T103" fmla="*/ 123 h 302"/>
                <a:gd name="T104" fmla="*/ 25 w 244"/>
                <a:gd name="T105" fmla="*/ 113 h 302"/>
                <a:gd name="T106" fmla="*/ 12 w 244"/>
                <a:gd name="T107" fmla="*/ 108 h 302"/>
                <a:gd name="T108" fmla="*/ 13 w 244"/>
                <a:gd name="T109" fmla="*/ 91 h 302"/>
                <a:gd name="T110" fmla="*/ 6 w 244"/>
                <a:gd name="T111" fmla="*/ 77 h 302"/>
                <a:gd name="T112" fmla="*/ 2 w 244"/>
                <a:gd name="T113" fmla="*/ 6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02">
                  <a:moveTo>
                    <a:pt x="2" y="68"/>
                  </a:moveTo>
                  <a:lnTo>
                    <a:pt x="2" y="68"/>
                  </a:lnTo>
                  <a:lnTo>
                    <a:pt x="2" y="67"/>
                  </a:lnTo>
                  <a:lnTo>
                    <a:pt x="3" y="63"/>
                  </a:lnTo>
                  <a:lnTo>
                    <a:pt x="6" y="60"/>
                  </a:lnTo>
                  <a:lnTo>
                    <a:pt x="9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22" y="57"/>
                  </a:lnTo>
                  <a:lnTo>
                    <a:pt x="28" y="54"/>
                  </a:lnTo>
                  <a:lnTo>
                    <a:pt x="33" y="51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3" y="37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8" y="15"/>
                  </a:lnTo>
                  <a:lnTo>
                    <a:pt x="62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85" y="14"/>
                  </a:lnTo>
                  <a:lnTo>
                    <a:pt x="90" y="12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14" y="2"/>
                  </a:lnTo>
                  <a:lnTo>
                    <a:pt x="119" y="0"/>
                  </a:lnTo>
                  <a:lnTo>
                    <a:pt x="120" y="2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7" y="6"/>
                  </a:lnTo>
                  <a:lnTo>
                    <a:pt x="114" y="11"/>
                  </a:lnTo>
                  <a:lnTo>
                    <a:pt x="113" y="12"/>
                  </a:lnTo>
                  <a:lnTo>
                    <a:pt x="111" y="14"/>
                  </a:lnTo>
                  <a:lnTo>
                    <a:pt x="113" y="17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29" y="31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51" y="48"/>
                  </a:lnTo>
                  <a:lnTo>
                    <a:pt x="159" y="51"/>
                  </a:lnTo>
                  <a:lnTo>
                    <a:pt x="165" y="55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70" y="70"/>
                  </a:lnTo>
                  <a:lnTo>
                    <a:pt x="172" y="73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82" y="73"/>
                  </a:lnTo>
                  <a:lnTo>
                    <a:pt x="185" y="71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9" y="66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10" y="76"/>
                  </a:lnTo>
                  <a:lnTo>
                    <a:pt x="213" y="77"/>
                  </a:lnTo>
                  <a:lnTo>
                    <a:pt x="216" y="79"/>
                  </a:lnTo>
                  <a:lnTo>
                    <a:pt x="216" y="79"/>
                  </a:lnTo>
                  <a:lnTo>
                    <a:pt x="219" y="77"/>
                  </a:lnTo>
                  <a:lnTo>
                    <a:pt x="225" y="74"/>
                  </a:lnTo>
                  <a:lnTo>
                    <a:pt x="230" y="73"/>
                  </a:lnTo>
                  <a:lnTo>
                    <a:pt x="234" y="73"/>
                  </a:lnTo>
                  <a:lnTo>
                    <a:pt x="234" y="73"/>
                  </a:lnTo>
                  <a:lnTo>
                    <a:pt x="237" y="74"/>
                  </a:lnTo>
                  <a:lnTo>
                    <a:pt x="240" y="80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37" y="97"/>
                  </a:lnTo>
                  <a:lnTo>
                    <a:pt x="234" y="100"/>
                  </a:lnTo>
                  <a:lnTo>
                    <a:pt x="234" y="103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40" y="110"/>
                  </a:lnTo>
                  <a:lnTo>
                    <a:pt x="243" y="116"/>
                  </a:lnTo>
                  <a:lnTo>
                    <a:pt x="244" y="119"/>
                  </a:lnTo>
                  <a:lnTo>
                    <a:pt x="243" y="122"/>
                  </a:lnTo>
                  <a:lnTo>
                    <a:pt x="242" y="123"/>
                  </a:lnTo>
                  <a:lnTo>
                    <a:pt x="242" y="123"/>
                  </a:lnTo>
                  <a:lnTo>
                    <a:pt x="236" y="125"/>
                  </a:lnTo>
                  <a:lnTo>
                    <a:pt x="228" y="126"/>
                  </a:lnTo>
                  <a:lnTo>
                    <a:pt x="222" y="128"/>
                  </a:lnTo>
                  <a:lnTo>
                    <a:pt x="219" y="129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6" y="134"/>
                  </a:lnTo>
                  <a:lnTo>
                    <a:pt x="216" y="138"/>
                  </a:lnTo>
                  <a:lnTo>
                    <a:pt x="215" y="144"/>
                  </a:lnTo>
                  <a:lnTo>
                    <a:pt x="210" y="148"/>
                  </a:lnTo>
                  <a:lnTo>
                    <a:pt x="210" y="148"/>
                  </a:lnTo>
                  <a:lnTo>
                    <a:pt x="204" y="151"/>
                  </a:lnTo>
                  <a:lnTo>
                    <a:pt x="200" y="153"/>
                  </a:lnTo>
                  <a:lnTo>
                    <a:pt x="197" y="15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4" y="172"/>
                  </a:lnTo>
                  <a:lnTo>
                    <a:pt x="193" y="175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85" y="181"/>
                  </a:lnTo>
                  <a:lnTo>
                    <a:pt x="182" y="184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4" y="190"/>
                  </a:lnTo>
                  <a:lnTo>
                    <a:pt x="184" y="190"/>
                  </a:lnTo>
                  <a:lnTo>
                    <a:pt x="188" y="193"/>
                  </a:lnTo>
                  <a:lnTo>
                    <a:pt x="194" y="197"/>
                  </a:lnTo>
                  <a:lnTo>
                    <a:pt x="197" y="199"/>
                  </a:lnTo>
                  <a:lnTo>
                    <a:pt x="197" y="202"/>
                  </a:lnTo>
                  <a:lnTo>
                    <a:pt x="197" y="205"/>
                  </a:lnTo>
                  <a:lnTo>
                    <a:pt x="196" y="209"/>
                  </a:lnTo>
                  <a:lnTo>
                    <a:pt x="196" y="209"/>
                  </a:lnTo>
                  <a:lnTo>
                    <a:pt x="191" y="214"/>
                  </a:lnTo>
                  <a:lnTo>
                    <a:pt x="187" y="218"/>
                  </a:lnTo>
                  <a:lnTo>
                    <a:pt x="185" y="220"/>
                  </a:lnTo>
                  <a:lnTo>
                    <a:pt x="184" y="221"/>
                  </a:lnTo>
                  <a:lnTo>
                    <a:pt x="185" y="224"/>
                  </a:lnTo>
                  <a:lnTo>
                    <a:pt x="188" y="227"/>
                  </a:lnTo>
                  <a:lnTo>
                    <a:pt x="188" y="227"/>
                  </a:lnTo>
                  <a:lnTo>
                    <a:pt x="194" y="233"/>
                  </a:lnTo>
                  <a:lnTo>
                    <a:pt x="197" y="237"/>
                  </a:lnTo>
                  <a:lnTo>
                    <a:pt x="200" y="245"/>
                  </a:lnTo>
                  <a:lnTo>
                    <a:pt x="200" y="245"/>
                  </a:lnTo>
                  <a:lnTo>
                    <a:pt x="203" y="246"/>
                  </a:lnTo>
                  <a:lnTo>
                    <a:pt x="209" y="249"/>
                  </a:lnTo>
                  <a:lnTo>
                    <a:pt x="216" y="251"/>
                  </a:lnTo>
                  <a:lnTo>
                    <a:pt x="216" y="251"/>
                  </a:lnTo>
                  <a:lnTo>
                    <a:pt x="218" y="254"/>
                  </a:lnTo>
                  <a:lnTo>
                    <a:pt x="218" y="257"/>
                  </a:lnTo>
                  <a:lnTo>
                    <a:pt x="216" y="262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07" y="276"/>
                  </a:lnTo>
                  <a:lnTo>
                    <a:pt x="204" y="286"/>
                  </a:lnTo>
                  <a:lnTo>
                    <a:pt x="200" y="295"/>
                  </a:lnTo>
                  <a:lnTo>
                    <a:pt x="197" y="297"/>
                  </a:lnTo>
                  <a:lnTo>
                    <a:pt x="194" y="298"/>
                  </a:lnTo>
                  <a:lnTo>
                    <a:pt x="194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81" y="301"/>
                  </a:lnTo>
                  <a:lnTo>
                    <a:pt x="175" y="301"/>
                  </a:lnTo>
                  <a:lnTo>
                    <a:pt x="169" y="300"/>
                  </a:lnTo>
                  <a:lnTo>
                    <a:pt x="169" y="300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7" y="301"/>
                  </a:lnTo>
                  <a:lnTo>
                    <a:pt x="147" y="301"/>
                  </a:lnTo>
                  <a:lnTo>
                    <a:pt x="132" y="301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02" y="301"/>
                  </a:lnTo>
                  <a:lnTo>
                    <a:pt x="95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0" y="300"/>
                  </a:lnTo>
                  <a:lnTo>
                    <a:pt x="73" y="294"/>
                  </a:lnTo>
                  <a:lnTo>
                    <a:pt x="65" y="291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9" y="289"/>
                  </a:lnTo>
                  <a:lnTo>
                    <a:pt x="56" y="294"/>
                  </a:lnTo>
                  <a:lnTo>
                    <a:pt x="53" y="300"/>
                  </a:lnTo>
                  <a:lnTo>
                    <a:pt x="49" y="302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0" y="301"/>
                  </a:lnTo>
                  <a:lnTo>
                    <a:pt x="37" y="301"/>
                  </a:lnTo>
                  <a:lnTo>
                    <a:pt x="34" y="300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33" y="280"/>
                  </a:lnTo>
                  <a:lnTo>
                    <a:pt x="33" y="276"/>
                  </a:lnTo>
                  <a:lnTo>
                    <a:pt x="36" y="271"/>
                  </a:lnTo>
                  <a:lnTo>
                    <a:pt x="36" y="271"/>
                  </a:lnTo>
                  <a:lnTo>
                    <a:pt x="45" y="267"/>
                  </a:lnTo>
                  <a:lnTo>
                    <a:pt x="48" y="264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9" y="240"/>
                  </a:lnTo>
                  <a:lnTo>
                    <a:pt x="49" y="237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43" y="225"/>
                  </a:lnTo>
                  <a:lnTo>
                    <a:pt x="37" y="217"/>
                  </a:lnTo>
                  <a:lnTo>
                    <a:pt x="34" y="212"/>
                  </a:lnTo>
                  <a:lnTo>
                    <a:pt x="33" y="208"/>
                  </a:lnTo>
                  <a:lnTo>
                    <a:pt x="33" y="203"/>
                  </a:lnTo>
                  <a:lnTo>
                    <a:pt x="34" y="197"/>
                  </a:lnTo>
                  <a:lnTo>
                    <a:pt x="34" y="197"/>
                  </a:lnTo>
                  <a:lnTo>
                    <a:pt x="39" y="188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8" y="165"/>
                  </a:lnTo>
                  <a:lnTo>
                    <a:pt x="49" y="154"/>
                  </a:lnTo>
                  <a:lnTo>
                    <a:pt x="50" y="145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2"/>
                  </a:lnTo>
                  <a:lnTo>
                    <a:pt x="48" y="129"/>
                  </a:lnTo>
                  <a:lnTo>
                    <a:pt x="45" y="126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0" y="117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1" y="111"/>
                  </a:lnTo>
                  <a:lnTo>
                    <a:pt x="16" y="111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3" y="98"/>
                  </a:lnTo>
                  <a:lnTo>
                    <a:pt x="13" y="91"/>
                  </a:lnTo>
                  <a:lnTo>
                    <a:pt x="13" y="85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6" y="77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8"/>
                  </a:lnTo>
                  <a:close/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8" name="Freeform 177">
              <a:extLst>
                <a:ext uri="{FF2B5EF4-FFF2-40B4-BE49-F238E27FC236}">
                  <a16:creationId xmlns:a16="http://schemas.microsoft.com/office/drawing/2014/main" id="{821C04D7-CD0E-624C-8E0E-F60062151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4143375"/>
              <a:ext cx="230188" cy="287337"/>
            </a:xfrm>
            <a:custGeom>
              <a:avLst/>
              <a:gdLst>
                <a:gd name="T0" fmla="*/ 0 w 145"/>
                <a:gd name="T1" fmla="*/ 0 h 181"/>
                <a:gd name="T2" fmla="*/ 0 w 145"/>
                <a:gd name="T3" fmla="*/ 0 h 181"/>
                <a:gd name="T4" fmla="*/ 0 w 145"/>
                <a:gd name="T5" fmla="*/ 3 h 181"/>
                <a:gd name="T6" fmla="*/ 0 w 145"/>
                <a:gd name="T7" fmla="*/ 6 h 181"/>
                <a:gd name="T8" fmla="*/ 3 w 145"/>
                <a:gd name="T9" fmla="*/ 11 h 181"/>
                <a:gd name="T10" fmla="*/ 3 w 145"/>
                <a:gd name="T11" fmla="*/ 11 h 181"/>
                <a:gd name="T12" fmla="*/ 7 w 145"/>
                <a:gd name="T13" fmla="*/ 15 h 181"/>
                <a:gd name="T14" fmla="*/ 12 w 145"/>
                <a:gd name="T15" fmla="*/ 18 h 181"/>
                <a:gd name="T16" fmla="*/ 15 w 145"/>
                <a:gd name="T17" fmla="*/ 21 h 181"/>
                <a:gd name="T18" fmla="*/ 18 w 145"/>
                <a:gd name="T19" fmla="*/ 26 h 181"/>
                <a:gd name="T20" fmla="*/ 18 w 145"/>
                <a:gd name="T21" fmla="*/ 26 h 181"/>
                <a:gd name="T22" fmla="*/ 18 w 145"/>
                <a:gd name="T23" fmla="*/ 29 h 181"/>
                <a:gd name="T24" fmla="*/ 18 w 145"/>
                <a:gd name="T25" fmla="*/ 32 h 181"/>
                <a:gd name="T26" fmla="*/ 15 w 145"/>
                <a:gd name="T27" fmla="*/ 36 h 181"/>
                <a:gd name="T28" fmla="*/ 12 w 145"/>
                <a:gd name="T29" fmla="*/ 39 h 181"/>
                <a:gd name="T30" fmla="*/ 10 w 145"/>
                <a:gd name="T31" fmla="*/ 40 h 181"/>
                <a:gd name="T32" fmla="*/ 10 w 145"/>
                <a:gd name="T33" fmla="*/ 43 h 181"/>
                <a:gd name="T34" fmla="*/ 10 w 145"/>
                <a:gd name="T35" fmla="*/ 43 h 181"/>
                <a:gd name="T36" fmla="*/ 13 w 145"/>
                <a:gd name="T37" fmla="*/ 48 h 181"/>
                <a:gd name="T38" fmla="*/ 16 w 145"/>
                <a:gd name="T39" fmla="*/ 51 h 181"/>
                <a:gd name="T40" fmla="*/ 21 w 145"/>
                <a:gd name="T41" fmla="*/ 54 h 181"/>
                <a:gd name="T42" fmla="*/ 24 w 145"/>
                <a:gd name="T43" fmla="*/ 54 h 181"/>
                <a:gd name="T44" fmla="*/ 24 w 145"/>
                <a:gd name="T45" fmla="*/ 54 h 181"/>
                <a:gd name="T46" fmla="*/ 28 w 145"/>
                <a:gd name="T47" fmla="*/ 55 h 181"/>
                <a:gd name="T48" fmla="*/ 29 w 145"/>
                <a:gd name="T49" fmla="*/ 57 h 181"/>
                <a:gd name="T50" fmla="*/ 31 w 145"/>
                <a:gd name="T51" fmla="*/ 63 h 181"/>
                <a:gd name="T52" fmla="*/ 31 w 145"/>
                <a:gd name="T53" fmla="*/ 63 h 181"/>
                <a:gd name="T54" fmla="*/ 34 w 145"/>
                <a:gd name="T55" fmla="*/ 72 h 181"/>
                <a:gd name="T56" fmla="*/ 40 w 145"/>
                <a:gd name="T57" fmla="*/ 79 h 181"/>
                <a:gd name="T58" fmla="*/ 47 w 145"/>
                <a:gd name="T59" fmla="*/ 88 h 181"/>
                <a:gd name="T60" fmla="*/ 56 w 145"/>
                <a:gd name="T61" fmla="*/ 94 h 181"/>
                <a:gd name="T62" fmla="*/ 56 w 145"/>
                <a:gd name="T63" fmla="*/ 94 h 181"/>
                <a:gd name="T64" fmla="*/ 68 w 145"/>
                <a:gd name="T65" fmla="*/ 98 h 181"/>
                <a:gd name="T66" fmla="*/ 77 w 145"/>
                <a:gd name="T67" fmla="*/ 100 h 181"/>
                <a:gd name="T68" fmla="*/ 92 w 145"/>
                <a:gd name="T69" fmla="*/ 101 h 181"/>
                <a:gd name="T70" fmla="*/ 92 w 145"/>
                <a:gd name="T71" fmla="*/ 101 h 181"/>
                <a:gd name="T72" fmla="*/ 101 w 145"/>
                <a:gd name="T73" fmla="*/ 103 h 181"/>
                <a:gd name="T74" fmla="*/ 108 w 145"/>
                <a:gd name="T75" fmla="*/ 106 h 181"/>
                <a:gd name="T76" fmla="*/ 108 w 145"/>
                <a:gd name="T77" fmla="*/ 106 h 181"/>
                <a:gd name="T78" fmla="*/ 112 w 145"/>
                <a:gd name="T79" fmla="*/ 109 h 181"/>
                <a:gd name="T80" fmla="*/ 117 w 145"/>
                <a:gd name="T81" fmla="*/ 113 h 181"/>
                <a:gd name="T82" fmla="*/ 120 w 145"/>
                <a:gd name="T83" fmla="*/ 120 h 181"/>
                <a:gd name="T84" fmla="*/ 123 w 145"/>
                <a:gd name="T85" fmla="*/ 131 h 181"/>
                <a:gd name="T86" fmla="*/ 123 w 145"/>
                <a:gd name="T87" fmla="*/ 131 h 181"/>
                <a:gd name="T88" fmla="*/ 123 w 145"/>
                <a:gd name="T89" fmla="*/ 141 h 181"/>
                <a:gd name="T90" fmla="*/ 121 w 145"/>
                <a:gd name="T91" fmla="*/ 150 h 181"/>
                <a:gd name="T92" fmla="*/ 123 w 145"/>
                <a:gd name="T93" fmla="*/ 156 h 181"/>
                <a:gd name="T94" fmla="*/ 124 w 145"/>
                <a:gd name="T95" fmla="*/ 157 h 181"/>
                <a:gd name="T96" fmla="*/ 127 w 145"/>
                <a:gd name="T97" fmla="*/ 159 h 181"/>
                <a:gd name="T98" fmla="*/ 127 w 145"/>
                <a:gd name="T99" fmla="*/ 159 h 181"/>
                <a:gd name="T100" fmla="*/ 133 w 145"/>
                <a:gd name="T101" fmla="*/ 162 h 181"/>
                <a:gd name="T102" fmla="*/ 138 w 145"/>
                <a:gd name="T103" fmla="*/ 165 h 181"/>
                <a:gd name="T104" fmla="*/ 142 w 145"/>
                <a:gd name="T105" fmla="*/ 168 h 181"/>
                <a:gd name="T106" fmla="*/ 143 w 145"/>
                <a:gd name="T107" fmla="*/ 174 h 181"/>
                <a:gd name="T108" fmla="*/ 143 w 145"/>
                <a:gd name="T109" fmla="*/ 174 h 181"/>
                <a:gd name="T110" fmla="*/ 145 w 145"/>
                <a:gd name="T11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81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5"/>
                  </a:lnTo>
                  <a:lnTo>
                    <a:pt x="12" y="18"/>
                  </a:lnTo>
                  <a:lnTo>
                    <a:pt x="15" y="21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9"/>
                  </a:lnTo>
                  <a:lnTo>
                    <a:pt x="18" y="32"/>
                  </a:lnTo>
                  <a:lnTo>
                    <a:pt x="15" y="36"/>
                  </a:lnTo>
                  <a:lnTo>
                    <a:pt x="12" y="39"/>
                  </a:lnTo>
                  <a:lnTo>
                    <a:pt x="10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3" y="48"/>
                  </a:lnTo>
                  <a:lnTo>
                    <a:pt x="16" y="51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8" y="55"/>
                  </a:lnTo>
                  <a:lnTo>
                    <a:pt x="29" y="57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4" y="72"/>
                  </a:lnTo>
                  <a:lnTo>
                    <a:pt x="40" y="79"/>
                  </a:lnTo>
                  <a:lnTo>
                    <a:pt x="47" y="88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68" y="98"/>
                  </a:lnTo>
                  <a:lnTo>
                    <a:pt x="77" y="100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101" y="103"/>
                  </a:lnTo>
                  <a:lnTo>
                    <a:pt x="108" y="106"/>
                  </a:lnTo>
                  <a:lnTo>
                    <a:pt x="108" y="106"/>
                  </a:lnTo>
                  <a:lnTo>
                    <a:pt x="112" y="109"/>
                  </a:lnTo>
                  <a:lnTo>
                    <a:pt x="117" y="113"/>
                  </a:lnTo>
                  <a:lnTo>
                    <a:pt x="120" y="120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3" y="141"/>
                  </a:lnTo>
                  <a:lnTo>
                    <a:pt x="121" y="150"/>
                  </a:lnTo>
                  <a:lnTo>
                    <a:pt x="123" y="156"/>
                  </a:lnTo>
                  <a:lnTo>
                    <a:pt x="124" y="157"/>
                  </a:lnTo>
                  <a:lnTo>
                    <a:pt x="127" y="159"/>
                  </a:lnTo>
                  <a:lnTo>
                    <a:pt x="127" y="159"/>
                  </a:lnTo>
                  <a:lnTo>
                    <a:pt x="133" y="162"/>
                  </a:lnTo>
                  <a:lnTo>
                    <a:pt x="138" y="165"/>
                  </a:lnTo>
                  <a:lnTo>
                    <a:pt x="142" y="168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5" y="18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9" name="Freeform 178">
              <a:extLst>
                <a:ext uri="{FF2B5EF4-FFF2-40B4-BE49-F238E27FC236}">
                  <a16:creationId xmlns:a16="http://schemas.microsoft.com/office/drawing/2014/main" id="{4C2A108E-4917-4745-A4E9-99C99CC66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998913"/>
              <a:ext cx="231775" cy="144462"/>
            </a:xfrm>
            <a:custGeom>
              <a:avLst/>
              <a:gdLst>
                <a:gd name="T0" fmla="*/ 146 w 146"/>
                <a:gd name="T1" fmla="*/ 4 h 91"/>
                <a:gd name="T2" fmla="*/ 146 w 146"/>
                <a:gd name="T3" fmla="*/ 4 h 91"/>
                <a:gd name="T4" fmla="*/ 132 w 146"/>
                <a:gd name="T5" fmla="*/ 1 h 91"/>
                <a:gd name="T6" fmla="*/ 120 w 146"/>
                <a:gd name="T7" fmla="*/ 0 h 91"/>
                <a:gd name="T8" fmla="*/ 117 w 146"/>
                <a:gd name="T9" fmla="*/ 1 h 91"/>
                <a:gd name="T10" fmla="*/ 114 w 146"/>
                <a:gd name="T11" fmla="*/ 3 h 91"/>
                <a:gd name="T12" fmla="*/ 114 w 146"/>
                <a:gd name="T13" fmla="*/ 3 h 91"/>
                <a:gd name="T14" fmla="*/ 103 w 146"/>
                <a:gd name="T15" fmla="*/ 16 h 91"/>
                <a:gd name="T16" fmla="*/ 99 w 146"/>
                <a:gd name="T17" fmla="*/ 23 h 91"/>
                <a:gd name="T18" fmla="*/ 96 w 146"/>
                <a:gd name="T19" fmla="*/ 29 h 91"/>
                <a:gd name="T20" fmla="*/ 96 w 146"/>
                <a:gd name="T21" fmla="*/ 29 h 91"/>
                <a:gd name="T22" fmla="*/ 96 w 146"/>
                <a:gd name="T23" fmla="*/ 35 h 91"/>
                <a:gd name="T24" fmla="*/ 98 w 146"/>
                <a:gd name="T25" fmla="*/ 43 h 91"/>
                <a:gd name="T26" fmla="*/ 100 w 146"/>
                <a:gd name="T27" fmla="*/ 49 h 91"/>
                <a:gd name="T28" fmla="*/ 100 w 146"/>
                <a:gd name="T29" fmla="*/ 54 h 91"/>
                <a:gd name="T30" fmla="*/ 100 w 146"/>
                <a:gd name="T31" fmla="*/ 54 h 91"/>
                <a:gd name="T32" fmla="*/ 98 w 146"/>
                <a:gd name="T33" fmla="*/ 57 h 91"/>
                <a:gd name="T34" fmla="*/ 93 w 146"/>
                <a:gd name="T35" fmla="*/ 62 h 91"/>
                <a:gd name="T36" fmla="*/ 78 w 146"/>
                <a:gd name="T37" fmla="*/ 71 h 91"/>
                <a:gd name="T38" fmla="*/ 78 w 146"/>
                <a:gd name="T39" fmla="*/ 71 h 91"/>
                <a:gd name="T40" fmla="*/ 69 w 146"/>
                <a:gd name="T41" fmla="*/ 72 h 91"/>
                <a:gd name="T42" fmla="*/ 62 w 146"/>
                <a:gd name="T43" fmla="*/ 74 h 91"/>
                <a:gd name="T44" fmla="*/ 53 w 146"/>
                <a:gd name="T45" fmla="*/ 77 h 91"/>
                <a:gd name="T46" fmla="*/ 49 w 146"/>
                <a:gd name="T47" fmla="*/ 80 h 91"/>
                <a:gd name="T48" fmla="*/ 49 w 146"/>
                <a:gd name="T49" fmla="*/ 80 h 91"/>
                <a:gd name="T50" fmla="*/ 37 w 146"/>
                <a:gd name="T51" fmla="*/ 91 h 91"/>
                <a:gd name="T52" fmla="*/ 37 w 146"/>
                <a:gd name="T53" fmla="*/ 91 h 91"/>
                <a:gd name="T54" fmla="*/ 34 w 146"/>
                <a:gd name="T55" fmla="*/ 84 h 91"/>
                <a:gd name="T56" fmla="*/ 31 w 146"/>
                <a:gd name="T57" fmla="*/ 80 h 91"/>
                <a:gd name="T58" fmla="*/ 26 w 146"/>
                <a:gd name="T59" fmla="*/ 75 h 91"/>
                <a:gd name="T60" fmla="*/ 26 w 146"/>
                <a:gd name="T61" fmla="*/ 75 h 91"/>
                <a:gd name="T62" fmla="*/ 16 w 146"/>
                <a:gd name="T63" fmla="*/ 71 h 91"/>
                <a:gd name="T64" fmla="*/ 13 w 146"/>
                <a:gd name="T65" fmla="*/ 68 h 91"/>
                <a:gd name="T66" fmla="*/ 10 w 146"/>
                <a:gd name="T67" fmla="*/ 65 h 91"/>
                <a:gd name="T68" fmla="*/ 10 w 146"/>
                <a:gd name="T69" fmla="*/ 65 h 91"/>
                <a:gd name="T70" fmla="*/ 7 w 146"/>
                <a:gd name="T71" fmla="*/ 62 h 91"/>
                <a:gd name="T72" fmla="*/ 4 w 146"/>
                <a:gd name="T73" fmla="*/ 57 h 91"/>
                <a:gd name="T74" fmla="*/ 0 w 146"/>
                <a:gd name="T75" fmla="*/ 5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6" h="91">
                  <a:moveTo>
                    <a:pt x="146" y="4"/>
                  </a:moveTo>
                  <a:lnTo>
                    <a:pt x="146" y="4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17" y="1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03" y="16"/>
                  </a:lnTo>
                  <a:lnTo>
                    <a:pt x="99" y="23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35"/>
                  </a:lnTo>
                  <a:lnTo>
                    <a:pt x="98" y="43"/>
                  </a:lnTo>
                  <a:lnTo>
                    <a:pt x="100" y="49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98" y="57"/>
                  </a:lnTo>
                  <a:lnTo>
                    <a:pt x="93" y="62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69" y="72"/>
                  </a:lnTo>
                  <a:lnTo>
                    <a:pt x="62" y="74"/>
                  </a:lnTo>
                  <a:lnTo>
                    <a:pt x="53" y="77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4" y="84"/>
                  </a:lnTo>
                  <a:lnTo>
                    <a:pt x="31" y="80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16" y="71"/>
                  </a:lnTo>
                  <a:lnTo>
                    <a:pt x="13" y="68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7" y="62"/>
                  </a:lnTo>
                  <a:lnTo>
                    <a:pt x="4" y="57"/>
                  </a:lnTo>
                  <a:lnTo>
                    <a:pt x="0" y="5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0" name="Freeform 179">
              <a:extLst>
                <a:ext uri="{FF2B5EF4-FFF2-40B4-BE49-F238E27FC236}">
                  <a16:creationId xmlns:a16="http://schemas.microsoft.com/office/drawing/2014/main" id="{99144138-C04A-1E47-A8F2-63C923473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3765550"/>
              <a:ext cx="527050" cy="473075"/>
            </a:xfrm>
            <a:custGeom>
              <a:avLst/>
              <a:gdLst>
                <a:gd name="T0" fmla="*/ 106 w 332"/>
                <a:gd name="T1" fmla="*/ 15 h 298"/>
                <a:gd name="T2" fmla="*/ 95 w 332"/>
                <a:gd name="T3" fmla="*/ 15 h 298"/>
                <a:gd name="T4" fmla="*/ 85 w 332"/>
                <a:gd name="T5" fmla="*/ 2 h 298"/>
                <a:gd name="T6" fmla="*/ 80 w 332"/>
                <a:gd name="T7" fmla="*/ 0 h 298"/>
                <a:gd name="T8" fmla="*/ 69 w 332"/>
                <a:gd name="T9" fmla="*/ 7 h 298"/>
                <a:gd name="T10" fmla="*/ 69 w 332"/>
                <a:gd name="T11" fmla="*/ 15 h 298"/>
                <a:gd name="T12" fmla="*/ 70 w 332"/>
                <a:gd name="T13" fmla="*/ 33 h 298"/>
                <a:gd name="T14" fmla="*/ 73 w 332"/>
                <a:gd name="T15" fmla="*/ 59 h 298"/>
                <a:gd name="T16" fmla="*/ 70 w 332"/>
                <a:gd name="T17" fmla="*/ 67 h 298"/>
                <a:gd name="T18" fmla="*/ 43 w 332"/>
                <a:gd name="T19" fmla="*/ 83 h 298"/>
                <a:gd name="T20" fmla="*/ 30 w 332"/>
                <a:gd name="T21" fmla="*/ 90 h 298"/>
                <a:gd name="T22" fmla="*/ 12 w 332"/>
                <a:gd name="T23" fmla="*/ 105 h 298"/>
                <a:gd name="T24" fmla="*/ 0 w 332"/>
                <a:gd name="T25" fmla="*/ 126 h 298"/>
                <a:gd name="T26" fmla="*/ 3 w 332"/>
                <a:gd name="T27" fmla="*/ 135 h 298"/>
                <a:gd name="T28" fmla="*/ 6 w 332"/>
                <a:gd name="T29" fmla="*/ 151 h 298"/>
                <a:gd name="T30" fmla="*/ 15 w 332"/>
                <a:gd name="T31" fmla="*/ 169 h 298"/>
                <a:gd name="T32" fmla="*/ 35 w 332"/>
                <a:gd name="T33" fmla="*/ 178 h 298"/>
                <a:gd name="T34" fmla="*/ 42 w 332"/>
                <a:gd name="T35" fmla="*/ 182 h 298"/>
                <a:gd name="T36" fmla="*/ 46 w 332"/>
                <a:gd name="T37" fmla="*/ 187 h 298"/>
                <a:gd name="T38" fmla="*/ 69 w 332"/>
                <a:gd name="T39" fmla="*/ 188 h 298"/>
                <a:gd name="T40" fmla="*/ 79 w 332"/>
                <a:gd name="T41" fmla="*/ 193 h 298"/>
                <a:gd name="T42" fmla="*/ 88 w 332"/>
                <a:gd name="T43" fmla="*/ 201 h 298"/>
                <a:gd name="T44" fmla="*/ 100 w 332"/>
                <a:gd name="T45" fmla="*/ 201 h 298"/>
                <a:gd name="T46" fmla="*/ 106 w 332"/>
                <a:gd name="T47" fmla="*/ 210 h 298"/>
                <a:gd name="T48" fmla="*/ 110 w 332"/>
                <a:gd name="T49" fmla="*/ 216 h 298"/>
                <a:gd name="T50" fmla="*/ 112 w 332"/>
                <a:gd name="T51" fmla="*/ 222 h 298"/>
                <a:gd name="T52" fmla="*/ 116 w 332"/>
                <a:gd name="T53" fmla="*/ 225 h 298"/>
                <a:gd name="T54" fmla="*/ 125 w 332"/>
                <a:gd name="T55" fmla="*/ 219 h 298"/>
                <a:gd name="T56" fmla="*/ 132 w 332"/>
                <a:gd name="T57" fmla="*/ 218 h 298"/>
                <a:gd name="T58" fmla="*/ 150 w 332"/>
                <a:gd name="T59" fmla="*/ 222 h 298"/>
                <a:gd name="T60" fmla="*/ 165 w 332"/>
                <a:gd name="T61" fmla="*/ 224 h 298"/>
                <a:gd name="T62" fmla="*/ 183 w 332"/>
                <a:gd name="T63" fmla="*/ 213 h 298"/>
                <a:gd name="T64" fmla="*/ 187 w 332"/>
                <a:gd name="T65" fmla="*/ 206 h 298"/>
                <a:gd name="T66" fmla="*/ 199 w 332"/>
                <a:gd name="T67" fmla="*/ 206 h 298"/>
                <a:gd name="T68" fmla="*/ 214 w 332"/>
                <a:gd name="T69" fmla="*/ 212 h 298"/>
                <a:gd name="T70" fmla="*/ 218 w 332"/>
                <a:gd name="T71" fmla="*/ 224 h 298"/>
                <a:gd name="T72" fmla="*/ 224 w 332"/>
                <a:gd name="T73" fmla="*/ 252 h 298"/>
                <a:gd name="T74" fmla="*/ 240 w 332"/>
                <a:gd name="T75" fmla="*/ 255 h 298"/>
                <a:gd name="T76" fmla="*/ 248 w 332"/>
                <a:gd name="T77" fmla="*/ 259 h 298"/>
                <a:gd name="T78" fmla="*/ 251 w 332"/>
                <a:gd name="T79" fmla="*/ 274 h 298"/>
                <a:gd name="T80" fmla="*/ 257 w 332"/>
                <a:gd name="T81" fmla="*/ 275 h 298"/>
                <a:gd name="T82" fmla="*/ 279 w 332"/>
                <a:gd name="T83" fmla="*/ 274 h 298"/>
                <a:gd name="T84" fmla="*/ 285 w 332"/>
                <a:gd name="T85" fmla="*/ 277 h 298"/>
                <a:gd name="T86" fmla="*/ 298 w 332"/>
                <a:gd name="T87" fmla="*/ 293 h 298"/>
                <a:gd name="T88" fmla="*/ 301 w 332"/>
                <a:gd name="T89" fmla="*/ 296 h 298"/>
                <a:gd name="T90" fmla="*/ 314 w 332"/>
                <a:gd name="T91" fmla="*/ 298 h 298"/>
                <a:gd name="T92" fmla="*/ 320 w 332"/>
                <a:gd name="T93" fmla="*/ 295 h 298"/>
                <a:gd name="T94" fmla="*/ 325 w 332"/>
                <a:gd name="T95" fmla="*/ 289 h 298"/>
                <a:gd name="T96" fmla="*/ 328 w 332"/>
                <a:gd name="T97" fmla="*/ 249 h 298"/>
                <a:gd name="T98" fmla="*/ 322 w 332"/>
                <a:gd name="T99" fmla="*/ 236 h 298"/>
                <a:gd name="T100" fmla="*/ 322 w 332"/>
                <a:gd name="T101" fmla="*/ 219 h 298"/>
                <a:gd name="T102" fmla="*/ 332 w 332"/>
                <a:gd name="T103" fmla="*/ 201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2" h="298">
                  <a:moveTo>
                    <a:pt x="114" y="12"/>
                  </a:moveTo>
                  <a:lnTo>
                    <a:pt x="114" y="12"/>
                  </a:lnTo>
                  <a:lnTo>
                    <a:pt x="106" y="15"/>
                  </a:lnTo>
                  <a:lnTo>
                    <a:pt x="100" y="16"/>
                  </a:lnTo>
                  <a:lnTo>
                    <a:pt x="97" y="16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88" y="4"/>
                  </a:lnTo>
                  <a:lnTo>
                    <a:pt x="85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2" y="3"/>
                  </a:lnTo>
                  <a:lnTo>
                    <a:pt x="69" y="6"/>
                  </a:lnTo>
                  <a:lnTo>
                    <a:pt x="69" y="7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5"/>
                  </a:lnTo>
                  <a:lnTo>
                    <a:pt x="69" y="19"/>
                  </a:lnTo>
                  <a:lnTo>
                    <a:pt x="69" y="25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3" y="50"/>
                  </a:lnTo>
                  <a:lnTo>
                    <a:pt x="73" y="59"/>
                  </a:lnTo>
                  <a:lnTo>
                    <a:pt x="73" y="64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58" y="76"/>
                  </a:lnTo>
                  <a:lnTo>
                    <a:pt x="51" y="80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36" y="86"/>
                  </a:lnTo>
                  <a:lnTo>
                    <a:pt x="30" y="90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12" y="105"/>
                  </a:lnTo>
                  <a:lnTo>
                    <a:pt x="5" y="114"/>
                  </a:lnTo>
                  <a:lnTo>
                    <a:pt x="0" y="121"/>
                  </a:lnTo>
                  <a:lnTo>
                    <a:pt x="0" y="126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3" y="135"/>
                  </a:lnTo>
                  <a:lnTo>
                    <a:pt x="5" y="139"/>
                  </a:lnTo>
                  <a:lnTo>
                    <a:pt x="6" y="151"/>
                  </a:lnTo>
                  <a:lnTo>
                    <a:pt x="6" y="151"/>
                  </a:lnTo>
                  <a:lnTo>
                    <a:pt x="9" y="160"/>
                  </a:lnTo>
                  <a:lnTo>
                    <a:pt x="12" y="164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26" y="175"/>
                  </a:lnTo>
                  <a:lnTo>
                    <a:pt x="35" y="178"/>
                  </a:lnTo>
                  <a:lnTo>
                    <a:pt x="35" y="178"/>
                  </a:lnTo>
                  <a:lnTo>
                    <a:pt x="39" y="179"/>
                  </a:lnTo>
                  <a:lnTo>
                    <a:pt x="42" y="182"/>
                  </a:lnTo>
                  <a:lnTo>
                    <a:pt x="43" y="184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52" y="188"/>
                  </a:lnTo>
                  <a:lnTo>
                    <a:pt x="61" y="188"/>
                  </a:lnTo>
                  <a:lnTo>
                    <a:pt x="69" y="188"/>
                  </a:lnTo>
                  <a:lnTo>
                    <a:pt x="75" y="190"/>
                  </a:lnTo>
                  <a:lnTo>
                    <a:pt x="75" y="190"/>
                  </a:lnTo>
                  <a:lnTo>
                    <a:pt x="79" y="193"/>
                  </a:lnTo>
                  <a:lnTo>
                    <a:pt x="82" y="197"/>
                  </a:lnTo>
                  <a:lnTo>
                    <a:pt x="85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95" y="201"/>
                  </a:lnTo>
                  <a:lnTo>
                    <a:pt x="100" y="201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6" y="210"/>
                  </a:lnTo>
                  <a:lnTo>
                    <a:pt x="107" y="213"/>
                  </a:lnTo>
                  <a:lnTo>
                    <a:pt x="110" y="216"/>
                  </a:lnTo>
                  <a:lnTo>
                    <a:pt x="110" y="216"/>
                  </a:lnTo>
                  <a:lnTo>
                    <a:pt x="112" y="218"/>
                  </a:lnTo>
                  <a:lnTo>
                    <a:pt x="112" y="219"/>
                  </a:lnTo>
                  <a:lnTo>
                    <a:pt x="112" y="222"/>
                  </a:lnTo>
                  <a:lnTo>
                    <a:pt x="114" y="224"/>
                  </a:lnTo>
                  <a:lnTo>
                    <a:pt x="114" y="224"/>
                  </a:lnTo>
                  <a:lnTo>
                    <a:pt x="116" y="225"/>
                  </a:lnTo>
                  <a:lnTo>
                    <a:pt x="117" y="224"/>
                  </a:lnTo>
                  <a:lnTo>
                    <a:pt x="120" y="222"/>
                  </a:lnTo>
                  <a:lnTo>
                    <a:pt x="125" y="219"/>
                  </a:lnTo>
                  <a:lnTo>
                    <a:pt x="128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40" y="219"/>
                  </a:lnTo>
                  <a:lnTo>
                    <a:pt x="146" y="221"/>
                  </a:lnTo>
                  <a:lnTo>
                    <a:pt x="150" y="222"/>
                  </a:lnTo>
                  <a:lnTo>
                    <a:pt x="156" y="224"/>
                  </a:lnTo>
                  <a:lnTo>
                    <a:pt x="156" y="224"/>
                  </a:lnTo>
                  <a:lnTo>
                    <a:pt x="165" y="224"/>
                  </a:lnTo>
                  <a:lnTo>
                    <a:pt x="174" y="221"/>
                  </a:lnTo>
                  <a:lnTo>
                    <a:pt x="180" y="216"/>
                  </a:lnTo>
                  <a:lnTo>
                    <a:pt x="183" y="213"/>
                  </a:lnTo>
                  <a:lnTo>
                    <a:pt x="183" y="213"/>
                  </a:lnTo>
                  <a:lnTo>
                    <a:pt x="184" y="209"/>
                  </a:lnTo>
                  <a:lnTo>
                    <a:pt x="187" y="206"/>
                  </a:lnTo>
                  <a:lnTo>
                    <a:pt x="191" y="204"/>
                  </a:lnTo>
                  <a:lnTo>
                    <a:pt x="199" y="206"/>
                  </a:lnTo>
                  <a:lnTo>
                    <a:pt x="199" y="206"/>
                  </a:lnTo>
                  <a:lnTo>
                    <a:pt x="206" y="209"/>
                  </a:lnTo>
                  <a:lnTo>
                    <a:pt x="212" y="210"/>
                  </a:lnTo>
                  <a:lnTo>
                    <a:pt x="214" y="212"/>
                  </a:lnTo>
                  <a:lnTo>
                    <a:pt x="215" y="213"/>
                  </a:lnTo>
                  <a:lnTo>
                    <a:pt x="218" y="224"/>
                  </a:lnTo>
                  <a:lnTo>
                    <a:pt x="218" y="224"/>
                  </a:lnTo>
                  <a:lnTo>
                    <a:pt x="220" y="244"/>
                  </a:lnTo>
                  <a:lnTo>
                    <a:pt x="223" y="250"/>
                  </a:lnTo>
                  <a:lnTo>
                    <a:pt x="224" y="252"/>
                  </a:lnTo>
                  <a:lnTo>
                    <a:pt x="227" y="253"/>
                  </a:lnTo>
                  <a:lnTo>
                    <a:pt x="227" y="253"/>
                  </a:lnTo>
                  <a:lnTo>
                    <a:pt x="240" y="255"/>
                  </a:lnTo>
                  <a:lnTo>
                    <a:pt x="245" y="256"/>
                  </a:lnTo>
                  <a:lnTo>
                    <a:pt x="246" y="258"/>
                  </a:lnTo>
                  <a:lnTo>
                    <a:pt x="248" y="259"/>
                  </a:lnTo>
                  <a:lnTo>
                    <a:pt x="248" y="259"/>
                  </a:lnTo>
                  <a:lnTo>
                    <a:pt x="248" y="270"/>
                  </a:lnTo>
                  <a:lnTo>
                    <a:pt x="251" y="274"/>
                  </a:lnTo>
                  <a:lnTo>
                    <a:pt x="252" y="275"/>
                  </a:lnTo>
                  <a:lnTo>
                    <a:pt x="257" y="275"/>
                  </a:lnTo>
                  <a:lnTo>
                    <a:pt x="257" y="275"/>
                  </a:lnTo>
                  <a:lnTo>
                    <a:pt x="264" y="274"/>
                  </a:lnTo>
                  <a:lnTo>
                    <a:pt x="271" y="274"/>
                  </a:lnTo>
                  <a:lnTo>
                    <a:pt x="279" y="274"/>
                  </a:lnTo>
                  <a:lnTo>
                    <a:pt x="282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91" y="281"/>
                  </a:lnTo>
                  <a:lnTo>
                    <a:pt x="294" y="286"/>
                  </a:lnTo>
                  <a:lnTo>
                    <a:pt x="298" y="293"/>
                  </a:lnTo>
                  <a:lnTo>
                    <a:pt x="298" y="293"/>
                  </a:lnTo>
                  <a:lnTo>
                    <a:pt x="298" y="295"/>
                  </a:lnTo>
                  <a:lnTo>
                    <a:pt x="301" y="296"/>
                  </a:lnTo>
                  <a:lnTo>
                    <a:pt x="308" y="298"/>
                  </a:lnTo>
                  <a:lnTo>
                    <a:pt x="308" y="298"/>
                  </a:lnTo>
                  <a:lnTo>
                    <a:pt x="314" y="298"/>
                  </a:lnTo>
                  <a:lnTo>
                    <a:pt x="314" y="298"/>
                  </a:lnTo>
                  <a:lnTo>
                    <a:pt x="319" y="296"/>
                  </a:lnTo>
                  <a:lnTo>
                    <a:pt x="320" y="295"/>
                  </a:lnTo>
                  <a:lnTo>
                    <a:pt x="323" y="293"/>
                  </a:lnTo>
                  <a:lnTo>
                    <a:pt x="325" y="289"/>
                  </a:lnTo>
                  <a:lnTo>
                    <a:pt x="325" y="289"/>
                  </a:lnTo>
                  <a:lnTo>
                    <a:pt x="328" y="267"/>
                  </a:lnTo>
                  <a:lnTo>
                    <a:pt x="328" y="256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3" y="240"/>
                  </a:lnTo>
                  <a:lnTo>
                    <a:pt x="322" y="236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2" y="219"/>
                  </a:lnTo>
                  <a:lnTo>
                    <a:pt x="325" y="210"/>
                  </a:lnTo>
                  <a:lnTo>
                    <a:pt x="325" y="210"/>
                  </a:lnTo>
                  <a:lnTo>
                    <a:pt x="332" y="20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1" name="Freeform 180">
              <a:extLst>
                <a:ext uri="{FF2B5EF4-FFF2-40B4-BE49-F238E27FC236}">
                  <a16:creationId xmlns:a16="http://schemas.microsoft.com/office/drawing/2014/main" id="{E79624DC-392D-4442-AE5A-8CF58E5B1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3541713"/>
              <a:ext cx="706438" cy="565150"/>
            </a:xfrm>
            <a:custGeom>
              <a:avLst/>
              <a:gdLst>
                <a:gd name="T0" fmla="*/ 3 w 445"/>
                <a:gd name="T1" fmla="*/ 14 h 356"/>
                <a:gd name="T2" fmla="*/ 7 w 445"/>
                <a:gd name="T3" fmla="*/ 43 h 356"/>
                <a:gd name="T4" fmla="*/ 11 w 445"/>
                <a:gd name="T5" fmla="*/ 57 h 356"/>
                <a:gd name="T6" fmla="*/ 16 w 445"/>
                <a:gd name="T7" fmla="*/ 64 h 356"/>
                <a:gd name="T8" fmla="*/ 16 w 445"/>
                <a:gd name="T9" fmla="*/ 91 h 356"/>
                <a:gd name="T10" fmla="*/ 7 w 445"/>
                <a:gd name="T11" fmla="*/ 100 h 356"/>
                <a:gd name="T12" fmla="*/ 1 w 445"/>
                <a:gd name="T13" fmla="*/ 104 h 356"/>
                <a:gd name="T14" fmla="*/ 7 w 445"/>
                <a:gd name="T15" fmla="*/ 111 h 356"/>
                <a:gd name="T16" fmla="*/ 6 w 445"/>
                <a:gd name="T17" fmla="*/ 117 h 356"/>
                <a:gd name="T18" fmla="*/ 0 w 445"/>
                <a:gd name="T19" fmla="*/ 128 h 356"/>
                <a:gd name="T20" fmla="*/ 4 w 445"/>
                <a:gd name="T21" fmla="*/ 150 h 356"/>
                <a:gd name="T22" fmla="*/ 8 w 445"/>
                <a:gd name="T23" fmla="*/ 153 h 356"/>
                <a:gd name="T24" fmla="*/ 20 w 445"/>
                <a:gd name="T25" fmla="*/ 145 h 356"/>
                <a:gd name="T26" fmla="*/ 34 w 445"/>
                <a:gd name="T27" fmla="*/ 140 h 356"/>
                <a:gd name="T28" fmla="*/ 47 w 445"/>
                <a:gd name="T29" fmla="*/ 144 h 356"/>
                <a:gd name="T30" fmla="*/ 57 w 445"/>
                <a:gd name="T31" fmla="*/ 159 h 356"/>
                <a:gd name="T32" fmla="*/ 81 w 445"/>
                <a:gd name="T33" fmla="*/ 168 h 356"/>
                <a:gd name="T34" fmla="*/ 96 w 445"/>
                <a:gd name="T35" fmla="*/ 169 h 356"/>
                <a:gd name="T36" fmla="*/ 100 w 445"/>
                <a:gd name="T37" fmla="*/ 175 h 356"/>
                <a:gd name="T38" fmla="*/ 117 w 445"/>
                <a:gd name="T39" fmla="*/ 178 h 356"/>
                <a:gd name="T40" fmla="*/ 136 w 445"/>
                <a:gd name="T41" fmla="*/ 169 h 356"/>
                <a:gd name="T42" fmla="*/ 151 w 445"/>
                <a:gd name="T43" fmla="*/ 168 h 356"/>
                <a:gd name="T44" fmla="*/ 152 w 445"/>
                <a:gd name="T45" fmla="*/ 178 h 356"/>
                <a:gd name="T46" fmla="*/ 155 w 445"/>
                <a:gd name="T47" fmla="*/ 184 h 356"/>
                <a:gd name="T48" fmla="*/ 162 w 445"/>
                <a:gd name="T49" fmla="*/ 199 h 356"/>
                <a:gd name="T50" fmla="*/ 158 w 445"/>
                <a:gd name="T51" fmla="*/ 215 h 356"/>
                <a:gd name="T52" fmla="*/ 149 w 445"/>
                <a:gd name="T53" fmla="*/ 233 h 356"/>
                <a:gd name="T54" fmla="*/ 152 w 445"/>
                <a:gd name="T55" fmla="*/ 237 h 356"/>
                <a:gd name="T56" fmla="*/ 168 w 445"/>
                <a:gd name="T57" fmla="*/ 239 h 356"/>
                <a:gd name="T58" fmla="*/ 183 w 445"/>
                <a:gd name="T59" fmla="*/ 237 h 356"/>
                <a:gd name="T60" fmla="*/ 188 w 445"/>
                <a:gd name="T61" fmla="*/ 243 h 356"/>
                <a:gd name="T62" fmla="*/ 197 w 445"/>
                <a:gd name="T63" fmla="*/ 262 h 356"/>
                <a:gd name="T64" fmla="*/ 204 w 445"/>
                <a:gd name="T65" fmla="*/ 265 h 356"/>
                <a:gd name="T66" fmla="*/ 208 w 445"/>
                <a:gd name="T67" fmla="*/ 270 h 356"/>
                <a:gd name="T68" fmla="*/ 205 w 445"/>
                <a:gd name="T69" fmla="*/ 298 h 356"/>
                <a:gd name="T70" fmla="*/ 210 w 445"/>
                <a:gd name="T71" fmla="*/ 308 h 356"/>
                <a:gd name="T72" fmla="*/ 217 w 445"/>
                <a:gd name="T73" fmla="*/ 319 h 356"/>
                <a:gd name="T74" fmla="*/ 220 w 445"/>
                <a:gd name="T75" fmla="*/ 341 h 356"/>
                <a:gd name="T76" fmla="*/ 223 w 445"/>
                <a:gd name="T77" fmla="*/ 342 h 356"/>
                <a:gd name="T78" fmla="*/ 239 w 445"/>
                <a:gd name="T79" fmla="*/ 344 h 356"/>
                <a:gd name="T80" fmla="*/ 253 w 445"/>
                <a:gd name="T81" fmla="*/ 351 h 356"/>
                <a:gd name="T82" fmla="*/ 266 w 445"/>
                <a:gd name="T83" fmla="*/ 356 h 356"/>
                <a:gd name="T84" fmla="*/ 278 w 445"/>
                <a:gd name="T85" fmla="*/ 350 h 356"/>
                <a:gd name="T86" fmla="*/ 287 w 445"/>
                <a:gd name="T87" fmla="*/ 341 h 356"/>
                <a:gd name="T88" fmla="*/ 302 w 445"/>
                <a:gd name="T89" fmla="*/ 334 h 356"/>
                <a:gd name="T90" fmla="*/ 314 w 445"/>
                <a:gd name="T91" fmla="*/ 322 h 356"/>
                <a:gd name="T92" fmla="*/ 319 w 445"/>
                <a:gd name="T93" fmla="*/ 305 h 356"/>
                <a:gd name="T94" fmla="*/ 328 w 445"/>
                <a:gd name="T95" fmla="*/ 298 h 356"/>
                <a:gd name="T96" fmla="*/ 359 w 445"/>
                <a:gd name="T97" fmla="*/ 282 h 356"/>
                <a:gd name="T98" fmla="*/ 373 w 445"/>
                <a:gd name="T99" fmla="*/ 268 h 356"/>
                <a:gd name="T100" fmla="*/ 383 w 445"/>
                <a:gd name="T101" fmla="*/ 262 h 356"/>
                <a:gd name="T102" fmla="*/ 395 w 445"/>
                <a:gd name="T103" fmla="*/ 265 h 356"/>
                <a:gd name="T104" fmla="*/ 402 w 445"/>
                <a:gd name="T105" fmla="*/ 267 h 356"/>
                <a:gd name="T106" fmla="*/ 411 w 445"/>
                <a:gd name="T107" fmla="*/ 261 h 356"/>
                <a:gd name="T108" fmla="*/ 419 w 445"/>
                <a:gd name="T109" fmla="*/ 261 h 356"/>
                <a:gd name="T110" fmla="*/ 426 w 445"/>
                <a:gd name="T111" fmla="*/ 265 h 356"/>
                <a:gd name="T112" fmla="*/ 436 w 445"/>
                <a:gd name="T113" fmla="*/ 262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5" h="356">
                  <a:moveTo>
                    <a:pt x="3" y="0"/>
                  </a:moveTo>
                  <a:lnTo>
                    <a:pt x="3" y="0"/>
                  </a:lnTo>
                  <a:lnTo>
                    <a:pt x="3" y="1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7" y="43"/>
                  </a:lnTo>
                  <a:lnTo>
                    <a:pt x="8" y="51"/>
                  </a:lnTo>
                  <a:lnTo>
                    <a:pt x="10" y="54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4" y="60"/>
                  </a:lnTo>
                  <a:lnTo>
                    <a:pt x="16" y="64"/>
                  </a:lnTo>
                  <a:lnTo>
                    <a:pt x="17" y="76"/>
                  </a:lnTo>
                  <a:lnTo>
                    <a:pt x="17" y="88"/>
                  </a:lnTo>
                  <a:lnTo>
                    <a:pt x="16" y="91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7" y="100"/>
                  </a:lnTo>
                  <a:lnTo>
                    <a:pt x="3" y="101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5"/>
                  </a:lnTo>
                  <a:lnTo>
                    <a:pt x="4" y="108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4"/>
                  </a:lnTo>
                  <a:lnTo>
                    <a:pt x="6" y="117"/>
                  </a:lnTo>
                  <a:lnTo>
                    <a:pt x="3" y="123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1" y="143"/>
                  </a:lnTo>
                  <a:lnTo>
                    <a:pt x="4" y="150"/>
                  </a:lnTo>
                  <a:lnTo>
                    <a:pt x="7" y="151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11" y="151"/>
                  </a:lnTo>
                  <a:lnTo>
                    <a:pt x="14" y="150"/>
                  </a:lnTo>
                  <a:lnTo>
                    <a:pt x="20" y="145"/>
                  </a:lnTo>
                  <a:lnTo>
                    <a:pt x="28" y="141"/>
                  </a:lnTo>
                  <a:lnTo>
                    <a:pt x="31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43" y="141"/>
                  </a:lnTo>
                  <a:lnTo>
                    <a:pt x="47" y="144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7" y="159"/>
                  </a:lnTo>
                  <a:lnTo>
                    <a:pt x="66" y="163"/>
                  </a:lnTo>
                  <a:lnTo>
                    <a:pt x="74" y="166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93" y="168"/>
                  </a:lnTo>
                  <a:lnTo>
                    <a:pt x="96" y="169"/>
                  </a:lnTo>
                  <a:lnTo>
                    <a:pt x="99" y="172"/>
                  </a:lnTo>
                  <a:lnTo>
                    <a:pt x="99" y="172"/>
                  </a:lnTo>
                  <a:lnTo>
                    <a:pt x="100" y="175"/>
                  </a:lnTo>
                  <a:lnTo>
                    <a:pt x="105" y="178"/>
                  </a:lnTo>
                  <a:lnTo>
                    <a:pt x="111" y="180"/>
                  </a:lnTo>
                  <a:lnTo>
                    <a:pt x="117" y="178"/>
                  </a:lnTo>
                  <a:lnTo>
                    <a:pt x="117" y="178"/>
                  </a:lnTo>
                  <a:lnTo>
                    <a:pt x="125" y="175"/>
                  </a:lnTo>
                  <a:lnTo>
                    <a:pt x="136" y="169"/>
                  </a:lnTo>
                  <a:lnTo>
                    <a:pt x="145" y="165"/>
                  </a:lnTo>
                  <a:lnTo>
                    <a:pt x="148" y="165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2" y="174"/>
                  </a:lnTo>
                  <a:lnTo>
                    <a:pt x="152" y="178"/>
                  </a:lnTo>
                  <a:lnTo>
                    <a:pt x="154" y="181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8" y="188"/>
                  </a:lnTo>
                  <a:lnTo>
                    <a:pt x="161" y="193"/>
                  </a:lnTo>
                  <a:lnTo>
                    <a:pt x="162" y="199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58" y="215"/>
                  </a:lnTo>
                  <a:lnTo>
                    <a:pt x="152" y="224"/>
                  </a:lnTo>
                  <a:lnTo>
                    <a:pt x="151" y="228"/>
                  </a:lnTo>
                  <a:lnTo>
                    <a:pt x="149" y="233"/>
                  </a:lnTo>
                  <a:lnTo>
                    <a:pt x="149" y="236"/>
                  </a:lnTo>
                  <a:lnTo>
                    <a:pt x="152" y="237"/>
                  </a:lnTo>
                  <a:lnTo>
                    <a:pt x="152" y="237"/>
                  </a:lnTo>
                  <a:lnTo>
                    <a:pt x="157" y="239"/>
                  </a:lnTo>
                  <a:lnTo>
                    <a:pt x="160" y="240"/>
                  </a:lnTo>
                  <a:lnTo>
                    <a:pt x="168" y="239"/>
                  </a:lnTo>
                  <a:lnTo>
                    <a:pt x="176" y="237"/>
                  </a:lnTo>
                  <a:lnTo>
                    <a:pt x="180" y="237"/>
                  </a:lnTo>
                  <a:lnTo>
                    <a:pt x="183" y="237"/>
                  </a:lnTo>
                  <a:lnTo>
                    <a:pt x="183" y="237"/>
                  </a:lnTo>
                  <a:lnTo>
                    <a:pt x="185" y="240"/>
                  </a:lnTo>
                  <a:lnTo>
                    <a:pt x="188" y="243"/>
                  </a:lnTo>
                  <a:lnTo>
                    <a:pt x="191" y="251"/>
                  </a:lnTo>
                  <a:lnTo>
                    <a:pt x="194" y="257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200" y="264"/>
                  </a:lnTo>
                  <a:lnTo>
                    <a:pt x="204" y="265"/>
                  </a:lnTo>
                  <a:lnTo>
                    <a:pt x="207" y="267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5" y="282"/>
                  </a:lnTo>
                  <a:lnTo>
                    <a:pt x="205" y="291"/>
                  </a:lnTo>
                  <a:lnTo>
                    <a:pt x="205" y="298"/>
                  </a:lnTo>
                  <a:lnTo>
                    <a:pt x="205" y="298"/>
                  </a:lnTo>
                  <a:lnTo>
                    <a:pt x="208" y="305"/>
                  </a:lnTo>
                  <a:lnTo>
                    <a:pt x="210" y="308"/>
                  </a:lnTo>
                  <a:lnTo>
                    <a:pt x="216" y="313"/>
                  </a:lnTo>
                  <a:lnTo>
                    <a:pt x="216" y="313"/>
                  </a:lnTo>
                  <a:lnTo>
                    <a:pt x="217" y="319"/>
                  </a:lnTo>
                  <a:lnTo>
                    <a:pt x="219" y="328"/>
                  </a:lnTo>
                  <a:lnTo>
                    <a:pt x="219" y="335"/>
                  </a:lnTo>
                  <a:lnTo>
                    <a:pt x="220" y="341"/>
                  </a:lnTo>
                  <a:lnTo>
                    <a:pt x="220" y="341"/>
                  </a:lnTo>
                  <a:lnTo>
                    <a:pt x="222" y="342"/>
                  </a:lnTo>
                  <a:lnTo>
                    <a:pt x="223" y="342"/>
                  </a:lnTo>
                  <a:lnTo>
                    <a:pt x="226" y="341"/>
                  </a:lnTo>
                  <a:lnTo>
                    <a:pt x="232" y="341"/>
                  </a:lnTo>
                  <a:lnTo>
                    <a:pt x="239" y="344"/>
                  </a:lnTo>
                  <a:lnTo>
                    <a:pt x="239" y="344"/>
                  </a:lnTo>
                  <a:lnTo>
                    <a:pt x="247" y="348"/>
                  </a:lnTo>
                  <a:lnTo>
                    <a:pt x="253" y="351"/>
                  </a:lnTo>
                  <a:lnTo>
                    <a:pt x="257" y="354"/>
                  </a:lnTo>
                  <a:lnTo>
                    <a:pt x="266" y="356"/>
                  </a:lnTo>
                  <a:lnTo>
                    <a:pt x="266" y="356"/>
                  </a:lnTo>
                  <a:lnTo>
                    <a:pt x="271" y="356"/>
                  </a:lnTo>
                  <a:lnTo>
                    <a:pt x="274" y="354"/>
                  </a:lnTo>
                  <a:lnTo>
                    <a:pt x="278" y="350"/>
                  </a:lnTo>
                  <a:lnTo>
                    <a:pt x="282" y="344"/>
                  </a:lnTo>
                  <a:lnTo>
                    <a:pt x="284" y="342"/>
                  </a:lnTo>
                  <a:lnTo>
                    <a:pt x="287" y="341"/>
                  </a:lnTo>
                  <a:lnTo>
                    <a:pt x="287" y="341"/>
                  </a:lnTo>
                  <a:lnTo>
                    <a:pt x="294" y="338"/>
                  </a:lnTo>
                  <a:lnTo>
                    <a:pt x="302" y="334"/>
                  </a:lnTo>
                  <a:lnTo>
                    <a:pt x="309" y="329"/>
                  </a:lnTo>
                  <a:lnTo>
                    <a:pt x="314" y="322"/>
                  </a:lnTo>
                  <a:lnTo>
                    <a:pt x="314" y="322"/>
                  </a:lnTo>
                  <a:lnTo>
                    <a:pt x="315" y="316"/>
                  </a:lnTo>
                  <a:lnTo>
                    <a:pt x="316" y="310"/>
                  </a:lnTo>
                  <a:lnTo>
                    <a:pt x="319" y="305"/>
                  </a:lnTo>
                  <a:lnTo>
                    <a:pt x="322" y="301"/>
                  </a:lnTo>
                  <a:lnTo>
                    <a:pt x="322" y="301"/>
                  </a:lnTo>
                  <a:lnTo>
                    <a:pt x="328" y="298"/>
                  </a:lnTo>
                  <a:lnTo>
                    <a:pt x="339" y="294"/>
                  </a:lnTo>
                  <a:lnTo>
                    <a:pt x="351" y="289"/>
                  </a:lnTo>
                  <a:lnTo>
                    <a:pt x="359" y="282"/>
                  </a:lnTo>
                  <a:lnTo>
                    <a:pt x="359" y="282"/>
                  </a:lnTo>
                  <a:lnTo>
                    <a:pt x="367" y="274"/>
                  </a:lnTo>
                  <a:lnTo>
                    <a:pt x="373" y="268"/>
                  </a:lnTo>
                  <a:lnTo>
                    <a:pt x="377" y="264"/>
                  </a:lnTo>
                  <a:lnTo>
                    <a:pt x="380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91" y="264"/>
                  </a:lnTo>
                  <a:lnTo>
                    <a:pt x="395" y="265"/>
                  </a:lnTo>
                  <a:lnTo>
                    <a:pt x="399" y="267"/>
                  </a:lnTo>
                  <a:lnTo>
                    <a:pt x="402" y="267"/>
                  </a:lnTo>
                  <a:lnTo>
                    <a:pt x="402" y="267"/>
                  </a:lnTo>
                  <a:lnTo>
                    <a:pt x="407" y="265"/>
                  </a:lnTo>
                  <a:lnTo>
                    <a:pt x="410" y="262"/>
                  </a:lnTo>
                  <a:lnTo>
                    <a:pt x="411" y="261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419" y="261"/>
                  </a:lnTo>
                  <a:lnTo>
                    <a:pt x="422" y="261"/>
                  </a:lnTo>
                  <a:lnTo>
                    <a:pt x="426" y="265"/>
                  </a:lnTo>
                  <a:lnTo>
                    <a:pt x="426" y="265"/>
                  </a:lnTo>
                  <a:lnTo>
                    <a:pt x="429" y="265"/>
                  </a:lnTo>
                  <a:lnTo>
                    <a:pt x="431" y="265"/>
                  </a:lnTo>
                  <a:lnTo>
                    <a:pt x="436" y="262"/>
                  </a:lnTo>
                  <a:lnTo>
                    <a:pt x="445" y="25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2" name="Freeform 181">
              <a:extLst>
                <a:ext uri="{FF2B5EF4-FFF2-40B4-BE49-F238E27FC236}">
                  <a16:creationId xmlns:a16="http://schemas.microsoft.com/office/drawing/2014/main" id="{AD1E254A-433D-9E4A-976A-F205B72D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8600" y="4064000"/>
              <a:ext cx="2455863" cy="787400"/>
            </a:xfrm>
            <a:custGeom>
              <a:avLst/>
              <a:gdLst>
                <a:gd name="T0" fmla="*/ 22 w 1547"/>
                <a:gd name="T1" fmla="*/ 42 h 496"/>
                <a:gd name="T2" fmla="*/ 4 w 1547"/>
                <a:gd name="T3" fmla="*/ 65 h 496"/>
                <a:gd name="T4" fmla="*/ 0 w 1547"/>
                <a:gd name="T5" fmla="*/ 105 h 496"/>
                <a:gd name="T6" fmla="*/ 35 w 1547"/>
                <a:gd name="T7" fmla="*/ 125 h 496"/>
                <a:gd name="T8" fmla="*/ 60 w 1547"/>
                <a:gd name="T9" fmla="*/ 166 h 496"/>
                <a:gd name="T10" fmla="*/ 74 w 1547"/>
                <a:gd name="T11" fmla="*/ 197 h 496"/>
                <a:gd name="T12" fmla="*/ 102 w 1547"/>
                <a:gd name="T13" fmla="*/ 202 h 496"/>
                <a:gd name="T14" fmla="*/ 121 w 1547"/>
                <a:gd name="T15" fmla="*/ 221 h 496"/>
                <a:gd name="T16" fmla="*/ 120 w 1547"/>
                <a:gd name="T17" fmla="*/ 247 h 496"/>
                <a:gd name="T18" fmla="*/ 143 w 1547"/>
                <a:gd name="T19" fmla="*/ 256 h 496"/>
                <a:gd name="T20" fmla="*/ 164 w 1547"/>
                <a:gd name="T21" fmla="*/ 292 h 496"/>
                <a:gd name="T22" fmla="*/ 200 w 1547"/>
                <a:gd name="T23" fmla="*/ 296 h 496"/>
                <a:gd name="T24" fmla="*/ 212 w 1547"/>
                <a:gd name="T25" fmla="*/ 324 h 496"/>
                <a:gd name="T26" fmla="*/ 252 w 1547"/>
                <a:gd name="T27" fmla="*/ 354 h 496"/>
                <a:gd name="T28" fmla="*/ 274 w 1547"/>
                <a:gd name="T29" fmla="*/ 351 h 496"/>
                <a:gd name="T30" fmla="*/ 271 w 1547"/>
                <a:gd name="T31" fmla="*/ 372 h 496"/>
                <a:gd name="T32" fmla="*/ 290 w 1547"/>
                <a:gd name="T33" fmla="*/ 394 h 496"/>
                <a:gd name="T34" fmla="*/ 294 w 1547"/>
                <a:gd name="T35" fmla="*/ 424 h 496"/>
                <a:gd name="T36" fmla="*/ 308 w 1547"/>
                <a:gd name="T37" fmla="*/ 428 h 496"/>
                <a:gd name="T38" fmla="*/ 334 w 1547"/>
                <a:gd name="T39" fmla="*/ 449 h 496"/>
                <a:gd name="T40" fmla="*/ 354 w 1547"/>
                <a:gd name="T41" fmla="*/ 481 h 496"/>
                <a:gd name="T42" fmla="*/ 394 w 1547"/>
                <a:gd name="T43" fmla="*/ 486 h 496"/>
                <a:gd name="T44" fmla="*/ 420 w 1547"/>
                <a:gd name="T45" fmla="*/ 490 h 496"/>
                <a:gd name="T46" fmla="*/ 448 w 1547"/>
                <a:gd name="T47" fmla="*/ 455 h 496"/>
                <a:gd name="T48" fmla="*/ 543 w 1547"/>
                <a:gd name="T49" fmla="*/ 379 h 496"/>
                <a:gd name="T50" fmla="*/ 502 w 1547"/>
                <a:gd name="T51" fmla="*/ 345 h 496"/>
                <a:gd name="T52" fmla="*/ 468 w 1547"/>
                <a:gd name="T53" fmla="*/ 366 h 496"/>
                <a:gd name="T54" fmla="*/ 444 w 1547"/>
                <a:gd name="T55" fmla="*/ 344 h 496"/>
                <a:gd name="T56" fmla="*/ 426 w 1547"/>
                <a:gd name="T57" fmla="*/ 353 h 496"/>
                <a:gd name="T58" fmla="*/ 457 w 1547"/>
                <a:gd name="T59" fmla="*/ 295 h 496"/>
                <a:gd name="T60" fmla="*/ 502 w 1547"/>
                <a:gd name="T61" fmla="*/ 279 h 496"/>
                <a:gd name="T62" fmla="*/ 502 w 1547"/>
                <a:gd name="T63" fmla="*/ 240 h 496"/>
                <a:gd name="T64" fmla="*/ 527 w 1547"/>
                <a:gd name="T65" fmla="*/ 225 h 496"/>
                <a:gd name="T66" fmla="*/ 528 w 1547"/>
                <a:gd name="T67" fmla="*/ 173 h 496"/>
                <a:gd name="T68" fmla="*/ 537 w 1547"/>
                <a:gd name="T69" fmla="*/ 119 h 496"/>
                <a:gd name="T70" fmla="*/ 568 w 1547"/>
                <a:gd name="T71" fmla="*/ 153 h 496"/>
                <a:gd name="T72" fmla="*/ 616 w 1547"/>
                <a:gd name="T73" fmla="*/ 203 h 496"/>
                <a:gd name="T74" fmla="*/ 619 w 1547"/>
                <a:gd name="T75" fmla="*/ 224 h 496"/>
                <a:gd name="T76" fmla="*/ 642 w 1547"/>
                <a:gd name="T77" fmla="*/ 233 h 496"/>
                <a:gd name="T78" fmla="*/ 656 w 1547"/>
                <a:gd name="T79" fmla="*/ 227 h 496"/>
                <a:gd name="T80" fmla="*/ 679 w 1547"/>
                <a:gd name="T81" fmla="*/ 243 h 496"/>
                <a:gd name="T82" fmla="*/ 706 w 1547"/>
                <a:gd name="T83" fmla="*/ 258 h 496"/>
                <a:gd name="T84" fmla="*/ 731 w 1547"/>
                <a:gd name="T85" fmla="*/ 253 h 496"/>
                <a:gd name="T86" fmla="*/ 742 w 1547"/>
                <a:gd name="T87" fmla="*/ 190 h 496"/>
                <a:gd name="T88" fmla="*/ 728 w 1547"/>
                <a:gd name="T89" fmla="*/ 170 h 496"/>
                <a:gd name="T90" fmla="*/ 765 w 1547"/>
                <a:gd name="T91" fmla="*/ 123 h 496"/>
                <a:gd name="T92" fmla="*/ 838 w 1547"/>
                <a:gd name="T93" fmla="*/ 104 h 496"/>
                <a:gd name="T94" fmla="*/ 930 w 1547"/>
                <a:gd name="T95" fmla="*/ 119 h 496"/>
                <a:gd name="T96" fmla="*/ 970 w 1547"/>
                <a:gd name="T97" fmla="*/ 117 h 496"/>
                <a:gd name="T98" fmla="*/ 1103 w 1547"/>
                <a:gd name="T99" fmla="*/ 243 h 496"/>
                <a:gd name="T100" fmla="*/ 1241 w 1547"/>
                <a:gd name="T101" fmla="*/ 345 h 496"/>
                <a:gd name="T102" fmla="*/ 1341 w 1547"/>
                <a:gd name="T103" fmla="*/ 376 h 496"/>
                <a:gd name="T104" fmla="*/ 1365 w 1547"/>
                <a:gd name="T105" fmla="*/ 357 h 496"/>
                <a:gd name="T106" fmla="*/ 1412 w 1547"/>
                <a:gd name="T107" fmla="*/ 351 h 496"/>
                <a:gd name="T108" fmla="*/ 1444 w 1547"/>
                <a:gd name="T109" fmla="*/ 336 h 496"/>
                <a:gd name="T110" fmla="*/ 1482 w 1547"/>
                <a:gd name="T111" fmla="*/ 321 h 496"/>
                <a:gd name="T112" fmla="*/ 1519 w 1547"/>
                <a:gd name="T113" fmla="*/ 333 h 496"/>
                <a:gd name="T114" fmla="*/ 1518 w 1547"/>
                <a:gd name="T115" fmla="*/ 304 h 496"/>
                <a:gd name="T116" fmla="*/ 1501 w 1547"/>
                <a:gd name="T117" fmla="*/ 277 h 496"/>
                <a:gd name="T118" fmla="*/ 1532 w 1547"/>
                <a:gd name="T119" fmla="*/ 25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7" h="496">
                  <a:moveTo>
                    <a:pt x="35" y="0"/>
                  </a:moveTo>
                  <a:lnTo>
                    <a:pt x="35" y="0"/>
                  </a:lnTo>
                  <a:lnTo>
                    <a:pt x="32" y="3"/>
                  </a:lnTo>
                  <a:lnTo>
                    <a:pt x="29" y="9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3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3"/>
                  </a:lnTo>
                  <a:lnTo>
                    <a:pt x="22" y="45"/>
                  </a:lnTo>
                  <a:lnTo>
                    <a:pt x="18" y="49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7" y="58"/>
                  </a:lnTo>
                  <a:lnTo>
                    <a:pt x="4" y="65"/>
                  </a:lnTo>
                  <a:lnTo>
                    <a:pt x="1" y="74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7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4" y="111"/>
                  </a:lnTo>
                  <a:lnTo>
                    <a:pt x="9" y="116"/>
                  </a:lnTo>
                  <a:lnTo>
                    <a:pt x="12" y="117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25" y="120"/>
                  </a:lnTo>
                  <a:lnTo>
                    <a:pt x="32" y="122"/>
                  </a:lnTo>
                  <a:lnTo>
                    <a:pt x="35" y="125"/>
                  </a:lnTo>
                  <a:lnTo>
                    <a:pt x="37" y="127"/>
                  </a:lnTo>
                  <a:lnTo>
                    <a:pt x="37" y="127"/>
                  </a:lnTo>
                  <a:lnTo>
                    <a:pt x="40" y="145"/>
                  </a:lnTo>
                  <a:lnTo>
                    <a:pt x="44" y="157"/>
                  </a:lnTo>
                  <a:lnTo>
                    <a:pt x="46" y="160"/>
                  </a:lnTo>
                  <a:lnTo>
                    <a:pt x="47" y="163"/>
                  </a:lnTo>
                  <a:lnTo>
                    <a:pt x="47" y="163"/>
                  </a:lnTo>
                  <a:lnTo>
                    <a:pt x="60" y="166"/>
                  </a:lnTo>
                  <a:lnTo>
                    <a:pt x="68" y="169"/>
                  </a:lnTo>
                  <a:lnTo>
                    <a:pt x="69" y="172"/>
                  </a:lnTo>
                  <a:lnTo>
                    <a:pt x="71" y="175"/>
                  </a:lnTo>
                  <a:lnTo>
                    <a:pt x="71" y="175"/>
                  </a:lnTo>
                  <a:lnTo>
                    <a:pt x="72" y="181"/>
                  </a:lnTo>
                  <a:lnTo>
                    <a:pt x="72" y="188"/>
                  </a:lnTo>
                  <a:lnTo>
                    <a:pt x="74" y="196"/>
                  </a:lnTo>
                  <a:lnTo>
                    <a:pt x="74" y="197"/>
                  </a:lnTo>
                  <a:lnTo>
                    <a:pt x="77" y="200"/>
                  </a:lnTo>
                  <a:lnTo>
                    <a:pt x="77" y="200"/>
                  </a:lnTo>
                  <a:lnTo>
                    <a:pt x="81" y="202"/>
                  </a:lnTo>
                  <a:lnTo>
                    <a:pt x="87" y="202"/>
                  </a:lnTo>
                  <a:lnTo>
                    <a:pt x="93" y="200"/>
                  </a:lnTo>
                  <a:lnTo>
                    <a:pt x="99" y="200"/>
                  </a:lnTo>
                  <a:lnTo>
                    <a:pt x="99" y="200"/>
                  </a:lnTo>
                  <a:lnTo>
                    <a:pt x="102" y="202"/>
                  </a:lnTo>
                  <a:lnTo>
                    <a:pt x="103" y="203"/>
                  </a:lnTo>
                  <a:lnTo>
                    <a:pt x="108" y="206"/>
                  </a:lnTo>
                  <a:lnTo>
                    <a:pt x="111" y="210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20" y="218"/>
                  </a:lnTo>
                  <a:lnTo>
                    <a:pt x="121" y="219"/>
                  </a:lnTo>
                  <a:lnTo>
                    <a:pt x="121" y="221"/>
                  </a:lnTo>
                  <a:lnTo>
                    <a:pt x="121" y="221"/>
                  </a:lnTo>
                  <a:lnTo>
                    <a:pt x="117" y="227"/>
                  </a:lnTo>
                  <a:lnTo>
                    <a:pt x="115" y="230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7" y="237"/>
                  </a:lnTo>
                  <a:lnTo>
                    <a:pt x="117" y="243"/>
                  </a:lnTo>
                  <a:lnTo>
                    <a:pt x="120" y="247"/>
                  </a:lnTo>
                  <a:lnTo>
                    <a:pt x="121" y="249"/>
                  </a:lnTo>
                  <a:lnTo>
                    <a:pt x="124" y="250"/>
                  </a:lnTo>
                  <a:lnTo>
                    <a:pt x="124" y="250"/>
                  </a:lnTo>
                  <a:lnTo>
                    <a:pt x="132" y="252"/>
                  </a:lnTo>
                  <a:lnTo>
                    <a:pt x="137" y="252"/>
                  </a:lnTo>
                  <a:lnTo>
                    <a:pt x="142" y="253"/>
                  </a:lnTo>
                  <a:lnTo>
                    <a:pt x="143" y="255"/>
                  </a:lnTo>
                  <a:lnTo>
                    <a:pt x="143" y="256"/>
                  </a:lnTo>
                  <a:lnTo>
                    <a:pt x="143" y="256"/>
                  </a:lnTo>
                  <a:lnTo>
                    <a:pt x="145" y="271"/>
                  </a:lnTo>
                  <a:lnTo>
                    <a:pt x="146" y="277"/>
                  </a:lnTo>
                  <a:lnTo>
                    <a:pt x="148" y="280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60" y="290"/>
                  </a:lnTo>
                  <a:lnTo>
                    <a:pt x="164" y="292"/>
                  </a:lnTo>
                  <a:lnTo>
                    <a:pt x="170" y="293"/>
                  </a:lnTo>
                  <a:lnTo>
                    <a:pt x="170" y="293"/>
                  </a:lnTo>
                  <a:lnTo>
                    <a:pt x="180" y="295"/>
                  </a:lnTo>
                  <a:lnTo>
                    <a:pt x="188" y="295"/>
                  </a:lnTo>
                  <a:lnTo>
                    <a:pt x="188" y="295"/>
                  </a:lnTo>
                  <a:lnTo>
                    <a:pt x="192" y="292"/>
                  </a:lnTo>
                  <a:lnTo>
                    <a:pt x="197" y="293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4" y="301"/>
                  </a:lnTo>
                  <a:lnTo>
                    <a:pt x="207" y="302"/>
                  </a:lnTo>
                  <a:lnTo>
                    <a:pt x="210" y="304"/>
                  </a:lnTo>
                  <a:lnTo>
                    <a:pt x="212" y="308"/>
                  </a:lnTo>
                  <a:lnTo>
                    <a:pt x="212" y="308"/>
                  </a:lnTo>
                  <a:lnTo>
                    <a:pt x="212" y="319"/>
                  </a:lnTo>
                  <a:lnTo>
                    <a:pt x="212" y="324"/>
                  </a:lnTo>
                  <a:lnTo>
                    <a:pt x="216" y="330"/>
                  </a:lnTo>
                  <a:lnTo>
                    <a:pt x="216" y="330"/>
                  </a:lnTo>
                  <a:lnTo>
                    <a:pt x="226" y="345"/>
                  </a:lnTo>
                  <a:lnTo>
                    <a:pt x="232" y="351"/>
                  </a:lnTo>
                  <a:lnTo>
                    <a:pt x="235" y="353"/>
                  </a:lnTo>
                  <a:lnTo>
                    <a:pt x="238" y="354"/>
                  </a:lnTo>
                  <a:lnTo>
                    <a:pt x="238" y="354"/>
                  </a:lnTo>
                  <a:lnTo>
                    <a:pt x="252" y="354"/>
                  </a:lnTo>
                  <a:lnTo>
                    <a:pt x="256" y="354"/>
                  </a:lnTo>
                  <a:lnTo>
                    <a:pt x="259" y="353"/>
                  </a:lnTo>
                  <a:lnTo>
                    <a:pt x="259" y="353"/>
                  </a:lnTo>
                  <a:lnTo>
                    <a:pt x="262" y="350"/>
                  </a:lnTo>
                  <a:lnTo>
                    <a:pt x="265" y="348"/>
                  </a:lnTo>
                  <a:lnTo>
                    <a:pt x="269" y="348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84" y="359"/>
                  </a:lnTo>
                  <a:lnTo>
                    <a:pt x="286" y="361"/>
                  </a:lnTo>
                  <a:lnTo>
                    <a:pt x="284" y="363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74" y="369"/>
                  </a:lnTo>
                  <a:lnTo>
                    <a:pt x="271" y="370"/>
                  </a:lnTo>
                  <a:lnTo>
                    <a:pt x="271" y="372"/>
                  </a:lnTo>
                  <a:lnTo>
                    <a:pt x="271" y="372"/>
                  </a:lnTo>
                  <a:lnTo>
                    <a:pt x="269" y="378"/>
                  </a:lnTo>
                  <a:lnTo>
                    <a:pt x="271" y="381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81" y="388"/>
                  </a:lnTo>
                  <a:lnTo>
                    <a:pt x="290" y="394"/>
                  </a:lnTo>
                  <a:lnTo>
                    <a:pt x="290" y="394"/>
                  </a:lnTo>
                  <a:lnTo>
                    <a:pt x="296" y="397"/>
                  </a:lnTo>
                  <a:lnTo>
                    <a:pt x="300" y="403"/>
                  </a:lnTo>
                  <a:lnTo>
                    <a:pt x="303" y="409"/>
                  </a:lnTo>
                  <a:lnTo>
                    <a:pt x="303" y="412"/>
                  </a:lnTo>
                  <a:lnTo>
                    <a:pt x="302" y="415"/>
                  </a:lnTo>
                  <a:lnTo>
                    <a:pt x="302" y="415"/>
                  </a:lnTo>
                  <a:lnTo>
                    <a:pt x="299" y="419"/>
                  </a:lnTo>
                  <a:lnTo>
                    <a:pt x="294" y="424"/>
                  </a:lnTo>
                  <a:lnTo>
                    <a:pt x="293" y="427"/>
                  </a:lnTo>
                  <a:lnTo>
                    <a:pt x="293" y="428"/>
                  </a:lnTo>
                  <a:lnTo>
                    <a:pt x="294" y="430"/>
                  </a:lnTo>
                  <a:lnTo>
                    <a:pt x="294" y="430"/>
                  </a:lnTo>
                  <a:lnTo>
                    <a:pt x="299" y="431"/>
                  </a:lnTo>
                  <a:lnTo>
                    <a:pt x="302" y="431"/>
                  </a:lnTo>
                  <a:lnTo>
                    <a:pt x="303" y="43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2" y="430"/>
                  </a:lnTo>
                  <a:lnTo>
                    <a:pt x="318" y="431"/>
                  </a:lnTo>
                  <a:lnTo>
                    <a:pt x="326" y="436"/>
                  </a:lnTo>
                  <a:lnTo>
                    <a:pt x="330" y="440"/>
                  </a:lnTo>
                  <a:lnTo>
                    <a:pt x="330" y="440"/>
                  </a:lnTo>
                  <a:lnTo>
                    <a:pt x="333" y="444"/>
                  </a:lnTo>
                  <a:lnTo>
                    <a:pt x="334" y="449"/>
                  </a:lnTo>
                  <a:lnTo>
                    <a:pt x="336" y="461"/>
                  </a:lnTo>
                  <a:lnTo>
                    <a:pt x="336" y="461"/>
                  </a:lnTo>
                  <a:lnTo>
                    <a:pt x="337" y="470"/>
                  </a:lnTo>
                  <a:lnTo>
                    <a:pt x="339" y="474"/>
                  </a:lnTo>
                  <a:lnTo>
                    <a:pt x="345" y="477"/>
                  </a:lnTo>
                  <a:lnTo>
                    <a:pt x="345" y="477"/>
                  </a:lnTo>
                  <a:lnTo>
                    <a:pt x="354" y="481"/>
                  </a:lnTo>
                  <a:lnTo>
                    <a:pt x="354" y="481"/>
                  </a:lnTo>
                  <a:lnTo>
                    <a:pt x="357" y="481"/>
                  </a:lnTo>
                  <a:lnTo>
                    <a:pt x="360" y="480"/>
                  </a:lnTo>
                  <a:lnTo>
                    <a:pt x="360" y="480"/>
                  </a:lnTo>
                  <a:lnTo>
                    <a:pt x="364" y="480"/>
                  </a:lnTo>
                  <a:lnTo>
                    <a:pt x="371" y="480"/>
                  </a:lnTo>
                  <a:lnTo>
                    <a:pt x="385" y="483"/>
                  </a:lnTo>
                  <a:lnTo>
                    <a:pt x="385" y="483"/>
                  </a:lnTo>
                  <a:lnTo>
                    <a:pt x="394" y="486"/>
                  </a:lnTo>
                  <a:lnTo>
                    <a:pt x="403" y="490"/>
                  </a:lnTo>
                  <a:lnTo>
                    <a:pt x="403" y="490"/>
                  </a:lnTo>
                  <a:lnTo>
                    <a:pt x="406" y="492"/>
                  </a:lnTo>
                  <a:lnTo>
                    <a:pt x="407" y="495"/>
                  </a:lnTo>
                  <a:lnTo>
                    <a:pt x="410" y="496"/>
                  </a:lnTo>
                  <a:lnTo>
                    <a:pt x="414" y="495"/>
                  </a:lnTo>
                  <a:lnTo>
                    <a:pt x="414" y="495"/>
                  </a:lnTo>
                  <a:lnTo>
                    <a:pt x="420" y="490"/>
                  </a:lnTo>
                  <a:lnTo>
                    <a:pt x="428" y="484"/>
                  </a:lnTo>
                  <a:lnTo>
                    <a:pt x="443" y="471"/>
                  </a:lnTo>
                  <a:lnTo>
                    <a:pt x="443" y="471"/>
                  </a:lnTo>
                  <a:lnTo>
                    <a:pt x="451" y="464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1" y="459"/>
                  </a:lnTo>
                  <a:lnTo>
                    <a:pt x="448" y="455"/>
                  </a:lnTo>
                  <a:lnTo>
                    <a:pt x="447" y="452"/>
                  </a:lnTo>
                  <a:lnTo>
                    <a:pt x="445" y="449"/>
                  </a:lnTo>
                  <a:lnTo>
                    <a:pt x="447" y="446"/>
                  </a:lnTo>
                  <a:lnTo>
                    <a:pt x="450" y="443"/>
                  </a:lnTo>
                  <a:lnTo>
                    <a:pt x="450" y="443"/>
                  </a:lnTo>
                  <a:lnTo>
                    <a:pt x="545" y="385"/>
                  </a:lnTo>
                  <a:lnTo>
                    <a:pt x="545" y="385"/>
                  </a:lnTo>
                  <a:lnTo>
                    <a:pt x="543" y="379"/>
                  </a:lnTo>
                  <a:lnTo>
                    <a:pt x="542" y="373"/>
                  </a:lnTo>
                  <a:lnTo>
                    <a:pt x="539" y="369"/>
                  </a:lnTo>
                  <a:lnTo>
                    <a:pt x="539" y="369"/>
                  </a:lnTo>
                  <a:lnTo>
                    <a:pt x="522" y="356"/>
                  </a:lnTo>
                  <a:lnTo>
                    <a:pt x="514" y="350"/>
                  </a:lnTo>
                  <a:lnTo>
                    <a:pt x="508" y="345"/>
                  </a:lnTo>
                  <a:lnTo>
                    <a:pt x="508" y="345"/>
                  </a:lnTo>
                  <a:lnTo>
                    <a:pt x="502" y="345"/>
                  </a:lnTo>
                  <a:lnTo>
                    <a:pt x="497" y="347"/>
                  </a:lnTo>
                  <a:lnTo>
                    <a:pt x="493" y="350"/>
                  </a:lnTo>
                  <a:lnTo>
                    <a:pt x="493" y="350"/>
                  </a:lnTo>
                  <a:lnTo>
                    <a:pt x="481" y="363"/>
                  </a:lnTo>
                  <a:lnTo>
                    <a:pt x="478" y="366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6"/>
                  </a:lnTo>
                  <a:lnTo>
                    <a:pt x="468" y="366"/>
                  </a:lnTo>
                  <a:lnTo>
                    <a:pt x="462" y="359"/>
                  </a:lnTo>
                  <a:lnTo>
                    <a:pt x="459" y="354"/>
                  </a:lnTo>
                  <a:lnTo>
                    <a:pt x="456" y="351"/>
                  </a:lnTo>
                  <a:lnTo>
                    <a:pt x="451" y="348"/>
                  </a:lnTo>
                  <a:lnTo>
                    <a:pt x="451" y="348"/>
                  </a:lnTo>
                  <a:lnTo>
                    <a:pt x="447" y="347"/>
                  </a:lnTo>
                  <a:lnTo>
                    <a:pt x="444" y="344"/>
                  </a:lnTo>
                  <a:lnTo>
                    <a:pt x="443" y="344"/>
                  </a:lnTo>
                  <a:lnTo>
                    <a:pt x="441" y="345"/>
                  </a:lnTo>
                  <a:lnTo>
                    <a:pt x="441" y="345"/>
                  </a:lnTo>
                  <a:lnTo>
                    <a:pt x="435" y="353"/>
                  </a:lnTo>
                  <a:lnTo>
                    <a:pt x="431" y="354"/>
                  </a:lnTo>
                  <a:lnTo>
                    <a:pt x="429" y="354"/>
                  </a:lnTo>
                  <a:lnTo>
                    <a:pt x="426" y="353"/>
                  </a:lnTo>
                  <a:lnTo>
                    <a:pt x="426" y="353"/>
                  </a:lnTo>
                  <a:lnTo>
                    <a:pt x="422" y="350"/>
                  </a:lnTo>
                  <a:lnTo>
                    <a:pt x="422" y="347"/>
                  </a:lnTo>
                  <a:lnTo>
                    <a:pt x="422" y="344"/>
                  </a:lnTo>
                  <a:lnTo>
                    <a:pt x="428" y="336"/>
                  </a:lnTo>
                  <a:lnTo>
                    <a:pt x="437" y="323"/>
                  </a:lnTo>
                  <a:lnTo>
                    <a:pt x="437" y="323"/>
                  </a:lnTo>
                  <a:lnTo>
                    <a:pt x="454" y="301"/>
                  </a:lnTo>
                  <a:lnTo>
                    <a:pt x="457" y="295"/>
                  </a:lnTo>
                  <a:lnTo>
                    <a:pt x="459" y="290"/>
                  </a:lnTo>
                  <a:lnTo>
                    <a:pt x="459" y="290"/>
                  </a:lnTo>
                  <a:lnTo>
                    <a:pt x="462" y="287"/>
                  </a:lnTo>
                  <a:lnTo>
                    <a:pt x="466" y="284"/>
                  </a:lnTo>
                  <a:lnTo>
                    <a:pt x="474" y="283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502" y="279"/>
                  </a:lnTo>
                  <a:lnTo>
                    <a:pt x="505" y="277"/>
                  </a:lnTo>
                  <a:lnTo>
                    <a:pt x="503" y="273"/>
                  </a:lnTo>
                  <a:lnTo>
                    <a:pt x="503" y="273"/>
                  </a:lnTo>
                  <a:lnTo>
                    <a:pt x="500" y="267"/>
                  </a:lnTo>
                  <a:lnTo>
                    <a:pt x="499" y="256"/>
                  </a:lnTo>
                  <a:lnTo>
                    <a:pt x="499" y="247"/>
                  </a:lnTo>
                  <a:lnTo>
                    <a:pt x="500" y="243"/>
                  </a:lnTo>
                  <a:lnTo>
                    <a:pt x="502" y="240"/>
                  </a:lnTo>
                  <a:lnTo>
                    <a:pt x="502" y="240"/>
                  </a:lnTo>
                  <a:lnTo>
                    <a:pt x="506" y="237"/>
                  </a:lnTo>
                  <a:lnTo>
                    <a:pt x="511" y="236"/>
                  </a:lnTo>
                  <a:lnTo>
                    <a:pt x="515" y="234"/>
                  </a:lnTo>
                  <a:lnTo>
                    <a:pt x="521" y="231"/>
                  </a:lnTo>
                  <a:lnTo>
                    <a:pt x="521" y="231"/>
                  </a:lnTo>
                  <a:lnTo>
                    <a:pt x="524" y="230"/>
                  </a:lnTo>
                  <a:lnTo>
                    <a:pt x="527" y="225"/>
                  </a:lnTo>
                  <a:lnTo>
                    <a:pt x="531" y="218"/>
                  </a:lnTo>
                  <a:lnTo>
                    <a:pt x="534" y="209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3" y="191"/>
                  </a:lnTo>
                  <a:lnTo>
                    <a:pt x="531" y="182"/>
                  </a:lnTo>
                  <a:lnTo>
                    <a:pt x="528" y="173"/>
                  </a:lnTo>
                  <a:lnTo>
                    <a:pt x="528" y="173"/>
                  </a:lnTo>
                  <a:lnTo>
                    <a:pt x="525" y="162"/>
                  </a:lnTo>
                  <a:lnTo>
                    <a:pt x="521" y="147"/>
                  </a:lnTo>
                  <a:lnTo>
                    <a:pt x="520" y="126"/>
                  </a:lnTo>
                  <a:lnTo>
                    <a:pt x="520" y="126"/>
                  </a:lnTo>
                  <a:lnTo>
                    <a:pt x="521" y="123"/>
                  </a:lnTo>
                  <a:lnTo>
                    <a:pt x="527" y="120"/>
                  </a:lnTo>
                  <a:lnTo>
                    <a:pt x="533" y="119"/>
                  </a:lnTo>
                  <a:lnTo>
                    <a:pt x="537" y="119"/>
                  </a:lnTo>
                  <a:lnTo>
                    <a:pt x="537" y="119"/>
                  </a:lnTo>
                  <a:lnTo>
                    <a:pt x="540" y="123"/>
                  </a:lnTo>
                  <a:lnTo>
                    <a:pt x="543" y="127"/>
                  </a:lnTo>
                  <a:lnTo>
                    <a:pt x="548" y="133"/>
                  </a:lnTo>
                  <a:lnTo>
                    <a:pt x="554" y="141"/>
                  </a:lnTo>
                  <a:lnTo>
                    <a:pt x="554" y="141"/>
                  </a:lnTo>
                  <a:lnTo>
                    <a:pt x="561" y="147"/>
                  </a:lnTo>
                  <a:lnTo>
                    <a:pt x="568" y="153"/>
                  </a:lnTo>
                  <a:lnTo>
                    <a:pt x="580" y="163"/>
                  </a:lnTo>
                  <a:lnTo>
                    <a:pt x="580" y="163"/>
                  </a:lnTo>
                  <a:lnTo>
                    <a:pt x="589" y="170"/>
                  </a:lnTo>
                  <a:lnTo>
                    <a:pt x="598" y="181"/>
                  </a:lnTo>
                  <a:lnTo>
                    <a:pt x="611" y="197"/>
                  </a:lnTo>
                  <a:lnTo>
                    <a:pt x="611" y="197"/>
                  </a:lnTo>
                  <a:lnTo>
                    <a:pt x="614" y="202"/>
                  </a:lnTo>
                  <a:lnTo>
                    <a:pt x="616" y="203"/>
                  </a:lnTo>
                  <a:lnTo>
                    <a:pt x="616" y="206"/>
                  </a:lnTo>
                  <a:lnTo>
                    <a:pt x="614" y="210"/>
                  </a:lnTo>
                  <a:lnTo>
                    <a:pt x="614" y="210"/>
                  </a:lnTo>
                  <a:lnTo>
                    <a:pt x="611" y="215"/>
                  </a:lnTo>
                  <a:lnTo>
                    <a:pt x="613" y="218"/>
                  </a:lnTo>
                  <a:lnTo>
                    <a:pt x="614" y="221"/>
                  </a:lnTo>
                  <a:lnTo>
                    <a:pt x="619" y="224"/>
                  </a:lnTo>
                  <a:lnTo>
                    <a:pt x="619" y="224"/>
                  </a:lnTo>
                  <a:lnTo>
                    <a:pt x="622" y="224"/>
                  </a:lnTo>
                  <a:lnTo>
                    <a:pt x="625" y="224"/>
                  </a:lnTo>
                  <a:lnTo>
                    <a:pt x="628" y="222"/>
                  </a:lnTo>
                  <a:lnTo>
                    <a:pt x="632" y="224"/>
                  </a:lnTo>
                  <a:lnTo>
                    <a:pt x="632" y="224"/>
                  </a:lnTo>
                  <a:lnTo>
                    <a:pt x="637" y="227"/>
                  </a:lnTo>
                  <a:lnTo>
                    <a:pt x="641" y="230"/>
                  </a:lnTo>
                  <a:lnTo>
                    <a:pt x="642" y="233"/>
                  </a:lnTo>
                  <a:lnTo>
                    <a:pt x="647" y="234"/>
                  </a:lnTo>
                  <a:lnTo>
                    <a:pt x="647" y="234"/>
                  </a:lnTo>
                  <a:lnTo>
                    <a:pt x="648" y="234"/>
                  </a:lnTo>
                  <a:lnTo>
                    <a:pt x="650" y="234"/>
                  </a:lnTo>
                  <a:lnTo>
                    <a:pt x="651" y="231"/>
                  </a:lnTo>
                  <a:lnTo>
                    <a:pt x="653" y="228"/>
                  </a:lnTo>
                  <a:lnTo>
                    <a:pt x="656" y="227"/>
                  </a:lnTo>
                  <a:lnTo>
                    <a:pt x="656" y="227"/>
                  </a:lnTo>
                  <a:lnTo>
                    <a:pt x="659" y="227"/>
                  </a:lnTo>
                  <a:lnTo>
                    <a:pt x="663" y="227"/>
                  </a:lnTo>
                  <a:lnTo>
                    <a:pt x="669" y="233"/>
                  </a:lnTo>
                  <a:lnTo>
                    <a:pt x="669" y="233"/>
                  </a:lnTo>
                  <a:lnTo>
                    <a:pt x="674" y="239"/>
                  </a:lnTo>
                  <a:lnTo>
                    <a:pt x="676" y="242"/>
                  </a:lnTo>
                  <a:lnTo>
                    <a:pt x="679" y="243"/>
                  </a:lnTo>
                  <a:lnTo>
                    <a:pt x="679" y="243"/>
                  </a:lnTo>
                  <a:lnTo>
                    <a:pt x="682" y="242"/>
                  </a:lnTo>
                  <a:lnTo>
                    <a:pt x="687" y="240"/>
                  </a:lnTo>
                  <a:lnTo>
                    <a:pt x="690" y="239"/>
                  </a:lnTo>
                  <a:lnTo>
                    <a:pt x="693" y="240"/>
                  </a:lnTo>
                  <a:lnTo>
                    <a:pt x="693" y="240"/>
                  </a:lnTo>
                  <a:lnTo>
                    <a:pt x="699" y="249"/>
                  </a:lnTo>
                  <a:lnTo>
                    <a:pt x="702" y="253"/>
                  </a:lnTo>
                  <a:lnTo>
                    <a:pt x="706" y="258"/>
                  </a:lnTo>
                  <a:lnTo>
                    <a:pt x="706" y="258"/>
                  </a:lnTo>
                  <a:lnTo>
                    <a:pt x="712" y="261"/>
                  </a:lnTo>
                  <a:lnTo>
                    <a:pt x="718" y="262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7" y="261"/>
                  </a:lnTo>
                  <a:lnTo>
                    <a:pt x="730" y="256"/>
                  </a:lnTo>
                  <a:lnTo>
                    <a:pt x="731" y="253"/>
                  </a:lnTo>
                  <a:lnTo>
                    <a:pt x="731" y="253"/>
                  </a:lnTo>
                  <a:lnTo>
                    <a:pt x="730" y="228"/>
                  </a:lnTo>
                  <a:lnTo>
                    <a:pt x="730" y="228"/>
                  </a:lnTo>
                  <a:lnTo>
                    <a:pt x="730" y="221"/>
                  </a:lnTo>
                  <a:lnTo>
                    <a:pt x="733" y="213"/>
                  </a:lnTo>
                  <a:lnTo>
                    <a:pt x="737" y="200"/>
                  </a:lnTo>
                  <a:lnTo>
                    <a:pt x="737" y="200"/>
                  </a:lnTo>
                  <a:lnTo>
                    <a:pt x="742" y="190"/>
                  </a:lnTo>
                  <a:lnTo>
                    <a:pt x="743" y="182"/>
                  </a:lnTo>
                  <a:lnTo>
                    <a:pt x="743" y="179"/>
                  </a:lnTo>
                  <a:lnTo>
                    <a:pt x="742" y="176"/>
                  </a:lnTo>
                  <a:lnTo>
                    <a:pt x="742" y="176"/>
                  </a:lnTo>
                  <a:lnTo>
                    <a:pt x="739" y="173"/>
                  </a:lnTo>
                  <a:lnTo>
                    <a:pt x="734" y="173"/>
                  </a:lnTo>
                  <a:lnTo>
                    <a:pt x="731" y="172"/>
                  </a:lnTo>
                  <a:lnTo>
                    <a:pt x="728" y="170"/>
                  </a:lnTo>
                  <a:lnTo>
                    <a:pt x="728" y="170"/>
                  </a:lnTo>
                  <a:lnTo>
                    <a:pt x="728" y="166"/>
                  </a:lnTo>
                  <a:lnTo>
                    <a:pt x="728" y="160"/>
                  </a:lnTo>
                  <a:lnTo>
                    <a:pt x="731" y="156"/>
                  </a:lnTo>
                  <a:lnTo>
                    <a:pt x="734" y="153"/>
                  </a:lnTo>
                  <a:lnTo>
                    <a:pt x="734" y="153"/>
                  </a:lnTo>
                  <a:lnTo>
                    <a:pt x="745" y="142"/>
                  </a:lnTo>
                  <a:lnTo>
                    <a:pt x="765" y="123"/>
                  </a:lnTo>
                  <a:lnTo>
                    <a:pt x="793" y="96"/>
                  </a:lnTo>
                  <a:lnTo>
                    <a:pt x="793" y="96"/>
                  </a:lnTo>
                  <a:lnTo>
                    <a:pt x="801" y="95"/>
                  </a:lnTo>
                  <a:lnTo>
                    <a:pt x="808" y="95"/>
                  </a:lnTo>
                  <a:lnTo>
                    <a:pt x="819" y="98"/>
                  </a:lnTo>
                  <a:lnTo>
                    <a:pt x="819" y="98"/>
                  </a:lnTo>
                  <a:lnTo>
                    <a:pt x="829" y="101"/>
                  </a:lnTo>
                  <a:lnTo>
                    <a:pt x="838" y="104"/>
                  </a:lnTo>
                  <a:lnTo>
                    <a:pt x="848" y="108"/>
                  </a:lnTo>
                  <a:lnTo>
                    <a:pt x="860" y="110"/>
                  </a:lnTo>
                  <a:lnTo>
                    <a:pt x="860" y="110"/>
                  </a:lnTo>
                  <a:lnTo>
                    <a:pt x="887" y="114"/>
                  </a:lnTo>
                  <a:lnTo>
                    <a:pt x="907" y="116"/>
                  </a:lnTo>
                  <a:lnTo>
                    <a:pt x="907" y="116"/>
                  </a:lnTo>
                  <a:lnTo>
                    <a:pt x="924" y="119"/>
                  </a:lnTo>
                  <a:lnTo>
                    <a:pt x="930" y="119"/>
                  </a:lnTo>
                  <a:lnTo>
                    <a:pt x="936" y="117"/>
                  </a:lnTo>
                  <a:lnTo>
                    <a:pt x="936" y="117"/>
                  </a:lnTo>
                  <a:lnTo>
                    <a:pt x="942" y="116"/>
                  </a:lnTo>
                  <a:lnTo>
                    <a:pt x="947" y="116"/>
                  </a:lnTo>
                  <a:lnTo>
                    <a:pt x="958" y="116"/>
                  </a:lnTo>
                  <a:lnTo>
                    <a:pt x="958" y="116"/>
                  </a:lnTo>
                  <a:lnTo>
                    <a:pt x="965" y="116"/>
                  </a:lnTo>
                  <a:lnTo>
                    <a:pt x="970" y="117"/>
                  </a:lnTo>
                  <a:lnTo>
                    <a:pt x="973" y="119"/>
                  </a:lnTo>
                  <a:lnTo>
                    <a:pt x="973" y="119"/>
                  </a:lnTo>
                  <a:lnTo>
                    <a:pt x="989" y="141"/>
                  </a:lnTo>
                  <a:lnTo>
                    <a:pt x="1001" y="157"/>
                  </a:lnTo>
                  <a:lnTo>
                    <a:pt x="1013" y="170"/>
                  </a:lnTo>
                  <a:lnTo>
                    <a:pt x="1013" y="170"/>
                  </a:lnTo>
                  <a:lnTo>
                    <a:pt x="1054" y="204"/>
                  </a:lnTo>
                  <a:lnTo>
                    <a:pt x="1103" y="243"/>
                  </a:lnTo>
                  <a:lnTo>
                    <a:pt x="1103" y="243"/>
                  </a:lnTo>
                  <a:lnTo>
                    <a:pt x="1137" y="270"/>
                  </a:lnTo>
                  <a:lnTo>
                    <a:pt x="1170" y="296"/>
                  </a:lnTo>
                  <a:lnTo>
                    <a:pt x="1170" y="296"/>
                  </a:lnTo>
                  <a:lnTo>
                    <a:pt x="1187" y="308"/>
                  </a:lnTo>
                  <a:lnTo>
                    <a:pt x="1207" y="321"/>
                  </a:lnTo>
                  <a:lnTo>
                    <a:pt x="1241" y="345"/>
                  </a:lnTo>
                  <a:lnTo>
                    <a:pt x="1241" y="345"/>
                  </a:lnTo>
                  <a:lnTo>
                    <a:pt x="1263" y="361"/>
                  </a:lnTo>
                  <a:lnTo>
                    <a:pt x="1276" y="370"/>
                  </a:lnTo>
                  <a:lnTo>
                    <a:pt x="1276" y="370"/>
                  </a:lnTo>
                  <a:lnTo>
                    <a:pt x="1285" y="373"/>
                  </a:lnTo>
                  <a:lnTo>
                    <a:pt x="1298" y="375"/>
                  </a:lnTo>
                  <a:lnTo>
                    <a:pt x="1322" y="376"/>
                  </a:lnTo>
                  <a:lnTo>
                    <a:pt x="1322" y="376"/>
                  </a:lnTo>
                  <a:lnTo>
                    <a:pt x="1341" y="376"/>
                  </a:lnTo>
                  <a:lnTo>
                    <a:pt x="1349" y="376"/>
                  </a:lnTo>
                  <a:lnTo>
                    <a:pt x="1352" y="375"/>
                  </a:lnTo>
                  <a:lnTo>
                    <a:pt x="1353" y="373"/>
                  </a:lnTo>
                  <a:lnTo>
                    <a:pt x="1353" y="373"/>
                  </a:lnTo>
                  <a:lnTo>
                    <a:pt x="1358" y="364"/>
                  </a:lnTo>
                  <a:lnTo>
                    <a:pt x="1361" y="360"/>
                  </a:lnTo>
                  <a:lnTo>
                    <a:pt x="1365" y="357"/>
                  </a:lnTo>
                  <a:lnTo>
                    <a:pt x="1365" y="357"/>
                  </a:lnTo>
                  <a:lnTo>
                    <a:pt x="1371" y="354"/>
                  </a:lnTo>
                  <a:lnTo>
                    <a:pt x="1377" y="353"/>
                  </a:lnTo>
                  <a:lnTo>
                    <a:pt x="1383" y="351"/>
                  </a:lnTo>
                  <a:lnTo>
                    <a:pt x="1390" y="351"/>
                  </a:lnTo>
                  <a:lnTo>
                    <a:pt x="1390" y="351"/>
                  </a:lnTo>
                  <a:lnTo>
                    <a:pt x="1402" y="354"/>
                  </a:lnTo>
                  <a:lnTo>
                    <a:pt x="1408" y="354"/>
                  </a:lnTo>
                  <a:lnTo>
                    <a:pt x="1412" y="351"/>
                  </a:lnTo>
                  <a:lnTo>
                    <a:pt x="1412" y="351"/>
                  </a:lnTo>
                  <a:lnTo>
                    <a:pt x="1415" y="348"/>
                  </a:lnTo>
                  <a:lnTo>
                    <a:pt x="1415" y="345"/>
                  </a:lnTo>
                  <a:lnTo>
                    <a:pt x="1415" y="342"/>
                  </a:lnTo>
                  <a:lnTo>
                    <a:pt x="1417" y="339"/>
                  </a:lnTo>
                  <a:lnTo>
                    <a:pt x="1421" y="338"/>
                  </a:lnTo>
                  <a:lnTo>
                    <a:pt x="1421" y="338"/>
                  </a:lnTo>
                  <a:lnTo>
                    <a:pt x="1444" y="336"/>
                  </a:lnTo>
                  <a:lnTo>
                    <a:pt x="1458" y="335"/>
                  </a:lnTo>
                  <a:lnTo>
                    <a:pt x="1458" y="335"/>
                  </a:lnTo>
                  <a:lnTo>
                    <a:pt x="1463" y="332"/>
                  </a:lnTo>
                  <a:lnTo>
                    <a:pt x="1467" y="326"/>
                  </a:lnTo>
                  <a:lnTo>
                    <a:pt x="1467" y="326"/>
                  </a:lnTo>
                  <a:lnTo>
                    <a:pt x="1470" y="323"/>
                  </a:lnTo>
                  <a:lnTo>
                    <a:pt x="1476" y="321"/>
                  </a:lnTo>
                  <a:lnTo>
                    <a:pt x="1482" y="321"/>
                  </a:lnTo>
                  <a:lnTo>
                    <a:pt x="1488" y="323"/>
                  </a:lnTo>
                  <a:lnTo>
                    <a:pt x="1488" y="323"/>
                  </a:lnTo>
                  <a:lnTo>
                    <a:pt x="1504" y="333"/>
                  </a:lnTo>
                  <a:lnTo>
                    <a:pt x="1504" y="333"/>
                  </a:lnTo>
                  <a:lnTo>
                    <a:pt x="1510" y="336"/>
                  </a:lnTo>
                  <a:lnTo>
                    <a:pt x="1510" y="336"/>
                  </a:lnTo>
                  <a:lnTo>
                    <a:pt x="1516" y="336"/>
                  </a:lnTo>
                  <a:lnTo>
                    <a:pt x="1519" y="333"/>
                  </a:lnTo>
                  <a:lnTo>
                    <a:pt x="1519" y="333"/>
                  </a:lnTo>
                  <a:lnTo>
                    <a:pt x="1522" y="329"/>
                  </a:lnTo>
                  <a:lnTo>
                    <a:pt x="1523" y="326"/>
                  </a:lnTo>
                  <a:lnTo>
                    <a:pt x="1521" y="323"/>
                  </a:lnTo>
                  <a:lnTo>
                    <a:pt x="1521" y="323"/>
                  </a:lnTo>
                  <a:lnTo>
                    <a:pt x="1518" y="319"/>
                  </a:lnTo>
                  <a:lnTo>
                    <a:pt x="1518" y="314"/>
                  </a:lnTo>
                  <a:lnTo>
                    <a:pt x="1518" y="304"/>
                  </a:lnTo>
                  <a:lnTo>
                    <a:pt x="1518" y="304"/>
                  </a:lnTo>
                  <a:lnTo>
                    <a:pt x="1518" y="301"/>
                  </a:lnTo>
                  <a:lnTo>
                    <a:pt x="1516" y="296"/>
                  </a:lnTo>
                  <a:lnTo>
                    <a:pt x="1515" y="292"/>
                  </a:lnTo>
                  <a:lnTo>
                    <a:pt x="1510" y="287"/>
                  </a:lnTo>
                  <a:lnTo>
                    <a:pt x="1510" y="287"/>
                  </a:lnTo>
                  <a:lnTo>
                    <a:pt x="1506" y="282"/>
                  </a:lnTo>
                  <a:lnTo>
                    <a:pt x="1501" y="277"/>
                  </a:lnTo>
                  <a:lnTo>
                    <a:pt x="1500" y="274"/>
                  </a:lnTo>
                  <a:lnTo>
                    <a:pt x="1500" y="271"/>
                  </a:lnTo>
                  <a:lnTo>
                    <a:pt x="1501" y="268"/>
                  </a:lnTo>
                  <a:lnTo>
                    <a:pt x="1504" y="267"/>
                  </a:lnTo>
                  <a:lnTo>
                    <a:pt x="1504" y="267"/>
                  </a:lnTo>
                  <a:lnTo>
                    <a:pt x="1513" y="261"/>
                  </a:lnTo>
                  <a:lnTo>
                    <a:pt x="1523" y="258"/>
                  </a:lnTo>
                  <a:lnTo>
                    <a:pt x="1532" y="255"/>
                  </a:lnTo>
                  <a:lnTo>
                    <a:pt x="1538" y="255"/>
                  </a:lnTo>
                  <a:lnTo>
                    <a:pt x="1538" y="255"/>
                  </a:lnTo>
                  <a:lnTo>
                    <a:pt x="1547" y="25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3" name="Freeform 182">
              <a:extLst>
                <a:ext uri="{FF2B5EF4-FFF2-40B4-BE49-F238E27FC236}">
                  <a16:creationId xmlns:a16="http://schemas.microsoft.com/office/drawing/2014/main" id="{798C276D-D2B9-494E-90C1-F18038BC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3457575"/>
              <a:ext cx="28575" cy="133350"/>
            </a:xfrm>
            <a:custGeom>
              <a:avLst/>
              <a:gdLst>
                <a:gd name="T0" fmla="*/ 18 w 18"/>
                <a:gd name="T1" fmla="*/ 84 h 84"/>
                <a:gd name="T2" fmla="*/ 18 w 18"/>
                <a:gd name="T3" fmla="*/ 84 h 84"/>
                <a:gd name="T4" fmla="*/ 11 w 18"/>
                <a:gd name="T5" fmla="*/ 49 h 84"/>
                <a:gd name="T6" fmla="*/ 11 w 18"/>
                <a:gd name="T7" fmla="*/ 49 h 84"/>
                <a:gd name="T8" fmla="*/ 9 w 18"/>
                <a:gd name="T9" fmla="*/ 49 h 84"/>
                <a:gd name="T10" fmla="*/ 8 w 18"/>
                <a:gd name="T11" fmla="*/ 47 h 84"/>
                <a:gd name="T12" fmla="*/ 5 w 18"/>
                <a:gd name="T13" fmla="*/ 44 h 84"/>
                <a:gd name="T14" fmla="*/ 2 w 18"/>
                <a:gd name="T15" fmla="*/ 41 h 84"/>
                <a:gd name="T16" fmla="*/ 2 w 18"/>
                <a:gd name="T17" fmla="*/ 41 h 84"/>
                <a:gd name="T18" fmla="*/ 0 w 18"/>
                <a:gd name="T19" fmla="*/ 37 h 84"/>
                <a:gd name="T20" fmla="*/ 2 w 18"/>
                <a:gd name="T21" fmla="*/ 34 h 84"/>
                <a:gd name="T22" fmla="*/ 8 w 18"/>
                <a:gd name="T23" fmla="*/ 24 h 84"/>
                <a:gd name="T24" fmla="*/ 8 w 18"/>
                <a:gd name="T25" fmla="*/ 24 h 84"/>
                <a:gd name="T26" fmla="*/ 11 w 18"/>
                <a:gd name="T27" fmla="*/ 16 h 84"/>
                <a:gd name="T28" fmla="*/ 11 w 18"/>
                <a:gd name="T29" fmla="*/ 10 h 84"/>
                <a:gd name="T30" fmla="*/ 11 w 18"/>
                <a:gd name="T3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84">
                  <a:moveTo>
                    <a:pt x="18" y="84"/>
                  </a:moveTo>
                  <a:lnTo>
                    <a:pt x="18" y="84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9" y="49"/>
                  </a:lnTo>
                  <a:lnTo>
                    <a:pt x="8" y="47"/>
                  </a:lnTo>
                  <a:lnTo>
                    <a:pt x="5" y="44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1" y="16"/>
                  </a:lnTo>
                  <a:lnTo>
                    <a:pt x="11" y="10"/>
                  </a:lnTo>
                  <a:lnTo>
                    <a:pt x="11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4" name="Freeform 183">
              <a:extLst>
                <a:ext uri="{FF2B5EF4-FFF2-40B4-BE49-F238E27FC236}">
                  <a16:creationId xmlns:a16="http://schemas.microsoft.com/office/drawing/2014/main" id="{6E7C5FFD-D2F2-A847-A473-E03CBBCB1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963" y="3732213"/>
              <a:ext cx="652463" cy="331787"/>
            </a:xfrm>
            <a:custGeom>
              <a:avLst/>
              <a:gdLst>
                <a:gd name="T0" fmla="*/ 405 w 411"/>
                <a:gd name="T1" fmla="*/ 3 h 209"/>
                <a:gd name="T2" fmla="*/ 395 w 411"/>
                <a:gd name="T3" fmla="*/ 11 h 209"/>
                <a:gd name="T4" fmla="*/ 379 w 411"/>
                <a:gd name="T5" fmla="*/ 21 h 209"/>
                <a:gd name="T6" fmla="*/ 376 w 411"/>
                <a:gd name="T7" fmla="*/ 21 h 209"/>
                <a:gd name="T8" fmla="*/ 365 w 411"/>
                <a:gd name="T9" fmla="*/ 14 h 209"/>
                <a:gd name="T10" fmla="*/ 355 w 411"/>
                <a:gd name="T11" fmla="*/ 2 h 209"/>
                <a:gd name="T12" fmla="*/ 353 w 411"/>
                <a:gd name="T13" fmla="*/ 0 h 209"/>
                <a:gd name="T14" fmla="*/ 349 w 411"/>
                <a:gd name="T15" fmla="*/ 12 h 209"/>
                <a:gd name="T16" fmla="*/ 345 w 411"/>
                <a:gd name="T17" fmla="*/ 20 h 209"/>
                <a:gd name="T18" fmla="*/ 330 w 411"/>
                <a:gd name="T19" fmla="*/ 34 h 209"/>
                <a:gd name="T20" fmla="*/ 321 w 411"/>
                <a:gd name="T21" fmla="*/ 40 h 209"/>
                <a:gd name="T22" fmla="*/ 306 w 411"/>
                <a:gd name="T23" fmla="*/ 46 h 209"/>
                <a:gd name="T24" fmla="*/ 297 w 411"/>
                <a:gd name="T25" fmla="*/ 55 h 209"/>
                <a:gd name="T26" fmla="*/ 294 w 411"/>
                <a:gd name="T27" fmla="*/ 65 h 209"/>
                <a:gd name="T28" fmla="*/ 294 w 411"/>
                <a:gd name="T29" fmla="*/ 95 h 209"/>
                <a:gd name="T30" fmla="*/ 294 w 411"/>
                <a:gd name="T31" fmla="*/ 104 h 209"/>
                <a:gd name="T32" fmla="*/ 300 w 411"/>
                <a:gd name="T33" fmla="*/ 110 h 209"/>
                <a:gd name="T34" fmla="*/ 308 w 411"/>
                <a:gd name="T35" fmla="*/ 120 h 209"/>
                <a:gd name="T36" fmla="*/ 309 w 411"/>
                <a:gd name="T37" fmla="*/ 123 h 209"/>
                <a:gd name="T38" fmla="*/ 305 w 411"/>
                <a:gd name="T39" fmla="*/ 134 h 209"/>
                <a:gd name="T40" fmla="*/ 291 w 411"/>
                <a:gd name="T41" fmla="*/ 145 h 209"/>
                <a:gd name="T42" fmla="*/ 285 w 411"/>
                <a:gd name="T43" fmla="*/ 147 h 209"/>
                <a:gd name="T44" fmla="*/ 282 w 411"/>
                <a:gd name="T45" fmla="*/ 145 h 209"/>
                <a:gd name="T46" fmla="*/ 275 w 411"/>
                <a:gd name="T47" fmla="*/ 150 h 209"/>
                <a:gd name="T48" fmla="*/ 271 w 411"/>
                <a:gd name="T49" fmla="*/ 153 h 209"/>
                <a:gd name="T50" fmla="*/ 269 w 411"/>
                <a:gd name="T51" fmla="*/ 160 h 209"/>
                <a:gd name="T52" fmla="*/ 271 w 411"/>
                <a:gd name="T53" fmla="*/ 169 h 209"/>
                <a:gd name="T54" fmla="*/ 269 w 411"/>
                <a:gd name="T55" fmla="*/ 174 h 209"/>
                <a:gd name="T56" fmla="*/ 254 w 411"/>
                <a:gd name="T57" fmla="*/ 188 h 209"/>
                <a:gd name="T58" fmla="*/ 250 w 411"/>
                <a:gd name="T59" fmla="*/ 191 h 209"/>
                <a:gd name="T60" fmla="*/ 229 w 411"/>
                <a:gd name="T61" fmla="*/ 199 h 209"/>
                <a:gd name="T62" fmla="*/ 216 w 411"/>
                <a:gd name="T63" fmla="*/ 205 h 209"/>
                <a:gd name="T64" fmla="*/ 208 w 411"/>
                <a:gd name="T65" fmla="*/ 209 h 209"/>
                <a:gd name="T66" fmla="*/ 202 w 411"/>
                <a:gd name="T67" fmla="*/ 187 h 209"/>
                <a:gd name="T68" fmla="*/ 201 w 411"/>
                <a:gd name="T69" fmla="*/ 177 h 209"/>
                <a:gd name="T70" fmla="*/ 198 w 411"/>
                <a:gd name="T71" fmla="*/ 169 h 209"/>
                <a:gd name="T72" fmla="*/ 183 w 411"/>
                <a:gd name="T73" fmla="*/ 153 h 209"/>
                <a:gd name="T74" fmla="*/ 131 w 411"/>
                <a:gd name="T75" fmla="*/ 138 h 209"/>
                <a:gd name="T76" fmla="*/ 121 w 411"/>
                <a:gd name="T77" fmla="*/ 129 h 209"/>
                <a:gd name="T78" fmla="*/ 118 w 411"/>
                <a:gd name="T79" fmla="*/ 123 h 209"/>
                <a:gd name="T80" fmla="*/ 117 w 411"/>
                <a:gd name="T81" fmla="*/ 113 h 209"/>
                <a:gd name="T82" fmla="*/ 118 w 411"/>
                <a:gd name="T83" fmla="*/ 102 h 209"/>
                <a:gd name="T84" fmla="*/ 118 w 411"/>
                <a:gd name="T85" fmla="*/ 92 h 209"/>
                <a:gd name="T86" fmla="*/ 112 w 411"/>
                <a:gd name="T87" fmla="*/ 85 h 209"/>
                <a:gd name="T88" fmla="*/ 106 w 411"/>
                <a:gd name="T89" fmla="*/ 83 h 209"/>
                <a:gd name="T90" fmla="*/ 90 w 411"/>
                <a:gd name="T91" fmla="*/ 88 h 209"/>
                <a:gd name="T92" fmla="*/ 88 w 411"/>
                <a:gd name="T93" fmla="*/ 88 h 209"/>
                <a:gd name="T94" fmla="*/ 84 w 411"/>
                <a:gd name="T95" fmla="*/ 83 h 209"/>
                <a:gd name="T96" fmla="*/ 81 w 411"/>
                <a:gd name="T97" fmla="*/ 70 h 209"/>
                <a:gd name="T98" fmla="*/ 79 w 411"/>
                <a:gd name="T99" fmla="*/ 61 h 209"/>
                <a:gd name="T100" fmla="*/ 71 w 411"/>
                <a:gd name="T101" fmla="*/ 52 h 209"/>
                <a:gd name="T102" fmla="*/ 63 w 411"/>
                <a:gd name="T103" fmla="*/ 49 h 209"/>
                <a:gd name="T104" fmla="*/ 54 w 411"/>
                <a:gd name="T105" fmla="*/ 51 h 209"/>
                <a:gd name="T106" fmla="*/ 51 w 411"/>
                <a:gd name="T107" fmla="*/ 58 h 209"/>
                <a:gd name="T108" fmla="*/ 51 w 411"/>
                <a:gd name="T109" fmla="*/ 60 h 209"/>
                <a:gd name="T110" fmla="*/ 47 w 411"/>
                <a:gd name="T111" fmla="*/ 58 h 209"/>
                <a:gd name="T112" fmla="*/ 38 w 411"/>
                <a:gd name="T113" fmla="*/ 51 h 209"/>
                <a:gd name="T114" fmla="*/ 32 w 411"/>
                <a:gd name="T115" fmla="*/ 49 h 209"/>
                <a:gd name="T116" fmla="*/ 25 w 411"/>
                <a:gd name="T117" fmla="*/ 51 h 209"/>
                <a:gd name="T118" fmla="*/ 17 w 411"/>
                <a:gd name="T119" fmla="*/ 49 h 209"/>
                <a:gd name="T120" fmla="*/ 0 w 411"/>
                <a:gd name="T121" fmla="*/ 4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1" h="209">
                  <a:moveTo>
                    <a:pt x="411" y="3"/>
                  </a:moveTo>
                  <a:lnTo>
                    <a:pt x="405" y="3"/>
                  </a:lnTo>
                  <a:lnTo>
                    <a:pt x="405" y="3"/>
                  </a:lnTo>
                  <a:lnTo>
                    <a:pt x="395" y="11"/>
                  </a:lnTo>
                  <a:lnTo>
                    <a:pt x="387" y="17"/>
                  </a:lnTo>
                  <a:lnTo>
                    <a:pt x="379" y="21"/>
                  </a:lnTo>
                  <a:lnTo>
                    <a:pt x="379" y="21"/>
                  </a:lnTo>
                  <a:lnTo>
                    <a:pt x="376" y="21"/>
                  </a:lnTo>
                  <a:lnTo>
                    <a:pt x="373" y="20"/>
                  </a:lnTo>
                  <a:lnTo>
                    <a:pt x="365" y="14"/>
                  </a:lnTo>
                  <a:lnTo>
                    <a:pt x="359" y="6"/>
                  </a:lnTo>
                  <a:lnTo>
                    <a:pt x="355" y="2"/>
                  </a:lnTo>
                  <a:lnTo>
                    <a:pt x="355" y="2"/>
                  </a:lnTo>
                  <a:lnTo>
                    <a:pt x="353" y="0"/>
                  </a:lnTo>
                  <a:lnTo>
                    <a:pt x="352" y="2"/>
                  </a:lnTo>
                  <a:lnTo>
                    <a:pt x="349" y="12"/>
                  </a:lnTo>
                  <a:lnTo>
                    <a:pt x="349" y="12"/>
                  </a:lnTo>
                  <a:lnTo>
                    <a:pt x="345" y="20"/>
                  </a:lnTo>
                  <a:lnTo>
                    <a:pt x="337" y="27"/>
                  </a:lnTo>
                  <a:lnTo>
                    <a:pt x="330" y="34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13" y="45"/>
                  </a:lnTo>
                  <a:lnTo>
                    <a:pt x="306" y="46"/>
                  </a:lnTo>
                  <a:lnTo>
                    <a:pt x="302" y="51"/>
                  </a:lnTo>
                  <a:lnTo>
                    <a:pt x="297" y="55"/>
                  </a:lnTo>
                  <a:lnTo>
                    <a:pt x="297" y="55"/>
                  </a:lnTo>
                  <a:lnTo>
                    <a:pt x="294" y="65"/>
                  </a:lnTo>
                  <a:lnTo>
                    <a:pt x="294" y="80"/>
                  </a:lnTo>
                  <a:lnTo>
                    <a:pt x="294" y="95"/>
                  </a:lnTo>
                  <a:lnTo>
                    <a:pt x="294" y="104"/>
                  </a:lnTo>
                  <a:lnTo>
                    <a:pt x="294" y="104"/>
                  </a:lnTo>
                  <a:lnTo>
                    <a:pt x="297" y="107"/>
                  </a:lnTo>
                  <a:lnTo>
                    <a:pt x="300" y="110"/>
                  </a:lnTo>
                  <a:lnTo>
                    <a:pt x="305" y="114"/>
                  </a:lnTo>
                  <a:lnTo>
                    <a:pt x="308" y="120"/>
                  </a:lnTo>
                  <a:lnTo>
                    <a:pt x="308" y="120"/>
                  </a:lnTo>
                  <a:lnTo>
                    <a:pt x="309" y="123"/>
                  </a:lnTo>
                  <a:lnTo>
                    <a:pt x="308" y="128"/>
                  </a:lnTo>
                  <a:lnTo>
                    <a:pt x="305" y="134"/>
                  </a:lnTo>
                  <a:lnTo>
                    <a:pt x="300" y="138"/>
                  </a:lnTo>
                  <a:lnTo>
                    <a:pt x="291" y="145"/>
                  </a:lnTo>
                  <a:lnTo>
                    <a:pt x="287" y="147"/>
                  </a:lnTo>
                  <a:lnTo>
                    <a:pt x="285" y="147"/>
                  </a:lnTo>
                  <a:lnTo>
                    <a:pt x="285" y="147"/>
                  </a:lnTo>
                  <a:lnTo>
                    <a:pt x="282" y="145"/>
                  </a:lnTo>
                  <a:lnTo>
                    <a:pt x="278" y="147"/>
                  </a:lnTo>
                  <a:lnTo>
                    <a:pt x="275" y="150"/>
                  </a:lnTo>
                  <a:lnTo>
                    <a:pt x="271" y="153"/>
                  </a:lnTo>
                  <a:lnTo>
                    <a:pt x="271" y="153"/>
                  </a:lnTo>
                  <a:lnTo>
                    <a:pt x="269" y="157"/>
                  </a:lnTo>
                  <a:lnTo>
                    <a:pt x="269" y="160"/>
                  </a:lnTo>
                  <a:lnTo>
                    <a:pt x="271" y="169"/>
                  </a:lnTo>
                  <a:lnTo>
                    <a:pt x="271" y="169"/>
                  </a:lnTo>
                  <a:lnTo>
                    <a:pt x="271" y="172"/>
                  </a:lnTo>
                  <a:lnTo>
                    <a:pt x="269" y="174"/>
                  </a:lnTo>
                  <a:lnTo>
                    <a:pt x="265" y="179"/>
                  </a:lnTo>
                  <a:lnTo>
                    <a:pt x="254" y="188"/>
                  </a:lnTo>
                  <a:lnTo>
                    <a:pt x="254" y="188"/>
                  </a:lnTo>
                  <a:lnTo>
                    <a:pt x="250" y="191"/>
                  </a:lnTo>
                  <a:lnTo>
                    <a:pt x="242" y="194"/>
                  </a:lnTo>
                  <a:lnTo>
                    <a:pt x="229" y="199"/>
                  </a:lnTo>
                  <a:lnTo>
                    <a:pt x="229" y="199"/>
                  </a:lnTo>
                  <a:lnTo>
                    <a:pt x="216" y="205"/>
                  </a:lnTo>
                  <a:lnTo>
                    <a:pt x="208" y="209"/>
                  </a:lnTo>
                  <a:lnTo>
                    <a:pt x="208" y="209"/>
                  </a:lnTo>
                  <a:lnTo>
                    <a:pt x="205" y="202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1" y="177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1" y="160"/>
                  </a:lnTo>
                  <a:lnTo>
                    <a:pt x="183" y="153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25" y="135"/>
                  </a:lnTo>
                  <a:lnTo>
                    <a:pt x="121" y="129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7" y="117"/>
                  </a:lnTo>
                  <a:lnTo>
                    <a:pt x="117" y="113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97"/>
                  </a:lnTo>
                  <a:lnTo>
                    <a:pt x="118" y="92"/>
                  </a:lnTo>
                  <a:lnTo>
                    <a:pt x="117" y="88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06" y="83"/>
                  </a:lnTo>
                  <a:lnTo>
                    <a:pt x="102" y="83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88"/>
                  </a:lnTo>
                  <a:lnTo>
                    <a:pt x="85" y="88"/>
                  </a:lnTo>
                  <a:lnTo>
                    <a:pt x="84" y="83"/>
                  </a:lnTo>
                  <a:lnTo>
                    <a:pt x="82" y="77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79" y="61"/>
                  </a:lnTo>
                  <a:lnTo>
                    <a:pt x="75" y="57"/>
                  </a:lnTo>
                  <a:lnTo>
                    <a:pt x="71" y="52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57" y="49"/>
                  </a:lnTo>
                  <a:lnTo>
                    <a:pt x="54" y="51"/>
                  </a:lnTo>
                  <a:lnTo>
                    <a:pt x="53" y="54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60"/>
                  </a:lnTo>
                  <a:lnTo>
                    <a:pt x="50" y="60"/>
                  </a:lnTo>
                  <a:lnTo>
                    <a:pt x="47" y="58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5" y="49"/>
                  </a:lnTo>
                  <a:lnTo>
                    <a:pt x="32" y="49"/>
                  </a:lnTo>
                  <a:lnTo>
                    <a:pt x="29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17" y="49"/>
                  </a:lnTo>
                  <a:lnTo>
                    <a:pt x="10" y="46"/>
                  </a:lnTo>
                  <a:lnTo>
                    <a:pt x="0" y="4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5" name="Freeform 184">
              <a:extLst>
                <a:ext uri="{FF2B5EF4-FFF2-40B4-BE49-F238E27FC236}">
                  <a16:creationId xmlns:a16="http://schemas.microsoft.com/office/drawing/2014/main" id="{38D5959F-600A-1741-878B-EFD3C336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4463" y="6732588"/>
              <a:ext cx="565150" cy="731837"/>
            </a:xfrm>
            <a:custGeom>
              <a:avLst/>
              <a:gdLst>
                <a:gd name="T0" fmla="*/ 9 w 356"/>
                <a:gd name="T1" fmla="*/ 18 h 461"/>
                <a:gd name="T2" fmla="*/ 12 w 356"/>
                <a:gd name="T3" fmla="*/ 42 h 461"/>
                <a:gd name="T4" fmla="*/ 29 w 356"/>
                <a:gd name="T5" fmla="*/ 73 h 461"/>
                <a:gd name="T6" fmla="*/ 32 w 356"/>
                <a:gd name="T7" fmla="*/ 68 h 461"/>
                <a:gd name="T8" fmla="*/ 36 w 356"/>
                <a:gd name="T9" fmla="*/ 61 h 461"/>
                <a:gd name="T10" fmla="*/ 42 w 356"/>
                <a:gd name="T11" fmla="*/ 71 h 461"/>
                <a:gd name="T12" fmla="*/ 58 w 356"/>
                <a:gd name="T13" fmla="*/ 98 h 461"/>
                <a:gd name="T14" fmla="*/ 69 w 356"/>
                <a:gd name="T15" fmla="*/ 114 h 461"/>
                <a:gd name="T16" fmla="*/ 77 w 356"/>
                <a:gd name="T17" fmla="*/ 122 h 461"/>
                <a:gd name="T18" fmla="*/ 83 w 356"/>
                <a:gd name="T19" fmla="*/ 127 h 461"/>
                <a:gd name="T20" fmla="*/ 79 w 356"/>
                <a:gd name="T21" fmla="*/ 138 h 461"/>
                <a:gd name="T22" fmla="*/ 80 w 356"/>
                <a:gd name="T23" fmla="*/ 148 h 461"/>
                <a:gd name="T24" fmla="*/ 91 w 356"/>
                <a:gd name="T25" fmla="*/ 157 h 461"/>
                <a:gd name="T26" fmla="*/ 101 w 356"/>
                <a:gd name="T27" fmla="*/ 169 h 461"/>
                <a:gd name="T28" fmla="*/ 107 w 356"/>
                <a:gd name="T29" fmla="*/ 164 h 461"/>
                <a:gd name="T30" fmla="*/ 134 w 356"/>
                <a:gd name="T31" fmla="*/ 173 h 461"/>
                <a:gd name="T32" fmla="*/ 146 w 356"/>
                <a:gd name="T33" fmla="*/ 179 h 461"/>
                <a:gd name="T34" fmla="*/ 140 w 356"/>
                <a:gd name="T35" fmla="*/ 188 h 461"/>
                <a:gd name="T36" fmla="*/ 122 w 356"/>
                <a:gd name="T37" fmla="*/ 201 h 461"/>
                <a:gd name="T38" fmla="*/ 132 w 356"/>
                <a:gd name="T39" fmla="*/ 210 h 461"/>
                <a:gd name="T40" fmla="*/ 141 w 356"/>
                <a:gd name="T41" fmla="*/ 224 h 461"/>
                <a:gd name="T42" fmla="*/ 152 w 356"/>
                <a:gd name="T43" fmla="*/ 219 h 461"/>
                <a:gd name="T44" fmla="*/ 165 w 356"/>
                <a:gd name="T45" fmla="*/ 216 h 461"/>
                <a:gd name="T46" fmla="*/ 180 w 356"/>
                <a:gd name="T47" fmla="*/ 199 h 461"/>
                <a:gd name="T48" fmla="*/ 189 w 356"/>
                <a:gd name="T49" fmla="*/ 194 h 461"/>
                <a:gd name="T50" fmla="*/ 203 w 356"/>
                <a:gd name="T51" fmla="*/ 193 h 461"/>
                <a:gd name="T52" fmla="*/ 205 w 356"/>
                <a:gd name="T53" fmla="*/ 213 h 461"/>
                <a:gd name="T54" fmla="*/ 214 w 356"/>
                <a:gd name="T55" fmla="*/ 227 h 461"/>
                <a:gd name="T56" fmla="*/ 223 w 356"/>
                <a:gd name="T57" fmla="*/ 240 h 461"/>
                <a:gd name="T58" fmla="*/ 233 w 356"/>
                <a:gd name="T59" fmla="*/ 239 h 461"/>
                <a:gd name="T60" fmla="*/ 239 w 356"/>
                <a:gd name="T61" fmla="*/ 219 h 461"/>
                <a:gd name="T62" fmla="*/ 255 w 356"/>
                <a:gd name="T63" fmla="*/ 228 h 461"/>
                <a:gd name="T64" fmla="*/ 263 w 356"/>
                <a:gd name="T65" fmla="*/ 262 h 461"/>
                <a:gd name="T66" fmla="*/ 270 w 356"/>
                <a:gd name="T67" fmla="*/ 279 h 461"/>
                <a:gd name="T68" fmla="*/ 267 w 356"/>
                <a:gd name="T69" fmla="*/ 304 h 461"/>
                <a:gd name="T70" fmla="*/ 268 w 356"/>
                <a:gd name="T71" fmla="*/ 313 h 461"/>
                <a:gd name="T72" fmla="*/ 282 w 356"/>
                <a:gd name="T73" fmla="*/ 311 h 461"/>
                <a:gd name="T74" fmla="*/ 285 w 356"/>
                <a:gd name="T75" fmla="*/ 320 h 461"/>
                <a:gd name="T76" fmla="*/ 298 w 356"/>
                <a:gd name="T77" fmla="*/ 336 h 461"/>
                <a:gd name="T78" fmla="*/ 303 w 356"/>
                <a:gd name="T79" fmla="*/ 347 h 461"/>
                <a:gd name="T80" fmla="*/ 294 w 356"/>
                <a:gd name="T81" fmla="*/ 351 h 461"/>
                <a:gd name="T82" fmla="*/ 286 w 356"/>
                <a:gd name="T83" fmla="*/ 358 h 461"/>
                <a:gd name="T84" fmla="*/ 294 w 356"/>
                <a:gd name="T85" fmla="*/ 366 h 461"/>
                <a:gd name="T86" fmla="*/ 291 w 356"/>
                <a:gd name="T87" fmla="*/ 394 h 461"/>
                <a:gd name="T88" fmla="*/ 298 w 356"/>
                <a:gd name="T89" fmla="*/ 400 h 461"/>
                <a:gd name="T90" fmla="*/ 313 w 356"/>
                <a:gd name="T91" fmla="*/ 404 h 461"/>
                <a:gd name="T92" fmla="*/ 323 w 356"/>
                <a:gd name="T93" fmla="*/ 419 h 461"/>
                <a:gd name="T94" fmla="*/ 328 w 356"/>
                <a:gd name="T95" fmla="*/ 434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6" h="461">
                  <a:moveTo>
                    <a:pt x="0" y="0"/>
                  </a:moveTo>
                  <a:lnTo>
                    <a:pt x="0" y="0"/>
                  </a:lnTo>
                  <a:lnTo>
                    <a:pt x="6" y="9"/>
                  </a:lnTo>
                  <a:lnTo>
                    <a:pt x="9" y="18"/>
                  </a:lnTo>
                  <a:lnTo>
                    <a:pt x="11" y="24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42"/>
                  </a:lnTo>
                  <a:lnTo>
                    <a:pt x="15" y="49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9" y="73"/>
                  </a:lnTo>
                  <a:lnTo>
                    <a:pt x="30" y="74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68"/>
                  </a:lnTo>
                  <a:lnTo>
                    <a:pt x="33" y="64"/>
                  </a:lnTo>
                  <a:lnTo>
                    <a:pt x="33" y="61"/>
                  </a:lnTo>
                  <a:lnTo>
                    <a:pt x="35" y="59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9" y="62"/>
                  </a:lnTo>
                  <a:lnTo>
                    <a:pt x="40" y="65"/>
                  </a:lnTo>
                  <a:lnTo>
                    <a:pt x="42" y="71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9" y="89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64" y="107"/>
                  </a:lnTo>
                  <a:lnTo>
                    <a:pt x="67" y="111"/>
                  </a:lnTo>
                  <a:lnTo>
                    <a:pt x="69" y="114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3" y="120"/>
                  </a:lnTo>
                  <a:lnTo>
                    <a:pt x="77" y="122"/>
                  </a:lnTo>
                  <a:lnTo>
                    <a:pt x="80" y="123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3" y="127"/>
                  </a:lnTo>
                  <a:lnTo>
                    <a:pt x="83" y="129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79" y="138"/>
                  </a:lnTo>
                  <a:lnTo>
                    <a:pt x="77" y="142"/>
                  </a:lnTo>
                  <a:lnTo>
                    <a:pt x="77" y="145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86" y="151"/>
                  </a:lnTo>
                  <a:lnTo>
                    <a:pt x="89" y="154"/>
                  </a:lnTo>
                  <a:lnTo>
                    <a:pt x="91" y="157"/>
                  </a:lnTo>
                  <a:lnTo>
                    <a:pt x="91" y="157"/>
                  </a:lnTo>
                  <a:lnTo>
                    <a:pt x="92" y="161"/>
                  </a:lnTo>
                  <a:lnTo>
                    <a:pt x="95" y="166"/>
                  </a:lnTo>
                  <a:lnTo>
                    <a:pt x="98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3" y="167"/>
                  </a:lnTo>
                  <a:lnTo>
                    <a:pt x="104" y="166"/>
                  </a:lnTo>
                  <a:lnTo>
                    <a:pt x="107" y="164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26" y="172"/>
                  </a:lnTo>
                  <a:lnTo>
                    <a:pt x="134" y="173"/>
                  </a:lnTo>
                  <a:lnTo>
                    <a:pt x="134" y="173"/>
                  </a:lnTo>
                  <a:lnTo>
                    <a:pt x="138" y="175"/>
                  </a:lnTo>
                  <a:lnTo>
                    <a:pt x="143" y="176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0" y="188"/>
                  </a:lnTo>
                  <a:lnTo>
                    <a:pt x="132" y="193"/>
                  </a:lnTo>
                  <a:lnTo>
                    <a:pt x="125" y="197"/>
                  </a:lnTo>
                  <a:lnTo>
                    <a:pt x="122" y="200"/>
                  </a:lnTo>
                  <a:lnTo>
                    <a:pt x="122" y="201"/>
                  </a:lnTo>
                  <a:lnTo>
                    <a:pt x="122" y="201"/>
                  </a:lnTo>
                  <a:lnTo>
                    <a:pt x="125" y="204"/>
                  </a:lnTo>
                  <a:lnTo>
                    <a:pt x="128" y="207"/>
                  </a:lnTo>
                  <a:lnTo>
                    <a:pt x="132" y="210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8" y="221"/>
                  </a:lnTo>
                  <a:lnTo>
                    <a:pt x="141" y="224"/>
                  </a:lnTo>
                  <a:lnTo>
                    <a:pt x="144" y="225"/>
                  </a:lnTo>
                  <a:lnTo>
                    <a:pt x="146" y="224"/>
                  </a:lnTo>
                  <a:lnTo>
                    <a:pt x="146" y="224"/>
                  </a:lnTo>
                  <a:lnTo>
                    <a:pt x="152" y="219"/>
                  </a:lnTo>
                  <a:lnTo>
                    <a:pt x="156" y="219"/>
                  </a:lnTo>
                  <a:lnTo>
                    <a:pt x="156" y="219"/>
                  </a:lnTo>
                  <a:lnTo>
                    <a:pt x="160" y="218"/>
                  </a:lnTo>
                  <a:lnTo>
                    <a:pt x="165" y="216"/>
                  </a:lnTo>
                  <a:lnTo>
                    <a:pt x="171" y="212"/>
                  </a:lnTo>
                  <a:lnTo>
                    <a:pt x="174" y="207"/>
                  </a:lnTo>
                  <a:lnTo>
                    <a:pt x="174" y="207"/>
                  </a:lnTo>
                  <a:lnTo>
                    <a:pt x="180" y="199"/>
                  </a:lnTo>
                  <a:lnTo>
                    <a:pt x="183" y="194"/>
                  </a:lnTo>
                  <a:lnTo>
                    <a:pt x="186" y="194"/>
                  </a:lnTo>
                  <a:lnTo>
                    <a:pt x="189" y="194"/>
                  </a:lnTo>
                  <a:lnTo>
                    <a:pt x="189" y="194"/>
                  </a:lnTo>
                  <a:lnTo>
                    <a:pt x="196" y="193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3" y="193"/>
                  </a:lnTo>
                  <a:lnTo>
                    <a:pt x="205" y="199"/>
                  </a:lnTo>
                  <a:lnTo>
                    <a:pt x="205" y="199"/>
                  </a:lnTo>
                  <a:lnTo>
                    <a:pt x="205" y="207"/>
                  </a:lnTo>
                  <a:lnTo>
                    <a:pt x="205" y="213"/>
                  </a:lnTo>
                  <a:lnTo>
                    <a:pt x="208" y="218"/>
                  </a:lnTo>
                  <a:lnTo>
                    <a:pt x="211" y="222"/>
                  </a:lnTo>
                  <a:lnTo>
                    <a:pt x="211" y="222"/>
                  </a:lnTo>
                  <a:lnTo>
                    <a:pt x="214" y="227"/>
                  </a:lnTo>
                  <a:lnTo>
                    <a:pt x="217" y="233"/>
                  </a:lnTo>
                  <a:lnTo>
                    <a:pt x="218" y="237"/>
                  </a:lnTo>
                  <a:lnTo>
                    <a:pt x="223" y="240"/>
                  </a:lnTo>
                  <a:lnTo>
                    <a:pt x="223" y="240"/>
                  </a:lnTo>
                  <a:lnTo>
                    <a:pt x="230" y="241"/>
                  </a:lnTo>
                  <a:lnTo>
                    <a:pt x="231" y="241"/>
                  </a:lnTo>
                  <a:lnTo>
                    <a:pt x="233" y="239"/>
                  </a:lnTo>
                  <a:lnTo>
                    <a:pt x="233" y="239"/>
                  </a:lnTo>
                  <a:lnTo>
                    <a:pt x="234" y="228"/>
                  </a:lnTo>
                  <a:lnTo>
                    <a:pt x="236" y="222"/>
                  </a:lnTo>
                  <a:lnTo>
                    <a:pt x="236" y="221"/>
                  </a:lnTo>
                  <a:lnTo>
                    <a:pt x="239" y="219"/>
                  </a:lnTo>
                  <a:lnTo>
                    <a:pt x="239" y="219"/>
                  </a:lnTo>
                  <a:lnTo>
                    <a:pt x="245" y="219"/>
                  </a:lnTo>
                  <a:lnTo>
                    <a:pt x="251" y="222"/>
                  </a:lnTo>
                  <a:lnTo>
                    <a:pt x="255" y="228"/>
                  </a:lnTo>
                  <a:lnTo>
                    <a:pt x="258" y="234"/>
                  </a:lnTo>
                  <a:lnTo>
                    <a:pt x="258" y="234"/>
                  </a:lnTo>
                  <a:lnTo>
                    <a:pt x="261" y="253"/>
                  </a:lnTo>
                  <a:lnTo>
                    <a:pt x="263" y="262"/>
                  </a:lnTo>
                  <a:lnTo>
                    <a:pt x="266" y="270"/>
                  </a:lnTo>
                  <a:lnTo>
                    <a:pt x="266" y="270"/>
                  </a:lnTo>
                  <a:lnTo>
                    <a:pt x="267" y="273"/>
                  </a:lnTo>
                  <a:lnTo>
                    <a:pt x="270" y="279"/>
                  </a:lnTo>
                  <a:lnTo>
                    <a:pt x="270" y="283"/>
                  </a:lnTo>
                  <a:lnTo>
                    <a:pt x="270" y="290"/>
                  </a:lnTo>
                  <a:lnTo>
                    <a:pt x="270" y="290"/>
                  </a:lnTo>
                  <a:lnTo>
                    <a:pt x="267" y="304"/>
                  </a:lnTo>
                  <a:lnTo>
                    <a:pt x="266" y="308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8" y="313"/>
                  </a:lnTo>
                  <a:lnTo>
                    <a:pt x="270" y="313"/>
                  </a:lnTo>
                  <a:lnTo>
                    <a:pt x="274" y="311"/>
                  </a:lnTo>
                  <a:lnTo>
                    <a:pt x="279" y="311"/>
                  </a:lnTo>
                  <a:lnTo>
                    <a:pt x="282" y="311"/>
                  </a:lnTo>
                  <a:lnTo>
                    <a:pt x="283" y="313"/>
                  </a:lnTo>
                  <a:lnTo>
                    <a:pt x="283" y="313"/>
                  </a:lnTo>
                  <a:lnTo>
                    <a:pt x="285" y="316"/>
                  </a:lnTo>
                  <a:lnTo>
                    <a:pt x="285" y="320"/>
                  </a:lnTo>
                  <a:lnTo>
                    <a:pt x="286" y="324"/>
                  </a:lnTo>
                  <a:lnTo>
                    <a:pt x="289" y="329"/>
                  </a:lnTo>
                  <a:lnTo>
                    <a:pt x="289" y="329"/>
                  </a:lnTo>
                  <a:lnTo>
                    <a:pt x="298" y="336"/>
                  </a:lnTo>
                  <a:lnTo>
                    <a:pt x="304" y="341"/>
                  </a:lnTo>
                  <a:lnTo>
                    <a:pt x="304" y="341"/>
                  </a:lnTo>
                  <a:lnTo>
                    <a:pt x="304" y="344"/>
                  </a:lnTo>
                  <a:lnTo>
                    <a:pt x="303" y="347"/>
                  </a:lnTo>
                  <a:lnTo>
                    <a:pt x="301" y="348"/>
                  </a:lnTo>
                  <a:lnTo>
                    <a:pt x="297" y="350"/>
                  </a:lnTo>
                  <a:lnTo>
                    <a:pt x="297" y="350"/>
                  </a:lnTo>
                  <a:lnTo>
                    <a:pt x="294" y="351"/>
                  </a:lnTo>
                  <a:lnTo>
                    <a:pt x="289" y="353"/>
                  </a:lnTo>
                  <a:lnTo>
                    <a:pt x="286" y="354"/>
                  </a:lnTo>
                  <a:lnTo>
                    <a:pt x="286" y="357"/>
                  </a:lnTo>
                  <a:lnTo>
                    <a:pt x="286" y="358"/>
                  </a:lnTo>
                  <a:lnTo>
                    <a:pt x="286" y="358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4" y="366"/>
                  </a:lnTo>
                  <a:lnTo>
                    <a:pt x="294" y="373"/>
                  </a:lnTo>
                  <a:lnTo>
                    <a:pt x="294" y="373"/>
                  </a:lnTo>
                  <a:lnTo>
                    <a:pt x="291" y="388"/>
                  </a:lnTo>
                  <a:lnTo>
                    <a:pt x="291" y="394"/>
                  </a:lnTo>
                  <a:lnTo>
                    <a:pt x="292" y="396"/>
                  </a:lnTo>
                  <a:lnTo>
                    <a:pt x="294" y="398"/>
                  </a:lnTo>
                  <a:lnTo>
                    <a:pt x="294" y="398"/>
                  </a:lnTo>
                  <a:lnTo>
                    <a:pt x="298" y="400"/>
                  </a:lnTo>
                  <a:lnTo>
                    <a:pt x="303" y="401"/>
                  </a:lnTo>
                  <a:lnTo>
                    <a:pt x="307" y="401"/>
                  </a:lnTo>
                  <a:lnTo>
                    <a:pt x="313" y="404"/>
                  </a:lnTo>
                  <a:lnTo>
                    <a:pt x="313" y="404"/>
                  </a:lnTo>
                  <a:lnTo>
                    <a:pt x="322" y="412"/>
                  </a:lnTo>
                  <a:lnTo>
                    <a:pt x="323" y="415"/>
                  </a:lnTo>
                  <a:lnTo>
                    <a:pt x="323" y="419"/>
                  </a:lnTo>
                  <a:lnTo>
                    <a:pt x="323" y="419"/>
                  </a:lnTo>
                  <a:lnTo>
                    <a:pt x="323" y="427"/>
                  </a:lnTo>
                  <a:lnTo>
                    <a:pt x="325" y="430"/>
                  </a:lnTo>
                  <a:lnTo>
                    <a:pt x="328" y="434"/>
                  </a:lnTo>
                  <a:lnTo>
                    <a:pt x="328" y="434"/>
                  </a:lnTo>
                  <a:lnTo>
                    <a:pt x="344" y="449"/>
                  </a:lnTo>
                  <a:lnTo>
                    <a:pt x="356" y="46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6" name="Freeform 185">
              <a:extLst>
                <a:ext uri="{FF2B5EF4-FFF2-40B4-BE49-F238E27FC236}">
                  <a16:creationId xmlns:a16="http://schemas.microsoft.com/office/drawing/2014/main" id="{638305C3-1554-5B48-BBEF-C0D447C9C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2450" y="7035800"/>
              <a:ext cx="830263" cy="1393825"/>
            </a:xfrm>
            <a:custGeom>
              <a:avLst/>
              <a:gdLst>
                <a:gd name="T0" fmla="*/ 384 w 523"/>
                <a:gd name="T1" fmla="*/ 3 h 878"/>
                <a:gd name="T2" fmla="*/ 382 w 523"/>
                <a:gd name="T3" fmla="*/ 22 h 878"/>
                <a:gd name="T4" fmla="*/ 375 w 523"/>
                <a:gd name="T5" fmla="*/ 36 h 878"/>
                <a:gd name="T6" fmla="*/ 395 w 523"/>
                <a:gd name="T7" fmla="*/ 45 h 878"/>
                <a:gd name="T8" fmla="*/ 400 w 523"/>
                <a:gd name="T9" fmla="*/ 61 h 878"/>
                <a:gd name="T10" fmla="*/ 404 w 523"/>
                <a:gd name="T11" fmla="*/ 77 h 878"/>
                <a:gd name="T12" fmla="*/ 413 w 523"/>
                <a:gd name="T13" fmla="*/ 89 h 878"/>
                <a:gd name="T14" fmla="*/ 409 w 523"/>
                <a:gd name="T15" fmla="*/ 95 h 878"/>
                <a:gd name="T16" fmla="*/ 421 w 523"/>
                <a:gd name="T17" fmla="*/ 108 h 878"/>
                <a:gd name="T18" fmla="*/ 429 w 523"/>
                <a:gd name="T19" fmla="*/ 142 h 878"/>
                <a:gd name="T20" fmla="*/ 443 w 523"/>
                <a:gd name="T21" fmla="*/ 159 h 878"/>
                <a:gd name="T22" fmla="*/ 465 w 523"/>
                <a:gd name="T23" fmla="*/ 162 h 878"/>
                <a:gd name="T24" fmla="*/ 480 w 523"/>
                <a:gd name="T25" fmla="*/ 162 h 878"/>
                <a:gd name="T26" fmla="*/ 487 w 523"/>
                <a:gd name="T27" fmla="*/ 172 h 878"/>
                <a:gd name="T28" fmla="*/ 508 w 523"/>
                <a:gd name="T29" fmla="*/ 181 h 878"/>
                <a:gd name="T30" fmla="*/ 520 w 523"/>
                <a:gd name="T31" fmla="*/ 213 h 878"/>
                <a:gd name="T32" fmla="*/ 496 w 523"/>
                <a:gd name="T33" fmla="*/ 262 h 878"/>
                <a:gd name="T34" fmla="*/ 461 w 523"/>
                <a:gd name="T35" fmla="*/ 273 h 878"/>
                <a:gd name="T36" fmla="*/ 432 w 523"/>
                <a:gd name="T37" fmla="*/ 313 h 878"/>
                <a:gd name="T38" fmla="*/ 415 w 523"/>
                <a:gd name="T39" fmla="*/ 345 h 878"/>
                <a:gd name="T40" fmla="*/ 376 w 523"/>
                <a:gd name="T41" fmla="*/ 372 h 878"/>
                <a:gd name="T42" fmla="*/ 363 w 523"/>
                <a:gd name="T43" fmla="*/ 385 h 878"/>
                <a:gd name="T44" fmla="*/ 345 w 523"/>
                <a:gd name="T45" fmla="*/ 393 h 878"/>
                <a:gd name="T46" fmla="*/ 352 w 523"/>
                <a:gd name="T47" fmla="*/ 401 h 878"/>
                <a:gd name="T48" fmla="*/ 358 w 523"/>
                <a:gd name="T49" fmla="*/ 418 h 878"/>
                <a:gd name="T50" fmla="*/ 375 w 523"/>
                <a:gd name="T51" fmla="*/ 427 h 878"/>
                <a:gd name="T52" fmla="*/ 387 w 523"/>
                <a:gd name="T53" fmla="*/ 440 h 878"/>
                <a:gd name="T54" fmla="*/ 397 w 523"/>
                <a:gd name="T55" fmla="*/ 452 h 878"/>
                <a:gd name="T56" fmla="*/ 395 w 523"/>
                <a:gd name="T57" fmla="*/ 486 h 878"/>
                <a:gd name="T58" fmla="*/ 384 w 523"/>
                <a:gd name="T59" fmla="*/ 496 h 878"/>
                <a:gd name="T60" fmla="*/ 357 w 523"/>
                <a:gd name="T61" fmla="*/ 521 h 878"/>
                <a:gd name="T62" fmla="*/ 333 w 523"/>
                <a:gd name="T63" fmla="*/ 529 h 878"/>
                <a:gd name="T64" fmla="*/ 320 w 523"/>
                <a:gd name="T65" fmla="*/ 541 h 878"/>
                <a:gd name="T66" fmla="*/ 296 w 523"/>
                <a:gd name="T67" fmla="*/ 556 h 878"/>
                <a:gd name="T68" fmla="*/ 284 w 523"/>
                <a:gd name="T69" fmla="*/ 563 h 878"/>
                <a:gd name="T70" fmla="*/ 268 w 523"/>
                <a:gd name="T71" fmla="*/ 560 h 878"/>
                <a:gd name="T72" fmla="*/ 258 w 523"/>
                <a:gd name="T73" fmla="*/ 578 h 878"/>
                <a:gd name="T74" fmla="*/ 250 w 523"/>
                <a:gd name="T75" fmla="*/ 595 h 878"/>
                <a:gd name="T76" fmla="*/ 224 w 523"/>
                <a:gd name="T77" fmla="*/ 619 h 878"/>
                <a:gd name="T78" fmla="*/ 197 w 523"/>
                <a:gd name="T79" fmla="*/ 652 h 878"/>
                <a:gd name="T80" fmla="*/ 181 w 523"/>
                <a:gd name="T81" fmla="*/ 659 h 878"/>
                <a:gd name="T82" fmla="*/ 144 w 523"/>
                <a:gd name="T83" fmla="*/ 656 h 878"/>
                <a:gd name="T84" fmla="*/ 114 w 523"/>
                <a:gd name="T85" fmla="*/ 678 h 878"/>
                <a:gd name="T86" fmla="*/ 92 w 523"/>
                <a:gd name="T87" fmla="*/ 690 h 878"/>
                <a:gd name="T88" fmla="*/ 59 w 523"/>
                <a:gd name="T89" fmla="*/ 683 h 878"/>
                <a:gd name="T90" fmla="*/ 36 w 523"/>
                <a:gd name="T91" fmla="*/ 693 h 878"/>
                <a:gd name="T92" fmla="*/ 40 w 523"/>
                <a:gd name="T93" fmla="*/ 717 h 878"/>
                <a:gd name="T94" fmla="*/ 27 w 523"/>
                <a:gd name="T95" fmla="*/ 738 h 878"/>
                <a:gd name="T96" fmla="*/ 24 w 523"/>
                <a:gd name="T97" fmla="*/ 758 h 878"/>
                <a:gd name="T98" fmla="*/ 24 w 523"/>
                <a:gd name="T99" fmla="*/ 779 h 878"/>
                <a:gd name="T100" fmla="*/ 50 w 523"/>
                <a:gd name="T101" fmla="*/ 791 h 878"/>
                <a:gd name="T102" fmla="*/ 43 w 523"/>
                <a:gd name="T103" fmla="*/ 804 h 878"/>
                <a:gd name="T104" fmla="*/ 18 w 523"/>
                <a:gd name="T105" fmla="*/ 815 h 878"/>
                <a:gd name="T106" fmla="*/ 3 w 523"/>
                <a:gd name="T107" fmla="*/ 832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3" h="878">
                  <a:moveTo>
                    <a:pt x="389" y="0"/>
                  </a:moveTo>
                  <a:lnTo>
                    <a:pt x="389" y="0"/>
                  </a:lnTo>
                  <a:lnTo>
                    <a:pt x="388" y="2"/>
                  </a:lnTo>
                  <a:lnTo>
                    <a:pt x="385" y="2"/>
                  </a:lnTo>
                  <a:lnTo>
                    <a:pt x="384" y="3"/>
                  </a:lnTo>
                  <a:lnTo>
                    <a:pt x="384" y="6"/>
                  </a:lnTo>
                  <a:lnTo>
                    <a:pt x="384" y="6"/>
                  </a:lnTo>
                  <a:lnTo>
                    <a:pt x="384" y="15"/>
                  </a:lnTo>
                  <a:lnTo>
                    <a:pt x="384" y="18"/>
                  </a:lnTo>
                  <a:lnTo>
                    <a:pt x="382" y="22"/>
                  </a:lnTo>
                  <a:lnTo>
                    <a:pt x="382" y="22"/>
                  </a:lnTo>
                  <a:lnTo>
                    <a:pt x="378" y="27"/>
                  </a:lnTo>
                  <a:lnTo>
                    <a:pt x="375" y="30"/>
                  </a:lnTo>
                  <a:lnTo>
                    <a:pt x="373" y="33"/>
                  </a:lnTo>
                  <a:lnTo>
                    <a:pt x="375" y="36"/>
                  </a:lnTo>
                  <a:lnTo>
                    <a:pt x="375" y="36"/>
                  </a:lnTo>
                  <a:lnTo>
                    <a:pt x="378" y="40"/>
                  </a:lnTo>
                  <a:lnTo>
                    <a:pt x="384" y="42"/>
                  </a:lnTo>
                  <a:lnTo>
                    <a:pt x="395" y="45"/>
                  </a:lnTo>
                  <a:lnTo>
                    <a:pt x="395" y="45"/>
                  </a:lnTo>
                  <a:lnTo>
                    <a:pt x="401" y="48"/>
                  </a:lnTo>
                  <a:lnTo>
                    <a:pt x="403" y="49"/>
                  </a:lnTo>
                  <a:lnTo>
                    <a:pt x="404" y="53"/>
                  </a:lnTo>
                  <a:lnTo>
                    <a:pt x="404" y="53"/>
                  </a:lnTo>
                  <a:lnTo>
                    <a:pt x="400" y="61"/>
                  </a:lnTo>
                  <a:lnTo>
                    <a:pt x="398" y="65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401" y="74"/>
                  </a:lnTo>
                  <a:lnTo>
                    <a:pt x="404" y="77"/>
                  </a:lnTo>
                  <a:lnTo>
                    <a:pt x="409" y="79"/>
                  </a:lnTo>
                  <a:lnTo>
                    <a:pt x="409" y="79"/>
                  </a:lnTo>
                  <a:lnTo>
                    <a:pt x="413" y="85"/>
                  </a:lnTo>
                  <a:lnTo>
                    <a:pt x="413" y="86"/>
                  </a:lnTo>
                  <a:lnTo>
                    <a:pt x="413" y="89"/>
                  </a:lnTo>
                  <a:lnTo>
                    <a:pt x="413" y="89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9" y="95"/>
                  </a:lnTo>
                  <a:lnTo>
                    <a:pt x="409" y="95"/>
                  </a:lnTo>
                  <a:lnTo>
                    <a:pt x="413" y="98"/>
                  </a:lnTo>
                  <a:lnTo>
                    <a:pt x="418" y="101"/>
                  </a:lnTo>
                  <a:lnTo>
                    <a:pt x="419" y="104"/>
                  </a:lnTo>
                  <a:lnTo>
                    <a:pt x="421" y="108"/>
                  </a:lnTo>
                  <a:lnTo>
                    <a:pt x="421" y="108"/>
                  </a:lnTo>
                  <a:lnTo>
                    <a:pt x="421" y="120"/>
                  </a:lnTo>
                  <a:lnTo>
                    <a:pt x="424" y="127"/>
                  </a:lnTo>
                  <a:lnTo>
                    <a:pt x="426" y="135"/>
                  </a:lnTo>
                  <a:lnTo>
                    <a:pt x="426" y="135"/>
                  </a:lnTo>
                  <a:lnTo>
                    <a:pt x="429" y="142"/>
                  </a:lnTo>
                  <a:lnTo>
                    <a:pt x="431" y="148"/>
                  </a:lnTo>
                  <a:lnTo>
                    <a:pt x="432" y="151"/>
                  </a:lnTo>
                  <a:lnTo>
                    <a:pt x="434" y="154"/>
                  </a:lnTo>
                  <a:lnTo>
                    <a:pt x="437" y="156"/>
                  </a:lnTo>
                  <a:lnTo>
                    <a:pt x="443" y="159"/>
                  </a:lnTo>
                  <a:lnTo>
                    <a:pt x="443" y="159"/>
                  </a:lnTo>
                  <a:lnTo>
                    <a:pt x="452" y="162"/>
                  </a:lnTo>
                  <a:lnTo>
                    <a:pt x="458" y="163"/>
                  </a:lnTo>
                  <a:lnTo>
                    <a:pt x="462" y="162"/>
                  </a:lnTo>
                  <a:lnTo>
                    <a:pt x="465" y="162"/>
                  </a:lnTo>
                  <a:lnTo>
                    <a:pt x="465" y="162"/>
                  </a:lnTo>
                  <a:lnTo>
                    <a:pt x="472" y="159"/>
                  </a:lnTo>
                  <a:lnTo>
                    <a:pt x="477" y="159"/>
                  </a:lnTo>
                  <a:lnTo>
                    <a:pt x="480" y="162"/>
                  </a:lnTo>
                  <a:lnTo>
                    <a:pt x="480" y="162"/>
                  </a:lnTo>
                  <a:lnTo>
                    <a:pt x="481" y="165"/>
                  </a:lnTo>
                  <a:lnTo>
                    <a:pt x="481" y="167"/>
                  </a:lnTo>
                  <a:lnTo>
                    <a:pt x="483" y="169"/>
                  </a:lnTo>
                  <a:lnTo>
                    <a:pt x="487" y="172"/>
                  </a:lnTo>
                  <a:lnTo>
                    <a:pt x="487" y="172"/>
                  </a:lnTo>
                  <a:lnTo>
                    <a:pt x="495" y="175"/>
                  </a:lnTo>
                  <a:lnTo>
                    <a:pt x="502" y="176"/>
                  </a:lnTo>
                  <a:lnTo>
                    <a:pt x="502" y="176"/>
                  </a:lnTo>
                  <a:lnTo>
                    <a:pt x="505" y="178"/>
                  </a:lnTo>
                  <a:lnTo>
                    <a:pt x="508" y="181"/>
                  </a:lnTo>
                  <a:lnTo>
                    <a:pt x="514" y="188"/>
                  </a:lnTo>
                  <a:lnTo>
                    <a:pt x="523" y="202"/>
                  </a:lnTo>
                  <a:lnTo>
                    <a:pt x="523" y="202"/>
                  </a:lnTo>
                  <a:lnTo>
                    <a:pt x="521" y="206"/>
                  </a:lnTo>
                  <a:lnTo>
                    <a:pt x="520" y="213"/>
                  </a:lnTo>
                  <a:lnTo>
                    <a:pt x="512" y="233"/>
                  </a:lnTo>
                  <a:lnTo>
                    <a:pt x="502" y="261"/>
                  </a:lnTo>
                  <a:lnTo>
                    <a:pt x="502" y="261"/>
                  </a:lnTo>
                  <a:lnTo>
                    <a:pt x="501" y="262"/>
                  </a:lnTo>
                  <a:lnTo>
                    <a:pt x="496" y="262"/>
                  </a:lnTo>
                  <a:lnTo>
                    <a:pt x="483" y="264"/>
                  </a:lnTo>
                  <a:lnTo>
                    <a:pt x="483" y="264"/>
                  </a:lnTo>
                  <a:lnTo>
                    <a:pt x="478" y="264"/>
                  </a:lnTo>
                  <a:lnTo>
                    <a:pt x="474" y="265"/>
                  </a:lnTo>
                  <a:lnTo>
                    <a:pt x="461" y="273"/>
                  </a:lnTo>
                  <a:lnTo>
                    <a:pt x="449" y="280"/>
                  </a:lnTo>
                  <a:lnTo>
                    <a:pt x="441" y="287"/>
                  </a:lnTo>
                  <a:lnTo>
                    <a:pt x="441" y="287"/>
                  </a:lnTo>
                  <a:lnTo>
                    <a:pt x="437" y="298"/>
                  </a:lnTo>
                  <a:lnTo>
                    <a:pt x="432" y="313"/>
                  </a:lnTo>
                  <a:lnTo>
                    <a:pt x="428" y="326"/>
                  </a:lnTo>
                  <a:lnTo>
                    <a:pt x="426" y="332"/>
                  </a:lnTo>
                  <a:lnTo>
                    <a:pt x="424" y="335"/>
                  </a:lnTo>
                  <a:lnTo>
                    <a:pt x="424" y="335"/>
                  </a:lnTo>
                  <a:lnTo>
                    <a:pt x="415" y="345"/>
                  </a:lnTo>
                  <a:lnTo>
                    <a:pt x="404" y="357"/>
                  </a:lnTo>
                  <a:lnTo>
                    <a:pt x="404" y="357"/>
                  </a:lnTo>
                  <a:lnTo>
                    <a:pt x="397" y="361"/>
                  </a:lnTo>
                  <a:lnTo>
                    <a:pt x="389" y="366"/>
                  </a:lnTo>
                  <a:lnTo>
                    <a:pt x="376" y="372"/>
                  </a:lnTo>
                  <a:lnTo>
                    <a:pt x="376" y="372"/>
                  </a:lnTo>
                  <a:lnTo>
                    <a:pt x="373" y="375"/>
                  </a:lnTo>
                  <a:lnTo>
                    <a:pt x="370" y="379"/>
                  </a:lnTo>
                  <a:lnTo>
                    <a:pt x="366" y="384"/>
                  </a:lnTo>
                  <a:lnTo>
                    <a:pt x="363" y="385"/>
                  </a:lnTo>
                  <a:lnTo>
                    <a:pt x="360" y="385"/>
                  </a:lnTo>
                  <a:lnTo>
                    <a:pt x="360" y="385"/>
                  </a:lnTo>
                  <a:lnTo>
                    <a:pt x="351" y="388"/>
                  </a:lnTo>
                  <a:lnTo>
                    <a:pt x="347" y="391"/>
                  </a:lnTo>
                  <a:lnTo>
                    <a:pt x="345" y="393"/>
                  </a:lnTo>
                  <a:lnTo>
                    <a:pt x="344" y="394"/>
                  </a:lnTo>
                  <a:lnTo>
                    <a:pt x="345" y="397"/>
                  </a:lnTo>
                  <a:lnTo>
                    <a:pt x="348" y="399"/>
                  </a:lnTo>
                  <a:lnTo>
                    <a:pt x="348" y="399"/>
                  </a:lnTo>
                  <a:lnTo>
                    <a:pt x="352" y="401"/>
                  </a:lnTo>
                  <a:lnTo>
                    <a:pt x="357" y="404"/>
                  </a:lnTo>
                  <a:lnTo>
                    <a:pt x="358" y="407"/>
                  </a:lnTo>
                  <a:lnTo>
                    <a:pt x="358" y="412"/>
                  </a:lnTo>
                  <a:lnTo>
                    <a:pt x="358" y="412"/>
                  </a:lnTo>
                  <a:lnTo>
                    <a:pt x="358" y="418"/>
                  </a:lnTo>
                  <a:lnTo>
                    <a:pt x="361" y="422"/>
                  </a:lnTo>
                  <a:lnTo>
                    <a:pt x="366" y="425"/>
                  </a:lnTo>
                  <a:lnTo>
                    <a:pt x="370" y="427"/>
                  </a:lnTo>
                  <a:lnTo>
                    <a:pt x="370" y="427"/>
                  </a:lnTo>
                  <a:lnTo>
                    <a:pt x="375" y="427"/>
                  </a:lnTo>
                  <a:lnTo>
                    <a:pt x="379" y="427"/>
                  </a:lnTo>
                  <a:lnTo>
                    <a:pt x="381" y="428"/>
                  </a:lnTo>
                  <a:lnTo>
                    <a:pt x="382" y="430"/>
                  </a:lnTo>
                  <a:lnTo>
                    <a:pt x="387" y="440"/>
                  </a:lnTo>
                  <a:lnTo>
                    <a:pt x="387" y="440"/>
                  </a:lnTo>
                  <a:lnTo>
                    <a:pt x="389" y="446"/>
                  </a:lnTo>
                  <a:lnTo>
                    <a:pt x="391" y="449"/>
                  </a:lnTo>
                  <a:lnTo>
                    <a:pt x="394" y="450"/>
                  </a:lnTo>
                  <a:lnTo>
                    <a:pt x="395" y="450"/>
                  </a:lnTo>
                  <a:lnTo>
                    <a:pt x="397" y="452"/>
                  </a:lnTo>
                  <a:lnTo>
                    <a:pt x="397" y="455"/>
                  </a:lnTo>
                  <a:lnTo>
                    <a:pt x="397" y="455"/>
                  </a:lnTo>
                  <a:lnTo>
                    <a:pt x="397" y="471"/>
                  </a:lnTo>
                  <a:lnTo>
                    <a:pt x="395" y="486"/>
                  </a:lnTo>
                  <a:lnTo>
                    <a:pt x="395" y="486"/>
                  </a:lnTo>
                  <a:lnTo>
                    <a:pt x="392" y="489"/>
                  </a:lnTo>
                  <a:lnTo>
                    <a:pt x="389" y="490"/>
                  </a:lnTo>
                  <a:lnTo>
                    <a:pt x="387" y="493"/>
                  </a:lnTo>
                  <a:lnTo>
                    <a:pt x="384" y="496"/>
                  </a:lnTo>
                  <a:lnTo>
                    <a:pt x="384" y="496"/>
                  </a:lnTo>
                  <a:lnTo>
                    <a:pt x="375" y="508"/>
                  </a:lnTo>
                  <a:lnTo>
                    <a:pt x="370" y="514"/>
                  </a:lnTo>
                  <a:lnTo>
                    <a:pt x="366" y="517"/>
                  </a:lnTo>
                  <a:lnTo>
                    <a:pt x="366" y="517"/>
                  </a:lnTo>
                  <a:lnTo>
                    <a:pt x="357" y="521"/>
                  </a:lnTo>
                  <a:lnTo>
                    <a:pt x="347" y="523"/>
                  </a:lnTo>
                  <a:lnTo>
                    <a:pt x="347" y="523"/>
                  </a:lnTo>
                  <a:lnTo>
                    <a:pt x="342" y="523"/>
                  </a:lnTo>
                  <a:lnTo>
                    <a:pt x="338" y="526"/>
                  </a:lnTo>
                  <a:lnTo>
                    <a:pt x="333" y="529"/>
                  </a:lnTo>
                  <a:lnTo>
                    <a:pt x="332" y="532"/>
                  </a:lnTo>
                  <a:lnTo>
                    <a:pt x="332" y="532"/>
                  </a:lnTo>
                  <a:lnTo>
                    <a:pt x="330" y="535"/>
                  </a:lnTo>
                  <a:lnTo>
                    <a:pt x="326" y="538"/>
                  </a:lnTo>
                  <a:lnTo>
                    <a:pt x="320" y="541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08" y="544"/>
                  </a:lnTo>
                  <a:lnTo>
                    <a:pt x="304" y="547"/>
                  </a:lnTo>
                  <a:lnTo>
                    <a:pt x="296" y="556"/>
                  </a:lnTo>
                  <a:lnTo>
                    <a:pt x="296" y="556"/>
                  </a:lnTo>
                  <a:lnTo>
                    <a:pt x="293" y="560"/>
                  </a:lnTo>
                  <a:lnTo>
                    <a:pt x="290" y="563"/>
                  </a:lnTo>
                  <a:lnTo>
                    <a:pt x="287" y="564"/>
                  </a:lnTo>
                  <a:lnTo>
                    <a:pt x="284" y="563"/>
                  </a:lnTo>
                  <a:lnTo>
                    <a:pt x="284" y="563"/>
                  </a:lnTo>
                  <a:lnTo>
                    <a:pt x="280" y="561"/>
                  </a:lnTo>
                  <a:lnTo>
                    <a:pt x="275" y="560"/>
                  </a:lnTo>
                  <a:lnTo>
                    <a:pt x="270" y="560"/>
                  </a:lnTo>
                  <a:lnTo>
                    <a:pt x="268" y="560"/>
                  </a:lnTo>
                  <a:lnTo>
                    <a:pt x="268" y="561"/>
                  </a:lnTo>
                  <a:lnTo>
                    <a:pt x="268" y="561"/>
                  </a:lnTo>
                  <a:lnTo>
                    <a:pt x="262" y="575"/>
                  </a:lnTo>
                  <a:lnTo>
                    <a:pt x="262" y="575"/>
                  </a:lnTo>
                  <a:lnTo>
                    <a:pt x="258" y="578"/>
                  </a:lnTo>
                  <a:lnTo>
                    <a:pt x="253" y="581"/>
                  </a:lnTo>
                  <a:lnTo>
                    <a:pt x="252" y="582"/>
                  </a:lnTo>
                  <a:lnTo>
                    <a:pt x="252" y="582"/>
                  </a:lnTo>
                  <a:lnTo>
                    <a:pt x="250" y="591"/>
                  </a:lnTo>
                  <a:lnTo>
                    <a:pt x="250" y="595"/>
                  </a:lnTo>
                  <a:lnTo>
                    <a:pt x="247" y="600"/>
                  </a:lnTo>
                  <a:lnTo>
                    <a:pt x="247" y="600"/>
                  </a:lnTo>
                  <a:lnTo>
                    <a:pt x="237" y="610"/>
                  </a:lnTo>
                  <a:lnTo>
                    <a:pt x="224" y="619"/>
                  </a:lnTo>
                  <a:lnTo>
                    <a:pt x="224" y="619"/>
                  </a:lnTo>
                  <a:lnTo>
                    <a:pt x="212" y="628"/>
                  </a:lnTo>
                  <a:lnTo>
                    <a:pt x="203" y="637"/>
                  </a:lnTo>
                  <a:lnTo>
                    <a:pt x="203" y="637"/>
                  </a:lnTo>
                  <a:lnTo>
                    <a:pt x="200" y="647"/>
                  </a:lnTo>
                  <a:lnTo>
                    <a:pt x="197" y="652"/>
                  </a:lnTo>
                  <a:lnTo>
                    <a:pt x="196" y="655"/>
                  </a:lnTo>
                  <a:lnTo>
                    <a:pt x="194" y="656"/>
                  </a:lnTo>
                  <a:lnTo>
                    <a:pt x="194" y="656"/>
                  </a:lnTo>
                  <a:lnTo>
                    <a:pt x="187" y="658"/>
                  </a:lnTo>
                  <a:lnTo>
                    <a:pt x="181" y="659"/>
                  </a:lnTo>
                  <a:lnTo>
                    <a:pt x="173" y="658"/>
                  </a:lnTo>
                  <a:lnTo>
                    <a:pt x="173" y="658"/>
                  </a:lnTo>
                  <a:lnTo>
                    <a:pt x="156" y="656"/>
                  </a:lnTo>
                  <a:lnTo>
                    <a:pt x="144" y="656"/>
                  </a:lnTo>
                  <a:lnTo>
                    <a:pt x="144" y="656"/>
                  </a:lnTo>
                  <a:lnTo>
                    <a:pt x="136" y="664"/>
                  </a:lnTo>
                  <a:lnTo>
                    <a:pt x="130" y="668"/>
                  </a:lnTo>
                  <a:lnTo>
                    <a:pt x="121" y="674"/>
                  </a:lnTo>
                  <a:lnTo>
                    <a:pt x="121" y="674"/>
                  </a:lnTo>
                  <a:lnTo>
                    <a:pt x="114" y="678"/>
                  </a:lnTo>
                  <a:lnTo>
                    <a:pt x="105" y="684"/>
                  </a:lnTo>
                  <a:lnTo>
                    <a:pt x="98" y="689"/>
                  </a:lnTo>
                  <a:lnTo>
                    <a:pt x="95" y="690"/>
                  </a:lnTo>
                  <a:lnTo>
                    <a:pt x="92" y="690"/>
                  </a:lnTo>
                  <a:lnTo>
                    <a:pt x="92" y="690"/>
                  </a:lnTo>
                  <a:lnTo>
                    <a:pt x="84" y="689"/>
                  </a:lnTo>
                  <a:lnTo>
                    <a:pt x="76" y="686"/>
                  </a:lnTo>
                  <a:lnTo>
                    <a:pt x="67" y="684"/>
                  </a:lnTo>
                  <a:lnTo>
                    <a:pt x="59" y="683"/>
                  </a:lnTo>
                  <a:lnTo>
                    <a:pt x="59" y="683"/>
                  </a:lnTo>
                  <a:lnTo>
                    <a:pt x="46" y="686"/>
                  </a:lnTo>
                  <a:lnTo>
                    <a:pt x="39" y="689"/>
                  </a:lnTo>
                  <a:lnTo>
                    <a:pt x="37" y="690"/>
                  </a:lnTo>
                  <a:lnTo>
                    <a:pt x="36" y="693"/>
                  </a:lnTo>
                  <a:lnTo>
                    <a:pt x="36" y="693"/>
                  </a:lnTo>
                  <a:lnTo>
                    <a:pt x="34" y="702"/>
                  </a:lnTo>
                  <a:lnTo>
                    <a:pt x="34" y="707"/>
                  </a:lnTo>
                  <a:lnTo>
                    <a:pt x="36" y="711"/>
                  </a:lnTo>
                  <a:lnTo>
                    <a:pt x="36" y="711"/>
                  </a:lnTo>
                  <a:lnTo>
                    <a:pt x="40" y="717"/>
                  </a:lnTo>
                  <a:lnTo>
                    <a:pt x="42" y="718"/>
                  </a:lnTo>
                  <a:lnTo>
                    <a:pt x="40" y="720"/>
                  </a:lnTo>
                  <a:lnTo>
                    <a:pt x="40" y="720"/>
                  </a:lnTo>
                  <a:lnTo>
                    <a:pt x="34" y="729"/>
                  </a:lnTo>
                  <a:lnTo>
                    <a:pt x="27" y="738"/>
                  </a:lnTo>
                  <a:lnTo>
                    <a:pt x="27" y="738"/>
                  </a:lnTo>
                  <a:lnTo>
                    <a:pt x="24" y="748"/>
                  </a:lnTo>
                  <a:lnTo>
                    <a:pt x="22" y="754"/>
                  </a:lnTo>
                  <a:lnTo>
                    <a:pt x="24" y="758"/>
                  </a:lnTo>
                  <a:lnTo>
                    <a:pt x="24" y="758"/>
                  </a:lnTo>
                  <a:lnTo>
                    <a:pt x="24" y="763"/>
                  </a:lnTo>
                  <a:lnTo>
                    <a:pt x="24" y="769"/>
                  </a:lnTo>
                  <a:lnTo>
                    <a:pt x="24" y="776"/>
                  </a:lnTo>
                  <a:lnTo>
                    <a:pt x="24" y="776"/>
                  </a:lnTo>
                  <a:lnTo>
                    <a:pt x="24" y="779"/>
                  </a:lnTo>
                  <a:lnTo>
                    <a:pt x="27" y="781"/>
                  </a:lnTo>
                  <a:lnTo>
                    <a:pt x="34" y="785"/>
                  </a:lnTo>
                  <a:lnTo>
                    <a:pt x="34" y="785"/>
                  </a:lnTo>
                  <a:lnTo>
                    <a:pt x="46" y="788"/>
                  </a:lnTo>
                  <a:lnTo>
                    <a:pt x="50" y="791"/>
                  </a:lnTo>
                  <a:lnTo>
                    <a:pt x="50" y="792"/>
                  </a:lnTo>
                  <a:lnTo>
                    <a:pt x="50" y="795"/>
                  </a:lnTo>
                  <a:lnTo>
                    <a:pt x="50" y="795"/>
                  </a:lnTo>
                  <a:lnTo>
                    <a:pt x="47" y="800"/>
                  </a:lnTo>
                  <a:lnTo>
                    <a:pt x="43" y="804"/>
                  </a:lnTo>
                  <a:lnTo>
                    <a:pt x="33" y="809"/>
                  </a:lnTo>
                  <a:lnTo>
                    <a:pt x="33" y="809"/>
                  </a:lnTo>
                  <a:lnTo>
                    <a:pt x="25" y="812"/>
                  </a:lnTo>
                  <a:lnTo>
                    <a:pt x="18" y="815"/>
                  </a:lnTo>
                  <a:lnTo>
                    <a:pt x="18" y="815"/>
                  </a:lnTo>
                  <a:lnTo>
                    <a:pt x="16" y="819"/>
                  </a:lnTo>
                  <a:lnTo>
                    <a:pt x="13" y="824"/>
                  </a:lnTo>
                  <a:lnTo>
                    <a:pt x="10" y="827"/>
                  </a:lnTo>
                  <a:lnTo>
                    <a:pt x="10" y="827"/>
                  </a:lnTo>
                  <a:lnTo>
                    <a:pt x="3" y="832"/>
                  </a:lnTo>
                  <a:lnTo>
                    <a:pt x="0" y="837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2" y="87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7" name="Freeform 186">
              <a:extLst>
                <a:ext uri="{FF2B5EF4-FFF2-40B4-BE49-F238E27FC236}">
                  <a16:creationId xmlns:a16="http://schemas.microsoft.com/office/drawing/2014/main" id="{45F56738-01FD-2443-8070-EC9E55BE3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8850" y="7791450"/>
              <a:ext cx="1169988" cy="319087"/>
            </a:xfrm>
            <a:custGeom>
              <a:avLst/>
              <a:gdLst>
                <a:gd name="T0" fmla="*/ 10 w 737"/>
                <a:gd name="T1" fmla="*/ 179 h 201"/>
                <a:gd name="T2" fmla="*/ 22 w 737"/>
                <a:gd name="T3" fmla="*/ 173 h 201"/>
                <a:gd name="T4" fmla="*/ 31 w 737"/>
                <a:gd name="T5" fmla="*/ 179 h 201"/>
                <a:gd name="T6" fmla="*/ 39 w 737"/>
                <a:gd name="T7" fmla="*/ 180 h 201"/>
                <a:gd name="T8" fmla="*/ 51 w 737"/>
                <a:gd name="T9" fmla="*/ 186 h 201"/>
                <a:gd name="T10" fmla="*/ 66 w 737"/>
                <a:gd name="T11" fmla="*/ 186 h 201"/>
                <a:gd name="T12" fmla="*/ 65 w 737"/>
                <a:gd name="T13" fmla="*/ 180 h 201"/>
                <a:gd name="T14" fmla="*/ 63 w 737"/>
                <a:gd name="T15" fmla="*/ 177 h 201"/>
                <a:gd name="T16" fmla="*/ 90 w 737"/>
                <a:gd name="T17" fmla="*/ 167 h 201"/>
                <a:gd name="T18" fmla="*/ 93 w 737"/>
                <a:gd name="T19" fmla="*/ 154 h 201"/>
                <a:gd name="T20" fmla="*/ 91 w 737"/>
                <a:gd name="T21" fmla="*/ 136 h 201"/>
                <a:gd name="T22" fmla="*/ 103 w 737"/>
                <a:gd name="T23" fmla="*/ 124 h 201"/>
                <a:gd name="T24" fmla="*/ 118 w 737"/>
                <a:gd name="T25" fmla="*/ 136 h 201"/>
                <a:gd name="T26" fmla="*/ 127 w 737"/>
                <a:gd name="T27" fmla="*/ 128 h 201"/>
                <a:gd name="T28" fmla="*/ 134 w 737"/>
                <a:gd name="T29" fmla="*/ 127 h 201"/>
                <a:gd name="T30" fmla="*/ 151 w 737"/>
                <a:gd name="T31" fmla="*/ 151 h 201"/>
                <a:gd name="T32" fmla="*/ 173 w 737"/>
                <a:gd name="T33" fmla="*/ 171 h 201"/>
                <a:gd name="T34" fmla="*/ 199 w 737"/>
                <a:gd name="T35" fmla="*/ 183 h 201"/>
                <a:gd name="T36" fmla="*/ 216 w 737"/>
                <a:gd name="T37" fmla="*/ 179 h 201"/>
                <a:gd name="T38" fmla="*/ 242 w 737"/>
                <a:gd name="T39" fmla="*/ 186 h 201"/>
                <a:gd name="T40" fmla="*/ 279 w 737"/>
                <a:gd name="T41" fmla="*/ 191 h 201"/>
                <a:gd name="T42" fmla="*/ 293 w 737"/>
                <a:gd name="T43" fmla="*/ 182 h 201"/>
                <a:gd name="T44" fmla="*/ 305 w 737"/>
                <a:gd name="T45" fmla="*/ 179 h 201"/>
                <a:gd name="T46" fmla="*/ 316 w 737"/>
                <a:gd name="T47" fmla="*/ 176 h 201"/>
                <a:gd name="T48" fmla="*/ 331 w 737"/>
                <a:gd name="T49" fmla="*/ 158 h 201"/>
                <a:gd name="T50" fmla="*/ 359 w 737"/>
                <a:gd name="T51" fmla="*/ 143 h 201"/>
                <a:gd name="T52" fmla="*/ 359 w 737"/>
                <a:gd name="T53" fmla="*/ 134 h 201"/>
                <a:gd name="T54" fmla="*/ 380 w 737"/>
                <a:gd name="T55" fmla="*/ 108 h 201"/>
                <a:gd name="T56" fmla="*/ 401 w 737"/>
                <a:gd name="T57" fmla="*/ 88 h 201"/>
                <a:gd name="T58" fmla="*/ 417 w 737"/>
                <a:gd name="T59" fmla="*/ 81 h 201"/>
                <a:gd name="T60" fmla="*/ 426 w 737"/>
                <a:gd name="T61" fmla="*/ 34 h 201"/>
                <a:gd name="T62" fmla="*/ 463 w 737"/>
                <a:gd name="T63" fmla="*/ 29 h 201"/>
                <a:gd name="T64" fmla="*/ 472 w 737"/>
                <a:gd name="T65" fmla="*/ 34 h 201"/>
                <a:gd name="T66" fmla="*/ 490 w 737"/>
                <a:gd name="T67" fmla="*/ 34 h 201"/>
                <a:gd name="T68" fmla="*/ 500 w 737"/>
                <a:gd name="T69" fmla="*/ 26 h 201"/>
                <a:gd name="T70" fmla="*/ 536 w 737"/>
                <a:gd name="T71" fmla="*/ 23 h 201"/>
                <a:gd name="T72" fmla="*/ 540 w 737"/>
                <a:gd name="T73" fmla="*/ 16 h 201"/>
                <a:gd name="T74" fmla="*/ 552 w 737"/>
                <a:gd name="T75" fmla="*/ 17 h 201"/>
                <a:gd name="T76" fmla="*/ 559 w 737"/>
                <a:gd name="T77" fmla="*/ 22 h 201"/>
                <a:gd name="T78" fmla="*/ 565 w 737"/>
                <a:gd name="T79" fmla="*/ 17 h 201"/>
                <a:gd name="T80" fmla="*/ 565 w 737"/>
                <a:gd name="T81" fmla="*/ 4 h 201"/>
                <a:gd name="T82" fmla="*/ 583 w 737"/>
                <a:gd name="T83" fmla="*/ 0 h 201"/>
                <a:gd name="T84" fmla="*/ 610 w 737"/>
                <a:gd name="T85" fmla="*/ 16 h 201"/>
                <a:gd name="T86" fmla="*/ 614 w 737"/>
                <a:gd name="T87" fmla="*/ 25 h 201"/>
                <a:gd name="T88" fmla="*/ 620 w 737"/>
                <a:gd name="T89" fmla="*/ 37 h 201"/>
                <a:gd name="T90" fmla="*/ 648 w 737"/>
                <a:gd name="T91" fmla="*/ 47 h 201"/>
                <a:gd name="T92" fmla="*/ 658 w 737"/>
                <a:gd name="T93" fmla="*/ 56 h 201"/>
                <a:gd name="T94" fmla="*/ 679 w 737"/>
                <a:gd name="T95" fmla="*/ 74 h 201"/>
                <a:gd name="T96" fmla="*/ 697 w 737"/>
                <a:gd name="T97" fmla="*/ 69 h 201"/>
                <a:gd name="T98" fmla="*/ 715 w 737"/>
                <a:gd name="T99" fmla="*/ 74 h 201"/>
                <a:gd name="T100" fmla="*/ 721 w 737"/>
                <a:gd name="T101" fmla="*/ 90 h 201"/>
                <a:gd name="T102" fmla="*/ 712 w 737"/>
                <a:gd name="T103" fmla="*/ 85 h 201"/>
                <a:gd name="T104" fmla="*/ 712 w 737"/>
                <a:gd name="T105" fmla="*/ 99 h 201"/>
                <a:gd name="T106" fmla="*/ 721 w 737"/>
                <a:gd name="T107" fmla="*/ 114 h 201"/>
                <a:gd name="T108" fmla="*/ 712 w 737"/>
                <a:gd name="T109" fmla="*/ 122 h 201"/>
                <a:gd name="T110" fmla="*/ 709 w 737"/>
                <a:gd name="T111" fmla="*/ 140 h 201"/>
                <a:gd name="T112" fmla="*/ 707 w 737"/>
                <a:gd name="T113" fmla="*/ 161 h 201"/>
                <a:gd name="T114" fmla="*/ 712 w 737"/>
                <a:gd name="T115" fmla="*/ 170 h 201"/>
                <a:gd name="T116" fmla="*/ 706 w 737"/>
                <a:gd name="T117" fmla="*/ 185 h 201"/>
                <a:gd name="T118" fmla="*/ 712 w 737"/>
                <a:gd name="T11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7" h="201">
                  <a:moveTo>
                    <a:pt x="0" y="182"/>
                  </a:moveTo>
                  <a:lnTo>
                    <a:pt x="0" y="182"/>
                  </a:lnTo>
                  <a:lnTo>
                    <a:pt x="5" y="180"/>
                  </a:lnTo>
                  <a:lnTo>
                    <a:pt x="10" y="179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7" y="174"/>
                  </a:lnTo>
                  <a:lnTo>
                    <a:pt x="22" y="173"/>
                  </a:lnTo>
                  <a:lnTo>
                    <a:pt x="25" y="173"/>
                  </a:lnTo>
                  <a:lnTo>
                    <a:pt x="28" y="176"/>
                  </a:lnTo>
                  <a:lnTo>
                    <a:pt x="28" y="176"/>
                  </a:lnTo>
                  <a:lnTo>
                    <a:pt x="31" y="179"/>
                  </a:lnTo>
                  <a:lnTo>
                    <a:pt x="34" y="180"/>
                  </a:lnTo>
                  <a:lnTo>
                    <a:pt x="38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42" y="180"/>
                  </a:lnTo>
                  <a:lnTo>
                    <a:pt x="44" y="182"/>
                  </a:lnTo>
                  <a:lnTo>
                    <a:pt x="47" y="185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6" y="188"/>
                  </a:lnTo>
                  <a:lnTo>
                    <a:pt x="62" y="188"/>
                  </a:lnTo>
                  <a:lnTo>
                    <a:pt x="66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3"/>
                  </a:lnTo>
                  <a:lnTo>
                    <a:pt x="65" y="180"/>
                  </a:lnTo>
                  <a:lnTo>
                    <a:pt x="62" y="179"/>
                  </a:lnTo>
                  <a:lnTo>
                    <a:pt x="60" y="179"/>
                  </a:lnTo>
                  <a:lnTo>
                    <a:pt x="63" y="177"/>
                  </a:lnTo>
                  <a:lnTo>
                    <a:pt x="63" y="177"/>
                  </a:lnTo>
                  <a:lnTo>
                    <a:pt x="78" y="173"/>
                  </a:lnTo>
                  <a:lnTo>
                    <a:pt x="85" y="170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4" y="159"/>
                  </a:lnTo>
                  <a:lnTo>
                    <a:pt x="94" y="157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1" y="146"/>
                  </a:lnTo>
                  <a:lnTo>
                    <a:pt x="91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6" y="130"/>
                  </a:lnTo>
                  <a:lnTo>
                    <a:pt x="100" y="125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11" y="131"/>
                  </a:lnTo>
                  <a:lnTo>
                    <a:pt x="115" y="134"/>
                  </a:lnTo>
                  <a:lnTo>
                    <a:pt x="118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4" y="133"/>
                  </a:lnTo>
                  <a:lnTo>
                    <a:pt x="127" y="128"/>
                  </a:lnTo>
                  <a:lnTo>
                    <a:pt x="130" y="127"/>
                  </a:lnTo>
                  <a:lnTo>
                    <a:pt x="133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9" y="130"/>
                  </a:lnTo>
                  <a:lnTo>
                    <a:pt x="145" y="134"/>
                  </a:lnTo>
                  <a:lnTo>
                    <a:pt x="148" y="142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4" y="155"/>
                  </a:lnTo>
                  <a:lnTo>
                    <a:pt x="159" y="161"/>
                  </a:lnTo>
                  <a:lnTo>
                    <a:pt x="173" y="171"/>
                  </a:lnTo>
                  <a:lnTo>
                    <a:pt x="186" y="179"/>
                  </a:lnTo>
                  <a:lnTo>
                    <a:pt x="195" y="183"/>
                  </a:lnTo>
                  <a:lnTo>
                    <a:pt x="195" y="183"/>
                  </a:lnTo>
                  <a:lnTo>
                    <a:pt x="199" y="183"/>
                  </a:lnTo>
                  <a:lnTo>
                    <a:pt x="202" y="180"/>
                  </a:lnTo>
                  <a:lnTo>
                    <a:pt x="208" y="179"/>
                  </a:lnTo>
                  <a:lnTo>
                    <a:pt x="216" y="179"/>
                  </a:lnTo>
                  <a:lnTo>
                    <a:pt x="216" y="179"/>
                  </a:lnTo>
                  <a:lnTo>
                    <a:pt x="229" y="183"/>
                  </a:lnTo>
                  <a:lnTo>
                    <a:pt x="235" y="186"/>
                  </a:lnTo>
                  <a:lnTo>
                    <a:pt x="242" y="186"/>
                  </a:lnTo>
                  <a:lnTo>
                    <a:pt x="242" y="186"/>
                  </a:lnTo>
                  <a:lnTo>
                    <a:pt x="250" y="186"/>
                  </a:lnTo>
                  <a:lnTo>
                    <a:pt x="260" y="188"/>
                  </a:lnTo>
                  <a:lnTo>
                    <a:pt x="272" y="189"/>
                  </a:lnTo>
                  <a:lnTo>
                    <a:pt x="279" y="191"/>
                  </a:lnTo>
                  <a:lnTo>
                    <a:pt x="279" y="191"/>
                  </a:lnTo>
                  <a:lnTo>
                    <a:pt x="285" y="188"/>
                  </a:lnTo>
                  <a:lnTo>
                    <a:pt x="288" y="185"/>
                  </a:lnTo>
                  <a:lnTo>
                    <a:pt x="293" y="182"/>
                  </a:lnTo>
                  <a:lnTo>
                    <a:pt x="300" y="179"/>
                  </a:lnTo>
                  <a:lnTo>
                    <a:pt x="300" y="179"/>
                  </a:lnTo>
                  <a:lnTo>
                    <a:pt x="303" y="179"/>
                  </a:lnTo>
                  <a:lnTo>
                    <a:pt x="305" y="179"/>
                  </a:lnTo>
                  <a:lnTo>
                    <a:pt x="308" y="180"/>
                  </a:lnTo>
                  <a:lnTo>
                    <a:pt x="309" y="182"/>
                  </a:lnTo>
                  <a:lnTo>
                    <a:pt x="310" y="182"/>
                  </a:lnTo>
                  <a:lnTo>
                    <a:pt x="316" y="176"/>
                  </a:lnTo>
                  <a:lnTo>
                    <a:pt x="316" y="176"/>
                  </a:lnTo>
                  <a:lnTo>
                    <a:pt x="324" y="168"/>
                  </a:lnTo>
                  <a:lnTo>
                    <a:pt x="327" y="162"/>
                  </a:lnTo>
                  <a:lnTo>
                    <a:pt x="331" y="158"/>
                  </a:lnTo>
                  <a:lnTo>
                    <a:pt x="339" y="154"/>
                  </a:lnTo>
                  <a:lnTo>
                    <a:pt x="339" y="154"/>
                  </a:lnTo>
                  <a:lnTo>
                    <a:pt x="355" y="146"/>
                  </a:lnTo>
                  <a:lnTo>
                    <a:pt x="359" y="143"/>
                  </a:lnTo>
                  <a:lnTo>
                    <a:pt x="359" y="140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59" y="134"/>
                  </a:lnTo>
                  <a:lnTo>
                    <a:pt x="361" y="130"/>
                  </a:lnTo>
                  <a:lnTo>
                    <a:pt x="365" y="122"/>
                  </a:lnTo>
                  <a:lnTo>
                    <a:pt x="373" y="115"/>
                  </a:lnTo>
                  <a:lnTo>
                    <a:pt x="380" y="108"/>
                  </a:lnTo>
                  <a:lnTo>
                    <a:pt x="380" y="108"/>
                  </a:lnTo>
                  <a:lnTo>
                    <a:pt x="393" y="96"/>
                  </a:lnTo>
                  <a:lnTo>
                    <a:pt x="401" y="88"/>
                  </a:lnTo>
                  <a:lnTo>
                    <a:pt x="401" y="88"/>
                  </a:lnTo>
                  <a:lnTo>
                    <a:pt x="405" y="85"/>
                  </a:lnTo>
                  <a:lnTo>
                    <a:pt x="410" y="84"/>
                  </a:lnTo>
                  <a:lnTo>
                    <a:pt x="417" y="81"/>
                  </a:lnTo>
                  <a:lnTo>
                    <a:pt x="417" y="81"/>
                  </a:lnTo>
                  <a:lnTo>
                    <a:pt x="420" y="72"/>
                  </a:lnTo>
                  <a:lnTo>
                    <a:pt x="422" y="57"/>
                  </a:lnTo>
                  <a:lnTo>
                    <a:pt x="424" y="41"/>
                  </a:lnTo>
                  <a:lnTo>
                    <a:pt x="426" y="34"/>
                  </a:lnTo>
                  <a:lnTo>
                    <a:pt x="426" y="34"/>
                  </a:lnTo>
                  <a:lnTo>
                    <a:pt x="442" y="31"/>
                  </a:lnTo>
                  <a:lnTo>
                    <a:pt x="454" y="29"/>
                  </a:lnTo>
                  <a:lnTo>
                    <a:pt x="463" y="29"/>
                  </a:lnTo>
                  <a:lnTo>
                    <a:pt x="463" y="29"/>
                  </a:lnTo>
                  <a:lnTo>
                    <a:pt x="467" y="31"/>
                  </a:lnTo>
                  <a:lnTo>
                    <a:pt x="469" y="32"/>
                  </a:lnTo>
                  <a:lnTo>
                    <a:pt x="472" y="34"/>
                  </a:lnTo>
                  <a:lnTo>
                    <a:pt x="478" y="35"/>
                  </a:lnTo>
                  <a:lnTo>
                    <a:pt x="478" y="35"/>
                  </a:lnTo>
                  <a:lnTo>
                    <a:pt x="487" y="35"/>
                  </a:lnTo>
                  <a:lnTo>
                    <a:pt x="490" y="34"/>
                  </a:lnTo>
                  <a:lnTo>
                    <a:pt x="491" y="31"/>
                  </a:lnTo>
                  <a:lnTo>
                    <a:pt x="491" y="31"/>
                  </a:lnTo>
                  <a:lnTo>
                    <a:pt x="494" y="28"/>
                  </a:lnTo>
                  <a:lnTo>
                    <a:pt x="500" y="26"/>
                  </a:lnTo>
                  <a:lnTo>
                    <a:pt x="515" y="25"/>
                  </a:lnTo>
                  <a:lnTo>
                    <a:pt x="515" y="25"/>
                  </a:lnTo>
                  <a:lnTo>
                    <a:pt x="531" y="25"/>
                  </a:lnTo>
                  <a:lnTo>
                    <a:pt x="536" y="23"/>
                  </a:lnTo>
                  <a:lnTo>
                    <a:pt x="539" y="22"/>
                  </a:lnTo>
                  <a:lnTo>
                    <a:pt x="539" y="22"/>
                  </a:lnTo>
                  <a:lnTo>
                    <a:pt x="539" y="19"/>
                  </a:lnTo>
                  <a:lnTo>
                    <a:pt x="540" y="16"/>
                  </a:lnTo>
                  <a:lnTo>
                    <a:pt x="543" y="14"/>
                  </a:lnTo>
                  <a:lnTo>
                    <a:pt x="547" y="14"/>
                  </a:lnTo>
                  <a:lnTo>
                    <a:pt x="547" y="14"/>
                  </a:lnTo>
                  <a:lnTo>
                    <a:pt x="552" y="17"/>
                  </a:lnTo>
                  <a:lnTo>
                    <a:pt x="555" y="20"/>
                  </a:lnTo>
                  <a:lnTo>
                    <a:pt x="558" y="22"/>
                  </a:lnTo>
                  <a:lnTo>
                    <a:pt x="559" y="22"/>
                  </a:lnTo>
                  <a:lnTo>
                    <a:pt x="559" y="22"/>
                  </a:lnTo>
                  <a:lnTo>
                    <a:pt x="564" y="20"/>
                  </a:lnTo>
                  <a:lnTo>
                    <a:pt x="565" y="20"/>
                  </a:lnTo>
                  <a:lnTo>
                    <a:pt x="565" y="17"/>
                  </a:lnTo>
                  <a:lnTo>
                    <a:pt x="565" y="17"/>
                  </a:lnTo>
                  <a:lnTo>
                    <a:pt x="564" y="11"/>
                  </a:lnTo>
                  <a:lnTo>
                    <a:pt x="564" y="7"/>
                  </a:lnTo>
                  <a:lnTo>
                    <a:pt x="565" y="4"/>
                  </a:lnTo>
                  <a:lnTo>
                    <a:pt x="565" y="4"/>
                  </a:lnTo>
                  <a:lnTo>
                    <a:pt x="568" y="1"/>
                  </a:lnTo>
                  <a:lnTo>
                    <a:pt x="573" y="0"/>
                  </a:lnTo>
                  <a:lnTo>
                    <a:pt x="580" y="0"/>
                  </a:lnTo>
                  <a:lnTo>
                    <a:pt x="583" y="0"/>
                  </a:lnTo>
                  <a:lnTo>
                    <a:pt x="587" y="2"/>
                  </a:lnTo>
                  <a:lnTo>
                    <a:pt x="587" y="2"/>
                  </a:lnTo>
                  <a:lnTo>
                    <a:pt x="604" y="11"/>
                  </a:lnTo>
                  <a:lnTo>
                    <a:pt x="610" y="16"/>
                  </a:lnTo>
                  <a:lnTo>
                    <a:pt x="614" y="19"/>
                  </a:lnTo>
                  <a:lnTo>
                    <a:pt x="614" y="19"/>
                  </a:lnTo>
                  <a:lnTo>
                    <a:pt x="614" y="22"/>
                  </a:lnTo>
                  <a:lnTo>
                    <a:pt x="614" y="25"/>
                  </a:lnTo>
                  <a:lnTo>
                    <a:pt x="614" y="29"/>
                  </a:lnTo>
                  <a:lnTo>
                    <a:pt x="617" y="34"/>
                  </a:lnTo>
                  <a:lnTo>
                    <a:pt x="617" y="34"/>
                  </a:lnTo>
                  <a:lnTo>
                    <a:pt x="620" y="37"/>
                  </a:lnTo>
                  <a:lnTo>
                    <a:pt x="624" y="40"/>
                  </a:lnTo>
                  <a:lnTo>
                    <a:pt x="636" y="44"/>
                  </a:lnTo>
                  <a:lnTo>
                    <a:pt x="636" y="44"/>
                  </a:lnTo>
                  <a:lnTo>
                    <a:pt x="648" y="47"/>
                  </a:lnTo>
                  <a:lnTo>
                    <a:pt x="651" y="48"/>
                  </a:lnTo>
                  <a:lnTo>
                    <a:pt x="654" y="51"/>
                  </a:lnTo>
                  <a:lnTo>
                    <a:pt x="654" y="51"/>
                  </a:lnTo>
                  <a:lnTo>
                    <a:pt x="658" y="56"/>
                  </a:lnTo>
                  <a:lnTo>
                    <a:pt x="663" y="59"/>
                  </a:lnTo>
                  <a:lnTo>
                    <a:pt x="673" y="66"/>
                  </a:lnTo>
                  <a:lnTo>
                    <a:pt x="673" y="66"/>
                  </a:lnTo>
                  <a:lnTo>
                    <a:pt x="679" y="74"/>
                  </a:lnTo>
                  <a:lnTo>
                    <a:pt x="684" y="75"/>
                  </a:lnTo>
                  <a:lnTo>
                    <a:pt x="688" y="74"/>
                  </a:lnTo>
                  <a:lnTo>
                    <a:pt x="688" y="74"/>
                  </a:lnTo>
                  <a:lnTo>
                    <a:pt x="697" y="69"/>
                  </a:lnTo>
                  <a:lnTo>
                    <a:pt x="703" y="68"/>
                  </a:lnTo>
                  <a:lnTo>
                    <a:pt x="709" y="69"/>
                  </a:lnTo>
                  <a:lnTo>
                    <a:pt x="709" y="69"/>
                  </a:lnTo>
                  <a:lnTo>
                    <a:pt x="715" y="74"/>
                  </a:lnTo>
                  <a:lnTo>
                    <a:pt x="724" y="82"/>
                  </a:lnTo>
                  <a:lnTo>
                    <a:pt x="737" y="93"/>
                  </a:lnTo>
                  <a:lnTo>
                    <a:pt x="737" y="93"/>
                  </a:lnTo>
                  <a:lnTo>
                    <a:pt x="721" y="90"/>
                  </a:lnTo>
                  <a:lnTo>
                    <a:pt x="721" y="90"/>
                  </a:lnTo>
                  <a:lnTo>
                    <a:pt x="716" y="87"/>
                  </a:lnTo>
                  <a:lnTo>
                    <a:pt x="715" y="85"/>
                  </a:lnTo>
                  <a:lnTo>
                    <a:pt x="712" y="85"/>
                  </a:lnTo>
                  <a:lnTo>
                    <a:pt x="710" y="88"/>
                  </a:lnTo>
                  <a:lnTo>
                    <a:pt x="710" y="88"/>
                  </a:lnTo>
                  <a:lnTo>
                    <a:pt x="710" y="94"/>
                  </a:lnTo>
                  <a:lnTo>
                    <a:pt x="712" y="99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9" y="111"/>
                  </a:lnTo>
                  <a:lnTo>
                    <a:pt x="721" y="114"/>
                  </a:lnTo>
                  <a:lnTo>
                    <a:pt x="719" y="117"/>
                  </a:lnTo>
                  <a:lnTo>
                    <a:pt x="716" y="119"/>
                  </a:lnTo>
                  <a:lnTo>
                    <a:pt x="716" y="119"/>
                  </a:lnTo>
                  <a:lnTo>
                    <a:pt x="712" y="122"/>
                  </a:lnTo>
                  <a:lnTo>
                    <a:pt x="709" y="127"/>
                  </a:lnTo>
                  <a:lnTo>
                    <a:pt x="707" y="133"/>
                  </a:lnTo>
                  <a:lnTo>
                    <a:pt x="709" y="140"/>
                  </a:lnTo>
                  <a:lnTo>
                    <a:pt x="709" y="140"/>
                  </a:lnTo>
                  <a:lnTo>
                    <a:pt x="709" y="148"/>
                  </a:lnTo>
                  <a:lnTo>
                    <a:pt x="709" y="152"/>
                  </a:lnTo>
                  <a:lnTo>
                    <a:pt x="707" y="157"/>
                  </a:lnTo>
                  <a:lnTo>
                    <a:pt x="707" y="161"/>
                  </a:lnTo>
                  <a:lnTo>
                    <a:pt x="707" y="161"/>
                  </a:lnTo>
                  <a:lnTo>
                    <a:pt x="709" y="165"/>
                  </a:lnTo>
                  <a:lnTo>
                    <a:pt x="712" y="168"/>
                  </a:lnTo>
                  <a:lnTo>
                    <a:pt x="712" y="170"/>
                  </a:lnTo>
                  <a:lnTo>
                    <a:pt x="710" y="174"/>
                  </a:lnTo>
                  <a:lnTo>
                    <a:pt x="710" y="174"/>
                  </a:lnTo>
                  <a:lnTo>
                    <a:pt x="707" y="180"/>
                  </a:lnTo>
                  <a:lnTo>
                    <a:pt x="706" y="185"/>
                  </a:lnTo>
                  <a:lnTo>
                    <a:pt x="706" y="189"/>
                  </a:lnTo>
                  <a:lnTo>
                    <a:pt x="707" y="192"/>
                  </a:lnTo>
                  <a:lnTo>
                    <a:pt x="707" y="192"/>
                  </a:lnTo>
                  <a:lnTo>
                    <a:pt x="712" y="20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8" name="Freeform 187">
              <a:extLst>
                <a:ext uri="{FF2B5EF4-FFF2-40B4-BE49-F238E27FC236}">
                  <a16:creationId xmlns:a16="http://schemas.microsoft.com/office/drawing/2014/main" id="{813D04DB-9F6B-9E41-BB0E-95662EFA6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2050" y="4976813"/>
              <a:ext cx="406400" cy="1941512"/>
            </a:xfrm>
            <a:custGeom>
              <a:avLst/>
              <a:gdLst>
                <a:gd name="T0" fmla="*/ 99 w 256"/>
                <a:gd name="T1" fmla="*/ 26 h 1223"/>
                <a:gd name="T2" fmla="*/ 132 w 256"/>
                <a:gd name="T3" fmla="*/ 96 h 1223"/>
                <a:gd name="T4" fmla="*/ 142 w 256"/>
                <a:gd name="T5" fmla="*/ 203 h 1223"/>
                <a:gd name="T6" fmla="*/ 136 w 256"/>
                <a:gd name="T7" fmla="*/ 250 h 1223"/>
                <a:gd name="T8" fmla="*/ 117 w 256"/>
                <a:gd name="T9" fmla="*/ 269 h 1223"/>
                <a:gd name="T10" fmla="*/ 95 w 256"/>
                <a:gd name="T11" fmla="*/ 287 h 1223"/>
                <a:gd name="T12" fmla="*/ 115 w 256"/>
                <a:gd name="T13" fmla="*/ 294 h 1223"/>
                <a:gd name="T14" fmla="*/ 129 w 256"/>
                <a:gd name="T15" fmla="*/ 308 h 1223"/>
                <a:gd name="T16" fmla="*/ 127 w 256"/>
                <a:gd name="T17" fmla="*/ 342 h 1223"/>
                <a:gd name="T18" fmla="*/ 133 w 256"/>
                <a:gd name="T19" fmla="*/ 374 h 1223"/>
                <a:gd name="T20" fmla="*/ 139 w 256"/>
                <a:gd name="T21" fmla="*/ 425 h 1223"/>
                <a:gd name="T22" fmla="*/ 173 w 256"/>
                <a:gd name="T23" fmla="*/ 446 h 1223"/>
                <a:gd name="T24" fmla="*/ 151 w 256"/>
                <a:gd name="T25" fmla="*/ 477 h 1223"/>
                <a:gd name="T26" fmla="*/ 130 w 256"/>
                <a:gd name="T27" fmla="*/ 503 h 1223"/>
                <a:gd name="T28" fmla="*/ 142 w 256"/>
                <a:gd name="T29" fmla="*/ 524 h 1223"/>
                <a:gd name="T30" fmla="*/ 130 w 256"/>
                <a:gd name="T31" fmla="*/ 524 h 1223"/>
                <a:gd name="T32" fmla="*/ 127 w 256"/>
                <a:gd name="T33" fmla="*/ 561 h 1223"/>
                <a:gd name="T34" fmla="*/ 145 w 256"/>
                <a:gd name="T35" fmla="*/ 560 h 1223"/>
                <a:gd name="T36" fmla="*/ 164 w 256"/>
                <a:gd name="T37" fmla="*/ 555 h 1223"/>
                <a:gd name="T38" fmla="*/ 179 w 256"/>
                <a:gd name="T39" fmla="*/ 565 h 1223"/>
                <a:gd name="T40" fmla="*/ 212 w 256"/>
                <a:gd name="T41" fmla="*/ 574 h 1223"/>
                <a:gd name="T42" fmla="*/ 229 w 256"/>
                <a:gd name="T43" fmla="*/ 583 h 1223"/>
                <a:gd name="T44" fmla="*/ 255 w 256"/>
                <a:gd name="T45" fmla="*/ 589 h 1223"/>
                <a:gd name="T46" fmla="*/ 253 w 256"/>
                <a:gd name="T47" fmla="*/ 610 h 1223"/>
                <a:gd name="T48" fmla="*/ 227 w 256"/>
                <a:gd name="T49" fmla="*/ 620 h 1223"/>
                <a:gd name="T50" fmla="*/ 194 w 256"/>
                <a:gd name="T51" fmla="*/ 619 h 1223"/>
                <a:gd name="T52" fmla="*/ 175 w 256"/>
                <a:gd name="T53" fmla="*/ 634 h 1223"/>
                <a:gd name="T54" fmla="*/ 170 w 256"/>
                <a:gd name="T55" fmla="*/ 669 h 1223"/>
                <a:gd name="T56" fmla="*/ 181 w 256"/>
                <a:gd name="T57" fmla="*/ 678 h 1223"/>
                <a:gd name="T58" fmla="*/ 167 w 256"/>
                <a:gd name="T59" fmla="*/ 693 h 1223"/>
                <a:gd name="T60" fmla="*/ 163 w 256"/>
                <a:gd name="T61" fmla="*/ 709 h 1223"/>
                <a:gd name="T62" fmla="*/ 169 w 256"/>
                <a:gd name="T63" fmla="*/ 739 h 1223"/>
                <a:gd name="T64" fmla="*/ 179 w 256"/>
                <a:gd name="T65" fmla="*/ 757 h 1223"/>
                <a:gd name="T66" fmla="*/ 192 w 256"/>
                <a:gd name="T67" fmla="*/ 768 h 1223"/>
                <a:gd name="T68" fmla="*/ 187 w 256"/>
                <a:gd name="T69" fmla="*/ 789 h 1223"/>
                <a:gd name="T70" fmla="*/ 179 w 256"/>
                <a:gd name="T71" fmla="*/ 810 h 1223"/>
                <a:gd name="T72" fmla="*/ 163 w 256"/>
                <a:gd name="T73" fmla="*/ 848 h 1223"/>
                <a:gd name="T74" fmla="*/ 166 w 256"/>
                <a:gd name="T75" fmla="*/ 871 h 1223"/>
                <a:gd name="T76" fmla="*/ 136 w 256"/>
                <a:gd name="T77" fmla="*/ 893 h 1223"/>
                <a:gd name="T78" fmla="*/ 120 w 256"/>
                <a:gd name="T79" fmla="*/ 912 h 1223"/>
                <a:gd name="T80" fmla="*/ 123 w 256"/>
                <a:gd name="T81" fmla="*/ 931 h 1223"/>
                <a:gd name="T82" fmla="*/ 105 w 256"/>
                <a:gd name="T83" fmla="*/ 943 h 1223"/>
                <a:gd name="T84" fmla="*/ 101 w 256"/>
                <a:gd name="T85" fmla="*/ 1004 h 1223"/>
                <a:gd name="T86" fmla="*/ 138 w 256"/>
                <a:gd name="T87" fmla="*/ 1032 h 1223"/>
                <a:gd name="T88" fmla="*/ 151 w 256"/>
                <a:gd name="T89" fmla="*/ 1057 h 1223"/>
                <a:gd name="T90" fmla="*/ 150 w 256"/>
                <a:gd name="T91" fmla="*/ 1085 h 1223"/>
                <a:gd name="T92" fmla="*/ 129 w 256"/>
                <a:gd name="T93" fmla="*/ 1087 h 1223"/>
                <a:gd name="T94" fmla="*/ 124 w 256"/>
                <a:gd name="T95" fmla="*/ 1116 h 1223"/>
                <a:gd name="T96" fmla="*/ 150 w 256"/>
                <a:gd name="T97" fmla="*/ 1134 h 1223"/>
                <a:gd name="T98" fmla="*/ 157 w 256"/>
                <a:gd name="T99" fmla="*/ 1159 h 1223"/>
                <a:gd name="T100" fmla="*/ 135 w 256"/>
                <a:gd name="T101" fmla="*/ 1177 h 1223"/>
                <a:gd name="T102" fmla="*/ 129 w 256"/>
                <a:gd name="T103" fmla="*/ 1202 h 1223"/>
                <a:gd name="T104" fmla="*/ 112 w 256"/>
                <a:gd name="T105" fmla="*/ 1223 h 1223"/>
                <a:gd name="T106" fmla="*/ 104 w 256"/>
                <a:gd name="T107" fmla="*/ 1208 h 1223"/>
                <a:gd name="T108" fmla="*/ 80 w 256"/>
                <a:gd name="T109" fmla="*/ 1214 h 1223"/>
                <a:gd name="T110" fmla="*/ 77 w 256"/>
                <a:gd name="T111" fmla="*/ 1192 h 1223"/>
                <a:gd name="T112" fmla="*/ 47 w 256"/>
                <a:gd name="T113" fmla="*/ 1170 h 1223"/>
                <a:gd name="T114" fmla="*/ 30 w 256"/>
                <a:gd name="T115" fmla="*/ 1155 h 1223"/>
                <a:gd name="T116" fmla="*/ 0 w 256"/>
                <a:gd name="T117" fmla="*/ 1164 h 1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6" h="1223">
                  <a:moveTo>
                    <a:pt x="95" y="0"/>
                  </a:moveTo>
                  <a:lnTo>
                    <a:pt x="95" y="0"/>
                  </a:lnTo>
                  <a:lnTo>
                    <a:pt x="95" y="4"/>
                  </a:lnTo>
                  <a:lnTo>
                    <a:pt x="93" y="9"/>
                  </a:lnTo>
                  <a:lnTo>
                    <a:pt x="95" y="19"/>
                  </a:lnTo>
                  <a:lnTo>
                    <a:pt x="95" y="19"/>
                  </a:lnTo>
                  <a:lnTo>
                    <a:pt x="99" y="26"/>
                  </a:lnTo>
                  <a:lnTo>
                    <a:pt x="108" y="37"/>
                  </a:lnTo>
                  <a:lnTo>
                    <a:pt x="118" y="47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9" y="66"/>
                  </a:lnTo>
                  <a:lnTo>
                    <a:pt x="132" y="77"/>
                  </a:lnTo>
                  <a:lnTo>
                    <a:pt x="132" y="96"/>
                  </a:lnTo>
                  <a:lnTo>
                    <a:pt x="132" y="96"/>
                  </a:lnTo>
                  <a:lnTo>
                    <a:pt x="133" y="105"/>
                  </a:lnTo>
                  <a:lnTo>
                    <a:pt x="135" y="112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41" y="177"/>
                  </a:lnTo>
                  <a:lnTo>
                    <a:pt x="142" y="203"/>
                  </a:lnTo>
                  <a:lnTo>
                    <a:pt x="145" y="220"/>
                  </a:lnTo>
                  <a:lnTo>
                    <a:pt x="145" y="220"/>
                  </a:lnTo>
                  <a:lnTo>
                    <a:pt x="147" y="231"/>
                  </a:lnTo>
                  <a:lnTo>
                    <a:pt x="145" y="240"/>
                  </a:lnTo>
                  <a:lnTo>
                    <a:pt x="142" y="247"/>
                  </a:lnTo>
                  <a:lnTo>
                    <a:pt x="139" y="249"/>
                  </a:lnTo>
                  <a:lnTo>
                    <a:pt x="136" y="250"/>
                  </a:lnTo>
                  <a:lnTo>
                    <a:pt x="136" y="250"/>
                  </a:lnTo>
                  <a:lnTo>
                    <a:pt x="126" y="252"/>
                  </a:lnTo>
                  <a:lnTo>
                    <a:pt x="123" y="253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18" y="265"/>
                  </a:lnTo>
                  <a:lnTo>
                    <a:pt x="117" y="269"/>
                  </a:lnTo>
                  <a:lnTo>
                    <a:pt x="115" y="272"/>
                  </a:lnTo>
                  <a:lnTo>
                    <a:pt x="110" y="275"/>
                  </a:lnTo>
                  <a:lnTo>
                    <a:pt x="110" y="275"/>
                  </a:lnTo>
                  <a:lnTo>
                    <a:pt x="96" y="281"/>
                  </a:lnTo>
                  <a:lnTo>
                    <a:pt x="95" y="284"/>
                  </a:lnTo>
                  <a:lnTo>
                    <a:pt x="95" y="287"/>
                  </a:lnTo>
                  <a:lnTo>
                    <a:pt x="95" y="287"/>
                  </a:lnTo>
                  <a:lnTo>
                    <a:pt x="98" y="289"/>
                  </a:lnTo>
                  <a:lnTo>
                    <a:pt x="99" y="290"/>
                  </a:lnTo>
                  <a:lnTo>
                    <a:pt x="105" y="292"/>
                  </a:lnTo>
                  <a:lnTo>
                    <a:pt x="111" y="292"/>
                  </a:lnTo>
                  <a:lnTo>
                    <a:pt x="114" y="293"/>
                  </a:lnTo>
                  <a:lnTo>
                    <a:pt x="114" y="293"/>
                  </a:lnTo>
                  <a:lnTo>
                    <a:pt x="115" y="294"/>
                  </a:lnTo>
                  <a:lnTo>
                    <a:pt x="115" y="297"/>
                  </a:lnTo>
                  <a:lnTo>
                    <a:pt x="115" y="299"/>
                  </a:lnTo>
                  <a:lnTo>
                    <a:pt x="117" y="302"/>
                  </a:lnTo>
                  <a:lnTo>
                    <a:pt x="117" y="302"/>
                  </a:lnTo>
                  <a:lnTo>
                    <a:pt x="121" y="305"/>
                  </a:lnTo>
                  <a:lnTo>
                    <a:pt x="124" y="306"/>
                  </a:lnTo>
                  <a:lnTo>
                    <a:pt x="129" y="308"/>
                  </a:lnTo>
                  <a:lnTo>
                    <a:pt x="130" y="309"/>
                  </a:lnTo>
                  <a:lnTo>
                    <a:pt x="130" y="309"/>
                  </a:lnTo>
                  <a:lnTo>
                    <a:pt x="130" y="314"/>
                  </a:lnTo>
                  <a:lnTo>
                    <a:pt x="130" y="321"/>
                  </a:lnTo>
                  <a:lnTo>
                    <a:pt x="129" y="336"/>
                  </a:lnTo>
                  <a:lnTo>
                    <a:pt x="129" y="336"/>
                  </a:lnTo>
                  <a:lnTo>
                    <a:pt x="127" y="342"/>
                  </a:lnTo>
                  <a:lnTo>
                    <a:pt x="124" y="349"/>
                  </a:lnTo>
                  <a:lnTo>
                    <a:pt x="123" y="358"/>
                  </a:lnTo>
                  <a:lnTo>
                    <a:pt x="124" y="361"/>
                  </a:lnTo>
                  <a:lnTo>
                    <a:pt x="126" y="366"/>
                  </a:lnTo>
                  <a:lnTo>
                    <a:pt x="126" y="366"/>
                  </a:lnTo>
                  <a:lnTo>
                    <a:pt x="129" y="371"/>
                  </a:lnTo>
                  <a:lnTo>
                    <a:pt x="133" y="374"/>
                  </a:lnTo>
                  <a:lnTo>
                    <a:pt x="136" y="379"/>
                  </a:lnTo>
                  <a:lnTo>
                    <a:pt x="139" y="385"/>
                  </a:lnTo>
                  <a:lnTo>
                    <a:pt x="139" y="385"/>
                  </a:lnTo>
                  <a:lnTo>
                    <a:pt x="139" y="397"/>
                  </a:lnTo>
                  <a:lnTo>
                    <a:pt x="138" y="409"/>
                  </a:lnTo>
                  <a:lnTo>
                    <a:pt x="138" y="420"/>
                  </a:lnTo>
                  <a:lnTo>
                    <a:pt x="139" y="425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8" y="432"/>
                  </a:lnTo>
                  <a:lnTo>
                    <a:pt x="158" y="437"/>
                  </a:lnTo>
                  <a:lnTo>
                    <a:pt x="169" y="441"/>
                  </a:lnTo>
                  <a:lnTo>
                    <a:pt x="173" y="446"/>
                  </a:lnTo>
                  <a:lnTo>
                    <a:pt x="173" y="446"/>
                  </a:lnTo>
                  <a:lnTo>
                    <a:pt x="172" y="448"/>
                  </a:lnTo>
                  <a:lnTo>
                    <a:pt x="167" y="453"/>
                  </a:lnTo>
                  <a:lnTo>
                    <a:pt x="157" y="460"/>
                  </a:lnTo>
                  <a:lnTo>
                    <a:pt x="157" y="460"/>
                  </a:lnTo>
                  <a:lnTo>
                    <a:pt x="152" y="463"/>
                  </a:lnTo>
                  <a:lnTo>
                    <a:pt x="151" y="468"/>
                  </a:lnTo>
                  <a:lnTo>
                    <a:pt x="151" y="477"/>
                  </a:lnTo>
                  <a:lnTo>
                    <a:pt x="151" y="477"/>
                  </a:lnTo>
                  <a:lnTo>
                    <a:pt x="150" y="483"/>
                  </a:lnTo>
                  <a:lnTo>
                    <a:pt x="145" y="488"/>
                  </a:lnTo>
                  <a:lnTo>
                    <a:pt x="136" y="499"/>
                  </a:lnTo>
                  <a:lnTo>
                    <a:pt x="136" y="499"/>
                  </a:lnTo>
                  <a:lnTo>
                    <a:pt x="133" y="502"/>
                  </a:lnTo>
                  <a:lnTo>
                    <a:pt x="130" y="503"/>
                  </a:lnTo>
                  <a:lnTo>
                    <a:pt x="129" y="505"/>
                  </a:lnTo>
                  <a:lnTo>
                    <a:pt x="129" y="506"/>
                  </a:lnTo>
                  <a:lnTo>
                    <a:pt x="132" y="511"/>
                  </a:lnTo>
                  <a:lnTo>
                    <a:pt x="132" y="511"/>
                  </a:lnTo>
                  <a:lnTo>
                    <a:pt x="139" y="520"/>
                  </a:lnTo>
                  <a:lnTo>
                    <a:pt x="142" y="524"/>
                  </a:lnTo>
                  <a:lnTo>
                    <a:pt x="142" y="524"/>
                  </a:lnTo>
                  <a:lnTo>
                    <a:pt x="141" y="526"/>
                  </a:lnTo>
                  <a:lnTo>
                    <a:pt x="141" y="526"/>
                  </a:lnTo>
                  <a:lnTo>
                    <a:pt x="138" y="526"/>
                  </a:lnTo>
                  <a:lnTo>
                    <a:pt x="135" y="524"/>
                  </a:lnTo>
                  <a:lnTo>
                    <a:pt x="132" y="524"/>
                  </a:lnTo>
                  <a:lnTo>
                    <a:pt x="130" y="524"/>
                  </a:lnTo>
                  <a:lnTo>
                    <a:pt x="130" y="524"/>
                  </a:lnTo>
                  <a:lnTo>
                    <a:pt x="126" y="537"/>
                  </a:lnTo>
                  <a:lnTo>
                    <a:pt x="121" y="548"/>
                  </a:lnTo>
                  <a:lnTo>
                    <a:pt x="121" y="555"/>
                  </a:lnTo>
                  <a:lnTo>
                    <a:pt x="121" y="555"/>
                  </a:lnTo>
                  <a:lnTo>
                    <a:pt x="121" y="558"/>
                  </a:lnTo>
                  <a:lnTo>
                    <a:pt x="124" y="561"/>
                  </a:lnTo>
                  <a:lnTo>
                    <a:pt x="127" y="561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9" y="555"/>
                  </a:lnTo>
                  <a:lnTo>
                    <a:pt x="141" y="554"/>
                  </a:lnTo>
                  <a:lnTo>
                    <a:pt x="144" y="555"/>
                  </a:lnTo>
                  <a:lnTo>
                    <a:pt x="144" y="555"/>
                  </a:lnTo>
                  <a:lnTo>
                    <a:pt x="145" y="560"/>
                  </a:lnTo>
                  <a:lnTo>
                    <a:pt x="148" y="564"/>
                  </a:lnTo>
                  <a:lnTo>
                    <a:pt x="150" y="565"/>
                  </a:lnTo>
                  <a:lnTo>
                    <a:pt x="151" y="567"/>
                  </a:lnTo>
                  <a:lnTo>
                    <a:pt x="154" y="565"/>
                  </a:lnTo>
                  <a:lnTo>
                    <a:pt x="155" y="564"/>
                  </a:lnTo>
                  <a:lnTo>
                    <a:pt x="155" y="564"/>
                  </a:lnTo>
                  <a:lnTo>
                    <a:pt x="164" y="555"/>
                  </a:lnTo>
                  <a:lnTo>
                    <a:pt x="167" y="554"/>
                  </a:lnTo>
                  <a:lnTo>
                    <a:pt x="170" y="555"/>
                  </a:lnTo>
                  <a:lnTo>
                    <a:pt x="170" y="555"/>
                  </a:lnTo>
                  <a:lnTo>
                    <a:pt x="173" y="563"/>
                  </a:lnTo>
                  <a:lnTo>
                    <a:pt x="175" y="565"/>
                  </a:lnTo>
                  <a:lnTo>
                    <a:pt x="179" y="565"/>
                  </a:lnTo>
                  <a:lnTo>
                    <a:pt x="179" y="565"/>
                  </a:lnTo>
                  <a:lnTo>
                    <a:pt x="187" y="567"/>
                  </a:lnTo>
                  <a:lnTo>
                    <a:pt x="191" y="568"/>
                  </a:lnTo>
                  <a:lnTo>
                    <a:pt x="195" y="571"/>
                  </a:lnTo>
                  <a:lnTo>
                    <a:pt x="195" y="571"/>
                  </a:lnTo>
                  <a:lnTo>
                    <a:pt x="200" y="574"/>
                  </a:lnTo>
                  <a:lnTo>
                    <a:pt x="204" y="574"/>
                  </a:lnTo>
                  <a:lnTo>
                    <a:pt x="212" y="574"/>
                  </a:lnTo>
                  <a:lnTo>
                    <a:pt x="212" y="574"/>
                  </a:lnTo>
                  <a:lnTo>
                    <a:pt x="213" y="576"/>
                  </a:lnTo>
                  <a:lnTo>
                    <a:pt x="215" y="577"/>
                  </a:lnTo>
                  <a:lnTo>
                    <a:pt x="218" y="579"/>
                  </a:lnTo>
                  <a:lnTo>
                    <a:pt x="222" y="580"/>
                  </a:lnTo>
                  <a:lnTo>
                    <a:pt x="222" y="580"/>
                  </a:lnTo>
                  <a:lnTo>
                    <a:pt x="229" y="583"/>
                  </a:lnTo>
                  <a:lnTo>
                    <a:pt x="235" y="583"/>
                  </a:lnTo>
                  <a:lnTo>
                    <a:pt x="240" y="583"/>
                  </a:lnTo>
                  <a:lnTo>
                    <a:pt x="243" y="582"/>
                  </a:lnTo>
                  <a:lnTo>
                    <a:pt x="243" y="582"/>
                  </a:lnTo>
                  <a:lnTo>
                    <a:pt x="246" y="582"/>
                  </a:lnTo>
                  <a:lnTo>
                    <a:pt x="250" y="585"/>
                  </a:lnTo>
                  <a:lnTo>
                    <a:pt x="255" y="589"/>
                  </a:lnTo>
                  <a:lnTo>
                    <a:pt x="256" y="592"/>
                  </a:lnTo>
                  <a:lnTo>
                    <a:pt x="256" y="595"/>
                  </a:lnTo>
                  <a:lnTo>
                    <a:pt x="256" y="595"/>
                  </a:lnTo>
                  <a:lnTo>
                    <a:pt x="256" y="601"/>
                  </a:lnTo>
                  <a:lnTo>
                    <a:pt x="256" y="605"/>
                  </a:lnTo>
                  <a:lnTo>
                    <a:pt x="255" y="608"/>
                  </a:lnTo>
                  <a:lnTo>
                    <a:pt x="253" y="610"/>
                  </a:lnTo>
                  <a:lnTo>
                    <a:pt x="250" y="611"/>
                  </a:lnTo>
                  <a:lnTo>
                    <a:pt x="246" y="611"/>
                  </a:lnTo>
                  <a:lnTo>
                    <a:pt x="246" y="611"/>
                  </a:lnTo>
                  <a:lnTo>
                    <a:pt x="238" y="613"/>
                  </a:lnTo>
                  <a:lnTo>
                    <a:pt x="232" y="614"/>
                  </a:lnTo>
                  <a:lnTo>
                    <a:pt x="229" y="616"/>
                  </a:lnTo>
                  <a:lnTo>
                    <a:pt x="227" y="620"/>
                  </a:lnTo>
                  <a:lnTo>
                    <a:pt x="227" y="620"/>
                  </a:lnTo>
                  <a:lnTo>
                    <a:pt x="222" y="625"/>
                  </a:lnTo>
                  <a:lnTo>
                    <a:pt x="218" y="628"/>
                  </a:lnTo>
                  <a:lnTo>
                    <a:pt x="213" y="629"/>
                  </a:lnTo>
                  <a:lnTo>
                    <a:pt x="207" y="628"/>
                  </a:lnTo>
                  <a:lnTo>
                    <a:pt x="207" y="628"/>
                  </a:lnTo>
                  <a:lnTo>
                    <a:pt x="194" y="619"/>
                  </a:lnTo>
                  <a:lnTo>
                    <a:pt x="189" y="617"/>
                  </a:lnTo>
                  <a:lnTo>
                    <a:pt x="187" y="617"/>
                  </a:lnTo>
                  <a:lnTo>
                    <a:pt x="184" y="619"/>
                  </a:lnTo>
                  <a:lnTo>
                    <a:pt x="181" y="620"/>
                  </a:lnTo>
                  <a:lnTo>
                    <a:pt x="181" y="620"/>
                  </a:lnTo>
                  <a:lnTo>
                    <a:pt x="176" y="628"/>
                  </a:lnTo>
                  <a:lnTo>
                    <a:pt x="175" y="634"/>
                  </a:lnTo>
                  <a:lnTo>
                    <a:pt x="173" y="648"/>
                  </a:lnTo>
                  <a:lnTo>
                    <a:pt x="173" y="648"/>
                  </a:lnTo>
                  <a:lnTo>
                    <a:pt x="172" y="656"/>
                  </a:lnTo>
                  <a:lnTo>
                    <a:pt x="169" y="662"/>
                  </a:lnTo>
                  <a:lnTo>
                    <a:pt x="169" y="666"/>
                  </a:lnTo>
                  <a:lnTo>
                    <a:pt x="169" y="668"/>
                  </a:lnTo>
                  <a:lnTo>
                    <a:pt x="170" y="669"/>
                  </a:lnTo>
                  <a:lnTo>
                    <a:pt x="170" y="669"/>
                  </a:lnTo>
                  <a:lnTo>
                    <a:pt x="175" y="672"/>
                  </a:lnTo>
                  <a:lnTo>
                    <a:pt x="179" y="672"/>
                  </a:lnTo>
                  <a:lnTo>
                    <a:pt x="182" y="675"/>
                  </a:lnTo>
                  <a:lnTo>
                    <a:pt x="182" y="677"/>
                  </a:lnTo>
                  <a:lnTo>
                    <a:pt x="181" y="678"/>
                  </a:lnTo>
                  <a:lnTo>
                    <a:pt x="181" y="678"/>
                  </a:lnTo>
                  <a:lnTo>
                    <a:pt x="178" y="682"/>
                  </a:lnTo>
                  <a:lnTo>
                    <a:pt x="173" y="684"/>
                  </a:lnTo>
                  <a:lnTo>
                    <a:pt x="169" y="685"/>
                  </a:lnTo>
                  <a:lnTo>
                    <a:pt x="167" y="687"/>
                  </a:lnTo>
                  <a:lnTo>
                    <a:pt x="167" y="688"/>
                  </a:lnTo>
                  <a:lnTo>
                    <a:pt x="167" y="688"/>
                  </a:lnTo>
                  <a:lnTo>
                    <a:pt x="167" y="693"/>
                  </a:lnTo>
                  <a:lnTo>
                    <a:pt x="169" y="696"/>
                  </a:lnTo>
                  <a:lnTo>
                    <a:pt x="172" y="700"/>
                  </a:lnTo>
                  <a:lnTo>
                    <a:pt x="172" y="700"/>
                  </a:lnTo>
                  <a:lnTo>
                    <a:pt x="172" y="702"/>
                  </a:lnTo>
                  <a:lnTo>
                    <a:pt x="169" y="703"/>
                  </a:lnTo>
                  <a:lnTo>
                    <a:pt x="164" y="706"/>
                  </a:lnTo>
                  <a:lnTo>
                    <a:pt x="163" y="709"/>
                  </a:lnTo>
                  <a:lnTo>
                    <a:pt x="163" y="709"/>
                  </a:lnTo>
                  <a:lnTo>
                    <a:pt x="160" y="718"/>
                  </a:lnTo>
                  <a:lnTo>
                    <a:pt x="161" y="722"/>
                  </a:lnTo>
                  <a:lnTo>
                    <a:pt x="163" y="728"/>
                  </a:lnTo>
                  <a:lnTo>
                    <a:pt x="163" y="728"/>
                  </a:lnTo>
                  <a:lnTo>
                    <a:pt x="166" y="734"/>
                  </a:lnTo>
                  <a:lnTo>
                    <a:pt x="169" y="739"/>
                  </a:lnTo>
                  <a:lnTo>
                    <a:pt x="172" y="743"/>
                  </a:lnTo>
                  <a:lnTo>
                    <a:pt x="173" y="745"/>
                  </a:lnTo>
                  <a:lnTo>
                    <a:pt x="173" y="745"/>
                  </a:lnTo>
                  <a:lnTo>
                    <a:pt x="173" y="752"/>
                  </a:lnTo>
                  <a:lnTo>
                    <a:pt x="176" y="755"/>
                  </a:lnTo>
                  <a:lnTo>
                    <a:pt x="179" y="757"/>
                  </a:lnTo>
                  <a:lnTo>
                    <a:pt x="179" y="757"/>
                  </a:lnTo>
                  <a:lnTo>
                    <a:pt x="189" y="760"/>
                  </a:lnTo>
                  <a:lnTo>
                    <a:pt x="194" y="761"/>
                  </a:lnTo>
                  <a:lnTo>
                    <a:pt x="195" y="761"/>
                  </a:lnTo>
                  <a:lnTo>
                    <a:pt x="197" y="762"/>
                  </a:lnTo>
                  <a:lnTo>
                    <a:pt x="197" y="762"/>
                  </a:lnTo>
                  <a:lnTo>
                    <a:pt x="195" y="765"/>
                  </a:lnTo>
                  <a:lnTo>
                    <a:pt x="192" y="768"/>
                  </a:lnTo>
                  <a:lnTo>
                    <a:pt x="191" y="773"/>
                  </a:lnTo>
                  <a:lnTo>
                    <a:pt x="189" y="776"/>
                  </a:lnTo>
                  <a:lnTo>
                    <a:pt x="189" y="776"/>
                  </a:lnTo>
                  <a:lnTo>
                    <a:pt x="191" y="783"/>
                  </a:lnTo>
                  <a:lnTo>
                    <a:pt x="191" y="786"/>
                  </a:lnTo>
                  <a:lnTo>
                    <a:pt x="189" y="788"/>
                  </a:lnTo>
                  <a:lnTo>
                    <a:pt x="187" y="789"/>
                  </a:lnTo>
                  <a:lnTo>
                    <a:pt x="187" y="789"/>
                  </a:lnTo>
                  <a:lnTo>
                    <a:pt x="182" y="791"/>
                  </a:lnTo>
                  <a:lnTo>
                    <a:pt x="179" y="795"/>
                  </a:lnTo>
                  <a:lnTo>
                    <a:pt x="178" y="799"/>
                  </a:lnTo>
                  <a:lnTo>
                    <a:pt x="178" y="804"/>
                  </a:lnTo>
                  <a:lnTo>
                    <a:pt x="178" y="804"/>
                  </a:lnTo>
                  <a:lnTo>
                    <a:pt x="179" y="810"/>
                  </a:lnTo>
                  <a:lnTo>
                    <a:pt x="179" y="819"/>
                  </a:lnTo>
                  <a:lnTo>
                    <a:pt x="179" y="835"/>
                  </a:lnTo>
                  <a:lnTo>
                    <a:pt x="179" y="835"/>
                  </a:lnTo>
                  <a:lnTo>
                    <a:pt x="178" y="837"/>
                  </a:lnTo>
                  <a:lnTo>
                    <a:pt x="176" y="839"/>
                  </a:lnTo>
                  <a:lnTo>
                    <a:pt x="170" y="842"/>
                  </a:lnTo>
                  <a:lnTo>
                    <a:pt x="163" y="848"/>
                  </a:lnTo>
                  <a:lnTo>
                    <a:pt x="161" y="850"/>
                  </a:lnTo>
                  <a:lnTo>
                    <a:pt x="160" y="853"/>
                  </a:lnTo>
                  <a:lnTo>
                    <a:pt x="160" y="853"/>
                  </a:lnTo>
                  <a:lnTo>
                    <a:pt x="161" y="859"/>
                  </a:lnTo>
                  <a:lnTo>
                    <a:pt x="164" y="863"/>
                  </a:lnTo>
                  <a:lnTo>
                    <a:pt x="166" y="868"/>
                  </a:lnTo>
                  <a:lnTo>
                    <a:pt x="166" y="871"/>
                  </a:lnTo>
                  <a:lnTo>
                    <a:pt x="166" y="871"/>
                  </a:lnTo>
                  <a:lnTo>
                    <a:pt x="161" y="877"/>
                  </a:lnTo>
                  <a:lnTo>
                    <a:pt x="157" y="881"/>
                  </a:lnTo>
                  <a:lnTo>
                    <a:pt x="151" y="885"/>
                  </a:lnTo>
                  <a:lnTo>
                    <a:pt x="145" y="888"/>
                  </a:lnTo>
                  <a:lnTo>
                    <a:pt x="145" y="888"/>
                  </a:lnTo>
                  <a:lnTo>
                    <a:pt x="136" y="893"/>
                  </a:lnTo>
                  <a:lnTo>
                    <a:pt x="132" y="897"/>
                  </a:lnTo>
                  <a:lnTo>
                    <a:pt x="130" y="900"/>
                  </a:lnTo>
                  <a:lnTo>
                    <a:pt x="130" y="900"/>
                  </a:lnTo>
                  <a:lnTo>
                    <a:pt x="130" y="905"/>
                  </a:lnTo>
                  <a:lnTo>
                    <a:pt x="127" y="908"/>
                  </a:lnTo>
                  <a:lnTo>
                    <a:pt x="124" y="911"/>
                  </a:lnTo>
                  <a:lnTo>
                    <a:pt x="120" y="912"/>
                  </a:lnTo>
                  <a:lnTo>
                    <a:pt x="120" y="912"/>
                  </a:lnTo>
                  <a:lnTo>
                    <a:pt x="111" y="915"/>
                  </a:lnTo>
                  <a:lnTo>
                    <a:pt x="108" y="918"/>
                  </a:lnTo>
                  <a:lnTo>
                    <a:pt x="111" y="921"/>
                  </a:lnTo>
                  <a:lnTo>
                    <a:pt x="111" y="921"/>
                  </a:lnTo>
                  <a:lnTo>
                    <a:pt x="120" y="927"/>
                  </a:lnTo>
                  <a:lnTo>
                    <a:pt x="123" y="931"/>
                  </a:lnTo>
                  <a:lnTo>
                    <a:pt x="123" y="933"/>
                  </a:lnTo>
                  <a:lnTo>
                    <a:pt x="121" y="934"/>
                  </a:lnTo>
                  <a:lnTo>
                    <a:pt x="121" y="934"/>
                  </a:lnTo>
                  <a:lnTo>
                    <a:pt x="117" y="936"/>
                  </a:lnTo>
                  <a:lnTo>
                    <a:pt x="112" y="939"/>
                  </a:lnTo>
                  <a:lnTo>
                    <a:pt x="108" y="940"/>
                  </a:lnTo>
                  <a:lnTo>
                    <a:pt x="105" y="943"/>
                  </a:lnTo>
                  <a:lnTo>
                    <a:pt x="105" y="943"/>
                  </a:lnTo>
                  <a:lnTo>
                    <a:pt x="102" y="954"/>
                  </a:lnTo>
                  <a:lnTo>
                    <a:pt x="101" y="961"/>
                  </a:lnTo>
                  <a:lnTo>
                    <a:pt x="99" y="970"/>
                  </a:lnTo>
                  <a:lnTo>
                    <a:pt x="99" y="970"/>
                  </a:lnTo>
                  <a:lnTo>
                    <a:pt x="99" y="992"/>
                  </a:lnTo>
                  <a:lnTo>
                    <a:pt x="101" y="1004"/>
                  </a:lnTo>
                  <a:lnTo>
                    <a:pt x="104" y="1010"/>
                  </a:lnTo>
                  <a:lnTo>
                    <a:pt x="105" y="1014"/>
                  </a:lnTo>
                  <a:lnTo>
                    <a:pt x="105" y="1014"/>
                  </a:lnTo>
                  <a:lnTo>
                    <a:pt x="112" y="1022"/>
                  </a:lnTo>
                  <a:lnTo>
                    <a:pt x="121" y="1026"/>
                  </a:lnTo>
                  <a:lnTo>
                    <a:pt x="130" y="1029"/>
                  </a:lnTo>
                  <a:lnTo>
                    <a:pt x="138" y="1032"/>
                  </a:lnTo>
                  <a:lnTo>
                    <a:pt x="138" y="1032"/>
                  </a:lnTo>
                  <a:lnTo>
                    <a:pt x="142" y="1033"/>
                  </a:lnTo>
                  <a:lnTo>
                    <a:pt x="147" y="1039"/>
                  </a:lnTo>
                  <a:lnTo>
                    <a:pt x="148" y="1045"/>
                  </a:lnTo>
                  <a:lnTo>
                    <a:pt x="150" y="1051"/>
                  </a:lnTo>
                  <a:lnTo>
                    <a:pt x="150" y="1051"/>
                  </a:lnTo>
                  <a:lnTo>
                    <a:pt x="151" y="1057"/>
                  </a:lnTo>
                  <a:lnTo>
                    <a:pt x="154" y="1063"/>
                  </a:lnTo>
                  <a:lnTo>
                    <a:pt x="155" y="1068"/>
                  </a:lnTo>
                  <a:lnTo>
                    <a:pt x="155" y="1072"/>
                  </a:lnTo>
                  <a:lnTo>
                    <a:pt x="155" y="1072"/>
                  </a:lnTo>
                  <a:lnTo>
                    <a:pt x="152" y="1082"/>
                  </a:lnTo>
                  <a:lnTo>
                    <a:pt x="151" y="1084"/>
                  </a:lnTo>
                  <a:lnTo>
                    <a:pt x="150" y="1085"/>
                  </a:lnTo>
                  <a:lnTo>
                    <a:pt x="150" y="1085"/>
                  </a:lnTo>
                  <a:lnTo>
                    <a:pt x="144" y="1081"/>
                  </a:lnTo>
                  <a:lnTo>
                    <a:pt x="139" y="1079"/>
                  </a:lnTo>
                  <a:lnTo>
                    <a:pt x="135" y="1081"/>
                  </a:lnTo>
                  <a:lnTo>
                    <a:pt x="135" y="1081"/>
                  </a:lnTo>
                  <a:lnTo>
                    <a:pt x="132" y="1084"/>
                  </a:lnTo>
                  <a:lnTo>
                    <a:pt x="129" y="1087"/>
                  </a:lnTo>
                  <a:lnTo>
                    <a:pt x="126" y="1094"/>
                  </a:lnTo>
                  <a:lnTo>
                    <a:pt x="126" y="1094"/>
                  </a:lnTo>
                  <a:lnTo>
                    <a:pt x="121" y="1102"/>
                  </a:lnTo>
                  <a:lnTo>
                    <a:pt x="120" y="1106"/>
                  </a:lnTo>
                  <a:lnTo>
                    <a:pt x="121" y="1112"/>
                  </a:lnTo>
                  <a:lnTo>
                    <a:pt x="121" y="1112"/>
                  </a:lnTo>
                  <a:lnTo>
                    <a:pt x="124" y="1116"/>
                  </a:lnTo>
                  <a:lnTo>
                    <a:pt x="130" y="1121"/>
                  </a:lnTo>
                  <a:lnTo>
                    <a:pt x="135" y="1125"/>
                  </a:lnTo>
                  <a:lnTo>
                    <a:pt x="139" y="1127"/>
                  </a:lnTo>
                  <a:lnTo>
                    <a:pt x="139" y="1127"/>
                  </a:lnTo>
                  <a:lnTo>
                    <a:pt x="147" y="1128"/>
                  </a:lnTo>
                  <a:lnTo>
                    <a:pt x="150" y="1130"/>
                  </a:lnTo>
                  <a:lnTo>
                    <a:pt x="150" y="1134"/>
                  </a:lnTo>
                  <a:lnTo>
                    <a:pt x="150" y="1134"/>
                  </a:lnTo>
                  <a:lnTo>
                    <a:pt x="148" y="1143"/>
                  </a:lnTo>
                  <a:lnTo>
                    <a:pt x="148" y="1148"/>
                  </a:lnTo>
                  <a:lnTo>
                    <a:pt x="150" y="1152"/>
                  </a:lnTo>
                  <a:lnTo>
                    <a:pt x="150" y="1152"/>
                  </a:lnTo>
                  <a:lnTo>
                    <a:pt x="154" y="1155"/>
                  </a:lnTo>
                  <a:lnTo>
                    <a:pt x="157" y="1159"/>
                  </a:lnTo>
                  <a:lnTo>
                    <a:pt x="158" y="1164"/>
                  </a:lnTo>
                  <a:lnTo>
                    <a:pt x="158" y="1165"/>
                  </a:lnTo>
                  <a:lnTo>
                    <a:pt x="157" y="1167"/>
                  </a:lnTo>
                  <a:lnTo>
                    <a:pt x="157" y="1167"/>
                  </a:lnTo>
                  <a:lnTo>
                    <a:pt x="150" y="1170"/>
                  </a:lnTo>
                  <a:lnTo>
                    <a:pt x="142" y="1174"/>
                  </a:lnTo>
                  <a:lnTo>
                    <a:pt x="135" y="1177"/>
                  </a:lnTo>
                  <a:lnTo>
                    <a:pt x="132" y="1180"/>
                  </a:lnTo>
                  <a:lnTo>
                    <a:pt x="130" y="1183"/>
                  </a:lnTo>
                  <a:lnTo>
                    <a:pt x="130" y="1183"/>
                  </a:lnTo>
                  <a:lnTo>
                    <a:pt x="127" y="1189"/>
                  </a:lnTo>
                  <a:lnTo>
                    <a:pt x="126" y="1195"/>
                  </a:lnTo>
                  <a:lnTo>
                    <a:pt x="127" y="1198"/>
                  </a:lnTo>
                  <a:lnTo>
                    <a:pt x="129" y="1202"/>
                  </a:lnTo>
                  <a:lnTo>
                    <a:pt x="129" y="1202"/>
                  </a:lnTo>
                  <a:lnTo>
                    <a:pt x="129" y="1207"/>
                  </a:lnTo>
                  <a:lnTo>
                    <a:pt x="127" y="1210"/>
                  </a:lnTo>
                  <a:lnTo>
                    <a:pt x="121" y="1216"/>
                  </a:lnTo>
                  <a:lnTo>
                    <a:pt x="121" y="1216"/>
                  </a:lnTo>
                  <a:lnTo>
                    <a:pt x="117" y="1220"/>
                  </a:lnTo>
                  <a:lnTo>
                    <a:pt x="112" y="1223"/>
                  </a:lnTo>
                  <a:lnTo>
                    <a:pt x="110" y="1223"/>
                  </a:lnTo>
                  <a:lnTo>
                    <a:pt x="108" y="1223"/>
                  </a:lnTo>
                  <a:lnTo>
                    <a:pt x="107" y="1222"/>
                  </a:lnTo>
                  <a:lnTo>
                    <a:pt x="107" y="1222"/>
                  </a:lnTo>
                  <a:lnTo>
                    <a:pt x="107" y="1217"/>
                  </a:lnTo>
                  <a:lnTo>
                    <a:pt x="105" y="1211"/>
                  </a:lnTo>
                  <a:lnTo>
                    <a:pt x="104" y="1208"/>
                  </a:lnTo>
                  <a:lnTo>
                    <a:pt x="101" y="1207"/>
                  </a:lnTo>
                  <a:lnTo>
                    <a:pt x="98" y="1207"/>
                  </a:lnTo>
                  <a:lnTo>
                    <a:pt x="95" y="1207"/>
                  </a:lnTo>
                  <a:lnTo>
                    <a:pt x="95" y="1207"/>
                  </a:lnTo>
                  <a:lnTo>
                    <a:pt x="87" y="1208"/>
                  </a:lnTo>
                  <a:lnTo>
                    <a:pt x="83" y="1213"/>
                  </a:lnTo>
                  <a:lnTo>
                    <a:pt x="80" y="1214"/>
                  </a:lnTo>
                  <a:lnTo>
                    <a:pt x="78" y="1213"/>
                  </a:lnTo>
                  <a:lnTo>
                    <a:pt x="78" y="1211"/>
                  </a:lnTo>
                  <a:lnTo>
                    <a:pt x="78" y="1211"/>
                  </a:lnTo>
                  <a:lnTo>
                    <a:pt x="77" y="1205"/>
                  </a:lnTo>
                  <a:lnTo>
                    <a:pt x="77" y="1199"/>
                  </a:lnTo>
                  <a:lnTo>
                    <a:pt x="77" y="1192"/>
                  </a:lnTo>
                  <a:lnTo>
                    <a:pt x="77" y="1192"/>
                  </a:lnTo>
                  <a:lnTo>
                    <a:pt x="73" y="1190"/>
                  </a:lnTo>
                  <a:lnTo>
                    <a:pt x="65" y="1189"/>
                  </a:lnTo>
                  <a:lnTo>
                    <a:pt x="56" y="1186"/>
                  </a:lnTo>
                  <a:lnTo>
                    <a:pt x="52" y="1185"/>
                  </a:lnTo>
                  <a:lnTo>
                    <a:pt x="50" y="1182"/>
                  </a:lnTo>
                  <a:lnTo>
                    <a:pt x="50" y="1182"/>
                  </a:lnTo>
                  <a:lnTo>
                    <a:pt x="47" y="1170"/>
                  </a:lnTo>
                  <a:lnTo>
                    <a:pt x="44" y="1162"/>
                  </a:lnTo>
                  <a:lnTo>
                    <a:pt x="40" y="1158"/>
                  </a:lnTo>
                  <a:lnTo>
                    <a:pt x="40" y="1158"/>
                  </a:lnTo>
                  <a:lnTo>
                    <a:pt x="33" y="1152"/>
                  </a:lnTo>
                  <a:lnTo>
                    <a:pt x="31" y="1152"/>
                  </a:lnTo>
                  <a:lnTo>
                    <a:pt x="30" y="1155"/>
                  </a:lnTo>
                  <a:lnTo>
                    <a:pt x="30" y="1155"/>
                  </a:lnTo>
                  <a:lnTo>
                    <a:pt x="28" y="1158"/>
                  </a:lnTo>
                  <a:lnTo>
                    <a:pt x="25" y="1161"/>
                  </a:lnTo>
                  <a:lnTo>
                    <a:pt x="21" y="1162"/>
                  </a:lnTo>
                  <a:lnTo>
                    <a:pt x="15" y="1162"/>
                  </a:lnTo>
                  <a:lnTo>
                    <a:pt x="15" y="1162"/>
                  </a:lnTo>
                  <a:lnTo>
                    <a:pt x="4" y="1164"/>
                  </a:lnTo>
                  <a:lnTo>
                    <a:pt x="0" y="1164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9" name="Freeform 188">
              <a:extLst>
                <a:ext uri="{FF2B5EF4-FFF2-40B4-BE49-F238E27FC236}">
                  <a16:creationId xmlns:a16="http://schemas.microsoft.com/office/drawing/2014/main" id="{3DB535E1-26FA-5E4C-B082-F115784FE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8838" y="7847013"/>
              <a:ext cx="620713" cy="385762"/>
            </a:xfrm>
            <a:custGeom>
              <a:avLst/>
              <a:gdLst>
                <a:gd name="T0" fmla="*/ 391 w 391"/>
                <a:gd name="T1" fmla="*/ 210 h 243"/>
                <a:gd name="T2" fmla="*/ 382 w 391"/>
                <a:gd name="T3" fmla="*/ 225 h 243"/>
                <a:gd name="T4" fmla="*/ 378 w 391"/>
                <a:gd name="T5" fmla="*/ 230 h 243"/>
                <a:gd name="T6" fmla="*/ 349 w 391"/>
                <a:gd name="T7" fmla="*/ 231 h 243"/>
                <a:gd name="T8" fmla="*/ 341 w 391"/>
                <a:gd name="T9" fmla="*/ 233 h 243"/>
                <a:gd name="T10" fmla="*/ 318 w 391"/>
                <a:gd name="T11" fmla="*/ 243 h 243"/>
                <a:gd name="T12" fmla="*/ 315 w 391"/>
                <a:gd name="T13" fmla="*/ 243 h 243"/>
                <a:gd name="T14" fmla="*/ 312 w 391"/>
                <a:gd name="T15" fmla="*/ 243 h 243"/>
                <a:gd name="T16" fmla="*/ 309 w 391"/>
                <a:gd name="T17" fmla="*/ 236 h 243"/>
                <a:gd name="T18" fmla="*/ 308 w 391"/>
                <a:gd name="T19" fmla="*/ 228 h 243"/>
                <a:gd name="T20" fmla="*/ 301 w 391"/>
                <a:gd name="T21" fmla="*/ 218 h 243"/>
                <a:gd name="T22" fmla="*/ 286 w 391"/>
                <a:gd name="T23" fmla="*/ 215 h 243"/>
                <a:gd name="T24" fmla="*/ 280 w 391"/>
                <a:gd name="T25" fmla="*/ 215 h 243"/>
                <a:gd name="T26" fmla="*/ 275 w 391"/>
                <a:gd name="T27" fmla="*/ 207 h 243"/>
                <a:gd name="T28" fmla="*/ 274 w 391"/>
                <a:gd name="T29" fmla="*/ 203 h 243"/>
                <a:gd name="T30" fmla="*/ 271 w 391"/>
                <a:gd name="T31" fmla="*/ 193 h 243"/>
                <a:gd name="T32" fmla="*/ 274 w 391"/>
                <a:gd name="T33" fmla="*/ 179 h 243"/>
                <a:gd name="T34" fmla="*/ 272 w 391"/>
                <a:gd name="T35" fmla="*/ 173 h 243"/>
                <a:gd name="T36" fmla="*/ 262 w 391"/>
                <a:gd name="T37" fmla="*/ 173 h 243"/>
                <a:gd name="T38" fmla="*/ 252 w 391"/>
                <a:gd name="T39" fmla="*/ 169 h 243"/>
                <a:gd name="T40" fmla="*/ 243 w 391"/>
                <a:gd name="T41" fmla="*/ 162 h 243"/>
                <a:gd name="T42" fmla="*/ 237 w 391"/>
                <a:gd name="T43" fmla="*/ 156 h 243"/>
                <a:gd name="T44" fmla="*/ 232 w 391"/>
                <a:gd name="T45" fmla="*/ 150 h 243"/>
                <a:gd name="T46" fmla="*/ 228 w 391"/>
                <a:gd name="T47" fmla="*/ 144 h 243"/>
                <a:gd name="T48" fmla="*/ 224 w 391"/>
                <a:gd name="T49" fmla="*/ 135 h 243"/>
                <a:gd name="T50" fmla="*/ 213 w 391"/>
                <a:gd name="T51" fmla="*/ 129 h 243"/>
                <a:gd name="T52" fmla="*/ 197 w 391"/>
                <a:gd name="T53" fmla="*/ 127 h 243"/>
                <a:gd name="T54" fmla="*/ 187 w 391"/>
                <a:gd name="T55" fmla="*/ 127 h 243"/>
                <a:gd name="T56" fmla="*/ 184 w 391"/>
                <a:gd name="T57" fmla="*/ 132 h 243"/>
                <a:gd name="T58" fmla="*/ 181 w 391"/>
                <a:gd name="T59" fmla="*/ 132 h 243"/>
                <a:gd name="T60" fmla="*/ 178 w 391"/>
                <a:gd name="T61" fmla="*/ 123 h 243"/>
                <a:gd name="T62" fmla="*/ 176 w 391"/>
                <a:gd name="T63" fmla="*/ 119 h 243"/>
                <a:gd name="T64" fmla="*/ 166 w 391"/>
                <a:gd name="T65" fmla="*/ 113 h 243"/>
                <a:gd name="T66" fmla="*/ 135 w 391"/>
                <a:gd name="T67" fmla="*/ 92 h 243"/>
                <a:gd name="T68" fmla="*/ 112 w 391"/>
                <a:gd name="T69" fmla="*/ 74 h 243"/>
                <a:gd name="T70" fmla="*/ 96 w 391"/>
                <a:gd name="T71" fmla="*/ 59 h 243"/>
                <a:gd name="T72" fmla="*/ 93 w 391"/>
                <a:gd name="T73" fmla="*/ 55 h 243"/>
                <a:gd name="T74" fmla="*/ 84 w 391"/>
                <a:gd name="T75" fmla="*/ 43 h 243"/>
                <a:gd name="T76" fmla="*/ 75 w 391"/>
                <a:gd name="T77" fmla="*/ 36 h 243"/>
                <a:gd name="T78" fmla="*/ 75 w 391"/>
                <a:gd name="T79" fmla="*/ 31 h 243"/>
                <a:gd name="T80" fmla="*/ 86 w 391"/>
                <a:gd name="T81" fmla="*/ 25 h 243"/>
                <a:gd name="T82" fmla="*/ 89 w 391"/>
                <a:gd name="T83" fmla="*/ 21 h 243"/>
                <a:gd name="T84" fmla="*/ 89 w 391"/>
                <a:gd name="T85" fmla="*/ 18 h 243"/>
                <a:gd name="T86" fmla="*/ 81 w 391"/>
                <a:gd name="T87" fmla="*/ 9 h 243"/>
                <a:gd name="T88" fmla="*/ 70 w 391"/>
                <a:gd name="T89" fmla="*/ 2 h 243"/>
                <a:gd name="T90" fmla="*/ 65 w 391"/>
                <a:gd name="T91" fmla="*/ 2 h 243"/>
                <a:gd name="T92" fmla="*/ 56 w 391"/>
                <a:gd name="T93" fmla="*/ 9 h 243"/>
                <a:gd name="T94" fmla="*/ 53 w 391"/>
                <a:gd name="T95" fmla="*/ 13 h 243"/>
                <a:gd name="T96" fmla="*/ 43 w 391"/>
                <a:gd name="T97" fmla="*/ 22 h 243"/>
                <a:gd name="T98" fmla="*/ 37 w 391"/>
                <a:gd name="T99" fmla="*/ 30 h 243"/>
                <a:gd name="T100" fmla="*/ 15 w 391"/>
                <a:gd name="T101" fmla="*/ 46 h 243"/>
                <a:gd name="T102" fmla="*/ 1 w 391"/>
                <a:gd name="T103" fmla="*/ 5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1" h="243">
                  <a:moveTo>
                    <a:pt x="391" y="210"/>
                  </a:moveTo>
                  <a:lnTo>
                    <a:pt x="391" y="210"/>
                  </a:lnTo>
                  <a:lnTo>
                    <a:pt x="382" y="225"/>
                  </a:lnTo>
                  <a:lnTo>
                    <a:pt x="382" y="225"/>
                  </a:lnTo>
                  <a:lnTo>
                    <a:pt x="380" y="228"/>
                  </a:lnTo>
                  <a:lnTo>
                    <a:pt x="378" y="230"/>
                  </a:lnTo>
                  <a:lnTo>
                    <a:pt x="369" y="231"/>
                  </a:lnTo>
                  <a:lnTo>
                    <a:pt x="349" y="231"/>
                  </a:lnTo>
                  <a:lnTo>
                    <a:pt x="349" y="231"/>
                  </a:lnTo>
                  <a:lnTo>
                    <a:pt x="341" y="233"/>
                  </a:lnTo>
                  <a:lnTo>
                    <a:pt x="333" y="236"/>
                  </a:lnTo>
                  <a:lnTo>
                    <a:pt x="318" y="243"/>
                  </a:lnTo>
                  <a:lnTo>
                    <a:pt x="318" y="243"/>
                  </a:lnTo>
                  <a:lnTo>
                    <a:pt x="315" y="243"/>
                  </a:lnTo>
                  <a:lnTo>
                    <a:pt x="314" y="243"/>
                  </a:lnTo>
                  <a:lnTo>
                    <a:pt x="312" y="243"/>
                  </a:lnTo>
                  <a:lnTo>
                    <a:pt x="311" y="240"/>
                  </a:lnTo>
                  <a:lnTo>
                    <a:pt x="309" y="236"/>
                  </a:lnTo>
                  <a:lnTo>
                    <a:pt x="308" y="228"/>
                  </a:lnTo>
                  <a:lnTo>
                    <a:pt x="308" y="228"/>
                  </a:lnTo>
                  <a:lnTo>
                    <a:pt x="305" y="222"/>
                  </a:lnTo>
                  <a:lnTo>
                    <a:pt x="301" y="218"/>
                  </a:lnTo>
                  <a:lnTo>
                    <a:pt x="293" y="216"/>
                  </a:lnTo>
                  <a:lnTo>
                    <a:pt x="286" y="215"/>
                  </a:lnTo>
                  <a:lnTo>
                    <a:pt x="286" y="215"/>
                  </a:lnTo>
                  <a:lnTo>
                    <a:pt x="280" y="215"/>
                  </a:lnTo>
                  <a:lnTo>
                    <a:pt x="277" y="212"/>
                  </a:lnTo>
                  <a:lnTo>
                    <a:pt x="275" y="207"/>
                  </a:lnTo>
                  <a:lnTo>
                    <a:pt x="274" y="203"/>
                  </a:lnTo>
                  <a:lnTo>
                    <a:pt x="274" y="203"/>
                  </a:lnTo>
                  <a:lnTo>
                    <a:pt x="271" y="199"/>
                  </a:lnTo>
                  <a:lnTo>
                    <a:pt x="271" y="193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4" y="175"/>
                  </a:lnTo>
                  <a:lnTo>
                    <a:pt x="272" y="173"/>
                  </a:lnTo>
                  <a:lnTo>
                    <a:pt x="268" y="173"/>
                  </a:lnTo>
                  <a:lnTo>
                    <a:pt x="262" y="173"/>
                  </a:lnTo>
                  <a:lnTo>
                    <a:pt x="262" y="173"/>
                  </a:lnTo>
                  <a:lnTo>
                    <a:pt x="252" y="169"/>
                  </a:lnTo>
                  <a:lnTo>
                    <a:pt x="247" y="166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37" y="156"/>
                  </a:lnTo>
                  <a:lnTo>
                    <a:pt x="232" y="150"/>
                  </a:lnTo>
                  <a:lnTo>
                    <a:pt x="232" y="150"/>
                  </a:lnTo>
                  <a:lnTo>
                    <a:pt x="229" y="147"/>
                  </a:lnTo>
                  <a:lnTo>
                    <a:pt x="228" y="144"/>
                  </a:lnTo>
                  <a:lnTo>
                    <a:pt x="224" y="135"/>
                  </a:lnTo>
                  <a:lnTo>
                    <a:pt x="224" y="135"/>
                  </a:lnTo>
                  <a:lnTo>
                    <a:pt x="219" y="130"/>
                  </a:lnTo>
                  <a:lnTo>
                    <a:pt x="213" y="129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89" y="126"/>
                  </a:lnTo>
                  <a:lnTo>
                    <a:pt x="187" y="127"/>
                  </a:lnTo>
                  <a:lnTo>
                    <a:pt x="187" y="130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1" y="132"/>
                  </a:lnTo>
                  <a:lnTo>
                    <a:pt x="179" y="130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6" y="119"/>
                  </a:lnTo>
                  <a:lnTo>
                    <a:pt x="173" y="117"/>
                  </a:lnTo>
                  <a:lnTo>
                    <a:pt x="166" y="113"/>
                  </a:lnTo>
                  <a:lnTo>
                    <a:pt x="166" y="113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12" y="74"/>
                  </a:lnTo>
                  <a:lnTo>
                    <a:pt x="101" y="64"/>
                  </a:lnTo>
                  <a:lnTo>
                    <a:pt x="96" y="59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89" y="47"/>
                  </a:lnTo>
                  <a:lnTo>
                    <a:pt x="84" y="43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4" y="34"/>
                  </a:lnTo>
                  <a:lnTo>
                    <a:pt x="75" y="31"/>
                  </a:lnTo>
                  <a:lnTo>
                    <a:pt x="80" y="28"/>
                  </a:lnTo>
                  <a:lnTo>
                    <a:pt x="86" y="25"/>
                  </a:lnTo>
                  <a:lnTo>
                    <a:pt x="87" y="22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89" y="18"/>
                  </a:lnTo>
                  <a:lnTo>
                    <a:pt x="87" y="15"/>
                  </a:lnTo>
                  <a:lnTo>
                    <a:pt x="81" y="9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7" y="0"/>
                  </a:lnTo>
                  <a:lnTo>
                    <a:pt x="65" y="2"/>
                  </a:lnTo>
                  <a:lnTo>
                    <a:pt x="61" y="5"/>
                  </a:lnTo>
                  <a:lnTo>
                    <a:pt x="56" y="9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7" y="1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37" y="30"/>
                  </a:lnTo>
                  <a:lnTo>
                    <a:pt x="28" y="37"/>
                  </a:lnTo>
                  <a:lnTo>
                    <a:pt x="15" y="46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0" y="58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0" name="Freeform 189">
              <a:extLst>
                <a:ext uri="{FF2B5EF4-FFF2-40B4-BE49-F238E27FC236}">
                  <a16:creationId xmlns:a16="http://schemas.microsoft.com/office/drawing/2014/main" id="{51FBE71C-6112-944B-A651-0D731A013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7813" y="5876925"/>
              <a:ext cx="1136650" cy="1716087"/>
            </a:xfrm>
            <a:custGeom>
              <a:avLst/>
              <a:gdLst>
                <a:gd name="T0" fmla="*/ 19 w 716"/>
                <a:gd name="T1" fmla="*/ 3 h 1081"/>
                <a:gd name="T2" fmla="*/ 31 w 716"/>
                <a:gd name="T3" fmla="*/ 44 h 1081"/>
                <a:gd name="T4" fmla="*/ 16 w 716"/>
                <a:gd name="T5" fmla="*/ 65 h 1081"/>
                <a:gd name="T6" fmla="*/ 32 w 716"/>
                <a:gd name="T7" fmla="*/ 81 h 1081"/>
                <a:gd name="T8" fmla="*/ 81 w 716"/>
                <a:gd name="T9" fmla="*/ 124 h 1081"/>
                <a:gd name="T10" fmla="*/ 84 w 716"/>
                <a:gd name="T11" fmla="*/ 181 h 1081"/>
                <a:gd name="T12" fmla="*/ 112 w 716"/>
                <a:gd name="T13" fmla="*/ 206 h 1081"/>
                <a:gd name="T14" fmla="*/ 103 w 716"/>
                <a:gd name="T15" fmla="*/ 271 h 1081"/>
                <a:gd name="T16" fmla="*/ 123 w 716"/>
                <a:gd name="T17" fmla="*/ 312 h 1081"/>
                <a:gd name="T18" fmla="*/ 154 w 716"/>
                <a:gd name="T19" fmla="*/ 336 h 1081"/>
                <a:gd name="T20" fmla="*/ 170 w 716"/>
                <a:gd name="T21" fmla="*/ 360 h 1081"/>
                <a:gd name="T22" fmla="*/ 166 w 716"/>
                <a:gd name="T23" fmla="*/ 398 h 1081"/>
                <a:gd name="T24" fmla="*/ 142 w 716"/>
                <a:gd name="T25" fmla="*/ 461 h 1081"/>
                <a:gd name="T26" fmla="*/ 143 w 716"/>
                <a:gd name="T27" fmla="*/ 505 h 1081"/>
                <a:gd name="T28" fmla="*/ 145 w 716"/>
                <a:gd name="T29" fmla="*/ 555 h 1081"/>
                <a:gd name="T30" fmla="*/ 195 w 716"/>
                <a:gd name="T31" fmla="*/ 583 h 1081"/>
                <a:gd name="T32" fmla="*/ 212 w 716"/>
                <a:gd name="T33" fmla="*/ 563 h 1081"/>
                <a:gd name="T34" fmla="*/ 247 w 716"/>
                <a:gd name="T35" fmla="*/ 536 h 1081"/>
                <a:gd name="T36" fmla="*/ 275 w 716"/>
                <a:gd name="T37" fmla="*/ 526 h 1081"/>
                <a:gd name="T38" fmla="*/ 299 w 716"/>
                <a:gd name="T39" fmla="*/ 509 h 1081"/>
                <a:gd name="T40" fmla="*/ 327 w 716"/>
                <a:gd name="T41" fmla="*/ 535 h 1081"/>
                <a:gd name="T42" fmla="*/ 366 w 716"/>
                <a:gd name="T43" fmla="*/ 521 h 1081"/>
                <a:gd name="T44" fmla="*/ 367 w 716"/>
                <a:gd name="T45" fmla="*/ 486 h 1081"/>
                <a:gd name="T46" fmla="*/ 380 w 716"/>
                <a:gd name="T47" fmla="*/ 458 h 1081"/>
                <a:gd name="T48" fmla="*/ 406 w 716"/>
                <a:gd name="T49" fmla="*/ 407 h 1081"/>
                <a:gd name="T50" fmla="*/ 431 w 716"/>
                <a:gd name="T51" fmla="*/ 375 h 1081"/>
                <a:gd name="T52" fmla="*/ 459 w 716"/>
                <a:gd name="T53" fmla="*/ 345 h 1081"/>
                <a:gd name="T54" fmla="*/ 527 w 716"/>
                <a:gd name="T55" fmla="*/ 363 h 1081"/>
                <a:gd name="T56" fmla="*/ 554 w 716"/>
                <a:gd name="T57" fmla="*/ 389 h 1081"/>
                <a:gd name="T58" fmla="*/ 573 w 716"/>
                <a:gd name="T59" fmla="*/ 431 h 1081"/>
                <a:gd name="T60" fmla="*/ 608 w 716"/>
                <a:gd name="T61" fmla="*/ 427 h 1081"/>
                <a:gd name="T62" fmla="*/ 631 w 716"/>
                <a:gd name="T63" fmla="*/ 407 h 1081"/>
                <a:gd name="T64" fmla="*/ 662 w 716"/>
                <a:gd name="T65" fmla="*/ 425 h 1081"/>
                <a:gd name="T66" fmla="*/ 679 w 716"/>
                <a:gd name="T67" fmla="*/ 487 h 1081"/>
                <a:gd name="T68" fmla="*/ 697 w 716"/>
                <a:gd name="T69" fmla="*/ 505 h 1081"/>
                <a:gd name="T70" fmla="*/ 709 w 716"/>
                <a:gd name="T71" fmla="*/ 542 h 1081"/>
                <a:gd name="T72" fmla="*/ 653 w 716"/>
                <a:gd name="T73" fmla="*/ 533 h 1081"/>
                <a:gd name="T74" fmla="*/ 631 w 716"/>
                <a:gd name="T75" fmla="*/ 561 h 1081"/>
                <a:gd name="T76" fmla="*/ 632 w 716"/>
                <a:gd name="T77" fmla="*/ 600 h 1081"/>
                <a:gd name="T78" fmla="*/ 622 w 716"/>
                <a:gd name="T79" fmla="*/ 632 h 1081"/>
                <a:gd name="T80" fmla="*/ 639 w 716"/>
                <a:gd name="T81" fmla="*/ 650 h 1081"/>
                <a:gd name="T82" fmla="*/ 657 w 716"/>
                <a:gd name="T83" fmla="*/ 658 h 1081"/>
                <a:gd name="T84" fmla="*/ 666 w 716"/>
                <a:gd name="T85" fmla="*/ 681 h 1081"/>
                <a:gd name="T86" fmla="*/ 651 w 716"/>
                <a:gd name="T87" fmla="*/ 712 h 1081"/>
                <a:gd name="T88" fmla="*/ 588 w 716"/>
                <a:gd name="T89" fmla="*/ 735 h 1081"/>
                <a:gd name="T90" fmla="*/ 571 w 716"/>
                <a:gd name="T91" fmla="*/ 696 h 1081"/>
                <a:gd name="T92" fmla="*/ 506 w 716"/>
                <a:gd name="T93" fmla="*/ 729 h 1081"/>
                <a:gd name="T94" fmla="*/ 475 w 716"/>
                <a:gd name="T95" fmla="*/ 785 h 1081"/>
                <a:gd name="T96" fmla="*/ 437 w 716"/>
                <a:gd name="T97" fmla="*/ 794 h 1081"/>
                <a:gd name="T98" fmla="*/ 386 w 716"/>
                <a:gd name="T99" fmla="*/ 795 h 1081"/>
                <a:gd name="T100" fmla="*/ 367 w 716"/>
                <a:gd name="T101" fmla="*/ 788 h 1081"/>
                <a:gd name="T102" fmla="*/ 326 w 716"/>
                <a:gd name="T103" fmla="*/ 791 h 1081"/>
                <a:gd name="T104" fmla="*/ 308 w 716"/>
                <a:gd name="T105" fmla="*/ 773 h 1081"/>
                <a:gd name="T106" fmla="*/ 253 w 716"/>
                <a:gd name="T107" fmla="*/ 807 h 1081"/>
                <a:gd name="T108" fmla="*/ 207 w 716"/>
                <a:gd name="T109" fmla="*/ 809 h 1081"/>
                <a:gd name="T110" fmla="*/ 143 w 716"/>
                <a:gd name="T111" fmla="*/ 862 h 1081"/>
                <a:gd name="T112" fmla="*/ 149 w 716"/>
                <a:gd name="T113" fmla="*/ 896 h 1081"/>
                <a:gd name="T114" fmla="*/ 182 w 716"/>
                <a:gd name="T115" fmla="*/ 926 h 1081"/>
                <a:gd name="T116" fmla="*/ 154 w 716"/>
                <a:gd name="T117" fmla="*/ 966 h 1081"/>
                <a:gd name="T118" fmla="*/ 172 w 716"/>
                <a:gd name="T119" fmla="*/ 1009 h 1081"/>
                <a:gd name="T120" fmla="*/ 164 w 716"/>
                <a:gd name="T121" fmla="*/ 1077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6" h="1081">
                  <a:moveTo>
                    <a:pt x="0" y="15"/>
                  </a:moveTo>
                  <a:lnTo>
                    <a:pt x="0" y="15"/>
                  </a:lnTo>
                  <a:lnTo>
                    <a:pt x="1" y="9"/>
                  </a:lnTo>
                  <a:lnTo>
                    <a:pt x="3" y="4"/>
                  </a:lnTo>
                  <a:lnTo>
                    <a:pt x="4" y="1"/>
                  </a:lnTo>
                  <a:lnTo>
                    <a:pt x="4" y="1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6"/>
                  </a:lnTo>
                  <a:lnTo>
                    <a:pt x="18" y="10"/>
                  </a:lnTo>
                  <a:lnTo>
                    <a:pt x="18" y="15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1" y="25"/>
                  </a:lnTo>
                  <a:lnTo>
                    <a:pt x="23" y="30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1" y="44"/>
                  </a:lnTo>
                  <a:lnTo>
                    <a:pt x="34" y="47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1" y="50"/>
                  </a:lnTo>
                  <a:lnTo>
                    <a:pt x="26" y="52"/>
                  </a:lnTo>
                  <a:lnTo>
                    <a:pt x="21" y="5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6" y="58"/>
                  </a:lnTo>
                  <a:lnTo>
                    <a:pt x="16" y="61"/>
                  </a:lnTo>
                  <a:lnTo>
                    <a:pt x="16" y="65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5" y="78"/>
                  </a:lnTo>
                  <a:lnTo>
                    <a:pt x="19" y="80"/>
                  </a:lnTo>
                  <a:lnTo>
                    <a:pt x="25" y="80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43" y="84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61" y="93"/>
                  </a:lnTo>
                  <a:lnTo>
                    <a:pt x="66" y="98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7" y="108"/>
                  </a:lnTo>
                  <a:lnTo>
                    <a:pt x="78" y="113"/>
                  </a:lnTo>
                  <a:lnTo>
                    <a:pt x="81" y="124"/>
                  </a:lnTo>
                  <a:lnTo>
                    <a:pt x="81" y="124"/>
                  </a:lnTo>
                  <a:lnTo>
                    <a:pt x="83" y="130"/>
                  </a:lnTo>
                  <a:lnTo>
                    <a:pt x="86" y="138"/>
                  </a:lnTo>
                  <a:lnTo>
                    <a:pt x="93" y="148"/>
                  </a:lnTo>
                  <a:lnTo>
                    <a:pt x="93" y="148"/>
                  </a:lnTo>
                  <a:lnTo>
                    <a:pt x="93" y="153"/>
                  </a:lnTo>
                  <a:lnTo>
                    <a:pt x="90" y="158"/>
                  </a:lnTo>
                  <a:lnTo>
                    <a:pt x="87" y="166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4" y="181"/>
                  </a:lnTo>
                  <a:lnTo>
                    <a:pt x="81" y="190"/>
                  </a:lnTo>
                  <a:lnTo>
                    <a:pt x="80" y="193"/>
                  </a:lnTo>
                  <a:lnTo>
                    <a:pt x="81" y="197"/>
                  </a:lnTo>
                  <a:lnTo>
                    <a:pt x="83" y="200"/>
                  </a:lnTo>
                  <a:lnTo>
                    <a:pt x="86" y="201"/>
                  </a:lnTo>
                  <a:lnTo>
                    <a:pt x="86" y="201"/>
                  </a:lnTo>
                  <a:lnTo>
                    <a:pt x="95" y="203"/>
                  </a:lnTo>
                  <a:lnTo>
                    <a:pt x="102" y="204"/>
                  </a:lnTo>
                  <a:lnTo>
                    <a:pt x="109" y="204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5" y="213"/>
                  </a:lnTo>
                  <a:lnTo>
                    <a:pt x="120" y="225"/>
                  </a:lnTo>
                  <a:lnTo>
                    <a:pt x="121" y="237"/>
                  </a:lnTo>
                  <a:lnTo>
                    <a:pt x="121" y="244"/>
                  </a:lnTo>
                  <a:lnTo>
                    <a:pt x="121" y="244"/>
                  </a:lnTo>
                  <a:lnTo>
                    <a:pt x="118" y="249"/>
                  </a:lnTo>
                  <a:lnTo>
                    <a:pt x="114" y="252"/>
                  </a:lnTo>
                  <a:lnTo>
                    <a:pt x="109" y="256"/>
                  </a:lnTo>
                  <a:lnTo>
                    <a:pt x="106" y="261"/>
                  </a:lnTo>
                  <a:lnTo>
                    <a:pt x="106" y="261"/>
                  </a:lnTo>
                  <a:lnTo>
                    <a:pt x="103" y="271"/>
                  </a:lnTo>
                  <a:lnTo>
                    <a:pt x="100" y="281"/>
                  </a:lnTo>
                  <a:lnTo>
                    <a:pt x="100" y="290"/>
                  </a:lnTo>
                  <a:lnTo>
                    <a:pt x="102" y="295"/>
                  </a:lnTo>
                  <a:lnTo>
                    <a:pt x="102" y="295"/>
                  </a:lnTo>
                  <a:lnTo>
                    <a:pt x="109" y="295"/>
                  </a:lnTo>
                  <a:lnTo>
                    <a:pt x="114" y="295"/>
                  </a:lnTo>
                  <a:lnTo>
                    <a:pt x="117" y="296"/>
                  </a:lnTo>
                  <a:lnTo>
                    <a:pt x="120" y="299"/>
                  </a:lnTo>
                  <a:lnTo>
                    <a:pt x="120" y="299"/>
                  </a:lnTo>
                  <a:lnTo>
                    <a:pt x="121" y="307"/>
                  </a:lnTo>
                  <a:lnTo>
                    <a:pt x="123" y="312"/>
                  </a:lnTo>
                  <a:lnTo>
                    <a:pt x="123" y="318"/>
                  </a:lnTo>
                  <a:lnTo>
                    <a:pt x="124" y="321"/>
                  </a:lnTo>
                  <a:lnTo>
                    <a:pt x="127" y="323"/>
                  </a:lnTo>
                  <a:lnTo>
                    <a:pt x="127" y="323"/>
                  </a:lnTo>
                  <a:lnTo>
                    <a:pt x="132" y="324"/>
                  </a:lnTo>
                  <a:lnTo>
                    <a:pt x="136" y="326"/>
                  </a:lnTo>
                  <a:lnTo>
                    <a:pt x="140" y="326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52" y="336"/>
                  </a:lnTo>
                  <a:lnTo>
                    <a:pt x="154" y="336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8" y="335"/>
                  </a:lnTo>
                  <a:lnTo>
                    <a:pt x="163" y="332"/>
                  </a:lnTo>
                  <a:lnTo>
                    <a:pt x="169" y="332"/>
                  </a:lnTo>
                  <a:lnTo>
                    <a:pt x="170" y="332"/>
                  </a:lnTo>
                  <a:lnTo>
                    <a:pt x="172" y="333"/>
                  </a:lnTo>
                  <a:lnTo>
                    <a:pt x="172" y="333"/>
                  </a:lnTo>
                  <a:lnTo>
                    <a:pt x="173" y="339"/>
                  </a:lnTo>
                  <a:lnTo>
                    <a:pt x="173" y="347"/>
                  </a:lnTo>
                  <a:lnTo>
                    <a:pt x="170" y="360"/>
                  </a:lnTo>
                  <a:lnTo>
                    <a:pt x="170" y="360"/>
                  </a:lnTo>
                  <a:lnTo>
                    <a:pt x="167" y="367"/>
                  </a:lnTo>
                  <a:lnTo>
                    <a:pt x="167" y="372"/>
                  </a:lnTo>
                  <a:lnTo>
                    <a:pt x="170" y="376"/>
                  </a:lnTo>
                  <a:lnTo>
                    <a:pt x="170" y="376"/>
                  </a:lnTo>
                  <a:lnTo>
                    <a:pt x="172" y="381"/>
                  </a:lnTo>
                  <a:lnTo>
                    <a:pt x="173" y="385"/>
                  </a:lnTo>
                  <a:lnTo>
                    <a:pt x="172" y="389"/>
                  </a:lnTo>
                  <a:lnTo>
                    <a:pt x="170" y="392"/>
                  </a:lnTo>
                  <a:lnTo>
                    <a:pt x="170" y="392"/>
                  </a:lnTo>
                  <a:lnTo>
                    <a:pt x="166" y="398"/>
                  </a:lnTo>
                  <a:lnTo>
                    <a:pt x="163" y="404"/>
                  </a:lnTo>
                  <a:lnTo>
                    <a:pt x="163" y="404"/>
                  </a:lnTo>
                  <a:lnTo>
                    <a:pt x="161" y="410"/>
                  </a:lnTo>
                  <a:lnTo>
                    <a:pt x="155" y="419"/>
                  </a:lnTo>
                  <a:lnTo>
                    <a:pt x="155" y="419"/>
                  </a:lnTo>
                  <a:lnTo>
                    <a:pt x="151" y="427"/>
                  </a:lnTo>
                  <a:lnTo>
                    <a:pt x="148" y="437"/>
                  </a:lnTo>
                  <a:lnTo>
                    <a:pt x="145" y="447"/>
                  </a:lnTo>
                  <a:lnTo>
                    <a:pt x="142" y="455"/>
                  </a:lnTo>
                  <a:lnTo>
                    <a:pt x="142" y="455"/>
                  </a:lnTo>
                  <a:lnTo>
                    <a:pt x="142" y="461"/>
                  </a:lnTo>
                  <a:lnTo>
                    <a:pt x="143" y="464"/>
                  </a:lnTo>
                  <a:lnTo>
                    <a:pt x="146" y="468"/>
                  </a:lnTo>
                  <a:lnTo>
                    <a:pt x="146" y="468"/>
                  </a:lnTo>
                  <a:lnTo>
                    <a:pt x="148" y="471"/>
                  </a:lnTo>
                  <a:lnTo>
                    <a:pt x="149" y="477"/>
                  </a:lnTo>
                  <a:lnTo>
                    <a:pt x="148" y="484"/>
                  </a:lnTo>
                  <a:lnTo>
                    <a:pt x="148" y="489"/>
                  </a:lnTo>
                  <a:lnTo>
                    <a:pt x="148" y="489"/>
                  </a:lnTo>
                  <a:lnTo>
                    <a:pt x="143" y="496"/>
                  </a:lnTo>
                  <a:lnTo>
                    <a:pt x="143" y="499"/>
                  </a:lnTo>
                  <a:lnTo>
                    <a:pt x="143" y="505"/>
                  </a:lnTo>
                  <a:lnTo>
                    <a:pt x="143" y="505"/>
                  </a:lnTo>
                  <a:lnTo>
                    <a:pt x="145" y="514"/>
                  </a:lnTo>
                  <a:lnTo>
                    <a:pt x="143" y="520"/>
                  </a:lnTo>
                  <a:lnTo>
                    <a:pt x="139" y="526"/>
                  </a:lnTo>
                  <a:lnTo>
                    <a:pt x="139" y="526"/>
                  </a:lnTo>
                  <a:lnTo>
                    <a:pt x="135" y="533"/>
                  </a:lnTo>
                  <a:lnTo>
                    <a:pt x="133" y="542"/>
                  </a:lnTo>
                  <a:lnTo>
                    <a:pt x="132" y="552"/>
                  </a:lnTo>
                  <a:lnTo>
                    <a:pt x="132" y="552"/>
                  </a:lnTo>
                  <a:lnTo>
                    <a:pt x="138" y="552"/>
                  </a:lnTo>
                  <a:lnTo>
                    <a:pt x="145" y="555"/>
                  </a:lnTo>
                  <a:lnTo>
                    <a:pt x="151" y="561"/>
                  </a:lnTo>
                  <a:lnTo>
                    <a:pt x="151" y="561"/>
                  </a:lnTo>
                  <a:lnTo>
                    <a:pt x="155" y="567"/>
                  </a:lnTo>
                  <a:lnTo>
                    <a:pt x="157" y="573"/>
                  </a:lnTo>
                  <a:lnTo>
                    <a:pt x="160" y="578"/>
                  </a:lnTo>
                  <a:lnTo>
                    <a:pt x="163" y="581"/>
                  </a:lnTo>
                  <a:lnTo>
                    <a:pt x="167" y="582"/>
                  </a:lnTo>
                  <a:lnTo>
                    <a:pt x="167" y="582"/>
                  </a:lnTo>
                  <a:lnTo>
                    <a:pt x="177" y="585"/>
                  </a:lnTo>
                  <a:lnTo>
                    <a:pt x="186" y="585"/>
                  </a:lnTo>
                  <a:lnTo>
                    <a:pt x="195" y="583"/>
                  </a:lnTo>
                  <a:lnTo>
                    <a:pt x="195" y="583"/>
                  </a:lnTo>
                  <a:lnTo>
                    <a:pt x="197" y="582"/>
                  </a:lnTo>
                  <a:lnTo>
                    <a:pt x="198" y="579"/>
                  </a:lnTo>
                  <a:lnTo>
                    <a:pt x="200" y="576"/>
                  </a:lnTo>
                  <a:lnTo>
                    <a:pt x="203" y="573"/>
                  </a:lnTo>
                  <a:lnTo>
                    <a:pt x="203" y="573"/>
                  </a:lnTo>
                  <a:lnTo>
                    <a:pt x="207" y="573"/>
                  </a:lnTo>
                  <a:lnTo>
                    <a:pt x="209" y="570"/>
                  </a:lnTo>
                  <a:lnTo>
                    <a:pt x="210" y="567"/>
                  </a:lnTo>
                  <a:lnTo>
                    <a:pt x="212" y="563"/>
                  </a:lnTo>
                  <a:lnTo>
                    <a:pt x="212" y="563"/>
                  </a:lnTo>
                  <a:lnTo>
                    <a:pt x="212" y="557"/>
                  </a:lnTo>
                  <a:lnTo>
                    <a:pt x="210" y="551"/>
                  </a:lnTo>
                  <a:lnTo>
                    <a:pt x="210" y="545"/>
                  </a:lnTo>
                  <a:lnTo>
                    <a:pt x="212" y="545"/>
                  </a:lnTo>
                  <a:lnTo>
                    <a:pt x="215" y="544"/>
                  </a:lnTo>
                  <a:lnTo>
                    <a:pt x="215" y="544"/>
                  </a:lnTo>
                  <a:lnTo>
                    <a:pt x="228" y="545"/>
                  </a:lnTo>
                  <a:lnTo>
                    <a:pt x="234" y="544"/>
                  </a:lnTo>
                  <a:lnTo>
                    <a:pt x="238" y="542"/>
                  </a:lnTo>
                  <a:lnTo>
                    <a:pt x="238" y="542"/>
                  </a:lnTo>
                  <a:lnTo>
                    <a:pt x="247" y="536"/>
                  </a:lnTo>
                  <a:lnTo>
                    <a:pt x="252" y="535"/>
                  </a:lnTo>
                  <a:lnTo>
                    <a:pt x="252" y="535"/>
                  </a:lnTo>
                  <a:lnTo>
                    <a:pt x="253" y="533"/>
                  </a:lnTo>
                  <a:lnTo>
                    <a:pt x="254" y="530"/>
                  </a:lnTo>
                  <a:lnTo>
                    <a:pt x="256" y="529"/>
                  </a:lnTo>
                  <a:lnTo>
                    <a:pt x="260" y="529"/>
                  </a:lnTo>
                  <a:lnTo>
                    <a:pt x="260" y="529"/>
                  </a:lnTo>
                  <a:lnTo>
                    <a:pt x="265" y="530"/>
                  </a:lnTo>
                  <a:lnTo>
                    <a:pt x="269" y="529"/>
                  </a:lnTo>
                  <a:lnTo>
                    <a:pt x="274" y="527"/>
                  </a:lnTo>
                  <a:lnTo>
                    <a:pt x="275" y="526"/>
                  </a:lnTo>
                  <a:lnTo>
                    <a:pt x="275" y="526"/>
                  </a:lnTo>
                  <a:lnTo>
                    <a:pt x="277" y="524"/>
                  </a:lnTo>
                  <a:lnTo>
                    <a:pt x="281" y="523"/>
                  </a:lnTo>
                  <a:lnTo>
                    <a:pt x="284" y="523"/>
                  </a:lnTo>
                  <a:lnTo>
                    <a:pt x="286" y="520"/>
                  </a:lnTo>
                  <a:lnTo>
                    <a:pt x="286" y="520"/>
                  </a:lnTo>
                  <a:lnTo>
                    <a:pt x="290" y="511"/>
                  </a:lnTo>
                  <a:lnTo>
                    <a:pt x="293" y="508"/>
                  </a:lnTo>
                  <a:lnTo>
                    <a:pt x="296" y="508"/>
                  </a:lnTo>
                  <a:lnTo>
                    <a:pt x="296" y="508"/>
                  </a:lnTo>
                  <a:lnTo>
                    <a:pt x="299" y="509"/>
                  </a:lnTo>
                  <a:lnTo>
                    <a:pt x="302" y="515"/>
                  </a:lnTo>
                  <a:lnTo>
                    <a:pt x="302" y="515"/>
                  </a:lnTo>
                  <a:lnTo>
                    <a:pt x="303" y="518"/>
                  </a:lnTo>
                  <a:lnTo>
                    <a:pt x="306" y="520"/>
                  </a:lnTo>
                  <a:lnTo>
                    <a:pt x="311" y="521"/>
                  </a:lnTo>
                  <a:lnTo>
                    <a:pt x="315" y="523"/>
                  </a:lnTo>
                  <a:lnTo>
                    <a:pt x="318" y="524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24" y="532"/>
                  </a:lnTo>
                  <a:lnTo>
                    <a:pt x="327" y="535"/>
                  </a:lnTo>
                  <a:lnTo>
                    <a:pt x="330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42" y="538"/>
                  </a:lnTo>
                  <a:lnTo>
                    <a:pt x="345" y="536"/>
                  </a:lnTo>
                  <a:lnTo>
                    <a:pt x="354" y="529"/>
                  </a:lnTo>
                  <a:lnTo>
                    <a:pt x="354" y="529"/>
                  </a:lnTo>
                  <a:lnTo>
                    <a:pt x="358" y="526"/>
                  </a:lnTo>
                  <a:lnTo>
                    <a:pt x="363" y="524"/>
                  </a:lnTo>
                  <a:lnTo>
                    <a:pt x="366" y="523"/>
                  </a:lnTo>
                  <a:lnTo>
                    <a:pt x="366" y="521"/>
                  </a:lnTo>
                  <a:lnTo>
                    <a:pt x="366" y="521"/>
                  </a:lnTo>
                  <a:lnTo>
                    <a:pt x="369" y="514"/>
                  </a:lnTo>
                  <a:lnTo>
                    <a:pt x="370" y="509"/>
                  </a:lnTo>
                  <a:lnTo>
                    <a:pt x="369" y="506"/>
                  </a:lnTo>
                  <a:lnTo>
                    <a:pt x="369" y="506"/>
                  </a:lnTo>
                  <a:lnTo>
                    <a:pt x="364" y="501"/>
                  </a:lnTo>
                  <a:lnTo>
                    <a:pt x="363" y="499"/>
                  </a:lnTo>
                  <a:lnTo>
                    <a:pt x="364" y="496"/>
                  </a:lnTo>
                  <a:lnTo>
                    <a:pt x="364" y="496"/>
                  </a:lnTo>
                  <a:lnTo>
                    <a:pt x="366" y="490"/>
                  </a:lnTo>
                  <a:lnTo>
                    <a:pt x="367" y="486"/>
                  </a:lnTo>
                  <a:lnTo>
                    <a:pt x="367" y="483"/>
                  </a:lnTo>
                  <a:lnTo>
                    <a:pt x="367" y="483"/>
                  </a:lnTo>
                  <a:lnTo>
                    <a:pt x="364" y="474"/>
                  </a:lnTo>
                  <a:lnTo>
                    <a:pt x="364" y="469"/>
                  </a:lnTo>
                  <a:lnTo>
                    <a:pt x="366" y="468"/>
                  </a:lnTo>
                  <a:lnTo>
                    <a:pt x="369" y="468"/>
                  </a:lnTo>
                  <a:lnTo>
                    <a:pt x="369" y="468"/>
                  </a:lnTo>
                  <a:lnTo>
                    <a:pt x="374" y="466"/>
                  </a:lnTo>
                  <a:lnTo>
                    <a:pt x="377" y="464"/>
                  </a:lnTo>
                  <a:lnTo>
                    <a:pt x="380" y="458"/>
                  </a:lnTo>
                  <a:lnTo>
                    <a:pt x="380" y="458"/>
                  </a:lnTo>
                  <a:lnTo>
                    <a:pt x="386" y="447"/>
                  </a:lnTo>
                  <a:lnTo>
                    <a:pt x="388" y="444"/>
                  </a:lnTo>
                  <a:lnTo>
                    <a:pt x="391" y="443"/>
                  </a:lnTo>
                  <a:lnTo>
                    <a:pt x="391" y="443"/>
                  </a:lnTo>
                  <a:lnTo>
                    <a:pt x="392" y="443"/>
                  </a:lnTo>
                  <a:lnTo>
                    <a:pt x="395" y="441"/>
                  </a:lnTo>
                  <a:lnTo>
                    <a:pt x="397" y="438"/>
                  </a:lnTo>
                  <a:lnTo>
                    <a:pt x="398" y="431"/>
                  </a:lnTo>
                  <a:lnTo>
                    <a:pt x="398" y="431"/>
                  </a:lnTo>
                  <a:lnTo>
                    <a:pt x="403" y="413"/>
                  </a:lnTo>
                  <a:lnTo>
                    <a:pt x="406" y="407"/>
                  </a:lnTo>
                  <a:lnTo>
                    <a:pt x="407" y="403"/>
                  </a:lnTo>
                  <a:lnTo>
                    <a:pt x="407" y="403"/>
                  </a:lnTo>
                  <a:lnTo>
                    <a:pt x="413" y="397"/>
                  </a:lnTo>
                  <a:lnTo>
                    <a:pt x="416" y="394"/>
                  </a:lnTo>
                  <a:lnTo>
                    <a:pt x="422" y="394"/>
                  </a:lnTo>
                  <a:lnTo>
                    <a:pt x="422" y="394"/>
                  </a:lnTo>
                  <a:lnTo>
                    <a:pt x="426" y="392"/>
                  </a:lnTo>
                  <a:lnTo>
                    <a:pt x="429" y="389"/>
                  </a:lnTo>
                  <a:lnTo>
                    <a:pt x="431" y="381"/>
                  </a:lnTo>
                  <a:lnTo>
                    <a:pt x="431" y="381"/>
                  </a:lnTo>
                  <a:lnTo>
                    <a:pt x="431" y="375"/>
                  </a:lnTo>
                  <a:lnTo>
                    <a:pt x="429" y="370"/>
                  </a:lnTo>
                  <a:lnTo>
                    <a:pt x="429" y="364"/>
                  </a:lnTo>
                  <a:lnTo>
                    <a:pt x="429" y="361"/>
                  </a:lnTo>
                  <a:lnTo>
                    <a:pt x="429" y="361"/>
                  </a:lnTo>
                  <a:lnTo>
                    <a:pt x="431" y="357"/>
                  </a:lnTo>
                  <a:lnTo>
                    <a:pt x="437" y="351"/>
                  </a:lnTo>
                  <a:lnTo>
                    <a:pt x="444" y="347"/>
                  </a:lnTo>
                  <a:lnTo>
                    <a:pt x="451" y="344"/>
                  </a:lnTo>
                  <a:lnTo>
                    <a:pt x="451" y="344"/>
                  </a:lnTo>
                  <a:lnTo>
                    <a:pt x="456" y="344"/>
                  </a:lnTo>
                  <a:lnTo>
                    <a:pt x="459" y="345"/>
                  </a:lnTo>
                  <a:lnTo>
                    <a:pt x="462" y="347"/>
                  </a:lnTo>
                  <a:lnTo>
                    <a:pt x="469" y="349"/>
                  </a:lnTo>
                  <a:lnTo>
                    <a:pt x="469" y="349"/>
                  </a:lnTo>
                  <a:lnTo>
                    <a:pt x="490" y="351"/>
                  </a:lnTo>
                  <a:lnTo>
                    <a:pt x="505" y="351"/>
                  </a:lnTo>
                  <a:lnTo>
                    <a:pt x="505" y="351"/>
                  </a:lnTo>
                  <a:lnTo>
                    <a:pt x="509" y="351"/>
                  </a:lnTo>
                  <a:lnTo>
                    <a:pt x="512" y="352"/>
                  </a:lnTo>
                  <a:lnTo>
                    <a:pt x="521" y="358"/>
                  </a:lnTo>
                  <a:lnTo>
                    <a:pt x="521" y="358"/>
                  </a:lnTo>
                  <a:lnTo>
                    <a:pt x="527" y="363"/>
                  </a:lnTo>
                  <a:lnTo>
                    <a:pt x="534" y="366"/>
                  </a:lnTo>
                  <a:lnTo>
                    <a:pt x="546" y="369"/>
                  </a:lnTo>
                  <a:lnTo>
                    <a:pt x="546" y="369"/>
                  </a:lnTo>
                  <a:lnTo>
                    <a:pt x="552" y="370"/>
                  </a:lnTo>
                  <a:lnTo>
                    <a:pt x="557" y="375"/>
                  </a:lnTo>
                  <a:lnTo>
                    <a:pt x="560" y="379"/>
                  </a:lnTo>
                  <a:lnTo>
                    <a:pt x="560" y="382"/>
                  </a:lnTo>
                  <a:lnTo>
                    <a:pt x="560" y="384"/>
                  </a:lnTo>
                  <a:lnTo>
                    <a:pt x="560" y="384"/>
                  </a:lnTo>
                  <a:lnTo>
                    <a:pt x="557" y="387"/>
                  </a:lnTo>
                  <a:lnTo>
                    <a:pt x="554" y="389"/>
                  </a:lnTo>
                  <a:lnTo>
                    <a:pt x="552" y="391"/>
                  </a:lnTo>
                  <a:lnTo>
                    <a:pt x="554" y="394"/>
                  </a:lnTo>
                  <a:lnTo>
                    <a:pt x="554" y="394"/>
                  </a:lnTo>
                  <a:lnTo>
                    <a:pt x="558" y="397"/>
                  </a:lnTo>
                  <a:lnTo>
                    <a:pt x="560" y="403"/>
                  </a:lnTo>
                  <a:lnTo>
                    <a:pt x="561" y="410"/>
                  </a:lnTo>
                  <a:lnTo>
                    <a:pt x="562" y="418"/>
                  </a:lnTo>
                  <a:lnTo>
                    <a:pt x="562" y="418"/>
                  </a:lnTo>
                  <a:lnTo>
                    <a:pt x="564" y="424"/>
                  </a:lnTo>
                  <a:lnTo>
                    <a:pt x="567" y="428"/>
                  </a:lnTo>
                  <a:lnTo>
                    <a:pt x="573" y="431"/>
                  </a:lnTo>
                  <a:lnTo>
                    <a:pt x="577" y="431"/>
                  </a:lnTo>
                  <a:lnTo>
                    <a:pt x="577" y="431"/>
                  </a:lnTo>
                  <a:lnTo>
                    <a:pt x="580" y="429"/>
                  </a:lnTo>
                  <a:lnTo>
                    <a:pt x="585" y="427"/>
                  </a:lnTo>
                  <a:lnTo>
                    <a:pt x="588" y="425"/>
                  </a:lnTo>
                  <a:lnTo>
                    <a:pt x="594" y="424"/>
                  </a:lnTo>
                  <a:lnTo>
                    <a:pt x="594" y="424"/>
                  </a:lnTo>
                  <a:lnTo>
                    <a:pt x="599" y="424"/>
                  </a:lnTo>
                  <a:lnTo>
                    <a:pt x="602" y="425"/>
                  </a:lnTo>
                  <a:lnTo>
                    <a:pt x="605" y="427"/>
                  </a:lnTo>
                  <a:lnTo>
                    <a:pt x="608" y="427"/>
                  </a:lnTo>
                  <a:lnTo>
                    <a:pt x="608" y="427"/>
                  </a:lnTo>
                  <a:lnTo>
                    <a:pt x="610" y="425"/>
                  </a:lnTo>
                  <a:lnTo>
                    <a:pt x="613" y="422"/>
                  </a:lnTo>
                  <a:lnTo>
                    <a:pt x="614" y="418"/>
                  </a:lnTo>
                  <a:lnTo>
                    <a:pt x="616" y="413"/>
                  </a:lnTo>
                  <a:lnTo>
                    <a:pt x="616" y="413"/>
                  </a:lnTo>
                  <a:lnTo>
                    <a:pt x="616" y="412"/>
                  </a:lnTo>
                  <a:lnTo>
                    <a:pt x="617" y="410"/>
                  </a:lnTo>
                  <a:lnTo>
                    <a:pt x="622" y="407"/>
                  </a:lnTo>
                  <a:lnTo>
                    <a:pt x="628" y="407"/>
                  </a:lnTo>
                  <a:lnTo>
                    <a:pt x="631" y="407"/>
                  </a:lnTo>
                  <a:lnTo>
                    <a:pt x="631" y="407"/>
                  </a:lnTo>
                  <a:lnTo>
                    <a:pt x="634" y="410"/>
                  </a:lnTo>
                  <a:lnTo>
                    <a:pt x="635" y="413"/>
                  </a:lnTo>
                  <a:lnTo>
                    <a:pt x="637" y="416"/>
                  </a:lnTo>
                  <a:lnTo>
                    <a:pt x="641" y="416"/>
                  </a:lnTo>
                  <a:lnTo>
                    <a:pt x="641" y="416"/>
                  </a:lnTo>
                  <a:lnTo>
                    <a:pt x="648" y="418"/>
                  </a:lnTo>
                  <a:lnTo>
                    <a:pt x="654" y="419"/>
                  </a:lnTo>
                  <a:lnTo>
                    <a:pt x="659" y="422"/>
                  </a:lnTo>
                  <a:lnTo>
                    <a:pt x="662" y="425"/>
                  </a:lnTo>
                  <a:lnTo>
                    <a:pt x="662" y="425"/>
                  </a:lnTo>
                  <a:lnTo>
                    <a:pt x="662" y="431"/>
                  </a:lnTo>
                  <a:lnTo>
                    <a:pt x="662" y="440"/>
                  </a:lnTo>
                  <a:lnTo>
                    <a:pt x="663" y="450"/>
                  </a:lnTo>
                  <a:lnTo>
                    <a:pt x="663" y="458"/>
                  </a:lnTo>
                  <a:lnTo>
                    <a:pt x="663" y="458"/>
                  </a:lnTo>
                  <a:lnTo>
                    <a:pt x="668" y="466"/>
                  </a:lnTo>
                  <a:lnTo>
                    <a:pt x="672" y="475"/>
                  </a:lnTo>
                  <a:lnTo>
                    <a:pt x="672" y="475"/>
                  </a:lnTo>
                  <a:lnTo>
                    <a:pt x="675" y="483"/>
                  </a:lnTo>
                  <a:lnTo>
                    <a:pt x="679" y="487"/>
                  </a:lnTo>
                  <a:lnTo>
                    <a:pt x="679" y="487"/>
                  </a:lnTo>
                  <a:lnTo>
                    <a:pt x="681" y="492"/>
                  </a:lnTo>
                  <a:lnTo>
                    <a:pt x="681" y="496"/>
                  </a:lnTo>
                  <a:lnTo>
                    <a:pt x="681" y="501"/>
                  </a:lnTo>
                  <a:lnTo>
                    <a:pt x="682" y="502"/>
                  </a:lnTo>
                  <a:lnTo>
                    <a:pt x="685" y="505"/>
                  </a:lnTo>
                  <a:lnTo>
                    <a:pt x="685" y="505"/>
                  </a:lnTo>
                  <a:lnTo>
                    <a:pt x="688" y="505"/>
                  </a:lnTo>
                  <a:lnTo>
                    <a:pt x="690" y="506"/>
                  </a:lnTo>
                  <a:lnTo>
                    <a:pt x="693" y="505"/>
                  </a:lnTo>
                  <a:lnTo>
                    <a:pt x="694" y="504"/>
                  </a:lnTo>
                  <a:lnTo>
                    <a:pt x="697" y="505"/>
                  </a:lnTo>
                  <a:lnTo>
                    <a:pt x="703" y="511"/>
                  </a:lnTo>
                  <a:lnTo>
                    <a:pt x="703" y="511"/>
                  </a:lnTo>
                  <a:lnTo>
                    <a:pt x="714" y="523"/>
                  </a:lnTo>
                  <a:lnTo>
                    <a:pt x="715" y="527"/>
                  </a:lnTo>
                  <a:lnTo>
                    <a:pt x="716" y="532"/>
                  </a:lnTo>
                  <a:lnTo>
                    <a:pt x="716" y="532"/>
                  </a:lnTo>
                  <a:lnTo>
                    <a:pt x="716" y="536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09" y="542"/>
                  </a:lnTo>
                  <a:lnTo>
                    <a:pt x="709" y="542"/>
                  </a:lnTo>
                  <a:lnTo>
                    <a:pt x="694" y="545"/>
                  </a:lnTo>
                  <a:lnTo>
                    <a:pt x="679" y="545"/>
                  </a:lnTo>
                  <a:lnTo>
                    <a:pt x="679" y="545"/>
                  </a:lnTo>
                  <a:lnTo>
                    <a:pt x="675" y="545"/>
                  </a:lnTo>
                  <a:lnTo>
                    <a:pt x="672" y="544"/>
                  </a:lnTo>
                  <a:lnTo>
                    <a:pt x="665" y="538"/>
                  </a:lnTo>
                  <a:lnTo>
                    <a:pt x="665" y="538"/>
                  </a:lnTo>
                  <a:lnTo>
                    <a:pt x="662" y="533"/>
                  </a:lnTo>
                  <a:lnTo>
                    <a:pt x="660" y="532"/>
                  </a:lnTo>
                  <a:lnTo>
                    <a:pt x="657" y="530"/>
                  </a:lnTo>
                  <a:lnTo>
                    <a:pt x="653" y="533"/>
                  </a:lnTo>
                  <a:lnTo>
                    <a:pt x="653" y="533"/>
                  </a:lnTo>
                  <a:lnTo>
                    <a:pt x="647" y="538"/>
                  </a:lnTo>
                  <a:lnTo>
                    <a:pt x="639" y="541"/>
                  </a:lnTo>
                  <a:lnTo>
                    <a:pt x="628" y="546"/>
                  </a:lnTo>
                  <a:lnTo>
                    <a:pt x="628" y="546"/>
                  </a:lnTo>
                  <a:lnTo>
                    <a:pt x="620" y="552"/>
                  </a:lnTo>
                  <a:lnTo>
                    <a:pt x="619" y="554"/>
                  </a:lnTo>
                  <a:lnTo>
                    <a:pt x="620" y="555"/>
                  </a:lnTo>
                  <a:lnTo>
                    <a:pt x="620" y="555"/>
                  </a:lnTo>
                  <a:lnTo>
                    <a:pt x="628" y="558"/>
                  </a:lnTo>
                  <a:lnTo>
                    <a:pt x="631" y="561"/>
                  </a:lnTo>
                  <a:lnTo>
                    <a:pt x="631" y="564"/>
                  </a:lnTo>
                  <a:lnTo>
                    <a:pt x="631" y="564"/>
                  </a:lnTo>
                  <a:lnTo>
                    <a:pt x="631" y="566"/>
                  </a:lnTo>
                  <a:lnTo>
                    <a:pt x="628" y="567"/>
                  </a:lnTo>
                  <a:lnTo>
                    <a:pt x="626" y="567"/>
                  </a:lnTo>
                  <a:lnTo>
                    <a:pt x="625" y="572"/>
                  </a:lnTo>
                  <a:lnTo>
                    <a:pt x="625" y="572"/>
                  </a:lnTo>
                  <a:lnTo>
                    <a:pt x="623" y="582"/>
                  </a:lnTo>
                  <a:lnTo>
                    <a:pt x="628" y="592"/>
                  </a:lnTo>
                  <a:lnTo>
                    <a:pt x="628" y="592"/>
                  </a:lnTo>
                  <a:lnTo>
                    <a:pt x="632" y="600"/>
                  </a:lnTo>
                  <a:lnTo>
                    <a:pt x="632" y="603"/>
                  </a:lnTo>
                  <a:lnTo>
                    <a:pt x="631" y="606"/>
                  </a:lnTo>
                  <a:lnTo>
                    <a:pt x="631" y="606"/>
                  </a:lnTo>
                  <a:lnTo>
                    <a:pt x="628" y="607"/>
                  </a:lnTo>
                  <a:lnTo>
                    <a:pt x="623" y="609"/>
                  </a:lnTo>
                  <a:lnTo>
                    <a:pt x="620" y="610"/>
                  </a:lnTo>
                  <a:lnTo>
                    <a:pt x="619" y="613"/>
                  </a:lnTo>
                  <a:lnTo>
                    <a:pt x="619" y="613"/>
                  </a:lnTo>
                  <a:lnTo>
                    <a:pt x="619" y="623"/>
                  </a:lnTo>
                  <a:lnTo>
                    <a:pt x="619" y="628"/>
                  </a:lnTo>
                  <a:lnTo>
                    <a:pt x="622" y="632"/>
                  </a:lnTo>
                  <a:lnTo>
                    <a:pt x="622" y="632"/>
                  </a:lnTo>
                  <a:lnTo>
                    <a:pt x="625" y="634"/>
                  </a:lnTo>
                  <a:lnTo>
                    <a:pt x="628" y="634"/>
                  </a:lnTo>
                  <a:lnTo>
                    <a:pt x="631" y="634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35" y="640"/>
                  </a:lnTo>
                  <a:lnTo>
                    <a:pt x="637" y="644"/>
                  </a:lnTo>
                  <a:lnTo>
                    <a:pt x="637" y="647"/>
                  </a:lnTo>
                  <a:lnTo>
                    <a:pt x="639" y="650"/>
                  </a:lnTo>
                  <a:lnTo>
                    <a:pt x="639" y="650"/>
                  </a:lnTo>
                  <a:lnTo>
                    <a:pt x="641" y="653"/>
                  </a:lnTo>
                  <a:lnTo>
                    <a:pt x="642" y="656"/>
                  </a:lnTo>
                  <a:lnTo>
                    <a:pt x="644" y="659"/>
                  </a:lnTo>
                  <a:lnTo>
                    <a:pt x="647" y="662"/>
                  </a:lnTo>
                  <a:lnTo>
                    <a:pt x="647" y="662"/>
                  </a:lnTo>
                  <a:lnTo>
                    <a:pt x="648" y="663"/>
                  </a:lnTo>
                  <a:lnTo>
                    <a:pt x="651" y="663"/>
                  </a:lnTo>
                  <a:lnTo>
                    <a:pt x="653" y="662"/>
                  </a:lnTo>
                  <a:lnTo>
                    <a:pt x="654" y="659"/>
                  </a:lnTo>
                  <a:lnTo>
                    <a:pt x="654" y="659"/>
                  </a:lnTo>
                  <a:lnTo>
                    <a:pt x="657" y="658"/>
                  </a:lnTo>
                  <a:lnTo>
                    <a:pt x="660" y="655"/>
                  </a:lnTo>
                  <a:lnTo>
                    <a:pt x="663" y="655"/>
                  </a:lnTo>
                  <a:lnTo>
                    <a:pt x="666" y="656"/>
                  </a:lnTo>
                  <a:lnTo>
                    <a:pt x="666" y="656"/>
                  </a:lnTo>
                  <a:lnTo>
                    <a:pt x="666" y="659"/>
                  </a:lnTo>
                  <a:lnTo>
                    <a:pt x="666" y="662"/>
                  </a:lnTo>
                  <a:lnTo>
                    <a:pt x="663" y="668"/>
                  </a:lnTo>
                  <a:lnTo>
                    <a:pt x="663" y="668"/>
                  </a:lnTo>
                  <a:lnTo>
                    <a:pt x="663" y="672"/>
                  </a:lnTo>
                  <a:lnTo>
                    <a:pt x="663" y="675"/>
                  </a:lnTo>
                  <a:lnTo>
                    <a:pt x="666" y="681"/>
                  </a:lnTo>
                  <a:lnTo>
                    <a:pt x="666" y="681"/>
                  </a:lnTo>
                  <a:lnTo>
                    <a:pt x="671" y="695"/>
                  </a:lnTo>
                  <a:lnTo>
                    <a:pt x="672" y="702"/>
                  </a:lnTo>
                  <a:lnTo>
                    <a:pt x="671" y="708"/>
                  </a:lnTo>
                  <a:lnTo>
                    <a:pt x="671" y="708"/>
                  </a:lnTo>
                  <a:lnTo>
                    <a:pt x="669" y="711"/>
                  </a:lnTo>
                  <a:lnTo>
                    <a:pt x="665" y="714"/>
                  </a:lnTo>
                  <a:lnTo>
                    <a:pt x="662" y="714"/>
                  </a:lnTo>
                  <a:lnTo>
                    <a:pt x="656" y="714"/>
                  </a:lnTo>
                  <a:lnTo>
                    <a:pt x="656" y="714"/>
                  </a:lnTo>
                  <a:lnTo>
                    <a:pt x="651" y="712"/>
                  </a:lnTo>
                  <a:lnTo>
                    <a:pt x="648" y="712"/>
                  </a:lnTo>
                  <a:lnTo>
                    <a:pt x="645" y="714"/>
                  </a:lnTo>
                  <a:lnTo>
                    <a:pt x="644" y="718"/>
                  </a:lnTo>
                  <a:lnTo>
                    <a:pt x="644" y="718"/>
                  </a:lnTo>
                  <a:lnTo>
                    <a:pt x="639" y="723"/>
                  </a:lnTo>
                  <a:lnTo>
                    <a:pt x="635" y="727"/>
                  </a:lnTo>
                  <a:lnTo>
                    <a:pt x="628" y="732"/>
                  </a:lnTo>
                  <a:lnTo>
                    <a:pt x="622" y="733"/>
                  </a:lnTo>
                  <a:lnTo>
                    <a:pt x="622" y="733"/>
                  </a:lnTo>
                  <a:lnTo>
                    <a:pt x="605" y="735"/>
                  </a:lnTo>
                  <a:lnTo>
                    <a:pt x="588" y="735"/>
                  </a:lnTo>
                  <a:lnTo>
                    <a:pt x="588" y="735"/>
                  </a:lnTo>
                  <a:lnTo>
                    <a:pt x="562" y="730"/>
                  </a:lnTo>
                  <a:lnTo>
                    <a:pt x="562" y="730"/>
                  </a:lnTo>
                  <a:lnTo>
                    <a:pt x="565" y="724"/>
                  </a:lnTo>
                  <a:lnTo>
                    <a:pt x="576" y="706"/>
                  </a:lnTo>
                  <a:lnTo>
                    <a:pt x="576" y="706"/>
                  </a:lnTo>
                  <a:lnTo>
                    <a:pt x="579" y="702"/>
                  </a:lnTo>
                  <a:lnTo>
                    <a:pt x="577" y="698"/>
                  </a:lnTo>
                  <a:lnTo>
                    <a:pt x="576" y="696"/>
                  </a:lnTo>
                  <a:lnTo>
                    <a:pt x="574" y="696"/>
                  </a:lnTo>
                  <a:lnTo>
                    <a:pt x="571" y="696"/>
                  </a:lnTo>
                  <a:lnTo>
                    <a:pt x="567" y="698"/>
                  </a:lnTo>
                  <a:lnTo>
                    <a:pt x="567" y="698"/>
                  </a:lnTo>
                  <a:lnTo>
                    <a:pt x="551" y="711"/>
                  </a:lnTo>
                  <a:lnTo>
                    <a:pt x="543" y="717"/>
                  </a:lnTo>
                  <a:lnTo>
                    <a:pt x="536" y="720"/>
                  </a:lnTo>
                  <a:lnTo>
                    <a:pt x="536" y="720"/>
                  </a:lnTo>
                  <a:lnTo>
                    <a:pt x="517" y="721"/>
                  </a:lnTo>
                  <a:lnTo>
                    <a:pt x="509" y="724"/>
                  </a:lnTo>
                  <a:lnTo>
                    <a:pt x="506" y="726"/>
                  </a:lnTo>
                  <a:lnTo>
                    <a:pt x="506" y="729"/>
                  </a:lnTo>
                  <a:lnTo>
                    <a:pt x="506" y="729"/>
                  </a:lnTo>
                  <a:lnTo>
                    <a:pt x="509" y="755"/>
                  </a:lnTo>
                  <a:lnTo>
                    <a:pt x="509" y="763"/>
                  </a:lnTo>
                  <a:lnTo>
                    <a:pt x="509" y="770"/>
                  </a:lnTo>
                  <a:lnTo>
                    <a:pt x="508" y="775"/>
                  </a:lnTo>
                  <a:lnTo>
                    <a:pt x="506" y="776"/>
                  </a:lnTo>
                  <a:lnTo>
                    <a:pt x="505" y="776"/>
                  </a:lnTo>
                  <a:lnTo>
                    <a:pt x="505" y="776"/>
                  </a:lnTo>
                  <a:lnTo>
                    <a:pt x="487" y="779"/>
                  </a:lnTo>
                  <a:lnTo>
                    <a:pt x="480" y="782"/>
                  </a:lnTo>
                  <a:lnTo>
                    <a:pt x="475" y="785"/>
                  </a:lnTo>
                  <a:lnTo>
                    <a:pt x="475" y="785"/>
                  </a:lnTo>
                  <a:lnTo>
                    <a:pt x="468" y="798"/>
                  </a:lnTo>
                  <a:lnTo>
                    <a:pt x="462" y="804"/>
                  </a:lnTo>
                  <a:lnTo>
                    <a:pt x="460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4" y="801"/>
                  </a:lnTo>
                  <a:lnTo>
                    <a:pt x="451" y="798"/>
                  </a:lnTo>
                  <a:lnTo>
                    <a:pt x="450" y="795"/>
                  </a:lnTo>
                  <a:lnTo>
                    <a:pt x="444" y="794"/>
                  </a:lnTo>
                  <a:lnTo>
                    <a:pt x="444" y="794"/>
                  </a:lnTo>
                  <a:lnTo>
                    <a:pt x="437" y="794"/>
                  </a:lnTo>
                  <a:lnTo>
                    <a:pt x="429" y="794"/>
                  </a:lnTo>
                  <a:lnTo>
                    <a:pt x="423" y="795"/>
                  </a:lnTo>
                  <a:lnTo>
                    <a:pt x="419" y="797"/>
                  </a:lnTo>
                  <a:lnTo>
                    <a:pt x="419" y="797"/>
                  </a:lnTo>
                  <a:lnTo>
                    <a:pt x="413" y="798"/>
                  </a:lnTo>
                  <a:lnTo>
                    <a:pt x="403" y="801"/>
                  </a:lnTo>
                  <a:lnTo>
                    <a:pt x="397" y="801"/>
                  </a:lnTo>
                  <a:lnTo>
                    <a:pt x="392" y="800"/>
                  </a:lnTo>
                  <a:lnTo>
                    <a:pt x="389" y="798"/>
                  </a:lnTo>
                  <a:lnTo>
                    <a:pt x="386" y="795"/>
                  </a:lnTo>
                  <a:lnTo>
                    <a:pt x="386" y="795"/>
                  </a:lnTo>
                  <a:lnTo>
                    <a:pt x="383" y="788"/>
                  </a:lnTo>
                  <a:lnTo>
                    <a:pt x="382" y="782"/>
                  </a:lnTo>
                  <a:lnTo>
                    <a:pt x="379" y="778"/>
                  </a:lnTo>
                  <a:lnTo>
                    <a:pt x="377" y="778"/>
                  </a:lnTo>
                  <a:lnTo>
                    <a:pt x="376" y="776"/>
                  </a:lnTo>
                  <a:lnTo>
                    <a:pt x="376" y="776"/>
                  </a:lnTo>
                  <a:lnTo>
                    <a:pt x="374" y="778"/>
                  </a:lnTo>
                  <a:lnTo>
                    <a:pt x="373" y="779"/>
                  </a:lnTo>
                  <a:lnTo>
                    <a:pt x="373" y="783"/>
                  </a:lnTo>
                  <a:lnTo>
                    <a:pt x="370" y="786"/>
                  </a:lnTo>
                  <a:lnTo>
                    <a:pt x="367" y="788"/>
                  </a:lnTo>
                  <a:lnTo>
                    <a:pt x="363" y="789"/>
                  </a:lnTo>
                  <a:lnTo>
                    <a:pt x="363" y="789"/>
                  </a:lnTo>
                  <a:lnTo>
                    <a:pt x="355" y="789"/>
                  </a:lnTo>
                  <a:lnTo>
                    <a:pt x="349" y="788"/>
                  </a:lnTo>
                  <a:lnTo>
                    <a:pt x="340" y="786"/>
                  </a:lnTo>
                  <a:lnTo>
                    <a:pt x="340" y="786"/>
                  </a:lnTo>
                  <a:lnTo>
                    <a:pt x="337" y="786"/>
                  </a:lnTo>
                  <a:lnTo>
                    <a:pt x="333" y="789"/>
                  </a:lnTo>
                  <a:lnTo>
                    <a:pt x="330" y="792"/>
                  </a:lnTo>
                  <a:lnTo>
                    <a:pt x="329" y="792"/>
                  </a:lnTo>
                  <a:lnTo>
                    <a:pt x="326" y="791"/>
                  </a:lnTo>
                  <a:lnTo>
                    <a:pt x="326" y="791"/>
                  </a:lnTo>
                  <a:lnTo>
                    <a:pt x="317" y="788"/>
                  </a:lnTo>
                  <a:lnTo>
                    <a:pt x="315" y="786"/>
                  </a:lnTo>
                  <a:lnTo>
                    <a:pt x="314" y="782"/>
                  </a:lnTo>
                  <a:lnTo>
                    <a:pt x="314" y="782"/>
                  </a:lnTo>
                  <a:lnTo>
                    <a:pt x="314" y="778"/>
                  </a:lnTo>
                  <a:lnTo>
                    <a:pt x="314" y="773"/>
                  </a:lnTo>
                  <a:lnTo>
                    <a:pt x="311" y="770"/>
                  </a:lnTo>
                  <a:lnTo>
                    <a:pt x="309" y="770"/>
                  </a:lnTo>
                  <a:lnTo>
                    <a:pt x="308" y="773"/>
                  </a:lnTo>
                  <a:lnTo>
                    <a:pt x="308" y="773"/>
                  </a:lnTo>
                  <a:lnTo>
                    <a:pt x="305" y="778"/>
                  </a:lnTo>
                  <a:lnTo>
                    <a:pt x="300" y="783"/>
                  </a:lnTo>
                  <a:lnTo>
                    <a:pt x="297" y="791"/>
                  </a:lnTo>
                  <a:lnTo>
                    <a:pt x="292" y="798"/>
                  </a:lnTo>
                  <a:lnTo>
                    <a:pt x="292" y="798"/>
                  </a:lnTo>
                  <a:lnTo>
                    <a:pt x="286" y="804"/>
                  </a:lnTo>
                  <a:lnTo>
                    <a:pt x="280" y="807"/>
                  </a:lnTo>
                  <a:lnTo>
                    <a:pt x="272" y="807"/>
                  </a:lnTo>
                  <a:lnTo>
                    <a:pt x="262" y="807"/>
                  </a:lnTo>
                  <a:lnTo>
                    <a:pt x="262" y="807"/>
                  </a:lnTo>
                  <a:lnTo>
                    <a:pt x="253" y="807"/>
                  </a:lnTo>
                  <a:lnTo>
                    <a:pt x="247" y="809"/>
                  </a:lnTo>
                  <a:lnTo>
                    <a:pt x="244" y="809"/>
                  </a:lnTo>
                  <a:lnTo>
                    <a:pt x="238" y="806"/>
                  </a:lnTo>
                  <a:lnTo>
                    <a:pt x="238" y="806"/>
                  </a:lnTo>
                  <a:lnTo>
                    <a:pt x="231" y="801"/>
                  </a:lnTo>
                  <a:lnTo>
                    <a:pt x="220" y="798"/>
                  </a:lnTo>
                  <a:lnTo>
                    <a:pt x="212" y="798"/>
                  </a:lnTo>
                  <a:lnTo>
                    <a:pt x="209" y="800"/>
                  </a:lnTo>
                  <a:lnTo>
                    <a:pt x="207" y="801"/>
                  </a:lnTo>
                  <a:lnTo>
                    <a:pt x="207" y="801"/>
                  </a:lnTo>
                  <a:lnTo>
                    <a:pt x="207" y="809"/>
                  </a:lnTo>
                  <a:lnTo>
                    <a:pt x="209" y="819"/>
                  </a:lnTo>
                  <a:lnTo>
                    <a:pt x="212" y="831"/>
                  </a:lnTo>
                  <a:lnTo>
                    <a:pt x="212" y="831"/>
                  </a:lnTo>
                  <a:lnTo>
                    <a:pt x="201" y="829"/>
                  </a:lnTo>
                  <a:lnTo>
                    <a:pt x="191" y="829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73" y="838"/>
                  </a:lnTo>
                  <a:lnTo>
                    <a:pt x="161" y="849"/>
                  </a:lnTo>
                  <a:lnTo>
                    <a:pt x="149" y="857"/>
                  </a:lnTo>
                  <a:lnTo>
                    <a:pt x="143" y="862"/>
                  </a:lnTo>
                  <a:lnTo>
                    <a:pt x="143" y="862"/>
                  </a:lnTo>
                  <a:lnTo>
                    <a:pt x="140" y="863"/>
                  </a:lnTo>
                  <a:lnTo>
                    <a:pt x="139" y="866"/>
                  </a:lnTo>
                  <a:lnTo>
                    <a:pt x="136" y="878"/>
                  </a:lnTo>
                  <a:lnTo>
                    <a:pt x="136" y="878"/>
                  </a:lnTo>
                  <a:lnTo>
                    <a:pt x="136" y="886"/>
                  </a:lnTo>
                  <a:lnTo>
                    <a:pt x="136" y="892"/>
                  </a:lnTo>
                  <a:lnTo>
                    <a:pt x="139" y="895"/>
                  </a:lnTo>
                  <a:lnTo>
                    <a:pt x="143" y="897"/>
                  </a:lnTo>
                  <a:lnTo>
                    <a:pt x="143" y="897"/>
                  </a:lnTo>
                  <a:lnTo>
                    <a:pt x="149" y="896"/>
                  </a:lnTo>
                  <a:lnTo>
                    <a:pt x="152" y="899"/>
                  </a:lnTo>
                  <a:lnTo>
                    <a:pt x="158" y="905"/>
                  </a:lnTo>
                  <a:lnTo>
                    <a:pt x="158" y="905"/>
                  </a:lnTo>
                  <a:lnTo>
                    <a:pt x="166" y="914"/>
                  </a:lnTo>
                  <a:lnTo>
                    <a:pt x="173" y="917"/>
                  </a:lnTo>
                  <a:lnTo>
                    <a:pt x="173" y="917"/>
                  </a:lnTo>
                  <a:lnTo>
                    <a:pt x="186" y="921"/>
                  </a:lnTo>
                  <a:lnTo>
                    <a:pt x="188" y="923"/>
                  </a:lnTo>
                  <a:lnTo>
                    <a:pt x="188" y="924"/>
                  </a:lnTo>
                  <a:lnTo>
                    <a:pt x="182" y="926"/>
                  </a:lnTo>
                  <a:lnTo>
                    <a:pt x="182" y="926"/>
                  </a:lnTo>
                  <a:lnTo>
                    <a:pt x="173" y="926"/>
                  </a:lnTo>
                  <a:lnTo>
                    <a:pt x="167" y="926"/>
                  </a:lnTo>
                  <a:lnTo>
                    <a:pt x="164" y="926"/>
                  </a:lnTo>
                  <a:lnTo>
                    <a:pt x="163" y="927"/>
                  </a:lnTo>
                  <a:lnTo>
                    <a:pt x="163" y="930"/>
                  </a:lnTo>
                  <a:lnTo>
                    <a:pt x="161" y="935"/>
                  </a:lnTo>
                  <a:lnTo>
                    <a:pt x="161" y="935"/>
                  </a:lnTo>
                  <a:lnTo>
                    <a:pt x="160" y="945"/>
                  </a:lnTo>
                  <a:lnTo>
                    <a:pt x="155" y="955"/>
                  </a:lnTo>
                  <a:lnTo>
                    <a:pt x="154" y="961"/>
                  </a:lnTo>
                  <a:lnTo>
                    <a:pt x="154" y="966"/>
                  </a:lnTo>
                  <a:lnTo>
                    <a:pt x="155" y="970"/>
                  </a:lnTo>
                  <a:lnTo>
                    <a:pt x="157" y="974"/>
                  </a:lnTo>
                  <a:lnTo>
                    <a:pt x="157" y="974"/>
                  </a:lnTo>
                  <a:lnTo>
                    <a:pt x="163" y="982"/>
                  </a:lnTo>
                  <a:lnTo>
                    <a:pt x="164" y="989"/>
                  </a:lnTo>
                  <a:lnTo>
                    <a:pt x="164" y="995"/>
                  </a:lnTo>
                  <a:lnTo>
                    <a:pt x="166" y="1001"/>
                  </a:lnTo>
                  <a:lnTo>
                    <a:pt x="166" y="1001"/>
                  </a:lnTo>
                  <a:lnTo>
                    <a:pt x="169" y="1003"/>
                  </a:lnTo>
                  <a:lnTo>
                    <a:pt x="170" y="1006"/>
                  </a:lnTo>
                  <a:lnTo>
                    <a:pt x="172" y="1009"/>
                  </a:lnTo>
                  <a:lnTo>
                    <a:pt x="170" y="1014"/>
                  </a:lnTo>
                  <a:lnTo>
                    <a:pt x="170" y="1014"/>
                  </a:lnTo>
                  <a:lnTo>
                    <a:pt x="167" y="1023"/>
                  </a:lnTo>
                  <a:lnTo>
                    <a:pt x="166" y="1031"/>
                  </a:lnTo>
                  <a:lnTo>
                    <a:pt x="167" y="1047"/>
                  </a:lnTo>
                  <a:lnTo>
                    <a:pt x="167" y="1047"/>
                  </a:lnTo>
                  <a:lnTo>
                    <a:pt x="166" y="1059"/>
                  </a:lnTo>
                  <a:lnTo>
                    <a:pt x="166" y="1068"/>
                  </a:lnTo>
                  <a:lnTo>
                    <a:pt x="164" y="1074"/>
                  </a:lnTo>
                  <a:lnTo>
                    <a:pt x="164" y="1077"/>
                  </a:lnTo>
                  <a:lnTo>
                    <a:pt x="164" y="1077"/>
                  </a:lnTo>
                  <a:lnTo>
                    <a:pt x="170" y="1080"/>
                  </a:lnTo>
                  <a:lnTo>
                    <a:pt x="177" y="108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1" name="Freeform 190">
              <a:extLst>
                <a:ext uri="{FF2B5EF4-FFF2-40B4-BE49-F238E27FC236}">
                  <a16:creationId xmlns:a16="http://schemas.microsoft.com/office/drawing/2014/main" id="{815A4C85-96B6-5E45-A14E-6B48F0AAA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950" y="6092825"/>
              <a:ext cx="244475" cy="569912"/>
            </a:xfrm>
            <a:custGeom>
              <a:avLst/>
              <a:gdLst>
                <a:gd name="T0" fmla="*/ 0 w 154"/>
                <a:gd name="T1" fmla="*/ 22 h 359"/>
                <a:gd name="T2" fmla="*/ 7 w 154"/>
                <a:gd name="T3" fmla="*/ 18 h 359"/>
                <a:gd name="T4" fmla="*/ 10 w 154"/>
                <a:gd name="T5" fmla="*/ 14 h 359"/>
                <a:gd name="T6" fmla="*/ 13 w 154"/>
                <a:gd name="T7" fmla="*/ 3 h 359"/>
                <a:gd name="T8" fmla="*/ 15 w 154"/>
                <a:gd name="T9" fmla="*/ 2 h 359"/>
                <a:gd name="T10" fmla="*/ 19 w 154"/>
                <a:gd name="T11" fmla="*/ 0 h 359"/>
                <a:gd name="T12" fmla="*/ 27 w 154"/>
                <a:gd name="T13" fmla="*/ 6 h 359"/>
                <a:gd name="T14" fmla="*/ 33 w 154"/>
                <a:gd name="T15" fmla="*/ 15 h 359"/>
                <a:gd name="T16" fmla="*/ 34 w 154"/>
                <a:gd name="T17" fmla="*/ 22 h 359"/>
                <a:gd name="T18" fmla="*/ 37 w 154"/>
                <a:gd name="T19" fmla="*/ 28 h 359"/>
                <a:gd name="T20" fmla="*/ 46 w 154"/>
                <a:gd name="T21" fmla="*/ 33 h 359"/>
                <a:gd name="T22" fmla="*/ 50 w 154"/>
                <a:gd name="T23" fmla="*/ 37 h 359"/>
                <a:gd name="T24" fmla="*/ 50 w 154"/>
                <a:gd name="T25" fmla="*/ 45 h 359"/>
                <a:gd name="T26" fmla="*/ 53 w 154"/>
                <a:gd name="T27" fmla="*/ 48 h 359"/>
                <a:gd name="T28" fmla="*/ 65 w 154"/>
                <a:gd name="T29" fmla="*/ 51 h 359"/>
                <a:gd name="T30" fmla="*/ 74 w 154"/>
                <a:gd name="T31" fmla="*/ 58 h 359"/>
                <a:gd name="T32" fmla="*/ 83 w 154"/>
                <a:gd name="T33" fmla="*/ 70 h 359"/>
                <a:gd name="T34" fmla="*/ 93 w 154"/>
                <a:gd name="T35" fmla="*/ 79 h 359"/>
                <a:gd name="T36" fmla="*/ 107 w 154"/>
                <a:gd name="T37" fmla="*/ 83 h 359"/>
                <a:gd name="T38" fmla="*/ 113 w 154"/>
                <a:gd name="T39" fmla="*/ 83 h 359"/>
                <a:gd name="T40" fmla="*/ 113 w 154"/>
                <a:gd name="T41" fmla="*/ 83 h 359"/>
                <a:gd name="T42" fmla="*/ 113 w 154"/>
                <a:gd name="T43" fmla="*/ 73 h 359"/>
                <a:gd name="T44" fmla="*/ 113 w 154"/>
                <a:gd name="T45" fmla="*/ 65 h 359"/>
                <a:gd name="T46" fmla="*/ 124 w 154"/>
                <a:gd name="T47" fmla="*/ 82 h 359"/>
                <a:gd name="T48" fmla="*/ 130 w 154"/>
                <a:gd name="T49" fmla="*/ 91 h 359"/>
                <a:gd name="T50" fmla="*/ 133 w 154"/>
                <a:gd name="T51" fmla="*/ 101 h 359"/>
                <a:gd name="T52" fmla="*/ 133 w 154"/>
                <a:gd name="T53" fmla="*/ 110 h 359"/>
                <a:gd name="T54" fmla="*/ 139 w 154"/>
                <a:gd name="T55" fmla="*/ 117 h 359"/>
                <a:gd name="T56" fmla="*/ 145 w 154"/>
                <a:gd name="T57" fmla="*/ 123 h 359"/>
                <a:gd name="T58" fmla="*/ 148 w 154"/>
                <a:gd name="T59" fmla="*/ 125 h 359"/>
                <a:gd name="T60" fmla="*/ 147 w 154"/>
                <a:gd name="T61" fmla="*/ 150 h 359"/>
                <a:gd name="T62" fmla="*/ 150 w 154"/>
                <a:gd name="T63" fmla="*/ 160 h 359"/>
                <a:gd name="T64" fmla="*/ 154 w 154"/>
                <a:gd name="T65" fmla="*/ 168 h 359"/>
                <a:gd name="T66" fmla="*/ 154 w 154"/>
                <a:gd name="T67" fmla="*/ 172 h 359"/>
                <a:gd name="T68" fmla="*/ 151 w 154"/>
                <a:gd name="T69" fmla="*/ 184 h 359"/>
                <a:gd name="T70" fmla="*/ 147 w 154"/>
                <a:gd name="T71" fmla="*/ 188 h 359"/>
                <a:gd name="T72" fmla="*/ 138 w 154"/>
                <a:gd name="T73" fmla="*/ 197 h 359"/>
                <a:gd name="T74" fmla="*/ 135 w 154"/>
                <a:gd name="T75" fmla="*/ 199 h 359"/>
                <a:gd name="T76" fmla="*/ 127 w 154"/>
                <a:gd name="T77" fmla="*/ 196 h 359"/>
                <a:gd name="T78" fmla="*/ 113 w 154"/>
                <a:gd name="T79" fmla="*/ 190 h 359"/>
                <a:gd name="T80" fmla="*/ 107 w 154"/>
                <a:gd name="T81" fmla="*/ 193 h 359"/>
                <a:gd name="T82" fmla="*/ 105 w 154"/>
                <a:gd name="T83" fmla="*/ 196 h 359"/>
                <a:gd name="T84" fmla="*/ 104 w 154"/>
                <a:gd name="T85" fmla="*/ 215 h 359"/>
                <a:gd name="T86" fmla="*/ 96 w 154"/>
                <a:gd name="T87" fmla="*/ 228 h 359"/>
                <a:gd name="T88" fmla="*/ 93 w 154"/>
                <a:gd name="T89" fmla="*/ 230 h 359"/>
                <a:gd name="T90" fmla="*/ 83 w 154"/>
                <a:gd name="T91" fmla="*/ 225 h 359"/>
                <a:gd name="T92" fmla="*/ 80 w 154"/>
                <a:gd name="T93" fmla="*/ 222 h 359"/>
                <a:gd name="T94" fmla="*/ 77 w 154"/>
                <a:gd name="T95" fmla="*/ 224 h 359"/>
                <a:gd name="T96" fmla="*/ 70 w 154"/>
                <a:gd name="T97" fmla="*/ 231 h 359"/>
                <a:gd name="T98" fmla="*/ 67 w 154"/>
                <a:gd name="T99" fmla="*/ 246 h 359"/>
                <a:gd name="T100" fmla="*/ 67 w 154"/>
                <a:gd name="T101" fmla="*/ 258 h 359"/>
                <a:gd name="T102" fmla="*/ 71 w 154"/>
                <a:gd name="T103" fmla="*/ 262 h 359"/>
                <a:gd name="T104" fmla="*/ 80 w 154"/>
                <a:gd name="T105" fmla="*/ 261 h 359"/>
                <a:gd name="T106" fmla="*/ 83 w 154"/>
                <a:gd name="T107" fmla="*/ 262 h 359"/>
                <a:gd name="T108" fmla="*/ 86 w 154"/>
                <a:gd name="T109" fmla="*/ 267 h 359"/>
                <a:gd name="T110" fmla="*/ 89 w 154"/>
                <a:gd name="T111" fmla="*/ 279 h 359"/>
                <a:gd name="T112" fmla="*/ 99 w 154"/>
                <a:gd name="T113" fmla="*/ 282 h 359"/>
                <a:gd name="T114" fmla="*/ 110 w 154"/>
                <a:gd name="T115" fmla="*/ 282 h 359"/>
                <a:gd name="T116" fmla="*/ 115 w 154"/>
                <a:gd name="T117" fmla="*/ 286 h 359"/>
                <a:gd name="T118" fmla="*/ 115 w 154"/>
                <a:gd name="T119" fmla="*/ 289 h 359"/>
                <a:gd name="T120" fmla="*/ 111 w 154"/>
                <a:gd name="T121" fmla="*/ 304 h 359"/>
                <a:gd name="T122" fmla="*/ 104 w 154"/>
                <a:gd name="T123" fmla="*/ 32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" h="359">
                  <a:moveTo>
                    <a:pt x="0" y="22"/>
                  </a:moveTo>
                  <a:lnTo>
                    <a:pt x="0" y="22"/>
                  </a:lnTo>
                  <a:lnTo>
                    <a:pt x="4" y="19"/>
                  </a:lnTo>
                  <a:lnTo>
                    <a:pt x="7" y="18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33" y="15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7"/>
                  </a:lnTo>
                  <a:lnTo>
                    <a:pt x="37" y="28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9" y="36"/>
                  </a:lnTo>
                  <a:lnTo>
                    <a:pt x="50" y="37"/>
                  </a:lnTo>
                  <a:lnTo>
                    <a:pt x="50" y="42"/>
                  </a:lnTo>
                  <a:lnTo>
                    <a:pt x="50" y="45"/>
                  </a:lnTo>
                  <a:lnTo>
                    <a:pt x="50" y="46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65" y="51"/>
                  </a:lnTo>
                  <a:lnTo>
                    <a:pt x="70" y="54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83" y="70"/>
                  </a:lnTo>
                  <a:lnTo>
                    <a:pt x="87" y="76"/>
                  </a:lnTo>
                  <a:lnTo>
                    <a:pt x="93" y="79"/>
                  </a:lnTo>
                  <a:lnTo>
                    <a:pt x="93" y="79"/>
                  </a:lnTo>
                  <a:lnTo>
                    <a:pt x="107" y="83"/>
                  </a:lnTo>
                  <a:lnTo>
                    <a:pt x="111" y="85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79"/>
                  </a:lnTo>
                  <a:lnTo>
                    <a:pt x="113" y="73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5" y="7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30" y="91"/>
                  </a:lnTo>
                  <a:lnTo>
                    <a:pt x="132" y="95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10"/>
                  </a:lnTo>
                  <a:lnTo>
                    <a:pt x="135" y="114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45" y="123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7" y="150"/>
                  </a:lnTo>
                  <a:lnTo>
                    <a:pt x="147" y="150"/>
                  </a:lnTo>
                  <a:lnTo>
                    <a:pt x="148" y="156"/>
                  </a:lnTo>
                  <a:lnTo>
                    <a:pt x="150" y="160"/>
                  </a:lnTo>
                  <a:lnTo>
                    <a:pt x="153" y="165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4" y="172"/>
                  </a:lnTo>
                  <a:lnTo>
                    <a:pt x="154" y="178"/>
                  </a:lnTo>
                  <a:lnTo>
                    <a:pt x="151" y="184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2" y="193"/>
                  </a:lnTo>
                  <a:lnTo>
                    <a:pt x="138" y="197"/>
                  </a:lnTo>
                  <a:lnTo>
                    <a:pt x="136" y="199"/>
                  </a:lnTo>
                  <a:lnTo>
                    <a:pt x="135" y="199"/>
                  </a:lnTo>
                  <a:lnTo>
                    <a:pt x="127" y="196"/>
                  </a:lnTo>
                  <a:lnTo>
                    <a:pt x="127" y="196"/>
                  </a:lnTo>
                  <a:lnTo>
                    <a:pt x="120" y="191"/>
                  </a:lnTo>
                  <a:lnTo>
                    <a:pt x="113" y="190"/>
                  </a:lnTo>
                  <a:lnTo>
                    <a:pt x="108" y="191"/>
                  </a:lnTo>
                  <a:lnTo>
                    <a:pt x="107" y="193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205"/>
                  </a:lnTo>
                  <a:lnTo>
                    <a:pt x="104" y="215"/>
                  </a:lnTo>
                  <a:lnTo>
                    <a:pt x="99" y="225"/>
                  </a:lnTo>
                  <a:lnTo>
                    <a:pt x="96" y="228"/>
                  </a:lnTo>
                  <a:lnTo>
                    <a:pt x="93" y="230"/>
                  </a:lnTo>
                  <a:lnTo>
                    <a:pt x="93" y="230"/>
                  </a:lnTo>
                  <a:lnTo>
                    <a:pt x="87" y="228"/>
                  </a:lnTo>
                  <a:lnTo>
                    <a:pt x="83" y="225"/>
                  </a:lnTo>
                  <a:lnTo>
                    <a:pt x="81" y="224"/>
                  </a:lnTo>
                  <a:lnTo>
                    <a:pt x="80" y="222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4" y="227"/>
                  </a:lnTo>
                  <a:lnTo>
                    <a:pt x="70" y="231"/>
                  </a:lnTo>
                  <a:lnTo>
                    <a:pt x="68" y="239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58"/>
                  </a:lnTo>
                  <a:lnTo>
                    <a:pt x="68" y="261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80" y="261"/>
                  </a:lnTo>
                  <a:lnTo>
                    <a:pt x="81" y="261"/>
                  </a:lnTo>
                  <a:lnTo>
                    <a:pt x="83" y="262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87" y="274"/>
                  </a:lnTo>
                  <a:lnTo>
                    <a:pt x="89" y="279"/>
                  </a:lnTo>
                  <a:lnTo>
                    <a:pt x="93" y="280"/>
                  </a:lnTo>
                  <a:lnTo>
                    <a:pt x="99" y="282"/>
                  </a:lnTo>
                  <a:lnTo>
                    <a:pt x="99" y="282"/>
                  </a:lnTo>
                  <a:lnTo>
                    <a:pt x="110" y="282"/>
                  </a:lnTo>
                  <a:lnTo>
                    <a:pt x="113" y="283"/>
                  </a:lnTo>
                  <a:lnTo>
                    <a:pt x="115" y="286"/>
                  </a:lnTo>
                  <a:lnTo>
                    <a:pt x="115" y="286"/>
                  </a:lnTo>
                  <a:lnTo>
                    <a:pt x="115" y="289"/>
                  </a:lnTo>
                  <a:lnTo>
                    <a:pt x="115" y="293"/>
                  </a:lnTo>
                  <a:lnTo>
                    <a:pt x="111" y="304"/>
                  </a:lnTo>
                  <a:lnTo>
                    <a:pt x="104" y="325"/>
                  </a:lnTo>
                  <a:lnTo>
                    <a:pt x="104" y="325"/>
                  </a:lnTo>
                  <a:lnTo>
                    <a:pt x="92" y="359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2" name="Freeform 191">
              <a:extLst>
                <a:ext uri="{FF2B5EF4-FFF2-40B4-BE49-F238E27FC236}">
                  <a16:creationId xmlns:a16="http://schemas.microsoft.com/office/drawing/2014/main" id="{B3BA78CC-1F34-2649-B9CD-77A87EF37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1625" y="5789613"/>
              <a:ext cx="695325" cy="914400"/>
            </a:xfrm>
            <a:custGeom>
              <a:avLst/>
              <a:gdLst>
                <a:gd name="T0" fmla="*/ 3 w 438"/>
                <a:gd name="T1" fmla="*/ 227 h 576"/>
                <a:gd name="T2" fmla="*/ 16 w 438"/>
                <a:gd name="T3" fmla="*/ 259 h 576"/>
                <a:gd name="T4" fmla="*/ 35 w 438"/>
                <a:gd name="T5" fmla="*/ 299 h 576"/>
                <a:gd name="T6" fmla="*/ 17 w 438"/>
                <a:gd name="T7" fmla="*/ 323 h 576"/>
                <a:gd name="T8" fmla="*/ 31 w 438"/>
                <a:gd name="T9" fmla="*/ 347 h 576"/>
                <a:gd name="T10" fmla="*/ 12 w 438"/>
                <a:gd name="T11" fmla="*/ 359 h 576"/>
                <a:gd name="T12" fmla="*/ 10 w 438"/>
                <a:gd name="T13" fmla="*/ 370 h 576"/>
                <a:gd name="T14" fmla="*/ 1 w 438"/>
                <a:gd name="T15" fmla="*/ 399 h 576"/>
                <a:gd name="T16" fmla="*/ 23 w 438"/>
                <a:gd name="T17" fmla="*/ 409 h 576"/>
                <a:gd name="T18" fmla="*/ 49 w 438"/>
                <a:gd name="T19" fmla="*/ 400 h 576"/>
                <a:gd name="T20" fmla="*/ 66 w 438"/>
                <a:gd name="T21" fmla="*/ 415 h 576"/>
                <a:gd name="T22" fmla="*/ 40 w 438"/>
                <a:gd name="T23" fmla="*/ 456 h 576"/>
                <a:gd name="T24" fmla="*/ 22 w 438"/>
                <a:gd name="T25" fmla="*/ 495 h 576"/>
                <a:gd name="T26" fmla="*/ 17 w 438"/>
                <a:gd name="T27" fmla="*/ 513 h 576"/>
                <a:gd name="T28" fmla="*/ 29 w 438"/>
                <a:gd name="T29" fmla="*/ 507 h 576"/>
                <a:gd name="T30" fmla="*/ 37 w 438"/>
                <a:gd name="T31" fmla="*/ 535 h 576"/>
                <a:gd name="T32" fmla="*/ 63 w 438"/>
                <a:gd name="T33" fmla="*/ 541 h 576"/>
                <a:gd name="T34" fmla="*/ 87 w 438"/>
                <a:gd name="T35" fmla="*/ 535 h 576"/>
                <a:gd name="T36" fmla="*/ 114 w 438"/>
                <a:gd name="T37" fmla="*/ 570 h 576"/>
                <a:gd name="T38" fmla="*/ 131 w 438"/>
                <a:gd name="T39" fmla="*/ 563 h 576"/>
                <a:gd name="T40" fmla="*/ 148 w 438"/>
                <a:gd name="T41" fmla="*/ 539 h 576"/>
                <a:gd name="T42" fmla="*/ 166 w 438"/>
                <a:gd name="T43" fmla="*/ 551 h 576"/>
                <a:gd name="T44" fmla="*/ 168 w 438"/>
                <a:gd name="T45" fmla="*/ 533 h 576"/>
                <a:gd name="T46" fmla="*/ 192 w 438"/>
                <a:gd name="T47" fmla="*/ 519 h 576"/>
                <a:gd name="T48" fmla="*/ 211 w 438"/>
                <a:gd name="T49" fmla="*/ 476 h 576"/>
                <a:gd name="T50" fmla="*/ 247 w 438"/>
                <a:gd name="T51" fmla="*/ 434 h 576"/>
                <a:gd name="T52" fmla="*/ 269 w 438"/>
                <a:gd name="T53" fmla="*/ 407 h 576"/>
                <a:gd name="T54" fmla="*/ 293 w 438"/>
                <a:gd name="T55" fmla="*/ 407 h 576"/>
                <a:gd name="T56" fmla="*/ 328 w 438"/>
                <a:gd name="T57" fmla="*/ 409 h 576"/>
                <a:gd name="T58" fmla="*/ 355 w 438"/>
                <a:gd name="T59" fmla="*/ 399 h 576"/>
                <a:gd name="T60" fmla="*/ 365 w 438"/>
                <a:gd name="T61" fmla="*/ 376 h 576"/>
                <a:gd name="T62" fmla="*/ 397 w 438"/>
                <a:gd name="T63" fmla="*/ 359 h 576"/>
                <a:gd name="T64" fmla="*/ 374 w 438"/>
                <a:gd name="T65" fmla="*/ 350 h 576"/>
                <a:gd name="T66" fmla="*/ 327 w 438"/>
                <a:gd name="T67" fmla="*/ 341 h 576"/>
                <a:gd name="T68" fmla="*/ 300 w 438"/>
                <a:gd name="T69" fmla="*/ 329 h 576"/>
                <a:gd name="T70" fmla="*/ 262 w 438"/>
                <a:gd name="T71" fmla="*/ 322 h 576"/>
                <a:gd name="T72" fmla="*/ 260 w 438"/>
                <a:gd name="T73" fmla="*/ 305 h 576"/>
                <a:gd name="T74" fmla="*/ 256 w 438"/>
                <a:gd name="T75" fmla="*/ 270 h 576"/>
                <a:gd name="T76" fmla="*/ 260 w 438"/>
                <a:gd name="T77" fmla="*/ 243 h 576"/>
                <a:gd name="T78" fmla="*/ 272 w 438"/>
                <a:gd name="T79" fmla="*/ 221 h 576"/>
                <a:gd name="T80" fmla="*/ 299 w 438"/>
                <a:gd name="T81" fmla="*/ 210 h 576"/>
                <a:gd name="T82" fmla="*/ 322 w 438"/>
                <a:gd name="T83" fmla="*/ 234 h 576"/>
                <a:gd name="T84" fmla="*/ 302 w 438"/>
                <a:gd name="T85" fmla="*/ 277 h 576"/>
                <a:gd name="T86" fmla="*/ 317 w 438"/>
                <a:gd name="T87" fmla="*/ 287 h 576"/>
                <a:gd name="T88" fmla="*/ 331 w 438"/>
                <a:gd name="T89" fmla="*/ 290 h 576"/>
                <a:gd name="T90" fmla="*/ 342 w 438"/>
                <a:gd name="T91" fmla="*/ 307 h 576"/>
                <a:gd name="T92" fmla="*/ 345 w 438"/>
                <a:gd name="T93" fmla="*/ 268 h 576"/>
                <a:gd name="T94" fmla="*/ 373 w 438"/>
                <a:gd name="T95" fmla="*/ 270 h 576"/>
                <a:gd name="T96" fmla="*/ 391 w 438"/>
                <a:gd name="T97" fmla="*/ 274 h 576"/>
                <a:gd name="T98" fmla="*/ 425 w 438"/>
                <a:gd name="T99" fmla="*/ 279 h 576"/>
                <a:gd name="T100" fmla="*/ 414 w 438"/>
                <a:gd name="T101" fmla="*/ 267 h 576"/>
                <a:gd name="T102" fmla="*/ 417 w 438"/>
                <a:gd name="T103" fmla="*/ 249 h 576"/>
                <a:gd name="T104" fmla="*/ 419 w 438"/>
                <a:gd name="T105" fmla="*/ 224 h 576"/>
                <a:gd name="T106" fmla="*/ 438 w 438"/>
                <a:gd name="T107" fmla="*/ 216 h 576"/>
                <a:gd name="T108" fmla="*/ 411 w 438"/>
                <a:gd name="T109" fmla="*/ 197 h 576"/>
                <a:gd name="T110" fmla="*/ 402 w 438"/>
                <a:gd name="T111" fmla="*/ 176 h 576"/>
                <a:gd name="T112" fmla="*/ 364 w 438"/>
                <a:gd name="T113" fmla="*/ 147 h 576"/>
                <a:gd name="T114" fmla="*/ 348 w 438"/>
                <a:gd name="T115" fmla="*/ 129 h 576"/>
                <a:gd name="T116" fmla="*/ 325 w 438"/>
                <a:gd name="T117" fmla="*/ 85 h 576"/>
                <a:gd name="T118" fmla="*/ 296 w 438"/>
                <a:gd name="T119" fmla="*/ 68 h 576"/>
                <a:gd name="T120" fmla="*/ 263 w 438"/>
                <a:gd name="T121" fmla="*/ 55 h 576"/>
                <a:gd name="T122" fmla="*/ 251 w 438"/>
                <a:gd name="T123" fmla="*/ 31 h 576"/>
                <a:gd name="T124" fmla="*/ 229 w 438"/>
                <a:gd name="T125" fmla="*/ 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8" h="576">
                  <a:moveTo>
                    <a:pt x="10" y="166"/>
                  </a:moveTo>
                  <a:lnTo>
                    <a:pt x="10" y="166"/>
                  </a:lnTo>
                  <a:lnTo>
                    <a:pt x="10" y="191"/>
                  </a:lnTo>
                  <a:lnTo>
                    <a:pt x="10" y="191"/>
                  </a:lnTo>
                  <a:lnTo>
                    <a:pt x="7" y="206"/>
                  </a:lnTo>
                  <a:lnTo>
                    <a:pt x="4" y="221"/>
                  </a:lnTo>
                  <a:lnTo>
                    <a:pt x="4" y="221"/>
                  </a:lnTo>
                  <a:lnTo>
                    <a:pt x="3" y="227"/>
                  </a:lnTo>
                  <a:lnTo>
                    <a:pt x="3" y="234"/>
                  </a:lnTo>
                  <a:lnTo>
                    <a:pt x="4" y="240"/>
                  </a:lnTo>
                  <a:lnTo>
                    <a:pt x="7" y="246"/>
                  </a:lnTo>
                  <a:lnTo>
                    <a:pt x="7" y="246"/>
                  </a:lnTo>
                  <a:lnTo>
                    <a:pt x="13" y="250"/>
                  </a:lnTo>
                  <a:lnTo>
                    <a:pt x="16" y="253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76"/>
                  </a:lnTo>
                  <a:lnTo>
                    <a:pt x="16" y="282"/>
                  </a:lnTo>
                  <a:lnTo>
                    <a:pt x="17" y="283"/>
                  </a:lnTo>
                  <a:lnTo>
                    <a:pt x="19" y="285"/>
                  </a:lnTo>
                  <a:lnTo>
                    <a:pt x="19" y="285"/>
                  </a:lnTo>
                  <a:lnTo>
                    <a:pt x="35" y="290"/>
                  </a:lnTo>
                  <a:lnTo>
                    <a:pt x="35" y="290"/>
                  </a:lnTo>
                  <a:lnTo>
                    <a:pt x="35" y="299"/>
                  </a:lnTo>
                  <a:lnTo>
                    <a:pt x="34" y="305"/>
                  </a:lnTo>
                  <a:lnTo>
                    <a:pt x="32" y="307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26" y="311"/>
                  </a:lnTo>
                  <a:lnTo>
                    <a:pt x="22" y="316"/>
                  </a:lnTo>
                  <a:lnTo>
                    <a:pt x="17" y="320"/>
                  </a:lnTo>
                  <a:lnTo>
                    <a:pt x="17" y="323"/>
                  </a:lnTo>
                  <a:lnTo>
                    <a:pt x="17" y="326"/>
                  </a:lnTo>
                  <a:lnTo>
                    <a:pt x="17" y="326"/>
                  </a:lnTo>
                  <a:lnTo>
                    <a:pt x="22" y="332"/>
                  </a:lnTo>
                  <a:lnTo>
                    <a:pt x="26" y="338"/>
                  </a:lnTo>
                  <a:lnTo>
                    <a:pt x="31" y="342"/>
                  </a:lnTo>
                  <a:lnTo>
                    <a:pt x="32" y="345"/>
                  </a:lnTo>
                  <a:lnTo>
                    <a:pt x="32" y="345"/>
                  </a:lnTo>
                  <a:lnTo>
                    <a:pt x="31" y="347"/>
                  </a:lnTo>
                  <a:lnTo>
                    <a:pt x="26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19" y="357"/>
                  </a:lnTo>
                  <a:lnTo>
                    <a:pt x="16" y="359"/>
                  </a:lnTo>
                  <a:lnTo>
                    <a:pt x="13" y="360"/>
                  </a:lnTo>
                  <a:lnTo>
                    <a:pt x="12" y="359"/>
                  </a:lnTo>
                  <a:lnTo>
                    <a:pt x="12" y="359"/>
                  </a:lnTo>
                  <a:lnTo>
                    <a:pt x="9" y="359"/>
                  </a:lnTo>
                  <a:lnTo>
                    <a:pt x="4" y="360"/>
                  </a:lnTo>
                  <a:lnTo>
                    <a:pt x="3" y="363"/>
                  </a:lnTo>
                  <a:lnTo>
                    <a:pt x="3" y="365"/>
                  </a:lnTo>
                  <a:lnTo>
                    <a:pt x="4" y="366"/>
                  </a:lnTo>
                  <a:lnTo>
                    <a:pt x="4" y="366"/>
                  </a:lnTo>
                  <a:lnTo>
                    <a:pt x="10" y="370"/>
                  </a:lnTo>
                  <a:lnTo>
                    <a:pt x="14" y="375"/>
                  </a:lnTo>
                  <a:lnTo>
                    <a:pt x="16" y="379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6" y="390"/>
                  </a:lnTo>
                  <a:lnTo>
                    <a:pt x="1" y="394"/>
                  </a:lnTo>
                  <a:lnTo>
                    <a:pt x="0" y="397"/>
                  </a:lnTo>
                  <a:lnTo>
                    <a:pt x="1" y="399"/>
                  </a:lnTo>
                  <a:lnTo>
                    <a:pt x="1" y="399"/>
                  </a:lnTo>
                  <a:lnTo>
                    <a:pt x="4" y="406"/>
                  </a:lnTo>
                  <a:lnTo>
                    <a:pt x="6" y="409"/>
                  </a:lnTo>
                  <a:lnTo>
                    <a:pt x="9" y="412"/>
                  </a:lnTo>
                  <a:lnTo>
                    <a:pt x="9" y="412"/>
                  </a:lnTo>
                  <a:lnTo>
                    <a:pt x="13" y="412"/>
                  </a:lnTo>
                  <a:lnTo>
                    <a:pt x="17" y="412"/>
                  </a:lnTo>
                  <a:lnTo>
                    <a:pt x="23" y="409"/>
                  </a:lnTo>
                  <a:lnTo>
                    <a:pt x="26" y="406"/>
                  </a:lnTo>
                  <a:lnTo>
                    <a:pt x="26" y="406"/>
                  </a:lnTo>
                  <a:lnTo>
                    <a:pt x="31" y="402"/>
                  </a:lnTo>
                  <a:lnTo>
                    <a:pt x="34" y="400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46" y="400"/>
                  </a:lnTo>
                  <a:lnTo>
                    <a:pt x="49" y="400"/>
                  </a:lnTo>
                  <a:lnTo>
                    <a:pt x="50" y="403"/>
                  </a:lnTo>
                  <a:lnTo>
                    <a:pt x="50" y="403"/>
                  </a:lnTo>
                  <a:lnTo>
                    <a:pt x="52" y="409"/>
                  </a:lnTo>
                  <a:lnTo>
                    <a:pt x="53" y="412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63" y="413"/>
                  </a:lnTo>
                  <a:lnTo>
                    <a:pt x="66" y="415"/>
                  </a:lnTo>
                  <a:lnTo>
                    <a:pt x="68" y="416"/>
                  </a:lnTo>
                  <a:lnTo>
                    <a:pt x="68" y="416"/>
                  </a:lnTo>
                  <a:lnTo>
                    <a:pt x="57" y="422"/>
                  </a:lnTo>
                  <a:lnTo>
                    <a:pt x="52" y="430"/>
                  </a:lnTo>
                  <a:lnTo>
                    <a:pt x="47" y="436"/>
                  </a:lnTo>
                  <a:lnTo>
                    <a:pt x="47" y="436"/>
                  </a:lnTo>
                  <a:lnTo>
                    <a:pt x="43" y="449"/>
                  </a:lnTo>
                  <a:lnTo>
                    <a:pt x="40" y="456"/>
                  </a:lnTo>
                  <a:lnTo>
                    <a:pt x="35" y="461"/>
                  </a:lnTo>
                  <a:lnTo>
                    <a:pt x="35" y="461"/>
                  </a:lnTo>
                  <a:lnTo>
                    <a:pt x="26" y="471"/>
                  </a:lnTo>
                  <a:lnTo>
                    <a:pt x="22" y="476"/>
                  </a:lnTo>
                  <a:lnTo>
                    <a:pt x="22" y="482"/>
                  </a:lnTo>
                  <a:lnTo>
                    <a:pt x="22" y="482"/>
                  </a:lnTo>
                  <a:lnTo>
                    <a:pt x="22" y="490"/>
                  </a:lnTo>
                  <a:lnTo>
                    <a:pt x="22" y="495"/>
                  </a:lnTo>
                  <a:lnTo>
                    <a:pt x="19" y="496"/>
                  </a:lnTo>
                  <a:lnTo>
                    <a:pt x="19" y="496"/>
                  </a:lnTo>
                  <a:lnTo>
                    <a:pt x="13" y="501"/>
                  </a:lnTo>
                  <a:lnTo>
                    <a:pt x="12" y="502"/>
                  </a:lnTo>
                  <a:lnTo>
                    <a:pt x="12" y="505"/>
                  </a:lnTo>
                  <a:lnTo>
                    <a:pt x="12" y="505"/>
                  </a:lnTo>
                  <a:lnTo>
                    <a:pt x="14" y="508"/>
                  </a:lnTo>
                  <a:lnTo>
                    <a:pt x="17" y="513"/>
                  </a:lnTo>
                  <a:lnTo>
                    <a:pt x="20" y="514"/>
                  </a:lnTo>
                  <a:lnTo>
                    <a:pt x="22" y="514"/>
                  </a:lnTo>
                  <a:lnTo>
                    <a:pt x="23" y="513"/>
                  </a:lnTo>
                  <a:lnTo>
                    <a:pt x="23" y="513"/>
                  </a:lnTo>
                  <a:lnTo>
                    <a:pt x="26" y="507"/>
                  </a:lnTo>
                  <a:lnTo>
                    <a:pt x="28" y="505"/>
                  </a:lnTo>
                  <a:lnTo>
                    <a:pt x="29" y="507"/>
                  </a:lnTo>
                  <a:lnTo>
                    <a:pt x="29" y="507"/>
                  </a:lnTo>
                  <a:lnTo>
                    <a:pt x="34" y="514"/>
                  </a:lnTo>
                  <a:lnTo>
                    <a:pt x="35" y="519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31" y="532"/>
                  </a:lnTo>
                  <a:lnTo>
                    <a:pt x="32" y="535"/>
                  </a:lnTo>
                  <a:lnTo>
                    <a:pt x="37" y="535"/>
                  </a:lnTo>
                  <a:lnTo>
                    <a:pt x="37" y="535"/>
                  </a:lnTo>
                  <a:lnTo>
                    <a:pt x="43" y="535"/>
                  </a:lnTo>
                  <a:lnTo>
                    <a:pt x="47" y="533"/>
                  </a:lnTo>
                  <a:lnTo>
                    <a:pt x="50" y="532"/>
                  </a:lnTo>
                  <a:lnTo>
                    <a:pt x="53" y="535"/>
                  </a:lnTo>
                  <a:lnTo>
                    <a:pt x="53" y="535"/>
                  </a:lnTo>
                  <a:lnTo>
                    <a:pt x="59" y="539"/>
                  </a:lnTo>
                  <a:lnTo>
                    <a:pt x="60" y="541"/>
                  </a:lnTo>
                  <a:lnTo>
                    <a:pt x="63" y="541"/>
                  </a:lnTo>
                  <a:lnTo>
                    <a:pt x="63" y="541"/>
                  </a:lnTo>
                  <a:lnTo>
                    <a:pt x="68" y="538"/>
                  </a:lnTo>
                  <a:lnTo>
                    <a:pt x="72" y="533"/>
                  </a:lnTo>
                  <a:lnTo>
                    <a:pt x="72" y="533"/>
                  </a:lnTo>
                  <a:lnTo>
                    <a:pt x="81" y="533"/>
                  </a:lnTo>
                  <a:lnTo>
                    <a:pt x="86" y="533"/>
                  </a:lnTo>
                  <a:lnTo>
                    <a:pt x="87" y="535"/>
                  </a:lnTo>
                  <a:lnTo>
                    <a:pt x="87" y="535"/>
                  </a:lnTo>
                  <a:lnTo>
                    <a:pt x="90" y="544"/>
                  </a:lnTo>
                  <a:lnTo>
                    <a:pt x="91" y="551"/>
                  </a:lnTo>
                  <a:lnTo>
                    <a:pt x="94" y="559"/>
                  </a:lnTo>
                  <a:lnTo>
                    <a:pt x="94" y="559"/>
                  </a:lnTo>
                  <a:lnTo>
                    <a:pt x="99" y="563"/>
                  </a:lnTo>
                  <a:lnTo>
                    <a:pt x="105" y="566"/>
                  </a:lnTo>
                  <a:lnTo>
                    <a:pt x="109" y="567"/>
                  </a:lnTo>
                  <a:lnTo>
                    <a:pt x="114" y="570"/>
                  </a:lnTo>
                  <a:lnTo>
                    <a:pt x="114" y="570"/>
                  </a:lnTo>
                  <a:lnTo>
                    <a:pt x="121" y="575"/>
                  </a:lnTo>
                  <a:lnTo>
                    <a:pt x="124" y="576"/>
                  </a:lnTo>
                  <a:lnTo>
                    <a:pt x="127" y="573"/>
                  </a:lnTo>
                  <a:lnTo>
                    <a:pt x="127" y="573"/>
                  </a:lnTo>
                  <a:lnTo>
                    <a:pt x="129" y="570"/>
                  </a:lnTo>
                  <a:lnTo>
                    <a:pt x="130" y="567"/>
                  </a:lnTo>
                  <a:lnTo>
                    <a:pt x="131" y="563"/>
                  </a:lnTo>
                  <a:lnTo>
                    <a:pt x="134" y="560"/>
                  </a:lnTo>
                  <a:lnTo>
                    <a:pt x="134" y="560"/>
                  </a:lnTo>
                  <a:lnTo>
                    <a:pt x="137" y="557"/>
                  </a:lnTo>
                  <a:lnTo>
                    <a:pt x="142" y="554"/>
                  </a:lnTo>
                  <a:lnTo>
                    <a:pt x="145" y="551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8" y="539"/>
                  </a:lnTo>
                  <a:lnTo>
                    <a:pt x="149" y="535"/>
                  </a:lnTo>
                  <a:lnTo>
                    <a:pt x="152" y="533"/>
                  </a:lnTo>
                  <a:lnTo>
                    <a:pt x="155" y="533"/>
                  </a:lnTo>
                  <a:lnTo>
                    <a:pt x="157" y="535"/>
                  </a:lnTo>
                  <a:lnTo>
                    <a:pt x="157" y="535"/>
                  </a:lnTo>
                  <a:lnTo>
                    <a:pt x="161" y="541"/>
                  </a:lnTo>
                  <a:lnTo>
                    <a:pt x="163" y="548"/>
                  </a:lnTo>
                  <a:lnTo>
                    <a:pt x="166" y="551"/>
                  </a:lnTo>
                  <a:lnTo>
                    <a:pt x="167" y="551"/>
                  </a:lnTo>
                  <a:lnTo>
                    <a:pt x="168" y="550"/>
                  </a:lnTo>
                  <a:lnTo>
                    <a:pt x="168" y="550"/>
                  </a:lnTo>
                  <a:lnTo>
                    <a:pt x="170" y="545"/>
                  </a:lnTo>
                  <a:lnTo>
                    <a:pt x="170" y="541"/>
                  </a:lnTo>
                  <a:lnTo>
                    <a:pt x="170" y="541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30"/>
                  </a:lnTo>
                  <a:lnTo>
                    <a:pt x="171" y="529"/>
                  </a:lnTo>
                  <a:lnTo>
                    <a:pt x="179" y="526"/>
                  </a:lnTo>
                  <a:lnTo>
                    <a:pt x="179" y="526"/>
                  </a:lnTo>
                  <a:lnTo>
                    <a:pt x="188" y="524"/>
                  </a:lnTo>
                  <a:lnTo>
                    <a:pt x="192" y="521"/>
                  </a:lnTo>
                  <a:lnTo>
                    <a:pt x="192" y="519"/>
                  </a:lnTo>
                  <a:lnTo>
                    <a:pt x="192" y="519"/>
                  </a:lnTo>
                  <a:lnTo>
                    <a:pt x="189" y="513"/>
                  </a:lnTo>
                  <a:lnTo>
                    <a:pt x="188" y="511"/>
                  </a:lnTo>
                  <a:lnTo>
                    <a:pt x="188" y="508"/>
                  </a:lnTo>
                  <a:lnTo>
                    <a:pt x="188" y="508"/>
                  </a:lnTo>
                  <a:lnTo>
                    <a:pt x="192" y="501"/>
                  </a:lnTo>
                  <a:lnTo>
                    <a:pt x="200" y="490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20" y="473"/>
                  </a:lnTo>
                  <a:lnTo>
                    <a:pt x="228" y="470"/>
                  </a:lnTo>
                  <a:lnTo>
                    <a:pt x="231" y="467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41" y="449"/>
                  </a:lnTo>
                  <a:lnTo>
                    <a:pt x="245" y="440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7" y="430"/>
                  </a:lnTo>
                  <a:lnTo>
                    <a:pt x="248" y="425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62" y="410"/>
                  </a:lnTo>
                  <a:lnTo>
                    <a:pt x="265" y="407"/>
                  </a:lnTo>
                  <a:lnTo>
                    <a:pt x="269" y="407"/>
                  </a:lnTo>
                  <a:lnTo>
                    <a:pt x="269" y="407"/>
                  </a:lnTo>
                  <a:lnTo>
                    <a:pt x="272" y="406"/>
                  </a:lnTo>
                  <a:lnTo>
                    <a:pt x="275" y="404"/>
                  </a:lnTo>
                  <a:lnTo>
                    <a:pt x="278" y="403"/>
                  </a:lnTo>
                  <a:lnTo>
                    <a:pt x="281" y="403"/>
                  </a:lnTo>
                  <a:lnTo>
                    <a:pt x="281" y="403"/>
                  </a:lnTo>
                  <a:lnTo>
                    <a:pt x="288" y="406"/>
                  </a:lnTo>
                  <a:lnTo>
                    <a:pt x="293" y="407"/>
                  </a:lnTo>
                  <a:lnTo>
                    <a:pt x="296" y="406"/>
                  </a:lnTo>
                  <a:lnTo>
                    <a:pt x="296" y="406"/>
                  </a:lnTo>
                  <a:lnTo>
                    <a:pt x="305" y="402"/>
                  </a:lnTo>
                  <a:lnTo>
                    <a:pt x="309" y="400"/>
                  </a:lnTo>
                  <a:lnTo>
                    <a:pt x="315" y="400"/>
                  </a:lnTo>
                  <a:lnTo>
                    <a:pt x="315" y="400"/>
                  </a:lnTo>
                  <a:lnTo>
                    <a:pt x="321" y="404"/>
                  </a:lnTo>
                  <a:lnTo>
                    <a:pt x="328" y="409"/>
                  </a:lnTo>
                  <a:lnTo>
                    <a:pt x="334" y="412"/>
                  </a:lnTo>
                  <a:lnTo>
                    <a:pt x="339" y="412"/>
                  </a:lnTo>
                  <a:lnTo>
                    <a:pt x="342" y="412"/>
                  </a:lnTo>
                  <a:lnTo>
                    <a:pt x="342" y="412"/>
                  </a:lnTo>
                  <a:lnTo>
                    <a:pt x="346" y="407"/>
                  </a:lnTo>
                  <a:lnTo>
                    <a:pt x="351" y="404"/>
                  </a:lnTo>
                  <a:lnTo>
                    <a:pt x="355" y="399"/>
                  </a:lnTo>
                  <a:lnTo>
                    <a:pt x="355" y="399"/>
                  </a:lnTo>
                  <a:lnTo>
                    <a:pt x="358" y="394"/>
                  </a:lnTo>
                  <a:lnTo>
                    <a:pt x="360" y="391"/>
                  </a:lnTo>
                  <a:lnTo>
                    <a:pt x="360" y="387"/>
                  </a:lnTo>
                  <a:lnTo>
                    <a:pt x="360" y="387"/>
                  </a:lnTo>
                  <a:lnTo>
                    <a:pt x="358" y="382"/>
                  </a:lnTo>
                  <a:lnTo>
                    <a:pt x="358" y="379"/>
                  </a:lnTo>
                  <a:lnTo>
                    <a:pt x="361" y="378"/>
                  </a:lnTo>
                  <a:lnTo>
                    <a:pt x="365" y="376"/>
                  </a:lnTo>
                  <a:lnTo>
                    <a:pt x="365" y="376"/>
                  </a:lnTo>
                  <a:lnTo>
                    <a:pt x="376" y="376"/>
                  </a:lnTo>
                  <a:lnTo>
                    <a:pt x="379" y="376"/>
                  </a:lnTo>
                  <a:lnTo>
                    <a:pt x="382" y="372"/>
                  </a:lnTo>
                  <a:lnTo>
                    <a:pt x="382" y="372"/>
                  </a:lnTo>
                  <a:lnTo>
                    <a:pt x="391" y="365"/>
                  </a:lnTo>
                  <a:lnTo>
                    <a:pt x="397" y="359"/>
                  </a:lnTo>
                  <a:lnTo>
                    <a:pt x="397" y="359"/>
                  </a:lnTo>
                  <a:lnTo>
                    <a:pt x="397" y="356"/>
                  </a:lnTo>
                  <a:lnTo>
                    <a:pt x="397" y="354"/>
                  </a:lnTo>
                  <a:lnTo>
                    <a:pt x="392" y="350"/>
                  </a:lnTo>
                  <a:lnTo>
                    <a:pt x="388" y="347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79" y="347"/>
                  </a:lnTo>
                  <a:lnTo>
                    <a:pt x="374" y="350"/>
                  </a:lnTo>
                  <a:lnTo>
                    <a:pt x="367" y="351"/>
                  </a:lnTo>
                  <a:lnTo>
                    <a:pt x="362" y="351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42" y="342"/>
                  </a:lnTo>
                  <a:lnTo>
                    <a:pt x="334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0" y="341"/>
                  </a:lnTo>
                  <a:lnTo>
                    <a:pt x="309" y="339"/>
                  </a:lnTo>
                  <a:lnTo>
                    <a:pt x="300" y="338"/>
                  </a:lnTo>
                  <a:lnTo>
                    <a:pt x="299" y="336"/>
                  </a:lnTo>
                  <a:lnTo>
                    <a:pt x="299" y="335"/>
                  </a:lnTo>
                  <a:lnTo>
                    <a:pt x="299" y="335"/>
                  </a:lnTo>
                  <a:lnTo>
                    <a:pt x="299" y="330"/>
                  </a:lnTo>
                  <a:lnTo>
                    <a:pt x="300" y="329"/>
                  </a:lnTo>
                  <a:lnTo>
                    <a:pt x="299" y="327"/>
                  </a:lnTo>
                  <a:lnTo>
                    <a:pt x="297" y="326"/>
                  </a:lnTo>
                  <a:lnTo>
                    <a:pt x="293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4" y="325"/>
                  </a:lnTo>
                  <a:lnTo>
                    <a:pt x="266" y="323"/>
                  </a:lnTo>
                  <a:lnTo>
                    <a:pt x="262" y="322"/>
                  </a:lnTo>
                  <a:lnTo>
                    <a:pt x="259" y="320"/>
                  </a:lnTo>
                  <a:lnTo>
                    <a:pt x="256" y="317"/>
                  </a:lnTo>
                  <a:lnTo>
                    <a:pt x="256" y="316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7" y="308"/>
                  </a:lnTo>
                  <a:lnTo>
                    <a:pt x="259" y="307"/>
                  </a:lnTo>
                  <a:lnTo>
                    <a:pt x="260" y="305"/>
                  </a:lnTo>
                  <a:lnTo>
                    <a:pt x="262" y="304"/>
                  </a:lnTo>
                  <a:lnTo>
                    <a:pt x="262" y="304"/>
                  </a:lnTo>
                  <a:lnTo>
                    <a:pt x="259" y="293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6" y="279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3" y="262"/>
                  </a:lnTo>
                  <a:lnTo>
                    <a:pt x="253" y="258"/>
                  </a:lnTo>
                  <a:lnTo>
                    <a:pt x="253" y="255"/>
                  </a:lnTo>
                  <a:lnTo>
                    <a:pt x="253" y="255"/>
                  </a:lnTo>
                  <a:lnTo>
                    <a:pt x="254" y="249"/>
                  </a:lnTo>
                  <a:lnTo>
                    <a:pt x="259" y="246"/>
                  </a:lnTo>
                  <a:lnTo>
                    <a:pt x="259" y="246"/>
                  </a:lnTo>
                  <a:lnTo>
                    <a:pt x="260" y="243"/>
                  </a:lnTo>
                  <a:lnTo>
                    <a:pt x="260" y="240"/>
                  </a:lnTo>
                  <a:lnTo>
                    <a:pt x="262" y="231"/>
                  </a:lnTo>
                  <a:lnTo>
                    <a:pt x="262" y="224"/>
                  </a:lnTo>
                  <a:lnTo>
                    <a:pt x="263" y="222"/>
                  </a:lnTo>
                  <a:lnTo>
                    <a:pt x="263" y="221"/>
                  </a:lnTo>
                  <a:lnTo>
                    <a:pt x="263" y="221"/>
                  </a:lnTo>
                  <a:lnTo>
                    <a:pt x="268" y="221"/>
                  </a:lnTo>
                  <a:lnTo>
                    <a:pt x="272" y="221"/>
                  </a:lnTo>
                  <a:lnTo>
                    <a:pt x="278" y="219"/>
                  </a:lnTo>
                  <a:lnTo>
                    <a:pt x="278" y="219"/>
                  </a:lnTo>
                  <a:lnTo>
                    <a:pt x="283" y="218"/>
                  </a:lnTo>
                  <a:lnTo>
                    <a:pt x="285" y="215"/>
                  </a:lnTo>
                  <a:lnTo>
                    <a:pt x="288" y="212"/>
                  </a:lnTo>
                  <a:lnTo>
                    <a:pt x="291" y="210"/>
                  </a:lnTo>
                  <a:lnTo>
                    <a:pt x="291" y="210"/>
                  </a:lnTo>
                  <a:lnTo>
                    <a:pt x="299" y="210"/>
                  </a:lnTo>
                  <a:lnTo>
                    <a:pt x="302" y="212"/>
                  </a:lnTo>
                  <a:lnTo>
                    <a:pt x="308" y="216"/>
                  </a:lnTo>
                  <a:lnTo>
                    <a:pt x="308" y="216"/>
                  </a:lnTo>
                  <a:lnTo>
                    <a:pt x="312" y="221"/>
                  </a:lnTo>
                  <a:lnTo>
                    <a:pt x="315" y="224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22" y="234"/>
                  </a:lnTo>
                  <a:lnTo>
                    <a:pt x="322" y="237"/>
                  </a:lnTo>
                  <a:lnTo>
                    <a:pt x="320" y="242"/>
                  </a:lnTo>
                  <a:lnTo>
                    <a:pt x="320" y="242"/>
                  </a:lnTo>
                  <a:lnTo>
                    <a:pt x="315" y="248"/>
                  </a:lnTo>
                  <a:lnTo>
                    <a:pt x="312" y="253"/>
                  </a:lnTo>
                  <a:lnTo>
                    <a:pt x="308" y="265"/>
                  </a:lnTo>
                  <a:lnTo>
                    <a:pt x="308" y="265"/>
                  </a:lnTo>
                  <a:lnTo>
                    <a:pt x="302" y="277"/>
                  </a:lnTo>
                  <a:lnTo>
                    <a:pt x="300" y="282"/>
                  </a:lnTo>
                  <a:lnTo>
                    <a:pt x="302" y="283"/>
                  </a:lnTo>
                  <a:lnTo>
                    <a:pt x="303" y="285"/>
                  </a:lnTo>
                  <a:lnTo>
                    <a:pt x="303" y="285"/>
                  </a:lnTo>
                  <a:lnTo>
                    <a:pt x="308" y="285"/>
                  </a:lnTo>
                  <a:lnTo>
                    <a:pt x="311" y="285"/>
                  </a:lnTo>
                  <a:lnTo>
                    <a:pt x="314" y="285"/>
                  </a:lnTo>
                  <a:lnTo>
                    <a:pt x="317" y="287"/>
                  </a:lnTo>
                  <a:lnTo>
                    <a:pt x="317" y="287"/>
                  </a:lnTo>
                  <a:lnTo>
                    <a:pt x="318" y="289"/>
                  </a:lnTo>
                  <a:lnTo>
                    <a:pt x="320" y="289"/>
                  </a:lnTo>
                  <a:lnTo>
                    <a:pt x="325" y="289"/>
                  </a:lnTo>
                  <a:lnTo>
                    <a:pt x="330" y="289"/>
                  </a:lnTo>
                  <a:lnTo>
                    <a:pt x="331" y="289"/>
                  </a:lnTo>
                  <a:lnTo>
                    <a:pt x="331" y="290"/>
                  </a:lnTo>
                  <a:lnTo>
                    <a:pt x="331" y="290"/>
                  </a:lnTo>
                  <a:lnTo>
                    <a:pt x="331" y="293"/>
                  </a:lnTo>
                  <a:lnTo>
                    <a:pt x="330" y="299"/>
                  </a:lnTo>
                  <a:lnTo>
                    <a:pt x="330" y="304"/>
                  </a:lnTo>
                  <a:lnTo>
                    <a:pt x="331" y="305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7" y="307"/>
                  </a:lnTo>
                  <a:lnTo>
                    <a:pt x="342" y="307"/>
                  </a:lnTo>
                  <a:lnTo>
                    <a:pt x="345" y="304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9" y="287"/>
                  </a:lnTo>
                  <a:lnTo>
                    <a:pt x="349" y="282"/>
                  </a:lnTo>
                  <a:lnTo>
                    <a:pt x="348" y="277"/>
                  </a:lnTo>
                  <a:lnTo>
                    <a:pt x="348" y="277"/>
                  </a:lnTo>
                  <a:lnTo>
                    <a:pt x="345" y="268"/>
                  </a:lnTo>
                  <a:lnTo>
                    <a:pt x="345" y="264"/>
                  </a:lnTo>
                  <a:lnTo>
                    <a:pt x="345" y="264"/>
                  </a:lnTo>
                  <a:lnTo>
                    <a:pt x="348" y="264"/>
                  </a:lnTo>
                  <a:lnTo>
                    <a:pt x="348" y="264"/>
                  </a:lnTo>
                  <a:lnTo>
                    <a:pt x="361" y="264"/>
                  </a:lnTo>
                  <a:lnTo>
                    <a:pt x="368" y="267"/>
                  </a:lnTo>
                  <a:lnTo>
                    <a:pt x="371" y="268"/>
                  </a:lnTo>
                  <a:lnTo>
                    <a:pt x="373" y="270"/>
                  </a:lnTo>
                  <a:lnTo>
                    <a:pt x="373" y="270"/>
                  </a:lnTo>
                  <a:lnTo>
                    <a:pt x="376" y="274"/>
                  </a:lnTo>
                  <a:lnTo>
                    <a:pt x="380" y="279"/>
                  </a:lnTo>
                  <a:lnTo>
                    <a:pt x="383" y="280"/>
                  </a:lnTo>
                  <a:lnTo>
                    <a:pt x="386" y="280"/>
                  </a:lnTo>
                  <a:lnTo>
                    <a:pt x="386" y="280"/>
                  </a:lnTo>
                  <a:lnTo>
                    <a:pt x="391" y="276"/>
                  </a:lnTo>
                  <a:lnTo>
                    <a:pt x="391" y="274"/>
                  </a:lnTo>
                  <a:lnTo>
                    <a:pt x="394" y="273"/>
                  </a:lnTo>
                  <a:lnTo>
                    <a:pt x="394" y="273"/>
                  </a:lnTo>
                  <a:lnTo>
                    <a:pt x="395" y="274"/>
                  </a:lnTo>
                  <a:lnTo>
                    <a:pt x="398" y="276"/>
                  </a:lnTo>
                  <a:lnTo>
                    <a:pt x="402" y="277"/>
                  </a:lnTo>
                  <a:lnTo>
                    <a:pt x="408" y="279"/>
                  </a:lnTo>
                  <a:lnTo>
                    <a:pt x="408" y="279"/>
                  </a:lnTo>
                  <a:lnTo>
                    <a:pt x="425" y="279"/>
                  </a:lnTo>
                  <a:lnTo>
                    <a:pt x="429" y="279"/>
                  </a:lnTo>
                  <a:lnTo>
                    <a:pt x="429" y="277"/>
                  </a:lnTo>
                  <a:lnTo>
                    <a:pt x="429" y="276"/>
                  </a:lnTo>
                  <a:lnTo>
                    <a:pt x="429" y="276"/>
                  </a:lnTo>
                  <a:lnTo>
                    <a:pt x="428" y="273"/>
                  </a:lnTo>
                  <a:lnTo>
                    <a:pt x="423" y="271"/>
                  </a:lnTo>
                  <a:lnTo>
                    <a:pt x="419" y="270"/>
                  </a:lnTo>
                  <a:lnTo>
                    <a:pt x="414" y="267"/>
                  </a:lnTo>
                  <a:lnTo>
                    <a:pt x="414" y="267"/>
                  </a:lnTo>
                  <a:lnTo>
                    <a:pt x="410" y="264"/>
                  </a:lnTo>
                  <a:lnTo>
                    <a:pt x="405" y="262"/>
                  </a:lnTo>
                  <a:lnTo>
                    <a:pt x="404" y="261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14" y="250"/>
                  </a:lnTo>
                  <a:lnTo>
                    <a:pt x="417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3" y="240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11" y="233"/>
                  </a:lnTo>
                  <a:lnTo>
                    <a:pt x="414" y="228"/>
                  </a:lnTo>
                  <a:lnTo>
                    <a:pt x="419" y="224"/>
                  </a:lnTo>
                  <a:lnTo>
                    <a:pt x="422" y="224"/>
                  </a:lnTo>
                  <a:lnTo>
                    <a:pt x="423" y="224"/>
                  </a:lnTo>
                  <a:lnTo>
                    <a:pt x="423" y="224"/>
                  </a:lnTo>
                  <a:lnTo>
                    <a:pt x="434" y="225"/>
                  </a:lnTo>
                  <a:lnTo>
                    <a:pt x="437" y="224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16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4" y="206"/>
                  </a:lnTo>
                  <a:lnTo>
                    <a:pt x="434" y="206"/>
                  </a:lnTo>
                  <a:lnTo>
                    <a:pt x="429" y="205"/>
                  </a:lnTo>
                  <a:lnTo>
                    <a:pt x="422" y="202"/>
                  </a:lnTo>
                  <a:lnTo>
                    <a:pt x="413" y="199"/>
                  </a:lnTo>
                  <a:lnTo>
                    <a:pt x="411" y="197"/>
                  </a:lnTo>
                  <a:lnTo>
                    <a:pt x="411" y="196"/>
                  </a:lnTo>
                  <a:lnTo>
                    <a:pt x="411" y="196"/>
                  </a:lnTo>
                  <a:lnTo>
                    <a:pt x="411" y="190"/>
                  </a:lnTo>
                  <a:lnTo>
                    <a:pt x="411" y="184"/>
                  </a:lnTo>
                  <a:lnTo>
                    <a:pt x="408" y="178"/>
                  </a:lnTo>
                  <a:lnTo>
                    <a:pt x="405" y="176"/>
                  </a:lnTo>
                  <a:lnTo>
                    <a:pt x="402" y="176"/>
                  </a:lnTo>
                  <a:lnTo>
                    <a:pt x="402" y="176"/>
                  </a:lnTo>
                  <a:lnTo>
                    <a:pt x="397" y="175"/>
                  </a:lnTo>
                  <a:lnTo>
                    <a:pt x="391" y="173"/>
                  </a:lnTo>
                  <a:lnTo>
                    <a:pt x="385" y="169"/>
                  </a:lnTo>
                  <a:lnTo>
                    <a:pt x="379" y="165"/>
                  </a:lnTo>
                  <a:lnTo>
                    <a:pt x="379" y="165"/>
                  </a:lnTo>
                  <a:lnTo>
                    <a:pt x="368" y="156"/>
                  </a:lnTo>
                  <a:lnTo>
                    <a:pt x="365" y="151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2" y="142"/>
                  </a:lnTo>
                  <a:lnTo>
                    <a:pt x="362" y="136"/>
                  </a:lnTo>
                  <a:lnTo>
                    <a:pt x="361" y="131"/>
                  </a:lnTo>
                  <a:lnTo>
                    <a:pt x="360" y="129"/>
                  </a:lnTo>
                  <a:lnTo>
                    <a:pt x="357" y="129"/>
                  </a:lnTo>
                  <a:lnTo>
                    <a:pt x="357" y="129"/>
                  </a:lnTo>
                  <a:lnTo>
                    <a:pt x="348" y="129"/>
                  </a:lnTo>
                  <a:lnTo>
                    <a:pt x="339" y="129"/>
                  </a:lnTo>
                  <a:lnTo>
                    <a:pt x="331" y="129"/>
                  </a:lnTo>
                  <a:lnTo>
                    <a:pt x="330" y="128"/>
                  </a:lnTo>
                  <a:lnTo>
                    <a:pt x="330" y="125"/>
                  </a:lnTo>
                  <a:lnTo>
                    <a:pt x="330" y="125"/>
                  </a:lnTo>
                  <a:lnTo>
                    <a:pt x="327" y="101"/>
                  </a:lnTo>
                  <a:lnTo>
                    <a:pt x="325" y="89"/>
                  </a:lnTo>
                  <a:lnTo>
                    <a:pt x="325" y="85"/>
                  </a:lnTo>
                  <a:lnTo>
                    <a:pt x="324" y="83"/>
                  </a:lnTo>
                  <a:lnTo>
                    <a:pt x="324" y="83"/>
                  </a:lnTo>
                  <a:lnTo>
                    <a:pt x="311" y="85"/>
                  </a:lnTo>
                  <a:lnTo>
                    <a:pt x="302" y="83"/>
                  </a:lnTo>
                  <a:lnTo>
                    <a:pt x="300" y="83"/>
                  </a:lnTo>
                  <a:lnTo>
                    <a:pt x="299" y="82"/>
                  </a:lnTo>
                  <a:lnTo>
                    <a:pt x="299" y="82"/>
                  </a:lnTo>
                  <a:lnTo>
                    <a:pt x="296" y="68"/>
                  </a:lnTo>
                  <a:lnTo>
                    <a:pt x="293" y="61"/>
                  </a:lnTo>
                  <a:lnTo>
                    <a:pt x="291" y="58"/>
                  </a:lnTo>
                  <a:lnTo>
                    <a:pt x="288" y="58"/>
                  </a:lnTo>
                  <a:lnTo>
                    <a:pt x="288" y="58"/>
                  </a:lnTo>
                  <a:lnTo>
                    <a:pt x="275" y="59"/>
                  </a:lnTo>
                  <a:lnTo>
                    <a:pt x="268" y="59"/>
                  </a:lnTo>
                  <a:lnTo>
                    <a:pt x="265" y="58"/>
                  </a:lnTo>
                  <a:lnTo>
                    <a:pt x="263" y="55"/>
                  </a:lnTo>
                  <a:lnTo>
                    <a:pt x="263" y="55"/>
                  </a:lnTo>
                  <a:lnTo>
                    <a:pt x="263" y="49"/>
                  </a:lnTo>
                  <a:lnTo>
                    <a:pt x="260" y="45"/>
                  </a:lnTo>
                  <a:lnTo>
                    <a:pt x="257" y="42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51" y="31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47" y="19"/>
                  </a:lnTo>
                  <a:lnTo>
                    <a:pt x="245" y="16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5" y="0"/>
                  </a:lnTo>
                  <a:lnTo>
                    <a:pt x="229" y="2"/>
                  </a:lnTo>
                  <a:lnTo>
                    <a:pt x="197" y="3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3" name="Freeform 192">
              <a:extLst>
                <a:ext uri="{FF2B5EF4-FFF2-40B4-BE49-F238E27FC236}">
                  <a16:creationId xmlns:a16="http://schemas.microsoft.com/office/drawing/2014/main" id="{F277438D-0CA2-724D-BB36-54CBCC83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6648450"/>
              <a:ext cx="122238" cy="150812"/>
            </a:xfrm>
            <a:custGeom>
              <a:avLst/>
              <a:gdLst>
                <a:gd name="T0" fmla="*/ 0 w 77"/>
                <a:gd name="T1" fmla="*/ 0 h 95"/>
                <a:gd name="T2" fmla="*/ 0 w 77"/>
                <a:gd name="T3" fmla="*/ 0 h 95"/>
                <a:gd name="T4" fmla="*/ 9 w 77"/>
                <a:gd name="T5" fmla="*/ 0 h 95"/>
                <a:gd name="T6" fmla="*/ 15 w 77"/>
                <a:gd name="T7" fmla="*/ 0 h 95"/>
                <a:gd name="T8" fmla="*/ 16 w 77"/>
                <a:gd name="T9" fmla="*/ 1 h 95"/>
                <a:gd name="T10" fmla="*/ 18 w 77"/>
                <a:gd name="T11" fmla="*/ 4 h 95"/>
                <a:gd name="T12" fmla="*/ 18 w 77"/>
                <a:gd name="T13" fmla="*/ 4 h 95"/>
                <a:gd name="T14" fmla="*/ 18 w 77"/>
                <a:gd name="T15" fmla="*/ 13 h 95"/>
                <a:gd name="T16" fmla="*/ 19 w 77"/>
                <a:gd name="T17" fmla="*/ 15 h 95"/>
                <a:gd name="T18" fmla="*/ 22 w 77"/>
                <a:gd name="T19" fmla="*/ 15 h 95"/>
                <a:gd name="T20" fmla="*/ 22 w 77"/>
                <a:gd name="T21" fmla="*/ 15 h 95"/>
                <a:gd name="T22" fmla="*/ 25 w 77"/>
                <a:gd name="T23" fmla="*/ 12 h 95"/>
                <a:gd name="T24" fmla="*/ 27 w 77"/>
                <a:gd name="T25" fmla="*/ 9 h 95"/>
                <a:gd name="T26" fmla="*/ 30 w 77"/>
                <a:gd name="T27" fmla="*/ 7 h 95"/>
                <a:gd name="T28" fmla="*/ 36 w 77"/>
                <a:gd name="T29" fmla="*/ 7 h 95"/>
                <a:gd name="T30" fmla="*/ 36 w 77"/>
                <a:gd name="T31" fmla="*/ 7 h 95"/>
                <a:gd name="T32" fmla="*/ 40 w 77"/>
                <a:gd name="T33" fmla="*/ 10 h 95"/>
                <a:gd name="T34" fmla="*/ 41 w 77"/>
                <a:gd name="T35" fmla="*/ 13 h 95"/>
                <a:gd name="T36" fmla="*/ 43 w 77"/>
                <a:gd name="T37" fmla="*/ 16 h 95"/>
                <a:gd name="T38" fmla="*/ 47 w 77"/>
                <a:gd name="T39" fmla="*/ 20 h 95"/>
                <a:gd name="T40" fmla="*/ 47 w 77"/>
                <a:gd name="T41" fmla="*/ 20 h 95"/>
                <a:gd name="T42" fmla="*/ 53 w 77"/>
                <a:gd name="T43" fmla="*/ 23 h 95"/>
                <a:gd name="T44" fmla="*/ 58 w 77"/>
                <a:gd name="T45" fmla="*/ 23 h 95"/>
                <a:gd name="T46" fmla="*/ 62 w 77"/>
                <a:gd name="T47" fmla="*/ 25 h 95"/>
                <a:gd name="T48" fmla="*/ 64 w 77"/>
                <a:gd name="T49" fmla="*/ 26 h 95"/>
                <a:gd name="T50" fmla="*/ 64 w 77"/>
                <a:gd name="T51" fmla="*/ 26 h 95"/>
                <a:gd name="T52" fmla="*/ 65 w 77"/>
                <a:gd name="T53" fmla="*/ 29 h 95"/>
                <a:gd name="T54" fmla="*/ 64 w 77"/>
                <a:gd name="T55" fmla="*/ 31 h 95"/>
                <a:gd name="T56" fmla="*/ 64 w 77"/>
                <a:gd name="T57" fmla="*/ 34 h 95"/>
                <a:gd name="T58" fmla="*/ 65 w 77"/>
                <a:gd name="T59" fmla="*/ 37 h 95"/>
                <a:gd name="T60" fmla="*/ 65 w 77"/>
                <a:gd name="T61" fmla="*/ 37 h 95"/>
                <a:gd name="T62" fmla="*/ 70 w 77"/>
                <a:gd name="T63" fmla="*/ 40 h 95"/>
                <a:gd name="T64" fmla="*/ 74 w 77"/>
                <a:gd name="T65" fmla="*/ 40 h 95"/>
                <a:gd name="T66" fmla="*/ 75 w 77"/>
                <a:gd name="T67" fmla="*/ 41 h 95"/>
                <a:gd name="T68" fmla="*/ 77 w 77"/>
                <a:gd name="T69" fmla="*/ 46 h 95"/>
                <a:gd name="T70" fmla="*/ 77 w 77"/>
                <a:gd name="T71" fmla="*/ 46 h 95"/>
                <a:gd name="T72" fmla="*/ 75 w 77"/>
                <a:gd name="T73" fmla="*/ 49 h 95"/>
                <a:gd name="T74" fmla="*/ 74 w 77"/>
                <a:gd name="T75" fmla="*/ 50 h 95"/>
                <a:gd name="T76" fmla="*/ 68 w 77"/>
                <a:gd name="T77" fmla="*/ 55 h 95"/>
                <a:gd name="T78" fmla="*/ 61 w 77"/>
                <a:gd name="T79" fmla="*/ 58 h 95"/>
                <a:gd name="T80" fmla="*/ 56 w 77"/>
                <a:gd name="T81" fmla="*/ 60 h 95"/>
                <a:gd name="T82" fmla="*/ 56 w 77"/>
                <a:gd name="T83" fmla="*/ 60 h 95"/>
                <a:gd name="T84" fmla="*/ 53 w 77"/>
                <a:gd name="T85" fmla="*/ 63 h 95"/>
                <a:gd name="T86" fmla="*/ 53 w 77"/>
                <a:gd name="T87" fmla="*/ 68 h 95"/>
                <a:gd name="T88" fmla="*/ 53 w 77"/>
                <a:gd name="T89" fmla="*/ 80 h 95"/>
                <a:gd name="T90" fmla="*/ 55 w 77"/>
                <a:gd name="T9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7" h="95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13"/>
                  </a:lnTo>
                  <a:lnTo>
                    <a:pt x="19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5" y="12"/>
                  </a:lnTo>
                  <a:lnTo>
                    <a:pt x="27" y="9"/>
                  </a:lnTo>
                  <a:lnTo>
                    <a:pt x="30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40" y="10"/>
                  </a:lnTo>
                  <a:lnTo>
                    <a:pt x="41" y="13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53" y="23"/>
                  </a:lnTo>
                  <a:lnTo>
                    <a:pt x="58" y="23"/>
                  </a:lnTo>
                  <a:lnTo>
                    <a:pt x="62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9"/>
                  </a:lnTo>
                  <a:lnTo>
                    <a:pt x="64" y="31"/>
                  </a:lnTo>
                  <a:lnTo>
                    <a:pt x="64" y="34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70" y="40"/>
                  </a:lnTo>
                  <a:lnTo>
                    <a:pt x="74" y="40"/>
                  </a:lnTo>
                  <a:lnTo>
                    <a:pt x="75" y="41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5" y="49"/>
                  </a:lnTo>
                  <a:lnTo>
                    <a:pt x="74" y="50"/>
                  </a:lnTo>
                  <a:lnTo>
                    <a:pt x="68" y="55"/>
                  </a:lnTo>
                  <a:lnTo>
                    <a:pt x="61" y="58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3" y="63"/>
                  </a:lnTo>
                  <a:lnTo>
                    <a:pt x="53" y="68"/>
                  </a:lnTo>
                  <a:lnTo>
                    <a:pt x="53" y="80"/>
                  </a:lnTo>
                  <a:lnTo>
                    <a:pt x="55" y="95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4" name="Freeform 193">
              <a:extLst>
                <a:ext uri="{FF2B5EF4-FFF2-40B4-BE49-F238E27FC236}">
                  <a16:creationId xmlns:a16="http://schemas.microsoft.com/office/drawing/2014/main" id="{A65C292C-CDB5-E147-815D-A7CD5B975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6567488"/>
              <a:ext cx="69850" cy="146050"/>
            </a:xfrm>
            <a:custGeom>
              <a:avLst/>
              <a:gdLst>
                <a:gd name="T0" fmla="*/ 0 w 44"/>
                <a:gd name="T1" fmla="*/ 0 h 92"/>
                <a:gd name="T2" fmla="*/ 0 w 44"/>
                <a:gd name="T3" fmla="*/ 0 h 92"/>
                <a:gd name="T4" fmla="*/ 9 w 44"/>
                <a:gd name="T5" fmla="*/ 12 h 92"/>
                <a:gd name="T6" fmla="*/ 22 w 44"/>
                <a:gd name="T7" fmla="*/ 29 h 92"/>
                <a:gd name="T8" fmla="*/ 22 w 44"/>
                <a:gd name="T9" fmla="*/ 29 h 92"/>
                <a:gd name="T10" fmla="*/ 26 w 44"/>
                <a:gd name="T11" fmla="*/ 33 h 92"/>
                <a:gd name="T12" fmla="*/ 29 w 44"/>
                <a:gd name="T13" fmla="*/ 39 h 92"/>
                <a:gd name="T14" fmla="*/ 31 w 44"/>
                <a:gd name="T15" fmla="*/ 45 h 92"/>
                <a:gd name="T16" fmla="*/ 31 w 44"/>
                <a:gd name="T17" fmla="*/ 54 h 92"/>
                <a:gd name="T18" fmla="*/ 31 w 44"/>
                <a:gd name="T19" fmla="*/ 54 h 92"/>
                <a:gd name="T20" fmla="*/ 32 w 44"/>
                <a:gd name="T21" fmla="*/ 58 h 92"/>
                <a:gd name="T22" fmla="*/ 34 w 44"/>
                <a:gd name="T23" fmla="*/ 64 h 92"/>
                <a:gd name="T24" fmla="*/ 38 w 44"/>
                <a:gd name="T25" fmla="*/ 77 h 92"/>
                <a:gd name="T26" fmla="*/ 44 w 44"/>
                <a:gd name="T2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92">
                  <a:moveTo>
                    <a:pt x="0" y="0"/>
                  </a:moveTo>
                  <a:lnTo>
                    <a:pt x="0" y="0"/>
                  </a:lnTo>
                  <a:lnTo>
                    <a:pt x="9" y="12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6" y="33"/>
                  </a:lnTo>
                  <a:lnTo>
                    <a:pt x="29" y="39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2" y="58"/>
                  </a:lnTo>
                  <a:lnTo>
                    <a:pt x="34" y="64"/>
                  </a:lnTo>
                  <a:lnTo>
                    <a:pt x="38" y="77"/>
                  </a:lnTo>
                  <a:lnTo>
                    <a:pt x="44" y="92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5" name="Freeform 194">
              <a:extLst>
                <a:ext uri="{FF2B5EF4-FFF2-40B4-BE49-F238E27FC236}">
                  <a16:creationId xmlns:a16="http://schemas.microsoft.com/office/drawing/2014/main" id="{03F2BFB9-8FB4-8841-8894-696EEEBAF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6057900"/>
              <a:ext cx="182563" cy="595312"/>
            </a:xfrm>
            <a:custGeom>
              <a:avLst/>
              <a:gdLst>
                <a:gd name="T0" fmla="*/ 18 w 115"/>
                <a:gd name="T1" fmla="*/ 375 h 375"/>
                <a:gd name="T2" fmla="*/ 28 w 115"/>
                <a:gd name="T3" fmla="*/ 367 h 375"/>
                <a:gd name="T4" fmla="*/ 28 w 115"/>
                <a:gd name="T5" fmla="*/ 363 h 375"/>
                <a:gd name="T6" fmla="*/ 25 w 115"/>
                <a:gd name="T7" fmla="*/ 360 h 375"/>
                <a:gd name="T8" fmla="*/ 21 w 115"/>
                <a:gd name="T9" fmla="*/ 355 h 375"/>
                <a:gd name="T10" fmla="*/ 18 w 115"/>
                <a:gd name="T11" fmla="*/ 342 h 375"/>
                <a:gd name="T12" fmla="*/ 19 w 115"/>
                <a:gd name="T13" fmla="*/ 335 h 375"/>
                <a:gd name="T14" fmla="*/ 22 w 115"/>
                <a:gd name="T15" fmla="*/ 335 h 375"/>
                <a:gd name="T16" fmla="*/ 32 w 115"/>
                <a:gd name="T17" fmla="*/ 341 h 375"/>
                <a:gd name="T18" fmla="*/ 40 w 115"/>
                <a:gd name="T19" fmla="*/ 345 h 375"/>
                <a:gd name="T20" fmla="*/ 47 w 115"/>
                <a:gd name="T21" fmla="*/ 347 h 375"/>
                <a:gd name="T22" fmla="*/ 52 w 115"/>
                <a:gd name="T23" fmla="*/ 344 h 375"/>
                <a:gd name="T24" fmla="*/ 53 w 115"/>
                <a:gd name="T25" fmla="*/ 341 h 375"/>
                <a:gd name="T26" fmla="*/ 55 w 115"/>
                <a:gd name="T27" fmla="*/ 329 h 375"/>
                <a:gd name="T28" fmla="*/ 59 w 115"/>
                <a:gd name="T29" fmla="*/ 323 h 375"/>
                <a:gd name="T30" fmla="*/ 62 w 115"/>
                <a:gd name="T31" fmla="*/ 323 h 375"/>
                <a:gd name="T32" fmla="*/ 71 w 115"/>
                <a:gd name="T33" fmla="*/ 326 h 375"/>
                <a:gd name="T34" fmla="*/ 78 w 115"/>
                <a:gd name="T35" fmla="*/ 330 h 375"/>
                <a:gd name="T36" fmla="*/ 87 w 115"/>
                <a:gd name="T37" fmla="*/ 333 h 375"/>
                <a:gd name="T38" fmla="*/ 99 w 115"/>
                <a:gd name="T39" fmla="*/ 332 h 375"/>
                <a:gd name="T40" fmla="*/ 109 w 115"/>
                <a:gd name="T41" fmla="*/ 324 h 375"/>
                <a:gd name="T42" fmla="*/ 114 w 115"/>
                <a:gd name="T43" fmla="*/ 321 h 375"/>
                <a:gd name="T44" fmla="*/ 115 w 115"/>
                <a:gd name="T45" fmla="*/ 299 h 375"/>
                <a:gd name="T46" fmla="*/ 115 w 115"/>
                <a:gd name="T47" fmla="*/ 289 h 375"/>
                <a:gd name="T48" fmla="*/ 106 w 115"/>
                <a:gd name="T49" fmla="*/ 246 h 375"/>
                <a:gd name="T50" fmla="*/ 102 w 115"/>
                <a:gd name="T51" fmla="*/ 227 h 375"/>
                <a:gd name="T52" fmla="*/ 98 w 115"/>
                <a:gd name="T53" fmla="*/ 206 h 375"/>
                <a:gd name="T54" fmla="*/ 98 w 115"/>
                <a:gd name="T55" fmla="*/ 191 h 375"/>
                <a:gd name="T56" fmla="*/ 100 w 115"/>
                <a:gd name="T57" fmla="*/ 175 h 375"/>
                <a:gd name="T58" fmla="*/ 105 w 115"/>
                <a:gd name="T59" fmla="*/ 167 h 375"/>
                <a:gd name="T60" fmla="*/ 112 w 115"/>
                <a:gd name="T61" fmla="*/ 154 h 375"/>
                <a:gd name="T62" fmla="*/ 112 w 115"/>
                <a:gd name="T63" fmla="*/ 148 h 375"/>
                <a:gd name="T64" fmla="*/ 105 w 115"/>
                <a:gd name="T65" fmla="*/ 133 h 375"/>
                <a:gd name="T66" fmla="*/ 98 w 115"/>
                <a:gd name="T67" fmla="*/ 114 h 375"/>
                <a:gd name="T68" fmla="*/ 90 w 115"/>
                <a:gd name="T69" fmla="*/ 86 h 375"/>
                <a:gd name="T70" fmla="*/ 80 w 115"/>
                <a:gd name="T71" fmla="*/ 67 h 375"/>
                <a:gd name="T72" fmla="*/ 77 w 115"/>
                <a:gd name="T73" fmla="*/ 65 h 375"/>
                <a:gd name="T74" fmla="*/ 65 w 115"/>
                <a:gd name="T75" fmla="*/ 64 h 375"/>
                <a:gd name="T76" fmla="*/ 58 w 115"/>
                <a:gd name="T77" fmla="*/ 61 h 375"/>
                <a:gd name="T78" fmla="*/ 37 w 115"/>
                <a:gd name="T79" fmla="*/ 56 h 375"/>
                <a:gd name="T80" fmla="*/ 31 w 115"/>
                <a:gd name="T81" fmla="*/ 53 h 375"/>
                <a:gd name="T82" fmla="*/ 32 w 115"/>
                <a:gd name="T83" fmla="*/ 47 h 375"/>
                <a:gd name="T84" fmla="*/ 37 w 115"/>
                <a:gd name="T85" fmla="*/ 41 h 375"/>
                <a:gd name="T86" fmla="*/ 40 w 115"/>
                <a:gd name="T87" fmla="*/ 31 h 375"/>
                <a:gd name="T88" fmla="*/ 38 w 115"/>
                <a:gd name="T89" fmla="*/ 30 h 375"/>
                <a:gd name="T90" fmla="*/ 31 w 115"/>
                <a:gd name="T91" fmla="*/ 27 h 375"/>
                <a:gd name="T92" fmla="*/ 25 w 115"/>
                <a:gd name="T93" fmla="*/ 30 h 375"/>
                <a:gd name="T94" fmla="*/ 15 w 115"/>
                <a:gd name="T95" fmla="*/ 37 h 375"/>
                <a:gd name="T96" fmla="*/ 12 w 115"/>
                <a:gd name="T97" fmla="*/ 34 h 375"/>
                <a:gd name="T98" fmla="*/ 4 w 115"/>
                <a:gd name="T99" fmla="*/ 24 h 375"/>
                <a:gd name="T100" fmla="*/ 1 w 115"/>
                <a:gd name="T101" fmla="*/ 13 h 375"/>
                <a:gd name="T102" fmla="*/ 0 w 115"/>
                <a:gd name="T103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" h="375">
                  <a:moveTo>
                    <a:pt x="18" y="375"/>
                  </a:moveTo>
                  <a:lnTo>
                    <a:pt x="18" y="375"/>
                  </a:lnTo>
                  <a:lnTo>
                    <a:pt x="25" y="370"/>
                  </a:lnTo>
                  <a:lnTo>
                    <a:pt x="28" y="367"/>
                  </a:lnTo>
                  <a:lnTo>
                    <a:pt x="28" y="363"/>
                  </a:lnTo>
                  <a:lnTo>
                    <a:pt x="28" y="363"/>
                  </a:lnTo>
                  <a:lnTo>
                    <a:pt x="26" y="360"/>
                  </a:lnTo>
                  <a:lnTo>
                    <a:pt x="25" y="360"/>
                  </a:lnTo>
                  <a:lnTo>
                    <a:pt x="22" y="358"/>
                  </a:lnTo>
                  <a:lnTo>
                    <a:pt x="21" y="355"/>
                  </a:lnTo>
                  <a:lnTo>
                    <a:pt x="21" y="355"/>
                  </a:lnTo>
                  <a:lnTo>
                    <a:pt x="18" y="342"/>
                  </a:lnTo>
                  <a:lnTo>
                    <a:pt x="18" y="336"/>
                  </a:lnTo>
                  <a:lnTo>
                    <a:pt x="19" y="335"/>
                  </a:lnTo>
                  <a:lnTo>
                    <a:pt x="22" y="335"/>
                  </a:lnTo>
                  <a:lnTo>
                    <a:pt x="22" y="335"/>
                  </a:lnTo>
                  <a:lnTo>
                    <a:pt x="26" y="338"/>
                  </a:lnTo>
                  <a:lnTo>
                    <a:pt x="32" y="341"/>
                  </a:lnTo>
                  <a:lnTo>
                    <a:pt x="35" y="344"/>
                  </a:lnTo>
                  <a:lnTo>
                    <a:pt x="40" y="345"/>
                  </a:lnTo>
                  <a:lnTo>
                    <a:pt x="40" y="345"/>
                  </a:lnTo>
                  <a:lnTo>
                    <a:pt x="47" y="347"/>
                  </a:lnTo>
                  <a:lnTo>
                    <a:pt x="52" y="345"/>
                  </a:lnTo>
                  <a:lnTo>
                    <a:pt x="52" y="344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35"/>
                  </a:lnTo>
                  <a:lnTo>
                    <a:pt x="55" y="329"/>
                  </a:lnTo>
                  <a:lnTo>
                    <a:pt x="58" y="324"/>
                  </a:lnTo>
                  <a:lnTo>
                    <a:pt x="59" y="323"/>
                  </a:lnTo>
                  <a:lnTo>
                    <a:pt x="62" y="323"/>
                  </a:lnTo>
                  <a:lnTo>
                    <a:pt x="62" y="323"/>
                  </a:lnTo>
                  <a:lnTo>
                    <a:pt x="66" y="323"/>
                  </a:lnTo>
                  <a:lnTo>
                    <a:pt x="71" y="326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83" y="332"/>
                  </a:lnTo>
                  <a:lnTo>
                    <a:pt x="87" y="333"/>
                  </a:lnTo>
                  <a:lnTo>
                    <a:pt x="93" y="333"/>
                  </a:lnTo>
                  <a:lnTo>
                    <a:pt x="99" y="332"/>
                  </a:lnTo>
                  <a:lnTo>
                    <a:pt x="99" y="332"/>
                  </a:lnTo>
                  <a:lnTo>
                    <a:pt x="109" y="324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5" y="310"/>
                  </a:lnTo>
                  <a:lnTo>
                    <a:pt x="115" y="299"/>
                  </a:lnTo>
                  <a:lnTo>
                    <a:pt x="115" y="289"/>
                  </a:lnTo>
                  <a:lnTo>
                    <a:pt x="115" y="289"/>
                  </a:lnTo>
                  <a:lnTo>
                    <a:pt x="111" y="267"/>
                  </a:lnTo>
                  <a:lnTo>
                    <a:pt x="106" y="246"/>
                  </a:lnTo>
                  <a:lnTo>
                    <a:pt x="106" y="246"/>
                  </a:lnTo>
                  <a:lnTo>
                    <a:pt x="102" y="227"/>
                  </a:lnTo>
                  <a:lnTo>
                    <a:pt x="99" y="215"/>
                  </a:lnTo>
                  <a:lnTo>
                    <a:pt x="98" y="206"/>
                  </a:lnTo>
                  <a:lnTo>
                    <a:pt x="98" y="206"/>
                  </a:lnTo>
                  <a:lnTo>
                    <a:pt x="98" y="191"/>
                  </a:lnTo>
                  <a:lnTo>
                    <a:pt x="98" y="184"/>
                  </a:lnTo>
                  <a:lnTo>
                    <a:pt x="100" y="175"/>
                  </a:lnTo>
                  <a:lnTo>
                    <a:pt x="100" y="175"/>
                  </a:lnTo>
                  <a:lnTo>
                    <a:pt x="105" y="167"/>
                  </a:lnTo>
                  <a:lnTo>
                    <a:pt x="109" y="160"/>
                  </a:lnTo>
                  <a:lnTo>
                    <a:pt x="112" y="154"/>
                  </a:lnTo>
                  <a:lnTo>
                    <a:pt x="112" y="151"/>
                  </a:lnTo>
                  <a:lnTo>
                    <a:pt x="112" y="148"/>
                  </a:lnTo>
                  <a:lnTo>
                    <a:pt x="112" y="148"/>
                  </a:lnTo>
                  <a:lnTo>
                    <a:pt x="105" y="133"/>
                  </a:lnTo>
                  <a:lnTo>
                    <a:pt x="102" y="124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0" y="86"/>
                  </a:lnTo>
                  <a:lnTo>
                    <a:pt x="84" y="74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77" y="65"/>
                  </a:lnTo>
                  <a:lnTo>
                    <a:pt x="71" y="65"/>
                  </a:lnTo>
                  <a:lnTo>
                    <a:pt x="65" y="64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47" y="58"/>
                  </a:lnTo>
                  <a:lnTo>
                    <a:pt x="37" y="56"/>
                  </a:lnTo>
                  <a:lnTo>
                    <a:pt x="34" y="55"/>
                  </a:lnTo>
                  <a:lnTo>
                    <a:pt x="31" y="53"/>
                  </a:lnTo>
                  <a:lnTo>
                    <a:pt x="31" y="50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7" y="41"/>
                  </a:lnTo>
                  <a:lnTo>
                    <a:pt x="40" y="36"/>
                  </a:lnTo>
                  <a:lnTo>
                    <a:pt x="40" y="31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4" y="27"/>
                  </a:lnTo>
                  <a:lnTo>
                    <a:pt x="31" y="27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18" y="36"/>
                  </a:lnTo>
                  <a:lnTo>
                    <a:pt x="15" y="37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4" y="24"/>
                  </a:lnTo>
                  <a:lnTo>
                    <a:pt x="3" y="18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6" name="Freeform 195">
              <a:extLst>
                <a:ext uri="{FF2B5EF4-FFF2-40B4-BE49-F238E27FC236}">
                  <a16:creationId xmlns:a16="http://schemas.microsoft.com/office/drawing/2014/main" id="{C0D91CD3-A733-7E47-BA05-2BBAA6ABA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888" y="6653213"/>
              <a:ext cx="293688" cy="230187"/>
            </a:xfrm>
            <a:custGeom>
              <a:avLst/>
              <a:gdLst>
                <a:gd name="T0" fmla="*/ 114 w 185"/>
                <a:gd name="T1" fmla="*/ 6 h 145"/>
                <a:gd name="T2" fmla="*/ 114 w 185"/>
                <a:gd name="T3" fmla="*/ 6 h 145"/>
                <a:gd name="T4" fmla="*/ 134 w 185"/>
                <a:gd name="T5" fmla="*/ 0 h 145"/>
                <a:gd name="T6" fmla="*/ 134 w 185"/>
                <a:gd name="T7" fmla="*/ 0 h 145"/>
                <a:gd name="T8" fmla="*/ 142 w 185"/>
                <a:gd name="T9" fmla="*/ 12 h 145"/>
                <a:gd name="T10" fmla="*/ 150 w 185"/>
                <a:gd name="T11" fmla="*/ 22 h 145"/>
                <a:gd name="T12" fmla="*/ 154 w 185"/>
                <a:gd name="T13" fmla="*/ 31 h 145"/>
                <a:gd name="T14" fmla="*/ 154 w 185"/>
                <a:gd name="T15" fmla="*/ 31 h 145"/>
                <a:gd name="T16" fmla="*/ 154 w 185"/>
                <a:gd name="T17" fmla="*/ 37 h 145"/>
                <a:gd name="T18" fmla="*/ 154 w 185"/>
                <a:gd name="T19" fmla="*/ 41 h 145"/>
                <a:gd name="T20" fmla="*/ 153 w 185"/>
                <a:gd name="T21" fmla="*/ 46 h 145"/>
                <a:gd name="T22" fmla="*/ 154 w 185"/>
                <a:gd name="T23" fmla="*/ 47 h 145"/>
                <a:gd name="T24" fmla="*/ 157 w 185"/>
                <a:gd name="T25" fmla="*/ 50 h 145"/>
                <a:gd name="T26" fmla="*/ 157 w 185"/>
                <a:gd name="T27" fmla="*/ 50 h 145"/>
                <a:gd name="T28" fmla="*/ 163 w 185"/>
                <a:gd name="T29" fmla="*/ 53 h 145"/>
                <a:gd name="T30" fmla="*/ 169 w 185"/>
                <a:gd name="T31" fmla="*/ 55 h 145"/>
                <a:gd name="T32" fmla="*/ 174 w 185"/>
                <a:gd name="T33" fmla="*/ 55 h 145"/>
                <a:gd name="T34" fmla="*/ 178 w 185"/>
                <a:gd name="T35" fmla="*/ 56 h 145"/>
                <a:gd name="T36" fmla="*/ 178 w 185"/>
                <a:gd name="T37" fmla="*/ 56 h 145"/>
                <a:gd name="T38" fmla="*/ 181 w 185"/>
                <a:gd name="T39" fmla="*/ 60 h 145"/>
                <a:gd name="T40" fmla="*/ 185 w 185"/>
                <a:gd name="T41" fmla="*/ 68 h 145"/>
                <a:gd name="T42" fmla="*/ 185 w 185"/>
                <a:gd name="T43" fmla="*/ 72 h 145"/>
                <a:gd name="T44" fmla="*/ 185 w 185"/>
                <a:gd name="T45" fmla="*/ 75 h 145"/>
                <a:gd name="T46" fmla="*/ 184 w 185"/>
                <a:gd name="T47" fmla="*/ 78 h 145"/>
                <a:gd name="T48" fmla="*/ 179 w 185"/>
                <a:gd name="T49" fmla="*/ 80 h 145"/>
                <a:gd name="T50" fmla="*/ 179 w 185"/>
                <a:gd name="T51" fmla="*/ 80 h 145"/>
                <a:gd name="T52" fmla="*/ 163 w 185"/>
                <a:gd name="T53" fmla="*/ 81 h 145"/>
                <a:gd name="T54" fmla="*/ 156 w 185"/>
                <a:gd name="T55" fmla="*/ 83 h 145"/>
                <a:gd name="T56" fmla="*/ 150 w 185"/>
                <a:gd name="T57" fmla="*/ 84 h 145"/>
                <a:gd name="T58" fmla="*/ 150 w 185"/>
                <a:gd name="T59" fmla="*/ 84 h 145"/>
                <a:gd name="T60" fmla="*/ 144 w 185"/>
                <a:gd name="T61" fmla="*/ 87 h 145"/>
                <a:gd name="T62" fmla="*/ 138 w 185"/>
                <a:gd name="T63" fmla="*/ 92 h 145"/>
                <a:gd name="T64" fmla="*/ 134 w 185"/>
                <a:gd name="T65" fmla="*/ 97 h 145"/>
                <a:gd name="T66" fmla="*/ 131 w 185"/>
                <a:gd name="T67" fmla="*/ 103 h 145"/>
                <a:gd name="T68" fmla="*/ 131 w 185"/>
                <a:gd name="T69" fmla="*/ 103 h 145"/>
                <a:gd name="T70" fmla="*/ 131 w 185"/>
                <a:gd name="T71" fmla="*/ 112 h 145"/>
                <a:gd name="T72" fmla="*/ 128 w 185"/>
                <a:gd name="T73" fmla="*/ 123 h 145"/>
                <a:gd name="T74" fmla="*/ 126 w 185"/>
                <a:gd name="T75" fmla="*/ 127 h 145"/>
                <a:gd name="T76" fmla="*/ 123 w 185"/>
                <a:gd name="T77" fmla="*/ 132 h 145"/>
                <a:gd name="T78" fmla="*/ 119 w 185"/>
                <a:gd name="T79" fmla="*/ 134 h 145"/>
                <a:gd name="T80" fmla="*/ 113 w 185"/>
                <a:gd name="T81" fmla="*/ 134 h 145"/>
                <a:gd name="T82" fmla="*/ 113 w 185"/>
                <a:gd name="T83" fmla="*/ 134 h 145"/>
                <a:gd name="T84" fmla="*/ 108 w 185"/>
                <a:gd name="T85" fmla="*/ 134 h 145"/>
                <a:gd name="T86" fmla="*/ 104 w 185"/>
                <a:gd name="T87" fmla="*/ 134 h 145"/>
                <a:gd name="T88" fmla="*/ 97 w 185"/>
                <a:gd name="T89" fmla="*/ 130 h 145"/>
                <a:gd name="T90" fmla="*/ 91 w 185"/>
                <a:gd name="T91" fmla="*/ 127 h 145"/>
                <a:gd name="T92" fmla="*/ 86 w 185"/>
                <a:gd name="T93" fmla="*/ 127 h 145"/>
                <a:gd name="T94" fmla="*/ 83 w 185"/>
                <a:gd name="T95" fmla="*/ 129 h 145"/>
                <a:gd name="T96" fmla="*/ 83 w 185"/>
                <a:gd name="T97" fmla="*/ 129 h 145"/>
                <a:gd name="T98" fmla="*/ 76 w 185"/>
                <a:gd name="T99" fmla="*/ 132 h 145"/>
                <a:gd name="T100" fmla="*/ 71 w 185"/>
                <a:gd name="T101" fmla="*/ 134 h 145"/>
                <a:gd name="T102" fmla="*/ 65 w 185"/>
                <a:gd name="T103" fmla="*/ 139 h 145"/>
                <a:gd name="T104" fmla="*/ 58 w 185"/>
                <a:gd name="T105" fmla="*/ 142 h 145"/>
                <a:gd name="T106" fmla="*/ 58 w 185"/>
                <a:gd name="T107" fmla="*/ 142 h 145"/>
                <a:gd name="T108" fmla="*/ 46 w 185"/>
                <a:gd name="T109" fmla="*/ 143 h 145"/>
                <a:gd name="T110" fmla="*/ 34 w 185"/>
                <a:gd name="T111" fmla="*/ 145 h 145"/>
                <a:gd name="T112" fmla="*/ 20 w 185"/>
                <a:gd name="T113" fmla="*/ 145 h 145"/>
                <a:gd name="T114" fmla="*/ 0 w 185"/>
                <a:gd name="T115" fmla="*/ 13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5" h="145">
                  <a:moveTo>
                    <a:pt x="114" y="6"/>
                  </a:moveTo>
                  <a:lnTo>
                    <a:pt x="114" y="6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2" y="12"/>
                  </a:lnTo>
                  <a:lnTo>
                    <a:pt x="150" y="22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4" y="37"/>
                  </a:lnTo>
                  <a:lnTo>
                    <a:pt x="154" y="41"/>
                  </a:lnTo>
                  <a:lnTo>
                    <a:pt x="153" y="46"/>
                  </a:lnTo>
                  <a:lnTo>
                    <a:pt x="154" y="47"/>
                  </a:lnTo>
                  <a:lnTo>
                    <a:pt x="157" y="50"/>
                  </a:lnTo>
                  <a:lnTo>
                    <a:pt x="157" y="50"/>
                  </a:lnTo>
                  <a:lnTo>
                    <a:pt x="163" y="53"/>
                  </a:lnTo>
                  <a:lnTo>
                    <a:pt x="169" y="55"/>
                  </a:lnTo>
                  <a:lnTo>
                    <a:pt x="174" y="55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81" y="60"/>
                  </a:lnTo>
                  <a:lnTo>
                    <a:pt x="185" y="68"/>
                  </a:lnTo>
                  <a:lnTo>
                    <a:pt x="185" y="72"/>
                  </a:lnTo>
                  <a:lnTo>
                    <a:pt x="185" y="75"/>
                  </a:lnTo>
                  <a:lnTo>
                    <a:pt x="184" y="78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63" y="81"/>
                  </a:lnTo>
                  <a:lnTo>
                    <a:pt x="156" y="83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44" y="87"/>
                  </a:lnTo>
                  <a:lnTo>
                    <a:pt x="138" y="92"/>
                  </a:lnTo>
                  <a:lnTo>
                    <a:pt x="134" y="97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1" y="112"/>
                  </a:lnTo>
                  <a:lnTo>
                    <a:pt x="128" y="123"/>
                  </a:lnTo>
                  <a:lnTo>
                    <a:pt x="126" y="127"/>
                  </a:lnTo>
                  <a:lnTo>
                    <a:pt x="123" y="132"/>
                  </a:lnTo>
                  <a:lnTo>
                    <a:pt x="119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08" y="134"/>
                  </a:lnTo>
                  <a:lnTo>
                    <a:pt x="104" y="134"/>
                  </a:lnTo>
                  <a:lnTo>
                    <a:pt x="97" y="130"/>
                  </a:lnTo>
                  <a:lnTo>
                    <a:pt x="91" y="127"/>
                  </a:lnTo>
                  <a:lnTo>
                    <a:pt x="86" y="127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76" y="132"/>
                  </a:lnTo>
                  <a:lnTo>
                    <a:pt x="71" y="134"/>
                  </a:lnTo>
                  <a:lnTo>
                    <a:pt x="65" y="139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46" y="143"/>
                  </a:lnTo>
                  <a:lnTo>
                    <a:pt x="34" y="145"/>
                  </a:lnTo>
                  <a:lnTo>
                    <a:pt x="20" y="145"/>
                  </a:lnTo>
                  <a:lnTo>
                    <a:pt x="0" y="139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7" name="Freeform 196">
              <a:extLst>
                <a:ext uri="{FF2B5EF4-FFF2-40B4-BE49-F238E27FC236}">
                  <a16:creationId xmlns:a16="http://schemas.microsoft.com/office/drawing/2014/main" id="{79882EE6-796E-0747-ADA0-D432041B5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200" y="3598863"/>
              <a:ext cx="79375" cy="119062"/>
            </a:xfrm>
            <a:custGeom>
              <a:avLst/>
              <a:gdLst>
                <a:gd name="T0" fmla="*/ 3 w 50"/>
                <a:gd name="T1" fmla="*/ 15 h 75"/>
                <a:gd name="T2" fmla="*/ 3 w 50"/>
                <a:gd name="T3" fmla="*/ 15 h 75"/>
                <a:gd name="T4" fmla="*/ 0 w 50"/>
                <a:gd name="T5" fmla="*/ 22 h 75"/>
                <a:gd name="T6" fmla="*/ 0 w 50"/>
                <a:gd name="T7" fmla="*/ 28 h 75"/>
                <a:gd name="T8" fmla="*/ 3 w 50"/>
                <a:gd name="T9" fmla="*/ 34 h 75"/>
                <a:gd name="T10" fmla="*/ 3 w 50"/>
                <a:gd name="T11" fmla="*/ 34 h 75"/>
                <a:gd name="T12" fmla="*/ 6 w 50"/>
                <a:gd name="T13" fmla="*/ 41 h 75"/>
                <a:gd name="T14" fmla="*/ 10 w 50"/>
                <a:gd name="T15" fmla="*/ 50 h 75"/>
                <a:gd name="T16" fmla="*/ 10 w 50"/>
                <a:gd name="T17" fmla="*/ 50 h 75"/>
                <a:gd name="T18" fmla="*/ 13 w 50"/>
                <a:gd name="T19" fmla="*/ 65 h 75"/>
                <a:gd name="T20" fmla="*/ 16 w 50"/>
                <a:gd name="T21" fmla="*/ 69 h 75"/>
                <a:gd name="T22" fmla="*/ 19 w 50"/>
                <a:gd name="T23" fmla="*/ 72 h 75"/>
                <a:gd name="T24" fmla="*/ 19 w 50"/>
                <a:gd name="T25" fmla="*/ 72 h 75"/>
                <a:gd name="T26" fmla="*/ 28 w 50"/>
                <a:gd name="T27" fmla="*/ 75 h 75"/>
                <a:gd name="T28" fmla="*/ 32 w 50"/>
                <a:gd name="T29" fmla="*/ 75 h 75"/>
                <a:gd name="T30" fmla="*/ 38 w 50"/>
                <a:gd name="T31" fmla="*/ 74 h 75"/>
                <a:gd name="T32" fmla="*/ 38 w 50"/>
                <a:gd name="T33" fmla="*/ 74 h 75"/>
                <a:gd name="T34" fmla="*/ 43 w 50"/>
                <a:gd name="T35" fmla="*/ 71 h 75"/>
                <a:gd name="T36" fmla="*/ 47 w 50"/>
                <a:gd name="T37" fmla="*/ 71 h 75"/>
                <a:gd name="T38" fmla="*/ 49 w 50"/>
                <a:gd name="T39" fmla="*/ 68 h 75"/>
                <a:gd name="T40" fmla="*/ 50 w 50"/>
                <a:gd name="T41" fmla="*/ 62 h 75"/>
                <a:gd name="T42" fmla="*/ 50 w 50"/>
                <a:gd name="T43" fmla="*/ 62 h 75"/>
                <a:gd name="T44" fmla="*/ 49 w 50"/>
                <a:gd name="T45" fmla="*/ 46 h 75"/>
                <a:gd name="T46" fmla="*/ 47 w 50"/>
                <a:gd name="T47" fmla="*/ 31 h 75"/>
                <a:gd name="T48" fmla="*/ 47 w 50"/>
                <a:gd name="T49" fmla="*/ 31 h 75"/>
                <a:gd name="T50" fmla="*/ 49 w 50"/>
                <a:gd name="T51" fmla="*/ 21 h 75"/>
                <a:gd name="T52" fmla="*/ 47 w 50"/>
                <a:gd name="T53" fmla="*/ 16 h 75"/>
                <a:gd name="T54" fmla="*/ 46 w 50"/>
                <a:gd name="T55" fmla="*/ 10 h 75"/>
                <a:gd name="T56" fmla="*/ 46 w 50"/>
                <a:gd name="T57" fmla="*/ 10 h 75"/>
                <a:gd name="T58" fmla="*/ 43 w 50"/>
                <a:gd name="T59" fmla="*/ 6 h 75"/>
                <a:gd name="T60" fmla="*/ 38 w 50"/>
                <a:gd name="T61" fmla="*/ 3 h 75"/>
                <a:gd name="T62" fmla="*/ 34 w 50"/>
                <a:gd name="T63" fmla="*/ 0 h 75"/>
                <a:gd name="T64" fmla="*/ 23 w 50"/>
                <a:gd name="T65" fmla="*/ 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" h="75">
                  <a:moveTo>
                    <a:pt x="3" y="15"/>
                  </a:moveTo>
                  <a:lnTo>
                    <a:pt x="3" y="15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6" y="41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3" y="65"/>
                  </a:lnTo>
                  <a:lnTo>
                    <a:pt x="16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8" y="75"/>
                  </a:lnTo>
                  <a:lnTo>
                    <a:pt x="32" y="75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43" y="71"/>
                  </a:lnTo>
                  <a:lnTo>
                    <a:pt x="47" y="71"/>
                  </a:lnTo>
                  <a:lnTo>
                    <a:pt x="49" y="68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49" y="46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9" y="21"/>
                  </a:lnTo>
                  <a:lnTo>
                    <a:pt x="47" y="16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3" y="6"/>
                  </a:lnTo>
                  <a:lnTo>
                    <a:pt x="38" y="3"/>
                  </a:lnTo>
                  <a:lnTo>
                    <a:pt x="34" y="0"/>
                  </a:lnTo>
                  <a:lnTo>
                    <a:pt x="23" y="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8" name="Freeform 197">
              <a:extLst>
                <a:ext uri="{FF2B5EF4-FFF2-40B4-BE49-F238E27FC236}">
                  <a16:creationId xmlns:a16="http://schemas.microsoft.com/office/drawing/2014/main" id="{30D896B1-8684-9C43-938E-90F7742FD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963" y="5364163"/>
              <a:ext cx="26988" cy="112712"/>
            </a:xfrm>
            <a:custGeom>
              <a:avLst/>
              <a:gdLst>
                <a:gd name="T0" fmla="*/ 5 w 17"/>
                <a:gd name="T1" fmla="*/ 0 h 71"/>
                <a:gd name="T2" fmla="*/ 5 w 17"/>
                <a:gd name="T3" fmla="*/ 0 h 71"/>
                <a:gd name="T4" fmla="*/ 9 w 17"/>
                <a:gd name="T5" fmla="*/ 3 h 71"/>
                <a:gd name="T6" fmla="*/ 14 w 17"/>
                <a:gd name="T7" fmla="*/ 6 h 71"/>
                <a:gd name="T8" fmla="*/ 15 w 17"/>
                <a:gd name="T9" fmla="*/ 9 h 71"/>
                <a:gd name="T10" fmla="*/ 17 w 17"/>
                <a:gd name="T11" fmla="*/ 10 h 71"/>
                <a:gd name="T12" fmla="*/ 15 w 17"/>
                <a:gd name="T13" fmla="*/ 12 h 71"/>
                <a:gd name="T14" fmla="*/ 15 w 17"/>
                <a:gd name="T15" fmla="*/ 12 h 71"/>
                <a:gd name="T16" fmla="*/ 6 w 17"/>
                <a:gd name="T17" fmla="*/ 21 h 71"/>
                <a:gd name="T18" fmla="*/ 9 w 17"/>
                <a:gd name="T19" fmla="*/ 33 h 71"/>
                <a:gd name="T20" fmla="*/ 3 w 17"/>
                <a:gd name="T21" fmla="*/ 40 h 71"/>
                <a:gd name="T22" fmla="*/ 0 w 17"/>
                <a:gd name="T2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71">
                  <a:moveTo>
                    <a:pt x="5" y="0"/>
                  </a:moveTo>
                  <a:lnTo>
                    <a:pt x="5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15" y="9"/>
                  </a:lnTo>
                  <a:lnTo>
                    <a:pt x="17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6" y="21"/>
                  </a:lnTo>
                  <a:lnTo>
                    <a:pt x="9" y="33"/>
                  </a:lnTo>
                  <a:lnTo>
                    <a:pt x="3" y="40"/>
                  </a:lnTo>
                  <a:lnTo>
                    <a:pt x="0" y="7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9" name="Freeform 198">
              <a:extLst>
                <a:ext uri="{FF2B5EF4-FFF2-40B4-BE49-F238E27FC236}">
                  <a16:creationId xmlns:a16="http://schemas.microsoft.com/office/drawing/2014/main" id="{274BBD6B-C3B5-4344-BCDF-7B0B7C9BA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4565650"/>
              <a:ext cx="98425" cy="88900"/>
            </a:xfrm>
            <a:custGeom>
              <a:avLst/>
              <a:gdLst>
                <a:gd name="T0" fmla="*/ 4 w 62"/>
                <a:gd name="T1" fmla="*/ 37 h 56"/>
                <a:gd name="T2" fmla="*/ 4 w 62"/>
                <a:gd name="T3" fmla="*/ 37 h 56"/>
                <a:gd name="T4" fmla="*/ 9 w 62"/>
                <a:gd name="T5" fmla="*/ 35 h 56"/>
                <a:gd name="T6" fmla="*/ 12 w 62"/>
                <a:gd name="T7" fmla="*/ 32 h 56"/>
                <a:gd name="T8" fmla="*/ 15 w 62"/>
                <a:gd name="T9" fmla="*/ 29 h 56"/>
                <a:gd name="T10" fmla="*/ 15 w 62"/>
                <a:gd name="T11" fmla="*/ 29 h 56"/>
                <a:gd name="T12" fmla="*/ 16 w 62"/>
                <a:gd name="T13" fmla="*/ 25 h 56"/>
                <a:gd name="T14" fmla="*/ 21 w 62"/>
                <a:gd name="T15" fmla="*/ 22 h 56"/>
                <a:gd name="T16" fmla="*/ 24 w 62"/>
                <a:gd name="T17" fmla="*/ 20 h 56"/>
                <a:gd name="T18" fmla="*/ 27 w 62"/>
                <a:gd name="T19" fmla="*/ 16 h 56"/>
                <a:gd name="T20" fmla="*/ 27 w 62"/>
                <a:gd name="T21" fmla="*/ 16 h 56"/>
                <a:gd name="T22" fmla="*/ 34 w 62"/>
                <a:gd name="T23" fmla="*/ 10 h 56"/>
                <a:gd name="T24" fmla="*/ 41 w 62"/>
                <a:gd name="T25" fmla="*/ 4 h 56"/>
                <a:gd name="T26" fmla="*/ 41 w 62"/>
                <a:gd name="T27" fmla="*/ 4 h 56"/>
                <a:gd name="T28" fmla="*/ 46 w 62"/>
                <a:gd name="T29" fmla="*/ 1 h 56"/>
                <a:gd name="T30" fmla="*/ 50 w 62"/>
                <a:gd name="T31" fmla="*/ 0 h 56"/>
                <a:gd name="T32" fmla="*/ 53 w 62"/>
                <a:gd name="T33" fmla="*/ 3 h 56"/>
                <a:gd name="T34" fmla="*/ 55 w 62"/>
                <a:gd name="T35" fmla="*/ 7 h 56"/>
                <a:gd name="T36" fmla="*/ 55 w 62"/>
                <a:gd name="T37" fmla="*/ 7 h 56"/>
                <a:gd name="T38" fmla="*/ 58 w 62"/>
                <a:gd name="T39" fmla="*/ 13 h 56"/>
                <a:gd name="T40" fmla="*/ 59 w 62"/>
                <a:gd name="T41" fmla="*/ 17 h 56"/>
                <a:gd name="T42" fmla="*/ 59 w 62"/>
                <a:gd name="T43" fmla="*/ 26 h 56"/>
                <a:gd name="T44" fmla="*/ 59 w 62"/>
                <a:gd name="T45" fmla="*/ 26 h 56"/>
                <a:gd name="T46" fmla="*/ 62 w 62"/>
                <a:gd name="T47" fmla="*/ 45 h 56"/>
                <a:gd name="T48" fmla="*/ 61 w 62"/>
                <a:gd name="T49" fmla="*/ 51 h 56"/>
                <a:gd name="T50" fmla="*/ 59 w 62"/>
                <a:gd name="T51" fmla="*/ 53 h 56"/>
                <a:gd name="T52" fmla="*/ 56 w 62"/>
                <a:gd name="T53" fmla="*/ 54 h 56"/>
                <a:gd name="T54" fmla="*/ 56 w 62"/>
                <a:gd name="T55" fmla="*/ 54 h 56"/>
                <a:gd name="T56" fmla="*/ 52 w 62"/>
                <a:gd name="T57" fmla="*/ 56 h 56"/>
                <a:gd name="T58" fmla="*/ 47 w 62"/>
                <a:gd name="T59" fmla="*/ 56 h 56"/>
                <a:gd name="T60" fmla="*/ 37 w 62"/>
                <a:gd name="T61" fmla="*/ 54 h 56"/>
                <a:gd name="T62" fmla="*/ 37 w 62"/>
                <a:gd name="T63" fmla="*/ 54 h 56"/>
                <a:gd name="T64" fmla="*/ 28 w 62"/>
                <a:gd name="T65" fmla="*/ 56 h 56"/>
                <a:gd name="T66" fmla="*/ 22 w 62"/>
                <a:gd name="T67" fmla="*/ 54 h 56"/>
                <a:gd name="T68" fmla="*/ 16 w 62"/>
                <a:gd name="T69" fmla="*/ 51 h 56"/>
                <a:gd name="T70" fmla="*/ 16 w 62"/>
                <a:gd name="T71" fmla="*/ 51 h 56"/>
                <a:gd name="T72" fmla="*/ 4 w 62"/>
                <a:gd name="T73" fmla="*/ 45 h 56"/>
                <a:gd name="T74" fmla="*/ 1 w 62"/>
                <a:gd name="T75" fmla="*/ 44 h 56"/>
                <a:gd name="T76" fmla="*/ 0 w 62"/>
                <a:gd name="T77" fmla="*/ 43 h 56"/>
                <a:gd name="T78" fmla="*/ 0 w 62"/>
                <a:gd name="T79" fmla="*/ 43 h 56"/>
                <a:gd name="T80" fmla="*/ 3 w 62"/>
                <a:gd name="T81" fmla="*/ 40 h 56"/>
                <a:gd name="T82" fmla="*/ 4 w 62"/>
                <a:gd name="T83" fmla="*/ 37 h 56"/>
                <a:gd name="T84" fmla="*/ 4 w 62"/>
                <a:gd name="T85" fmla="*/ 3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56">
                  <a:moveTo>
                    <a:pt x="4" y="37"/>
                  </a:moveTo>
                  <a:lnTo>
                    <a:pt x="4" y="37"/>
                  </a:lnTo>
                  <a:lnTo>
                    <a:pt x="9" y="35"/>
                  </a:lnTo>
                  <a:lnTo>
                    <a:pt x="12" y="32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6" y="25"/>
                  </a:lnTo>
                  <a:lnTo>
                    <a:pt x="21" y="22"/>
                  </a:lnTo>
                  <a:lnTo>
                    <a:pt x="24" y="20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34" y="10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6" y="1"/>
                  </a:lnTo>
                  <a:lnTo>
                    <a:pt x="50" y="0"/>
                  </a:lnTo>
                  <a:lnTo>
                    <a:pt x="53" y="3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8" y="13"/>
                  </a:lnTo>
                  <a:lnTo>
                    <a:pt x="59" y="17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62" y="45"/>
                  </a:lnTo>
                  <a:lnTo>
                    <a:pt x="61" y="51"/>
                  </a:lnTo>
                  <a:lnTo>
                    <a:pt x="59" y="53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2" y="56"/>
                  </a:lnTo>
                  <a:lnTo>
                    <a:pt x="47" y="56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28" y="56"/>
                  </a:lnTo>
                  <a:lnTo>
                    <a:pt x="22" y="54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4" y="45"/>
                  </a:lnTo>
                  <a:lnTo>
                    <a:pt x="1" y="4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0"/>
                  </a:lnTo>
                  <a:lnTo>
                    <a:pt x="4" y="37"/>
                  </a:lnTo>
                  <a:lnTo>
                    <a:pt x="4" y="37"/>
                  </a:lnTo>
                  <a:close/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0" name="Freeform 199">
              <a:extLst>
                <a:ext uri="{FF2B5EF4-FFF2-40B4-BE49-F238E27FC236}">
                  <a16:creationId xmlns:a16="http://schemas.microsoft.com/office/drawing/2014/main" id="{98DF1766-0FAC-EC40-9707-E42D47788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9813" y="7419975"/>
              <a:ext cx="298450" cy="573087"/>
            </a:xfrm>
            <a:custGeom>
              <a:avLst/>
              <a:gdLst>
                <a:gd name="T0" fmla="*/ 0 w 188"/>
                <a:gd name="T1" fmla="*/ 0 h 361"/>
                <a:gd name="T2" fmla="*/ 12 w 188"/>
                <a:gd name="T3" fmla="*/ 0 h 361"/>
                <a:gd name="T4" fmla="*/ 26 w 188"/>
                <a:gd name="T5" fmla="*/ 4 h 361"/>
                <a:gd name="T6" fmla="*/ 30 w 188"/>
                <a:gd name="T7" fmla="*/ 8 h 361"/>
                <a:gd name="T8" fmla="*/ 34 w 188"/>
                <a:gd name="T9" fmla="*/ 16 h 361"/>
                <a:gd name="T10" fmla="*/ 34 w 188"/>
                <a:gd name="T11" fmla="*/ 31 h 361"/>
                <a:gd name="T12" fmla="*/ 40 w 188"/>
                <a:gd name="T13" fmla="*/ 35 h 361"/>
                <a:gd name="T14" fmla="*/ 52 w 188"/>
                <a:gd name="T15" fmla="*/ 37 h 361"/>
                <a:gd name="T16" fmla="*/ 83 w 188"/>
                <a:gd name="T17" fmla="*/ 37 h 361"/>
                <a:gd name="T18" fmla="*/ 85 w 188"/>
                <a:gd name="T19" fmla="*/ 35 h 361"/>
                <a:gd name="T20" fmla="*/ 91 w 188"/>
                <a:gd name="T21" fmla="*/ 28 h 361"/>
                <a:gd name="T22" fmla="*/ 95 w 188"/>
                <a:gd name="T23" fmla="*/ 25 h 361"/>
                <a:gd name="T24" fmla="*/ 101 w 188"/>
                <a:gd name="T25" fmla="*/ 26 h 361"/>
                <a:gd name="T26" fmla="*/ 114 w 188"/>
                <a:gd name="T27" fmla="*/ 41 h 361"/>
                <a:gd name="T28" fmla="*/ 126 w 188"/>
                <a:gd name="T29" fmla="*/ 53 h 361"/>
                <a:gd name="T30" fmla="*/ 134 w 188"/>
                <a:gd name="T31" fmla="*/ 59 h 361"/>
                <a:gd name="T32" fmla="*/ 141 w 188"/>
                <a:gd name="T33" fmla="*/ 75 h 361"/>
                <a:gd name="T34" fmla="*/ 142 w 188"/>
                <a:gd name="T35" fmla="*/ 82 h 361"/>
                <a:gd name="T36" fmla="*/ 141 w 188"/>
                <a:gd name="T37" fmla="*/ 93 h 361"/>
                <a:gd name="T38" fmla="*/ 145 w 188"/>
                <a:gd name="T39" fmla="*/ 99 h 361"/>
                <a:gd name="T40" fmla="*/ 148 w 188"/>
                <a:gd name="T41" fmla="*/ 103 h 361"/>
                <a:gd name="T42" fmla="*/ 151 w 188"/>
                <a:gd name="T43" fmla="*/ 117 h 361"/>
                <a:gd name="T44" fmla="*/ 153 w 188"/>
                <a:gd name="T45" fmla="*/ 119 h 361"/>
                <a:gd name="T46" fmla="*/ 160 w 188"/>
                <a:gd name="T47" fmla="*/ 124 h 361"/>
                <a:gd name="T48" fmla="*/ 162 w 188"/>
                <a:gd name="T49" fmla="*/ 128 h 361"/>
                <a:gd name="T50" fmla="*/ 163 w 188"/>
                <a:gd name="T51" fmla="*/ 165 h 361"/>
                <a:gd name="T52" fmla="*/ 162 w 188"/>
                <a:gd name="T53" fmla="*/ 177 h 361"/>
                <a:gd name="T54" fmla="*/ 156 w 188"/>
                <a:gd name="T55" fmla="*/ 191 h 361"/>
                <a:gd name="T56" fmla="*/ 154 w 188"/>
                <a:gd name="T57" fmla="*/ 194 h 361"/>
                <a:gd name="T58" fmla="*/ 159 w 188"/>
                <a:gd name="T59" fmla="*/ 199 h 361"/>
                <a:gd name="T60" fmla="*/ 172 w 188"/>
                <a:gd name="T61" fmla="*/ 210 h 361"/>
                <a:gd name="T62" fmla="*/ 184 w 188"/>
                <a:gd name="T63" fmla="*/ 225 h 361"/>
                <a:gd name="T64" fmla="*/ 188 w 188"/>
                <a:gd name="T65" fmla="*/ 234 h 361"/>
                <a:gd name="T66" fmla="*/ 188 w 188"/>
                <a:gd name="T67" fmla="*/ 242 h 361"/>
                <a:gd name="T68" fmla="*/ 184 w 188"/>
                <a:gd name="T69" fmla="*/ 251 h 361"/>
                <a:gd name="T70" fmla="*/ 175 w 188"/>
                <a:gd name="T71" fmla="*/ 260 h 361"/>
                <a:gd name="T72" fmla="*/ 156 w 188"/>
                <a:gd name="T73" fmla="*/ 269 h 361"/>
                <a:gd name="T74" fmla="*/ 151 w 188"/>
                <a:gd name="T75" fmla="*/ 274 h 361"/>
                <a:gd name="T76" fmla="*/ 151 w 188"/>
                <a:gd name="T77" fmla="*/ 276 h 361"/>
                <a:gd name="T78" fmla="*/ 151 w 188"/>
                <a:gd name="T79" fmla="*/ 284 h 361"/>
                <a:gd name="T80" fmla="*/ 141 w 188"/>
                <a:gd name="T81" fmla="*/ 296 h 361"/>
                <a:gd name="T82" fmla="*/ 135 w 188"/>
                <a:gd name="T83" fmla="*/ 302 h 361"/>
                <a:gd name="T84" fmla="*/ 131 w 188"/>
                <a:gd name="T85" fmla="*/ 311 h 361"/>
                <a:gd name="T86" fmla="*/ 125 w 188"/>
                <a:gd name="T87" fmla="*/ 321 h 361"/>
                <a:gd name="T88" fmla="*/ 117 w 188"/>
                <a:gd name="T89" fmla="*/ 325 h 361"/>
                <a:gd name="T90" fmla="*/ 100 w 188"/>
                <a:gd name="T91" fmla="*/ 333 h 361"/>
                <a:gd name="T92" fmla="*/ 91 w 188"/>
                <a:gd name="T93" fmla="*/ 337 h 361"/>
                <a:gd name="T94" fmla="*/ 85 w 188"/>
                <a:gd name="T95" fmla="*/ 343 h 361"/>
                <a:gd name="T96" fmla="*/ 79 w 188"/>
                <a:gd name="T97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8" h="36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12" y="0"/>
                  </a:lnTo>
                  <a:lnTo>
                    <a:pt x="21" y="1"/>
                  </a:lnTo>
                  <a:lnTo>
                    <a:pt x="26" y="4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3" y="11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34" y="31"/>
                  </a:lnTo>
                  <a:lnTo>
                    <a:pt x="37" y="32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52" y="37"/>
                  </a:lnTo>
                  <a:lnTo>
                    <a:pt x="64" y="37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5" y="35"/>
                  </a:lnTo>
                  <a:lnTo>
                    <a:pt x="86" y="34"/>
                  </a:lnTo>
                  <a:lnTo>
                    <a:pt x="91" y="28"/>
                  </a:lnTo>
                  <a:lnTo>
                    <a:pt x="92" y="26"/>
                  </a:lnTo>
                  <a:lnTo>
                    <a:pt x="95" y="25"/>
                  </a:lnTo>
                  <a:lnTo>
                    <a:pt x="98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14" y="41"/>
                  </a:lnTo>
                  <a:lnTo>
                    <a:pt x="120" y="48"/>
                  </a:lnTo>
                  <a:lnTo>
                    <a:pt x="126" y="53"/>
                  </a:lnTo>
                  <a:lnTo>
                    <a:pt x="126" y="53"/>
                  </a:lnTo>
                  <a:lnTo>
                    <a:pt x="134" y="59"/>
                  </a:lnTo>
                  <a:lnTo>
                    <a:pt x="138" y="66"/>
                  </a:lnTo>
                  <a:lnTo>
                    <a:pt x="141" y="75"/>
                  </a:lnTo>
                  <a:lnTo>
                    <a:pt x="142" y="82"/>
                  </a:lnTo>
                  <a:lnTo>
                    <a:pt x="142" y="82"/>
                  </a:lnTo>
                  <a:lnTo>
                    <a:pt x="142" y="88"/>
                  </a:lnTo>
                  <a:lnTo>
                    <a:pt x="141" y="93"/>
                  </a:lnTo>
                  <a:lnTo>
                    <a:pt x="142" y="96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8" y="103"/>
                  </a:lnTo>
                  <a:lnTo>
                    <a:pt x="151" y="109"/>
                  </a:lnTo>
                  <a:lnTo>
                    <a:pt x="151" y="117"/>
                  </a:lnTo>
                  <a:lnTo>
                    <a:pt x="151" y="117"/>
                  </a:lnTo>
                  <a:lnTo>
                    <a:pt x="153" y="119"/>
                  </a:lnTo>
                  <a:lnTo>
                    <a:pt x="157" y="122"/>
                  </a:lnTo>
                  <a:lnTo>
                    <a:pt x="160" y="124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3" y="151"/>
                  </a:lnTo>
                  <a:lnTo>
                    <a:pt x="163" y="165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59" y="185"/>
                  </a:lnTo>
                  <a:lnTo>
                    <a:pt x="156" y="191"/>
                  </a:lnTo>
                  <a:lnTo>
                    <a:pt x="154" y="192"/>
                  </a:lnTo>
                  <a:lnTo>
                    <a:pt x="154" y="194"/>
                  </a:lnTo>
                  <a:lnTo>
                    <a:pt x="156" y="197"/>
                  </a:lnTo>
                  <a:lnTo>
                    <a:pt x="159" y="199"/>
                  </a:lnTo>
                  <a:lnTo>
                    <a:pt x="159" y="199"/>
                  </a:lnTo>
                  <a:lnTo>
                    <a:pt x="172" y="210"/>
                  </a:lnTo>
                  <a:lnTo>
                    <a:pt x="178" y="216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8" y="234"/>
                  </a:lnTo>
                  <a:lnTo>
                    <a:pt x="188" y="238"/>
                  </a:lnTo>
                  <a:lnTo>
                    <a:pt x="188" y="242"/>
                  </a:lnTo>
                  <a:lnTo>
                    <a:pt x="187" y="247"/>
                  </a:lnTo>
                  <a:lnTo>
                    <a:pt x="184" y="251"/>
                  </a:lnTo>
                  <a:lnTo>
                    <a:pt x="175" y="260"/>
                  </a:lnTo>
                  <a:lnTo>
                    <a:pt x="175" y="260"/>
                  </a:lnTo>
                  <a:lnTo>
                    <a:pt x="163" y="266"/>
                  </a:lnTo>
                  <a:lnTo>
                    <a:pt x="156" y="269"/>
                  </a:lnTo>
                  <a:lnTo>
                    <a:pt x="151" y="272"/>
                  </a:lnTo>
                  <a:lnTo>
                    <a:pt x="151" y="274"/>
                  </a:lnTo>
                  <a:lnTo>
                    <a:pt x="151" y="276"/>
                  </a:lnTo>
                  <a:lnTo>
                    <a:pt x="151" y="276"/>
                  </a:lnTo>
                  <a:lnTo>
                    <a:pt x="151" y="281"/>
                  </a:lnTo>
                  <a:lnTo>
                    <a:pt x="151" y="284"/>
                  </a:lnTo>
                  <a:lnTo>
                    <a:pt x="147" y="290"/>
                  </a:lnTo>
                  <a:lnTo>
                    <a:pt x="141" y="296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2" y="306"/>
                  </a:lnTo>
                  <a:lnTo>
                    <a:pt x="131" y="311"/>
                  </a:lnTo>
                  <a:lnTo>
                    <a:pt x="131" y="315"/>
                  </a:lnTo>
                  <a:lnTo>
                    <a:pt x="125" y="321"/>
                  </a:lnTo>
                  <a:lnTo>
                    <a:pt x="125" y="321"/>
                  </a:lnTo>
                  <a:lnTo>
                    <a:pt x="117" y="325"/>
                  </a:lnTo>
                  <a:lnTo>
                    <a:pt x="108" y="330"/>
                  </a:lnTo>
                  <a:lnTo>
                    <a:pt x="100" y="333"/>
                  </a:lnTo>
                  <a:lnTo>
                    <a:pt x="91" y="337"/>
                  </a:lnTo>
                  <a:lnTo>
                    <a:pt x="91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82" y="351"/>
                  </a:lnTo>
                  <a:lnTo>
                    <a:pt x="79" y="361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1" name="Freeform 200">
              <a:extLst>
                <a:ext uri="{FF2B5EF4-FFF2-40B4-BE49-F238E27FC236}">
                  <a16:creationId xmlns:a16="http://schemas.microsoft.com/office/drawing/2014/main" id="{535A419A-1C13-D74E-8CE4-BD7C0C35F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8950" y="6824663"/>
              <a:ext cx="673100" cy="973137"/>
            </a:xfrm>
            <a:custGeom>
              <a:avLst/>
              <a:gdLst>
                <a:gd name="T0" fmla="*/ 0 w 424"/>
                <a:gd name="T1" fmla="*/ 545 h 613"/>
                <a:gd name="T2" fmla="*/ 5 w 424"/>
                <a:gd name="T3" fmla="*/ 537 h 613"/>
                <a:gd name="T4" fmla="*/ 17 w 424"/>
                <a:gd name="T5" fmla="*/ 521 h 613"/>
                <a:gd name="T6" fmla="*/ 26 w 424"/>
                <a:gd name="T7" fmla="*/ 499 h 613"/>
                <a:gd name="T8" fmla="*/ 36 w 424"/>
                <a:gd name="T9" fmla="*/ 506 h 613"/>
                <a:gd name="T10" fmla="*/ 43 w 424"/>
                <a:gd name="T11" fmla="*/ 508 h 613"/>
                <a:gd name="T12" fmla="*/ 63 w 424"/>
                <a:gd name="T13" fmla="*/ 494 h 613"/>
                <a:gd name="T14" fmla="*/ 63 w 424"/>
                <a:gd name="T15" fmla="*/ 453 h 613"/>
                <a:gd name="T16" fmla="*/ 67 w 424"/>
                <a:gd name="T17" fmla="*/ 434 h 613"/>
                <a:gd name="T18" fmla="*/ 76 w 424"/>
                <a:gd name="T19" fmla="*/ 432 h 613"/>
                <a:gd name="T20" fmla="*/ 83 w 424"/>
                <a:gd name="T21" fmla="*/ 425 h 613"/>
                <a:gd name="T22" fmla="*/ 86 w 424"/>
                <a:gd name="T23" fmla="*/ 366 h 613"/>
                <a:gd name="T24" fmla="*/ 103 w 424"/>
                <a:gd name="T25" fmla="*/ 342 h 613"/>
                <a:gd name="T26" fmla="*/ 117 w 424"/>
                <a:gd name="T27" fmla="*/ 345 h 613"/>
                <a:gd name="T28" fmla="*/ 128 w 424"/>
                <a:gd name="T29" fmla="*/ 340 h 613"/>
                <a:gd name="T30" fmla="*/ 131 w 424"/>
                <a:gd name="T31" fmla="*/ 326 h 613"/>
                <a:gd name="T32" fmla="*/ 141 w 424"/>
                <a:gd name="T33" fmla="*/ 320 h 613"/>
                <a:gd name="T34" fmla="*/ 147 w 424"/>
                <a:gd name="T35" fmla="*/ 317 h 613"/>
                <a:gd name="T36" fmla="*/ 157 w 424"/>
                <a:gd name="T37" fmla="*/ 302 h 613"/>
                <a:gd name="T38" fmla="*/ 149 w 424"/>
                <a:gd name="T39" fmla="*/ 287 h 613"/>
                <a:gd name="T40" fmla="*/ 143 w 424"/>
                <a:gd name="T41" fmla="*/ 271 h 613"/>
                <a:gd name="T42" fmla="*/ 135 w 424"/>
                <a:gd name="T43" fmla="*/ 266 h 613"/>
                <a:gd name="T44" fmla="*/ 120 w 424"/>
                <a:gd name="T45" fmla="*/ 258 h 613"/>
                <a:gd name="T46" fmla="*/ 126 w 424"/>
                <a:gd name="T47" fmla="*/ 246 h 613"/>
                <a:gd name="T48" fmla="*/ 119 w 424"/>
                <a:gd name="T49" fmla="*/ 228 h 613"/>
                <a:gd name="T50" fmla="*/ 129 w 424"/>
                <a:gd name="T51" fmla="*/ 188 h 613"/>
                <a:gd name="T52" fmla="*/ 144 w 424"/>
                <a:gd name="T53" fmla="*/ 152 h 613"/>
                <a:gd name="T54" fmla="*/ 180 w 424"/>
                <a:gd name="T55" fmla="*/ 151 h 613"/>
                <a:gd name="T56" fmla="*/ 221 w 424"/>
                <a:gd name="T57" fmla="*/ 161 h 613"/>
                <a:gd name="T58" fmla="*/ 240 w 424"/>
                <a:gd name="T59" fmla="*/ 148 h 613"/>
                <a:gd name="T60" fmla="*/ 264 w 424"/>
                <a:gd name="T61" fmla="*/ 126 h 613"/>
                <a:gd name="T62" fmla="*/ 280 w 424"/>
                <a:gd name="T63" fmla="*/ 124 h 613"/>
                <a:gd name="T64" fmla="*/ 291 w 424"/>
                <a:gd name="T65" fmla="*/ 142 h 613"/>
                <a:gd name="T66" fmla="*/ 305 w 424"/>
                <a:gd name="T67" fmla="*/ 163 h 613"/>
                <a:gd name="T68" fmla="*/ 304 w 424"/>
                <a:gd name="T69" fmla="*/ 179 h 613"/>
                <a:gd name="T70" fmla="*/ 310 w 424"/>
                <a:gd name="T71" fmla="*/ 191 h 613"/>
                <a:gd name="T72" fmla="*/ 331 w 424"/>
                <a:gd name="T73" fmla="*/ 201 h 613"/>
                <a:gd name="T74" fmla="*/ 343 w 424"/>
                <a:gd name="T75" fmla="*/ 182 h 613"/>
                <a:gd name="T76" fmla="*/ 334 w 424"/>
                <a:gd name="T77" fmla="*/ 158 h 613"/>
                <a:gd name="T78" fmla="*/ 343 w 424"/>
                <a:gd name="T79" fmla="*/ 154 h 613"/>
                <a:gd name="T80" fmla="*/ 344 w 424"/>
                <a:gd name="T81" fmla="*/ 136 h 613"/>
                <a:gd name="T82" fmla="*/ 350 w 424"/>
                <a:gd name="T83" fmla="*/ 117 h 613"/>
                <a:gd name="T84" fmla="*/ 372 w 424"/>
                <a:gd name="T85" fmla="*/ 108 h 613"/>
                <a:gd name="T86" fmla="*/ 388 w 424"/>
                <a:gd name="T87" fmla="*/ 92 h 613"/>
                <a:gd name="T88" fmla="*/ 408 w 424"/>
                <a:gd name="T89" fmla="*/ 68 h 613"/>
                <a:gd name="T90" fmla="*/ 417 w 424"/>
                <a:gd name="T91" fmla="*/ 55 h 613"/>
                <a:gd name="T92" fmla="*/ 417 w 424"/>
                <a:gd name="T93" fmla="*/ 18 h 613"/>
                <a:gd name="T94" fmla="*/ 424 w 424"/>
                <a:gd name="T95" fmla="*/ 0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613">
                  <a:moveTo>
                    <a:pt x="54" y="613"/>
                  </a:moveTo>
                  <a:lnTo>
                    <a:pt x="2" y="551"/>
                  </a:lnTo>
                  <a:lnTo>
                    <a:pt x="2" y="551"/>
                  </a:lnTo>
                  <a:lnTo>
                    <a:pt x="0" y="545"/>
                  </a:lnTo>
                  <a:lnTo>
                    <a:pt x="2" y="540"/>
                  </a:lnTo>
                  <a:lnTo>
                    <a:pt x="3" y="539"/>
                  </a:lnTo>
                  <a:lnTo>
                    <a:pt x="5" y="537"/>
                  </a:lnTo>
                  <a:lnTo>
                    <a:pt x="5" y="537"/>
                  </a:lnTo>
                  <a:lnTo>
                    <a:pt x="11" y="534"/>
                  </a:lnTo>
                  <a:lnTo>
                    <a:pt x="14" y="532"/>
                  </a:lnTo>
                  <a:lnTo>
                    <a:pt x="15" y="527"/>
                  </a:lnTo>
                  <a:lnTo>
                    <a:pt x="17" y="521"/>
                  </a:lnTo>
                  <a:lnTo>
                    <a:pt x="17" y="521"/>
                  </a:lnTo>
                  <a:lnTo>
                    <a:pt x="21" y="505"/>
                  </a:lnTo>
                  <a:lnTo>
                    <a:pt x="24" y="500"/>
                  </a:lnTo>
                  <a:lnTo>
                    <a:pt x="26" y="499"/>
                  </a:lnTo>
                  <a:lnTo>
                    <a:pt x="29" y="499"/>
                  </a:lnTo>
                  <a:lnTo>
                    <a:pt x="29" y="499"/>
                  </a:lnTo>
                  <a:lnTo>
                    <a:pt x="33" y="502"/>
                  </a:lnTo>
                  <a:lnTo>
                    <a:pt x="36" y="506"/>
                  </a:lnTo>
                  <a:lnTo>
                    <a:pt x="39" y="508"/>
                  </a:lnTo>
                  <a:lnTo>
                    <a:pt x="42" y="509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54" y="505"/>
                  </a:lnTo>
                  <a:lnTo>
                    <a:pt x="58" y="500"/>
                  </a:lnTo>
                  <a:lnTo>
                    <a:pt x="63" y="494"/>
                  </a:lnTo>
                  <a:lnTo>
                    <a:pt x="63" y="494"/>
                  </a:lnTo>
                  <a:lnTo>
                    <a:pt x="64" y="489"/>
                  </a:lnTo>
                  <a:lnTo>
                    <a:pt x="64" y="484"/>
                  </a:lnTo>
                  <a:lnTo>
                    <a:pt x="64" y="474"/>
                  </a:lnTo>
                  <a:lnTo>
                    <a:pt x="63" y="453"/>
                  </a:lnTo>
                  <a:lnTo>
                    <a:pt x="63" y="453"/>
                  </a:lnTo>
                  <a:lnTo>
                    <a:pt x="63" y="446"/>
                  </a:lnTo>
                  <a:lnTo>
                    <a:pt x="64" y="438"/>
                  </a:lnTo>
                  <a:lnTo>
                    <a:pt x="67" y="434"/>
                  </a:lnTo>
                  <a:lnTo>
                    <a:pt x="69" y="432"/>
                  </a:lnTo>
                  <a:lnTo>
                    <a:pt x="72" y="431"/>
                  </a:lnTo>
                  <a:lnTo>
                    <a:pt x="72" y="431"/>
                  </a:lnTo>
                  <a:lnTo>
                    <a:pt x="76" y="432"/>
                  </a:lnTo>
                  <a:lnTo>
                    <a:pt x="79" y="435"/>
                  </a:lnTo>
                  <a:lnTo>
                    <a:pt x="80" y="435"/>
                  </a:lnTo>
                  <a:lnTo>
                    <a:pt x="82" y="434"/>
                  </a:lnTo>
                  <a:lnTo>
                    <a:pt x="83" y="425"/>
                  </a:lnTo>
                  <a:lnTo>
                    <a:pt x="83" y="425"/>
                  </a:lnTo>
                  <a:lnTo>
                    <a:pt x="86" y="392"/>
                  </a:lnTo>
                  <a:lnTo>
                    <a:pt x="86" y="366"/>
                  </a:lnTo>
                  <a:lnTo>
                    <a:pt x="86" y="366"/>
                  </a:lnTo>
                  <a:lnTo>
                    <a:pt x="86" y="361"/>
                  </a:lnTo>
                  <a:lnTo>
                    <a:pt x="88" y="357"/>
                  </a:lnTo>
                  <a:lnTo>
                    <a:pt x="95" y="348"/>
                  </a:lnTo>
                  <a:lnTo>
                    <a:pt x="103" y="342"/>
                  </a:lnTo>
                  <a:lnTo>
                    <a:pt x="107" y="340"/>
                  </a:lnTo>
                  <a:lnTo>
                    <a:pt x="109" y="340"/>
                  </a:lnTo>
                  <a:lnTo>
                    <a:pt x="109" y="340"/>
                  </a:lnTo>
                  <a:lnTo>
                    <a:pt x="117" y="345"/>
                  </a:lnTo>
                  <a:lnTo>
                    <a:pt x="122" y="345"/>
                  </a:lnTo>
                  <a:lnTo>
                    <a:pt x="125" y="345"/>
                  </a:lnTo>
                  <a:lnTo>
                    <a:pt x="125" y="345"/>
                  </a:lnTo>
                  <a:lnTo>
                    <a:pt x="128" y="340"/>
                  </a:lnTo>
                  <a:lnTo>
                    <a:pt x="128" y="336"/>
                  </a:lnTo>
                  <a:lnTo>
                    <a:pt x="129" y="330"/>
                  </a:lnTo>
                  <a:lnTo>
                    <a:pt x="131" y="326"/>
                  </a:lnTo>
                  <a:lnTo>
                    <a:pt x="131" y="326"/>
                  </a:lnTo>
                  <a:lnTo>
                    <a:pt x="134" y="324"/>
                  </a:lnTo>
                  <a:lnTo>
                    <a:pt x="137" y="324"/>
                  </a:lnTo>
                  <a:lnTo>
                    <a:pt x="140" y="323"/>
                  </a:lnTo>
                  <a:lnTo>
                    <a:pt x="141" y="320"/>
                  </a:lnTo>
                  <a:lnTo>
                    <a:pt x="141" y="320"/>
                  </a:lnTo>
                  <a:lnTo>
                    <a:pt x="141" y="317"/>
                  </a:lnTo>
                  <a:lnTo>
                    <a:pt x="144" y="317"/>
                  </a:lnTo>
                  <a:lnTo>
                    <a:pt x="147" y="317"/>
                  </a:lnTo>
                  <a:lnTo>
                    <a:pt x="153" y="312"/>
                  </a:lnTo>
                  <a:lnTo>
                    <a:pt x="153" y="312"/>
                  </a:lnTo>
                  <a:lnTo>
                    <a:pt x="156" y="306"/>
                  </a:lnTo>
                  <a:lnTo>
                    <a:pt x="157" y="302"/>
                  </a:lnTo>
                  <a:lnTo>
                    <a:pt x="156" y="296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49" y="287"/>
                  </a:lnTo>
                  <a:lnTo>
                    <a:pt x="146" y="283"/>
                  </a:lnTo>
                  <a:lnTo>
                    <a:pt x="143" y="274"/>
                  </a:lnTo>
                  <a:lnTo>
                    <a:pt x="143" y="274"/>
                  </a:lnTo>
                  <a:lnTo>
                    <a:pt x="143" y="271"/>
                  </a:lnTo>
                  <a:lnTo>
                    <a:pt x="143" y="269"/>
                  </a:lnTo>
                  <a:lnTo>
                    <a:pt x="143" y="268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28" y="263"/>
                  </a:lnTo>
                  <a:lnTo>
                    <a:pt x="122" y="262"/>
                  </a:lnTo>
                  <a:lnTo>
                    <a:pt x="120" y="260"/>
                  </a:lnTo>
                  <a:lnTo>
                    <a:pt x="120" y="258"/>
                  </a:lnTo>
                  <a:lnTo>
                    <a:pt x="120" y="258"/>
                  </a:lnTo>
                  <a:lnTo>
                    <a:pt x="125" y="252"/>
                  </a:lnTo>
                  <a:lnTo>
                    <a:pt x="126" y="249"/>
                  </a:lnTo>
                  <a:lnTo>
                    <a:pt x="126" y="246"/>
                  </a:lnTo>
                  <a:lnTo>
                    <a:pt x="126" y="246"/>
                  </a:lnTo>
                  <a:lnTo>
                    <a:pt x="126" y="241"/>
                  </a:lnTo>
                  <a:lnTo>
                    <a:pt x="123" y="237"/>
                  </a:lnTo>
                  <a:lnTo>
                    <a:pt x="119" y="228"/>
                  </a:lnTo>
                  <a:lnTo>
                    <a:pt x="119" y="228"/>
                  </a:lnTo>
                  <a:lnTo>
                    <a:pt x="119" y="222"/>
                  </a:lnTo>
                  <a:lnTo>
                    <a:pt x="120" y="213"/>
                  </a:lnTo>
                  <a:lnTo>
                    <a:pt x="129" y="188"/>
                  </a:lnTo>
                  <a:lnTo>
                    <a:pt x="138" y="163"/>
                  </a:lnTo>
                  <a:lnTo>
                    <a:pt x="141" y="155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57" y="149"/>
                  </a:lnTo>
                  <a:lnTo>
                    <a:pt x="168" y="149"/>
                  </a:lnTo>
                  <a:lnTo>
                    <a:pt x="180" y="151"/>
                  </a:lnTo>
                  <a:lnTo>
                    <a:pt x="180" y="151"/>
                  </a:lnTo>
                  <a:lnTo>
                    <a:pt x="197" y="157"/>
                  </a:lnTo>
                  <a:lnTo>
                    <a:pt x="211" y="160"/>
                  </a:lnTo>
                  <a:lnTo>
                    <a:pt x="211" y="160"/>
                  </a:lnTo>
                  <a:lnTo>
                    <a:pt x="221" y="161"/>
                  </a:lnTo>
                  <a:lnTo>
                    <a:pt x="226" y="161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40" y="148"/>
                  </a:lnTo>
                  <a:lnTo>
                    <a:pt x="248" y="139"/>
                  </a:lnTo>
                  <a:lnTo>
                    <a:pt x="248" y="139"/>
                  </a:lnTo>
                  <a:lnTo>
                    <a:pt x="255" y="132"/>
                  </a:lnTo>
                  <a:lnTo>
                    <a:pt x="264" y="126"/>
                  </a:lnTo>
                  <a:lnTo>
                    <a:pt x="273" y="123"/>
                  </a:lnTo>
                  <a:lnTo>
                    <a:pt x="277" y="123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85" y="127"/>
                  </a:lnTo>
                  <a:lnTo>
                    <a:pt x="288" y="13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6"/>
                  </a:lnTo>
                  <a:lnTo>
                    <a:pt x="297" y="152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7" y="164"/>
                  </a:lnTo>
                  <a:lnTo>
                    <a:pt x="307" y="167"/>
                  </a:lnTo>
                  <a:lnTo>
                    <a:pt x="305" y="173"/>
                  </a:lnTo>
                  <a:lnTo>
                    <a:pt x="304" y="179"/>
                  </a:lnTo>
                  <a:lnTo>
                    <a:pt x="304" y="182"/>
                  </a:lnTo>
                  <a:lnTo>
                    <a:pt x="305" y="185"/>
                  </a:lnTo>
                  <a:lnTo>
                    <a:pt x="305" y="185"/>
                  </a:lnTo>
                  <a:lnTo>
                    <a:pt x="310" y="191"/>
                  </a:lnTo>
                  <a:lnTo>
                    <a:pt x="317" y="198"/>
                  </a:lnTo>
                  <a:lnTo>
                    <a:pt x="325" y="201"/>
                  </a:lnTo>
                  <a:lnTo>
                    <a:pt x="328" y="201"/>
                  </a:lnTo>
                  <a:lnTo>
                    <a:pt x="331" y="201"/>
                  </a:lnTo>
                  <a:lnTo>
                    <a:pt x="331" y="201"/>
                  </a:lnTo>
                  <a:lnTo>
                    <a:pt x="337" y="195"/>
                  </a:lnTo>
                  <a:lnTo>
                    <a:pt x="340" y="189"/>
                  </a:lnTo>
                  <a:lnTo>
                    <a:pt x="343" y="182"/>
                  </a:lnTo>
                  <a:lnTo>
                    <a:pt x="341" y="173"/>
                  </a:lnTo>
                  <a:lnTo>
                    <a:pt x="341" y="173"/>
                  </a:lnTo>
                  <a:lnTo>
                    <a:pt x="337" y="164"/>
                  </a:lnTo>
                  <a:lnTo>
                    <a:pt x="334" y="158"/>
                  </a:lnTo>
                  <a:lnTo>
                    <a:pt x="329" y="152"/>
                  </a:lnTo>
                  <a:lnTo>
                    <a:pt x="329" y="152"/>
                  </a:lnTo>
                  <a:lnTo>
                    <a:pt x="338" y="155"/>
                  </a:lnTo>
                  <a:lnTo>
                    <a:pt x="343" y="154"/>
                  </a:lnTo>
                  <a:lnTo>
                    <a:pt x="344" y="152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4" y="136"/>
                  </a:lnTo>
                  <a:lnTo>
                    <a:pt x="344" y="130"/>
                  </a:lnTo>
                  <a:lnTo>
                    <a:pt x="347" y="124"/>
                  </a:lnTo>
                  <a:lnTo>
                    <a:pt x="347" y="124"/>
                  </a:lnTo>
                  <a:lnTo>
                    <a:pt x="350" y="117"/>
                  </a:lnTo>
                  <a:lnTo>
                    <a:pt x="357" y="112"/>
                  </a:lnTo>
                  <a:lnTo>
                    <a:pt x="365" y="109"/>
                  </a:lnTo>
                  <a:lnTo>
                    <a:pt x="372" y="108"/>
                  </a:lnTo>
                  <a:lnTo>
                    <a:pt x="372" y="108"/>
                  </a:lnTo>
                  <a:lnTo>
                    <a:pt x="377" y="106"/>
                  </a:lnTo>
                  <a:lnTo>
                    <a:pt x="380" y="105"/>
                  </a:lnTo>
                  <a:lnTo>
                    <a:pt x="384" y="99"/>
                  </a:lnTo>
                  <a:lnTo>
                    <a:pt x="388" y="92"/>
                  </a:lnTo>
                  <a:lnTo>
                    <a:pt x="394" y="81"/>
                  </a:lnTo>
                  <a:lnTo>
                    <a:pt x="394" y="81"/>
                  </a:lnTo>
                  <a:lnTo>
                    <a:pt x="402" y="74"/>
                  </a:lnTo>
                  <a:lnTo>
                    <a:pt x="408" y="68"/>
                  </a:lnTo>
                  <a:lnTo>
                    <a:pt x="414" y="62"/>
                  </a:lnTo>
                  <a:lnTo>
                    <a:pt x="415" y="58"/>
                  </a:lnTo>
                  <a:lnTo>
                    <a:pt x="417" y="55"/>
                  </a:lnTo>
                  <a:lnTo>
                    <a:pt x="417" y="55"/>
                  </a:lnTo>
                  <a:lnTo>
                    <a:pt x="417" y="46"/>
                  </a:lnTo>
                  <a:lnTo>
                    <a:pt x="417" y="35"/>
                  </a:lnTo>
                  <a:lnTo>
                    <a:pt x="415" y="26"/>
                  </a:lnTo>
                  <a:lnTo>
                    <a:pt x="417" y="18"/>
                  </a:lnTo>
                  <a:lnTo>
                    <a:pt x="417" y="18"/>
                  </a:lnTo>
                  <a:lnTo>
                    <a:pt x="418" y="10"/>
                  </a:lnTo>
                  <a:lnTo>
                    <a:pt x="421" y="4"/>
                  </a:lnTo>
                  <a:lnTo>
                    <a:pt x="424" y="0"/>
                  </a:lnTo>
                </a:path>
              </a:pathLst>
            </a:custGeom>
            <a:grpFill/>
            <a:ln w="4763">
              <a:solidFill>
                <a:srgbClr val="D5E1FF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овременная Почта – национальный логистический и почтовый оператор и одна из крупнейших сетей в мир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grpSp>
        <p:nvGrpSpPr>
          <p:cNvPr id="32" name="Рисунок 34">
            <a:extLst>
              <a:ext uri="{FF2B5EF4-FFF2-40B4-BE49-F238E27FC236}">
                <a16:creationId xmlns:a16="http://schemas.microsoft.com/office/drawing/2014/main" id="{AA009101-6F28-8746-9AB5-92477AD83B4D}"/>
              </a:ext>
            </a:extLst>
          </p:cNvPr>
          <p:cNvGrpSpPr/>
          <p:nvPr/>
        </p:nvGrpSpPr>
        <p:grpSpPr bwMode="auto">
          <a:xfrm>
            <a:off x="592641" y="1871257"/>
            <a:ext cx="1174903" cy="999920"/>
            <a:chOff x="3050872" y="1119227"/>
            <a:chExt cx="253891" cy="21607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3" name="Полилиния: фигура 19">
              <a:extLst>
                <a:ext uri="{FF2B5EF4-FFF2-40B4-BE49-F238E27FC236}">
                  <a16:creationId xmlns:a16="http://schemas.microsoft.com/office/drawing/2014/main" id="{CDC2FBC9-59E6-C64E-8E39-F22A862016BD}"/>
                </a:ext>
              </a:extLst>
            </p:cNvPr>
            <p:cNvSpPr/>
            <p:nvPr/>
          </p:nvSpPr>
          <p:spPr bwMode="auto">
            <a:xfrm>
              <a:off x="3142705" y="1146236"/>
              <a:ext cx="8103" cy="24309"/>
            </a:xfrm>
            <a:custGeom>
              <a:avLst/>
              <a:gdLst>
                <a:gd name="connsiteX0" fmla="*/ 4051 w 8102"/>
                <a:gd name="connsiteY0" fmla="*/ 24309 h 24308"/>
                <a:gd name="connsiteX1" fmla="*/ 8103 w 8102"/>
                <a:gd name="connsiteY1" fmla="*/ 20257 h 24308"/>
                <a:gd name="connsiteX2" fmla="*/ 8103 w 8102"/>
                <a:gd name="connsiteY2" fmla="*/ 4051 h 24308"/>
                <a:gd name="connsiteX3" fmla="*/ 4051 w 8102"/>
                <a:gd name="connsiteY3" fmla="*/ 0 h 24308"/>
                <a:gd name="connsiteX4" fmla="*/ 0 w 8102"/>
                <a:gd name="connsiteY4" fmla="*/ 4051 h 24308"/>
                <a:gd name="connsiteX5" fmla="*/ 0 w 8102"/>
                <a:gd name="connsiteY5" fmla="*/ 20257 h 24308"/>
                <a:gd name="connsiteX6" fmla="*/ 4051 w 8102"/>
                <a:gd name="connsiteY6" fmla="*/ 24309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 extrusionOk="0">
                  <a:moveTo>
                    <a:pt x="4051" y="24309"/>
                  </a:move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4" name="Полилиния: фигура 20">
              <a:extLst>
                <a:ext uri="{FF2B5EF4-FFF2-40B4-BE49-F238E27FC236}">
                  <a16:creationId xmlns:a16="http://schemas.microsoft.com/office/drawing/2014/main" id="{BE6342A2-5FDD-674D-A9EF-B407F8BD3BB2}"/>
                </a:ext>
              </a:extLst>
            </p:cNvPr>
            <p:cNvSpPr/>
            <p:nvPr/>
          </p:nvSpPr>
          <p:spPr bwMode="auto">
            <a:xfrm>
              <a:off x="3177817" y="1146236"/>
              <a:ext cx="8103" cy="24309"/>
            </a:xfrm>
            <a:custGeom>
              <a:avLst/>
              <a:gdLst>
                <a:gd name="connsiteX0" fmla="*/ 4051 w 8102"/>
                <a:gd name="connsiteY0" fmla="*/ 24309 h 24308"/>
                <a:gd name="connsiteX1" fmla="*/ 8103 w 8102"/>
                <a:gd name="connsiteY1" fmla="*/ 20257 h 24308"/>
                <a:gd name="connsiteX2" fmla="*/ 8103 w 8102"/>
                <a:gd name="connsiteY2" fmla="*/ 4051 h 24308"/>
                <a:gd name="connsiteX3" fmla="*/ 4051 w 8102"/>
                <a:gd name="connsiteY3" fmla="*/ 0 h 24308"/>
                <a:gd name="connsiteX4" fmla="*/ 0 w 8102"/>
                <a:gd name="connsiteY4" fmla="*/ 4051 h 24308"/>
                <a:gd name="connsiteX5" fmla="*/ 0 w 8102"/>
                <a:gd name="connsiteY5" fmla="*/ 20257 h 24308"/>
                <a:gd name="connsiteX6" fmla="*/ 4051 w 8102"/>
                <a:gd name="connsiteY6" fmla="*/ 24309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 extrusionOk="0">
                  <a:moveTo>
                    <a:pt x="4051" y="24309"/>
                  </a:move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5" name="Полилиния: фигура 21">
              <a:extLst>
                <a:ext uri="{FF2B5EF4-FFF2-40B4-BE49-F238E27FC236}">
                  <a16:creationId xmlns:a16="http://schemas.microsoft.com/office/drawing/2014/main" id="{A979623C-DB1A-CD48-BF94-6A086512B37F}"/>
                </a:ext>
              </a:extLst>
            </p:cNvPr>
            <p:cNvSpPr/>
            <p:nvPr/>
          </p:nvSpPr>
          <p:spPr bwMode="auto">
            <a:xfrm>
              <a:off x="3142705" y="1211060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 extrusionOk="0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6" name="Полилиния: фигура 22">
              <a:extLst>
                <a:ext uri="{FF2B5EF4-FFF2-40B4-BE49-F238E27FC236}">
                  <a16:creationId xmlns:a16="http://schemas.microsoft.com/office/drawing/2014/main" id="{3DBB65AD-3A60-BA41-8B17-978E13894059}"/>
                </a:ext>
              </a:extLst>
            </p:cNvPr>
            <p:cNvSpPr/>
            <p:nvPr/>
          </p:nvSpPr>
          <p:spPr bwMode="auto">
            <a:xfrm>
              <a:off x="3177817" y="1211060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 extrusionOk="0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65B9EDEA-AFE6-EA46-80A5-3842FBA64A7C}"/>
                </a:ext>
              </a:extLst>
            </p:cNvPr>
            <p:cNvSpPr/>
            <p:nvPr/>
          </p:nvSpPr>
          <p:spPr bwMode="auto">
            <a:xfrm>
              <a:off x="3142705" y="1275883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 extrusionOk="0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8" name="Полилиния: фигура 37">
              <a:extLst>
                <a:ext uri="{FF2B5EF4-FFF2-40B4-BE49-F238E27FC236}">
                  <a16:creationId xmlns:a16="http://schemas.microsoft.com/office/drawing/2014/main" id="{221AA1FC-BE3B-E64D-893A-D6AA42C60E5A}"/>
                </a:ext>
              </a:extLst>
            </p:cNvPr>
            <p:cNvSpPr/>
            <p:nvPr/>
          </p:nvSpPr>
          <p:spPr bwMode="auto">
            <a:xfrm>
              <a:off x="3177817" y="1275883"/>
              <a:ext cx="8103" cy="24309"/>
            </a:xfrm>
            <a:custGeom>
              <a:avLst/>
              <a:gdLst>
                <a:gd name="connsiteX0" fmla="*/ 0 w 8102"/>
                <a:gd name="connsiteY0" fmla="*/ 20257 h 24308"/>
                <a:gd name="connsiteX1" fmla="*/ 4051 w 8102"/>
                <a:gd name="connsiteY1" fmla="*/ 24309 h 24308"/>
                <a:gd name="connsiteX2" fmla="*/ 8103 w 8102"/>
                <a:gd name="connsiteY2" fmla="*/ 20257 h 24308"/>
                <a:gd name="connsiteX3" fmla="*/ 8103 w 8102"/>
                <a:gd name="connsiteY3" fmla="*/ 4051 h 24308"/>
                <a:gd name="connsiteX4" fmla="*/ 4051 w 8102"/>
                <a:gd name="connsiteY4" fmla="*/ 0 h 24308"/>
                <a:gd name="connsiteX5" fmla="*/ 0 w 8102"/>
                <a:gd name="connsiteY5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02" h="24308" extrusionOk="0">
                  <a:moveTo>
                    <a:pt x="0" y="20257"/>
                  </a:move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39" name="Полилиния: фигура 38">
              <a:extLst>
                <a:ext uri="{FF2B5EF4-FFF2-40B4-BE49-F238E27FC236}">
                  <a16:creationId xmlns:a16="http://schemas.microsoft.com/office/drawing/2014/main" id="{8F787DD2-668A-3E4D-85A0-D31E76643392}"/>
                </a:ext>
              </a:extLst>
            </p:cNvPr>
            <p:cNvSpPr/>
            <p:nvPr/>
          </p:nvSpPr>
          <p:spPr bwMode="auto">
            <a:xfrm>
              <a:off x="3077882" y="1213761"/>
              <a:ext cx="8103" cy="24309"/>
            </a:xfrm>
            <a:custGeom>
              <a:avLst/>
              <a:gdLst>
                <a:gd name="connsiteX0" fmla="*/ 4051 w 8102"/>
                <a:gd name="connsiteY0" fmla="*/ 0 h 24308"/>
                <a:gd name="connsiteX1" fmla="*/ 0 w 8102"/>
                <a:gd name="connsiteY1" fmla="*/ 4051 h 24308"/>
                <a:gd name="connsiteX2" fmla="*/ 0 w 8102"/>
                <a:gd name="connsiteY2" fmla="*/ 20257 h 24308"/>
                <a:gd name="connsiteX3" fmla="*/ 4051 w 8102"/>
                <a:gd name="connsiteY3" fmla="*/ 24309 h 24308"/>
                <a:gd name="connsiteX4" fmla="*/ 8103 w 8102"/>
                <a:gd name="connsiteY4" fmla="*/ 20257 h 24308"/>
                <a:gd name="connsiteX5" fmla="*/ 8103 w 8102"/>
                <a:gd name="connsiteY5" fmla="*/ 4051 h 24308"/>
                <a:gd name="connsiteX6" fmla="*/ 4051 w 8102"/>
                <a:gd name="connsiteY6" fmla="*/ 0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 extrusionOk="0">
                  <a:moveTo>
                    <a:pt x="4051" y="0"/>
                  </a:move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AA5DDD5A-79C9-D842-A239-B829B8B1FF74}"/>
                </a:ext>
              </a:extLst>
            </p:cNvPr>
            <p:cNvSpPr/>
            <p:nvPr/>
          </p:nvSpPr>
          <p:spPr bwMode="auto">
            <a:xfrm>
              <a:off x="3234538" y="1235368"/>
              <a:ext cx="8103" cy="24309"/>
            </a:xfrm>
            <a:custGeom>
              <a:avLst/>
              <a:gdLst>
                <a:gd name="connsiteX0" fmla="*/ 0 w 8102"/>
                <a:gd name="connsiteY0" fmla="*/ 4051 h 24308"/>
                <a:gd name="connsiteX1" fmla="*/ 0 w 8102"/>
                <a:gd name="connsiteY1" fmla="*/ 20257 h 24308"/>
                <a:gd name="connsiteX2" fmla="*/ 4051 w 8102"/>
                <a:gd name="connsiteY2" fmla="*/ 24309 h 24308"/>
                <a:gd name="connsiteX3" fmla="*/ 8103 w 8102"/>
                <a:gd name="connsiteY3" fmla="*/ 20257 h 24308"/>
                <a:gd name="connsiteX4" fmla="*/ 8103 w 8102"/>
                <a:gd name="connsiteY4" fmla="*/ 4051 h 24308"/>
                <a:gd name="connsiteX5" fmla="*/ 4051 w 8102"/>
                <a:gd name="connsiteY5" fmla="*/ 0 h 24308"/>
                <a:gd name="connsiteX6" fmla="*/ 0 w 8102"/>
                <a:gd name="connsiteY6" fmla="*/ 4051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 extrusionOk="0">
                  <a:moveTo>
                    <a:pt x="0" y="4051"/>
                  </a:move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ubicBezTo>
                    <a:pt x="1814" y="0"/>
                    <a:pt x="0" y="1814"/>
                    <a:pt x="0" y="4051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41" name="Полилиния: фигура 44">
              <a:extLst>
                <a:ext uri="{FF2B5EF4-FFF2-40B4-BE49-F238E27FC236}">
                  <a16:creationId xmlns:a16="http://schemas.microsoft.com/office/drawing/2014/main" id="{BBA5F57A-2E64-374D-A8E4-AD61165AC7DD}"/>
                </a:ext>
              </a:extLst>
            </p:cNvPr>
            <p:cNvSpPr/>
            <p:nvPr/>
          </p:nvSpPr>
          <p:spPr bwMode="auto">
            <a:xfrm>
              <a:off x="3269650" y="1235368"/>
              <a:ext cx="8103" cy="24309"/>
            </a:xfrm>
            <a:custGeom>
              <a:avLst/>
              <a:gdLst>
                <a:gd name="connsiteX0" fmla="*/ 4051 w 8102"/>
                <a:gd name="connsiteY0" fmla="*/ 0 h 24308"/>
                <a:gd name="connsiteX1" fmla="*/ 0 w 8102"/>
                <a:gd name="connsiteY1" fmla="*/ 4051 h 24308"/>
                <a:gd name="connsiteX2" fmla="*/ 0 w 8102"/>
                <a:gd name="connsiteY2" fmla="*/ 20257 h 24308"/>
                <a:gd name="connsiteX3" fmla="*/ 4051 w 8102"/>
                <a:gd name="connsiteY3" fmla="*/ 24309 h 24308"/>
                <a:gd name="connsiteX4" fmla="*/ 8103 w 8102"/>
                <a:gd name="connsiteY4" fmla="*/ 20257 h 24308"/>
                <a:gd name="connsiteX5" fmla="*/ 8103 w 8102"/>
                <a:gd name="connsiteY5" fmla="*/ 4051 h 24308"/>
                <a:gd name="connsiteX6" fmla="*/ 4051 w 8102"/>
                <a:gd name="connsiteY6" fmla="*/ 0 h 24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02" h="24308" extrusionOk="0">
                  <a:moveTo>
                    <a:pt x="4051" y="0"/>
                  </a:moveTo>
                  <a:cubicBezTo>
                    <a:pt x="1814" y="0"/>
                    <a:pt x="0" y="1814"/>
                    <a:pt x="0" y="4051"/>
                  </a:cubicBezTo>
                  <a:lnTo>
                    <a:pt x="0" y="20257"/>
                  </a:lnTo>
                  <a:cubicBezTo>
                    <a:pt x="0" y="22495"/>
                    <a:pt x="1814" y="24309"/>
                    <a:pt x="4051" y="24309"/>
                  </a:cubicBezTo>
                  <a:cubicBezTo>
                    <a:pt x="6289" y="24309"/>
                    <a:pt x="8103" y="22495"/>
                    <a:pt x="8103" y="20257"/>
                  </a:cubicBezTo>
                  <a:lnTo>
                    <a:pt x="8103" y="4051"/>
                  </a:lnTo>
                  <a:cubicBezTo>
                    <a:pt x="8103" y="1814"/>
                    <a:pt x="6289" y="0"/>
                    <a:pt x="4051" y="0"/>
                  </a:cubicBezTo>
                  <a:close/>
                </a:path>
              </a:pathLst>
            </a:custGeom>
            <a:grpFill/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42" name="Полилиния: фигура 45">
              <a:extLst>
                <a:ext uri="{FF2B5EF4-FFF2-40B4-BE49-F238E27FC236}">
                  <a16:creationId xmlns:a16="http://schemas.microsoft.com/office/drawing/2014/main" id="{262A8050-1F61-F64D-9065-4633DBFEFB1B}"/>
                </a:ext>
              </a:extLst>
            </p:cNvPr>
            <p:cNvSpPr/>
            <p:nvPr/>
          </p:nvSpPr>
          <p:spPr bwMode="auto">
            <a:xfrm>
              <a:off x="3050872" y="1119227"/>
              <a:ext cx="253891" cy="216078"/>
            </a:xfrm>
            <a:custGeom>
              <a:avLst/>
              <a:gdLst>
                <a:gd name="connsiteX0" fmla="*/ 252784 w 253891"/>
                <a:gd name="connsiteY0" fmla="*/ 85837 h 216077"/>
                <a:gd name="connsiteX1" fmla="*/ 207462 w 253891"/>
                <a:gd name="connsiteY1" fmla="*/ 37625 h 216077"/>
                <a:gd name="connsiteX2" fmla="*/ 204544 w 253891"/>
                <a:gd name="connsiteY2" fmla="*/ 36355 h 216077"/>
                <a:gd name="connsiteX3" fmla="*/ 201600 w 253891"/>
                <a:gd name="connsiteY3" fmla="*/ 37570 h 216077"/>
                <a:gd name="connsiteX4" fmla="*/ 162058 w 253891"/>
                <a:gd name="connsiteY4" fmla="*/ 78328 h 216077"/>
                <a:gd name="connsiteX5" fmla="*/ 162058 w 253891"/>
                <a:gd name="connsiteY5" fmla="*/ 4051 h 216077"/>
                <a:gd name="connsiteX6" fmla="*/ 158007 w 253891"/>
                <a:gd name="connsiteY6" fmla="*/ 0 h 216077"/>
                <a:gd name="connsiteX7" fmla="*/ 66174 w 253891"/>
                <a:gd name="connsiteY7" fmla="*/ 0 h 216077"/>
                <a:gd name="connsiteX8" fmla="*/ 62122 w 253891"/>
                <a:gd name="connsiteY8" fmla="*/ 4051 h 216077"/>
                <a:gd name="connsiteX9" fmla="*/ 62122 w 253891"/>
                <a:gd name="connsiteY9" fmla="*/ 59421 h 216077"/>
                <a:gd name="connsiteX10" fmla="*/ 4051 w 253891"/>
                <a:gd name="connsiteY10" fmla="*/ 59421 h 216077"/>
                <a:gd name="connsiteX11" fmla="*/ 0 w 253891"/>
                <a:gd name="connsiteY11" fmla="*/ 63473 h 216077"/>
                <a:gd name="connsiteX12" fmla="*/ 0 w 253891"/>
                <a:gd name="connsiteY12" fmla="*/ 152605 h 216077"/>
                <a:gd name="connsiteX13" fmla="*/ 4051 w 253891"/>
                <a:gd name="connsiteY13" fmla="*/ 156656 h 216077"/>
                <a:gd name="connsiteX14" fmla="*/ 8103 w 253891"/>
                <a:gd name="connsiteY14" fmla="*/ 152605 h 216077"/>
                <a:gd name="connsiteX15" fmla="*/ 8103 w 253891"/>
                <a:gd name="connsiteY15" fmla="*/ 67524 h 216077"/>
                <a:gd name="connsiteX16" fmla="*/ 62122 w 253891"/>
                <a:gd name="connsiteY16" fmla="*/ 67524 h 216077"/>
                <a:gd name="connsiteX17" fmla="*/ 62122 w 253891"/>
                <a:gd name="connsiteY17" fmla="*/ 122894 h 216077"/>
                <a:gd name="connsiteX18" fmla="*/ 66174 w 253891"/>
                <a:gd name="connsiteY18" fmla="*/ 126946 h 216077"/>
                <a:gd name="connsiteX19" fmla="*/ 70225 w 253891"/>
                <a:gd name="connsiteY19" fmla="*/ 122894 h 216077"/>
                <a:gd name="connsiteX20" fmla="*/ 70225 w 253891"/>
                <a:gd name="connsiteY20" fmla="*/ 8103 h 216077"/>
                <a:gd name="connsiteX21" fmla="*/ 153955 w 253891"/>
                <a:gd name="connsiteY21" fmla="*/ 8103 h 216077"/>
                <a:gd name="connsiteX22" fmla="*/ 153955 w 253891"/>
                <a:gd name="connsiteY22" fmla="*/ 207975 h 216077"/>
                <a:gd name="connsiteX23" fmla="*/ 44566 w 253891"/>
                <a:gd name="connsiteY23" fmla="*/ 207975 h 216077"/>
                <a:gd name="connsiteX24" fmla="*/ 40515 w 253891"/>
                <a:gd name="connsiteY24" fmla="*/ 212026 h 216077"/>
                <a:gd name="connsiteX25" fmla="*/ 44566 w 253891"/>
                <a:gd name="connsiteY25" fmla="*/ 216078 h 216077"/>
                <a:gd name="connsiteX26" fmla="*/ 206624 w 253891"/>
                <a:gd name="connsiteY26" fmla="*/ 216078 h 216077"/>
                <a:gd name="connsiteX27" fmla="*/ 210676 w 253891"/>
                <a:gd name="connsiteY27" fmla="*/ 212026 h 216077"/>
                <a:gd name="connsiteX28" fmla="*/ 206624 w 253891"/>
                <a:gd name="connsiteY28" fmla="*/ 207975 h 216077"/>
                <a:gd name="connsiteX29" fmla="*/ 162058 w 253891"/>
                <a:gd name="connsiteY29" fmla="*/ 207975 h 216077"/>
                <a:gd name="connsiteX30" fmla="*/ 162058 w 253891"/>
                <a:gd name="connsiteY30" fmla="*/ 89807 h 216077"/>
                <a:gd name="connsiteX31" fmla="*/ 204463 w 253891"/>
                <a:gd name="connsiteY31" fmla="*/ 46268 h 216077"/>
                <a:gd name="connsiteX32" fmla="*/ 245788 w 253891"/>
                <a:gd name="connsiteY32" fmla="*/ 90212 h 216077"/>
                <a:gd name="connsiteX33" fmla="*/ 245788 w 253891"/>
                <a:gd name="connsiteY33" fmla="*/ 147203 h 216077"/>
                <a:gd name="connsiteX34" fmla="*/ 249840 w 253891"/>
                <a:gd name="connsiteY34" fmla="*/ 151254 h 216077"/>
                <a:gd name="connsiteX35" fmla="*/ 253891 w 253891"/>
                <a:gd name="connsiteY35" fmla="*/ 147203 h 216077"/>
                <a:gd name="connsiteX36" fmla="*/ 253891 w 253891"/>
                <a:gd name="connsiteY36" fmla="*/ 88592 h 216077"/>
                <a:gd name="connsiteX37" fmla="*/ 252784 w 253891"/>
                <a:gd name="connsiteY37" fmla="*/ 85837 h 216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53891" h="216077" extrusionOk="0">
                  <a:moveTo>
                    <a:pt x="252784" y="85837"/>
                  </a:moveTo>
                  <a:lnTo>
                    <a:pt x="207462" y="37625"/>
                  </a:lnTo>
                  <a:cubicBezTo>
                    <a:pt x="206703" y="36821"/>
                    <a:pt x="205649" y="36363"/>
                    <a:pt x="204544" y="36355"/>
                  </a:cubicBezTo>
                  <a:cubicBezTo>
                    <a:pt x="203449" y="36394"/>
                    <a:pt x="202404" y="36825"/>
                    <a:pt x="201600" y="37570"/>
                  </a:cubicBezTo>
                  <a:lnTo>
                    <a:pt x="162058" y="78328"/>
                  </a:lnTo>
                  <a:lnTo>
                    <a:pt x="162058" y="4051"/>
                  </a:lnTo>
                  <a:cubicBezTo>
                    <a:pt x="162058" y="1814"/>
                    <a:pt x="160244" y="0"/>
                    <a:pt x="158007" y="0"/>
                  </a:cubicBezTo>
                  <a:lnTo>
                    <a:pt x="66174" y="0"/>
                  </a:lnTo>
                  <a:cubicBezTo>
                    <a:pt x="63936" y="0"/>
                    <a:pt x="62122" y="1814"/>
                    <a:pt x="62122" y="4051"/>
                  </a:cubicBezTo>
                  <a:lnTo>
                    <a:pt x="62122" y="59421"/>
                  </a:lnTo>
                  <a:lnTo>
                    <a:pt x="4051" y="59421"/>
                  </a:lnTo>
                  <a:cubicBezTo>
                    <a:pt x="1814" y="59421"/>
                    <a:pt x="0" y="61235"/>
                    <a:pt x="0" y="63473"/>
                  </a:cubicBezTo>
                  <a:lnTo>
                    <a:pt x="0" y="152605"/>
                  </a:lnTo>
                  <a:cubicBezTo>
                    <a:pt x="0" y="154842"/>
                    <a:pt x="1814" y="156656"/>
                    <a:pt x="4051" y="156656"/>
                  </a:cubicBezTo>
                  <a:cubicBezTo>
                    <a:pt x="6289" y="156656"/>
                    <a:pt x="8103" y="154842"/>
                    <a:pt x="8103" y="152605"/>
                  </a:cubicBezTo>
                  <a:lnTo>
                    <a:pt x="8103" y="67524"/>
                  </a:lnTo>
                  <a:lnTo>
                    <a:pt x="62122" y="67524"/>
                  </a:lnTo>
                  <a:lnTo>
                    <a:pt x="62122" y="122894"/>
                  </a:lnTo>
                  <a:cubicBezTo>
                    <a:pt x="62122" y="125132"/>
                    <a:pt x="63936" y="126946"/>
                    <a:pt x="66174" y="126946"/>
                  </a:cubicBezTo>
                  <a:cubicBezTo>
                    <a:pt x="68411" y="126946"/>
                    <a:pt x="70225" y="125132"/>
                    <a:pt x="70225" y="122894"/>
                  </a:cubicBezTo>
                  <a:lnTo>
                    <a:pt x="70225" y="8103"/>
                  </a:lnTo>
                  <a:lnTo>
                    <a:pt x="153955" y="8103"/>
                  </a:lnTo>
                  <a:lnTo>
                    <a:pt x="153955" y="207975"/>
                  </a:lnTo>
                  <a:lnTo>
                    <a:pt x="44566" y="207975"/>
                  </a:lnTo>
                  <a:cubicBezTo>
                    <a:pt x="42329" y="207975"/>
                    <a:pt x="40515" y="209789"/>
                    <a:pt x="40515" y="212026"/>
                  </a:cubicBezTo>
                  <a:cubicBezTo>
                    <a:pt x="40515" y="214264"/>
                    <a:pt x="42329" y="216078"/>
                    <a:pt x="44566" y="216078"/>
                  </a:cubicBezTo>
                  <a:lnTo>
                    <a:pt x="206624" y="216078"/>
                  </a:lnTo>
                  <a:cubicBezTo>
                    <a:pt x="208862" y="216078"/>
                    <a:pt x="210676" y="214264"/>
                    <a:pt x="210676" y="212026"/>
                  </a:cubicBezTo>
                  <a:cubicBezTo>
                    <a:pt x="210676" y="209789"/>
                    <a:pt x="208862" y="207975"/>
                    <a:pt x="206624" y="207975"/>
                  </a:cubicBezTo>
                  <a:lnTo>
                    <a:pt x="162058" y="207975"/>
                  </a:lnTo>
                  <a:lnTo>
                    <a:pt x="162058" y="89807"/>
                  </a:lnTo>
                  <a:lnTo>
                    <a:pt x="204463" y="46268"/>
                  </a:lnTo>
                  <a:lnTo>
                    <a:pt x="245788" y="90212"/>
                  </a:lnTo>
                  <a:lnTo>
                    <a:pt x="245788" y="147203"/>
                  </a:lnTo>
                  <a:cubicBezTo>
                    <a:pt x="245788" y="149440"/>
                    <a:pt x="247602" y="151254"/>
                    <a:pt x="249840" y="151254"/>
                  </a:cubicBezTo>
                  <a:cubicBezTo>
                    <a:pt x="252077" y="151254"/>
                    <a:pt x="253891" y="149440"/>
                    <a:pt x="253891" y="147203"/>
                  </a:cubicBezTo>
                  <a:lnTo>
                    <a:pt x="253891" y="88592"/>
                  </a:lnTo>
                  <a:cubicBezTo>
                    <a:pt x="253884" y="87567"/>
                    <a:pt x="253488" y="86582"/>
                    <a:pt x="252784" y="85837"/>
                  </a:cubicBezTo>
                  <a:close/>
                </a:path>
              </a:pathLst>
            </a:custGeom>
            <a:solidFill>
              <a:schemeClr val="accent1"/>
            </a:solidFill>
            <a:ln w="2641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</p:grpSp>
      <p:grpSp>
        <p:nvGrpSpPr>
          <p:cNvPr id="43" name="Группа 12">
            <a:extLst>
              <a:ext uri="{FF2B5EF4-FFF2-40B4-BE49-F238E27FC236}">
                <a16:creationId xmlns:a16="http://schemas.microsoft.com/office/drawing/2014/main" id="{A0676BD2-2AB3-054C-8FE5-701CE5858F2B}"/>
              </a:ext>
            </a:extLst>
          </p:cNvPr>
          <p:cNvGrpSpPr/>
          <p:nvPr/>
        </p:nvGrpSpPr>
        <p:grpSpPr bwMode="auto">
          <a:xfrm>
            <a:off x="1988692" y="1929085"/>
            <a:ext cx="1724185" cy="953633"/>
            <a:chOff x="942801" y="1270983"/>
            <a:chExt cx="2576400" cy="1424985"/>
          </a:xfrm>
        </p:grpSpPr>
        <p:sp>
          <p:nvSpPr>
            <p:cNvPr id="44" name="Заголовок 1">
              <a:extLst>
                <a:ext uri="{FF2B5EF4-FFF2-40B4-BE49-F238E27FC236}">
                  <a16:creationId xmlns:a16="http://schemas.microsoft.com/office/drawing/2014/main" id="{8B4999A4-9AF3-8E49-9C21-8CE9686B7797}"/>
                </a:ext>
              </a:extLst>
            </p:cNvPr>
            <p:cNvSpPr txBox="1"/>
            <p:nvPr/>
          </p:nvSpPr>
          <p:spPr bwMode="auto">
            <a:xfrm>
              <a:off x="942802" y="1270983"/>
              <a:ext cx="1755624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2409" b="1" dirty="0">
                  <a:solidFill>
                    <a:schemeClr val="accent1"/>
                  </a:solidFill>
                </a:rPr>
                <a:t>41 тыс.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45" name="Заголовок 1">
              <a:extLst>
                <a:ext uri="{FF2B5EF4-FFF2-40B4-BE49-F238E27FC236}">
                  <a16:creationId xmlns:a16="http://schemas.microsoft.com/office/drawing/2014/main" id="{57798E91-BB94-0641-8233-D3410C7BA1DB}"/>
                </a:ext>
              </a:extLst>
            </p:cNvPr>
            <p:cNvSpPr txBox="1"/>
            <p:nvPr/>
          </p:nvSpPr>
          <p:spPr bwMode="auto">
            <a:xfrm>
              <a:off x="942801" y="1864696"/>
              <a:ext cx="2576400" cy="831272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работающих городских и сельских отделений связи</a:t>
              </a:r>
              <a:endParaRPr sz="1205" dirty="0"/>
            </a:p>
          </p:txBody>
        </p:sp>
      </p:grpSp>
      <p:grpSp>
        <p:nvGrpSpPr>
          <p:cNvPr id="46" name="Рисунок 8">
            <a:extLst>
              <a:ext uri="{FF2B5EF4-FFF2-40B4-BE49-F238E27FC236}">
                <a16:creationId xmlns:a16="http://schemas.microsoft.com/office/drawing/2014/main" id="{5BF2D712-9BE0-9C45-952B-E47E7AE95009}"/>
              </a:ext>
            </a:extLst>
          </p:cNvPr>
          <p:cNvGrpSpPr/>
          <p:nvPr/>
        </p:nvGrpSpPr>
        <p:grpSpPr bwMode="auto">
          <a:xfrm>
            <a:off x="4269752" y="1672450"/>
            <a:ext cx="1397532" cy="1397532"/>
            <a:chOff x="2752684" y="2571946"/>
            <a:chExt cx="420009" cy="42000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7" name="Полилиния: фигура 57">
              <a:extLst>
                <a:ext uri="{FF2B5EF4-FFF2-40B4-BE49-F238E27FC236}">
                  <a16:creationId xmlns:a16="http://schemas.microsoft.com/office/drawing/2014/main" id="{1C9E93BF-0B0A-A245-ABEB-18DD914DBC98}"/>
                </a:ext>
              </a:extLst>
            </p:cNvPr>
            <p:cNvSpPr/>
            <p:nvPr/>
          </p:nvSpPr>
          <p:spPr bwMode="auto">
            <a:xfrm>
              <a:off x="2781794" y="2675909"/>
              <a:ext cx="365948" cy="232876"/>
            </a:xfrm>
            <a:custGeom>
              <a:avLst/>
              <a:gdLst>
                <a:gd name="connsiteX0" fmla="*/ 359711 w 365948"/>
                <a:gd name="connsiteY0" fmla="*/ 116438 h 232876"/>
                <a:gd name="connsiteX1" fmla="*/ 328522 w 365948"/>
                <a:gd name="connsiteY1" fmla="*/ 116438 h 232876"/>
                <a:gd name="connsiteX2" fmla="*/ 328522 w 365948"/>
                <a:gd name="connsiteY2" fmla="*/ 64457 h 232876"/>
                <a:gd name="connsiteX3" fmla="*/ 322284 w 365948"/>
                <a:gd name="connsiteY3" fmla="*/ 58219 h 232876"/>
                <a:gd name="connsiteX4" fmla="*/ 224559 w 365948"/>
                <a:gd name="connsiteY4" fmla="*/ 58219 h 232876"/>
                <a:gd name="connsiteX5" fmla="*/ 224559 w 365948"/>
                <a:gd name="connsiteY5" fmla="*/ 6238 h 232876"/>
                <a:gd name="connsiteX6" fmla="*/ 218322 w 365948"/>
                <a:gd name="connsiteY6" fmla="*/ 0 h 232876"/>
                <a:gd name="connsiteX7" fmla="*/ 6238 w 365948"/>
                <a:gd name="connsiteY7" fmla="*/ 0 h 232876"/>
                <a:gd name="connsiteX8" fmla="*/ 0 w 365948"/>
                <a:gd name="connsiteY8" fmla="*/ 6238 h 232876"/>
                <a:gd name="connsiteX9" fmla="*/ 0 w 365948"/>
                <a:gd name="connsiteY9" fmla="*/ 201687 h 232876"/>
                <a:gd name="connsiteX10" fmla="*/ 6238 w 365948"/>
                <a:gd name="connsiteY10" fmla="*/ 207925 h 232876"/>
                <a:gd name="connsiteX11" fmla="*/ 53728 w 365948"/>
                <a:gd name="connsiteY11" fmla="*/ 207925 h 232876"/>
                <a:gd name="connsiteX12" fmla="*/ 88799 w 365948"/>
                <a:gd name="connsiteY12" fmla="*/ 236105 h 232876"/>
                <a:gd name="connsiteX13" fmla="*/ 116979 w 365948"/>
                <a:gd name="connsiteY13" fmla="*/ 207925 h 232876"/>
                <a:gd name="connsiteX14" fmla="*/ 256497 w 365948"/>
                <a:gd name="connsiteY14" fmla="*/ 207925 h 232876"/>
                <a:gd name="connsiteX15" fmla="*/ 291611 w 365948"/>
                <a:gd name="connsiteY15" fmla="*/ 236144 h 232876"/>
                <a:gd name="connsiteX16" fmla="*/ 319831 w 365948"/>
                <a:gd name="connsiteY16" fmla="*/ 207925 h 232876"/>
                <a:gd name="connsiteX17" fmla="*/ 359711 w 365948"/>
                <a:gd name="connsiteY17" fmla="*/ 207925 h 232876"/>
                <a:gd name="connsiteX18" fmla="*/ 365948 w 365948"/>
                <a:gd name="connsiteY18" fmla="*/ 201687 h 232876"/>
                <a:gd name="connsiteX19" fmla="*/ 365948 w 365948"/>
                <a:gd name="connsiteY19" fmla="*/ 122676 h 232876"/>
                <a:gd name="connsiteX20" fmla="*/ 359711 w 365948"/>
                <a:gd name="connsiteY20" fmla="*/ 116438 h 232876"/>
                <a:gd name="connsiteX21" fmla="*/ 85249 w 365948"/>
                <a:gd name="connsiteY21" fmla="*/ 223894 h 232876"/>
                <a:gd name="connsiteX22" fmla="*/ 65788 w 365948"/>
                <a:gd name="connsiteY22" fmla="*/ 204598 h 232876"/>
                <a:gd name="connsiteX23" fmla="*/ 85083 w 365948"/>
                <a:gd name="connsiteY23" fmla="*/ 185137 h 232876"/>
                <a:gd name="connsiteX24" fmla="*/ 104545 w 365948"/>
                <a:gd name="connsiteY24" fmla="*/ 204432 h 232876"/>
                <a:gd name="connsiteX25" fmla="*/ 104545 w 365948"/>
                <a:gd name="connsiteY25" fmla="*/ 204557 h 232876"/>
                <a:gd name="connsiteX26" fmla="*/ 85416 w 365948"/>
                <a:gd name="connsiteY26" fmla="*/ 223894 h 232876"/>
                <a:gd name="connsiteX27" fmla="*/ 85249 w 365948"/>
                <a:gd name="connsiteY27" fmla="*/ 172703 h 232876"/>
                <a:gd name="connsiteX28" fmla="*/ 54892 w 365948"/>
                <a:gd name="connsiteY28" fmla="*/ 195450 h 232876"/>
                <a:gd name="connsiteX29" fmla="*/ 12476 w 365948"/>
                <a:gd name="connsiteY29" fmla="*/ 195450 h 232876"/>
                <a:gd name="connsiteX30" fmla="*/ 12476 w 365948"/>
                <a:gd name="connsiteY30" fmla="*/ 12476 h 232876"/>
                <a:gd name="connsiteX31" fmla="*/ 212084 w 365948"/>
                <a:gd name="connsiteY31" fmla="*/ 12476 h 232876"/>
                <a:gd name="connsiteX32" fmla="*/ 212084 w 365948"/>
                <a:gd name="connsiteY32" fmla="*/ 195450 h 232876"/>
                <a:gd name="connsiteX33" fmla="*/ 115856 w 365948"/>
                <a:gd name="connsiteY33" fmla="*/ 195450 h 232876"/>
                <a:gd name="connsiteX34" fmla="*/ 85416 w 365948"/>
                <a:gd name="connsiteY34" fmla="*/ 172703 h 232876"/>
                <a:gd name="connsiteX35" fmla="*/ 288143 w 365948"/>
                <a:gd name="connsiteY35" fmla="*/ 223894 h 232876"/>
                <a:gd name="connsiteX36" fmla="*/ 268764 w 365948"/>
                <a:gd name="connsiteY36" fmla="*/ 204515 h 232876"/>
                <a:gd name="connsiteX37" fmla="*/ 288143 w 365948"/>
                <a:gd name="connsiteY37" fmla="*/ 185137 h 232876"/>
                <a:gd name="connsiteX38" fmla="*/ 307521 w 365948"/>
                <a:gd name="connsiteY38" fmla="*/ 204515 h 232876"/>
                <a:gd name="connsiteX39" fmla="*/ 307521 w 365948"/>
                <a:gd name="connsiteY39" fmla="*/ 204557 h 232876"/>
                <a:gd name="connsiteX40" fmla="*/ 288143 w 365948"/>
                <a:gd name="connsiteY40" fmla="*/ 223894 h 232876"/>
                <a:gd name="connsiteX41" fmla="*/ 353473 w 365948"/>
                <a:gd name="connsiteY41" fmla="*/ 195450 h 232876"/>
                <a:gd name="connsiteX42" fmla="*/ 318666 w 365948"/>
                <a:gd name="connsiteY42" fmla="*/ 195450 h 232876"/>
                <a:gd name="connsiteX43" fmla="*/ 278936 w 365948"/>
                <a:gd name="connsiteY43" fmla="*/ 174341 h 232876"/>
                <a:gd name="connsiteX44" fmla="*/ 257827 w 365948"/>
                <a:gd name="connsiteY44" fmla="*/ 195450 h 232876"/>
                <a:gd name="connsiteX45" fmla="*/ 224559 w 365948"/>
                <a:gd name="connsiteY45" fmla="*/ 195450 h 232876"/>
                <a:gd name="connsiteX46" fmla="*/ 224559 w 365948"/>
                <a:gd name="connsiteY46" fmla="*/ 70695 h 232876"/>
                <a:gd name="connsiteX47" fmla="*/ 316046 w 365948"/>
                <a:gd name="connsiteY47" fmla="*/ 70695 h 232876"/>
                <a:gd name="connsiteX48" fmla="*/ 316046 w 365948"/>
                <a:gd name="connsiteY48" fmla="*/ 122676 h 232876"/>
                <a:gd name="connsiteX49" fmla="*/ 322284 w 365948"/>
                <a:gd name="connsiteY49" fmla="*/ 128914 h 232876"/>
                <a:gd name="connsiteX50" fmla="*/ 353473 w 365948"/>
                <a:gd name="connsiteY50" fmla="*/ 128914 h 232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365948" h="232876" extrusionOk="0">
                  <a:moveTo>
                    <a:pt x="359711" y="116438"/>
                  </a:moveTo>
                  <a:lnTo>
                    <a:pt x="328522" y="116438"/>
                  </a:lnTo>
                  <a:lnTo>
                    <a:pt x="328522" y="64457"/>
                  </a:lnTo>
                  <a:cubicBezTo>
                    <a:pt x="328522" y="61012"/>
                    <a:pt x="325729" y="58219"/>
                    <a:pt x="322284" y="58219"/>
                  </a:cubicBezTo>
                  <a:lnTo>
                    <a:pt x="224559" y="58219"/>
                  </a:lnTo>
                  <a:lnTo>
                    <a:pt x="224559" y="6238"/>
                  </a:lnTo>
                  <a:cubicBezTo>
                    <a:pt x="224559" y="2793"/>
                    <a:pt x="221766" y="0"/>
                    <a:pt x="218322" y="0"/>
                  </a:cubicBezTo>
                  <a:lnTo>
                    <a:pt x="6238" y="0"/>
                  </a:lnTo>
                  <a:cubicBezTo>
                    <a:pt x="2793" y="0"/>
                    <a:pt x="0" y="2793"/>
                    <a:pt x="0" y="6238"/>
                  </a:cubicBezTo>
                  <a:lnTo>
                    <a:pt x="0" y="201687"/>
                  </a:lnTo>
                  <a:cubicBezTo>
                    <a:pt x="0" y="205132"/>
                    <a:pt x="2793" y="207925"/>
                    <a:pt x="6238" y="207925"/>
                  </a:cubicBezTo>
                  <a:lnTo>
                    <a:pt x="53728" y="207925"/>
                  </a:lnTo>
                  <a:cubicBezTo>
                    <a:pt x="55631" y="225391"/>
                    <a:pt x="71333" y="238008"/>
                    <a:pt x="88799" y="236105"/>
                  </a:cubicBezTo>
                  <a:cubicBezTo>
                    <a:pt x="103641" y="234488"/>
                    <a:pt x="115362" y="222767"/>
                    <a:pt x="116979" y="207925"/>
                  </a:cubicBezTo>
                  <a:lnTo>
                    <a:pt x="256497" y="207925"/>
                  </a:lnTo>
                  <a:cubicBezTo>
                    <a:pt x="258401" y="225415"/>
                    <a:pt x="274122" y="238049"/>
                    <a:pt x="291611" y="236144"/>
                  </a:cubicBezTo>
                  <a:cubicBezTo>
                    <a:pt x="306475" y="234526"/>
                    <a:pt x="318213" y="222789"/>
                    <a:pt x="319831" y="207925"/>
                  </a:cubicBezTo>
                  <a:lnTo>
                    <a:pt x="359711" y="207925"/>
                  </a:lnTo>
                  <a:cubicBezTo>
                    <a:pt x="363156" y="207925"/>
                    <a:pt x="365948" y="205132"/>
                    <a:pt x="365948" y="201687"/>
                  </a:cubicBezTo>
                  <a:lnTo>
                    <a:pt x="365948" y="122676"/>
                  </a:lnTo>
                  <a:cubicBezTo>
                    <a:pt x="365948" y="119231"/>
                    <a:pt x="363156" y="116438"/>
                    <a:pt x="359711" y="116438"/>
                  </a:cubicBezTo>
                  <a:close/>
                  <a:moveTo>
                    <a:pt x="85249" y="223894"/>
                  </a:moveTo>
                  <a:cubicBezTo>
                    <a:pt x="74547" y="223940"/>
                    <a:pt x="65834" y="215301"/>
                    <a:pt x="65788" y="204598"/>
                  </a:cubicBezTo>
                  <a:cubicBezTo>
                    <a:pt x="65742" y="193896"/>
                    <a:pt x="74381" y="185183"/>
                    <a:pt x="85083" y="185137"/>
                  </a:cubicBezTo>
                  <a:cubicBezTo>
                    <a:pt x="95785" y="185091"/>
                    <a:pt x="104499" y="193730"/>
                    <a:pt x="104545" y="204432"/>
                  </a:cubicBezTo>
                  <a:cubicBezTo>
                    <a:pt x="104545" y="204474"/>
                    <a:pt x="104545" y="204515"/>
                    <a:pt x="104545" y="204557"/>
                  </a:cubicBezTo>
                  <a:cubicBezTo>
                    <a:pt x="104523" y="215147"/>
                    <a:pt x="96004" y="223758"/>
                    <a:pt x="85416" y="223894"/>
                  </a:cubicBezTo>
                  <a:close/>
                  <a:moveTo>
                    <a:pt x="85249" y="172703"/>
                  </a:moveTo>
                  <a:cubicBezTo>
                    <a:pt x="71231" y="172790"/>
                    <a:pt x="58913" y="182020"/>
                    <a:pt x="54892" y="195450"/>
                  </a:cubicBezTo>
                  <a:lnTo>
                    <a:pt x="12476" y="195450"/>
                  </a:lnTo>
                  <a:lnTo>
                    <a:pt x="12476" y="12476"/>
                  </a:lnTo>
                  <a:lnTo>
                    <a:pt x="212084" y="12476"/>
                  </a:lnTo>
                  <a:lnTo>
                    <a:pt x="212084" y="195450"/>
                  </a:lnTo>
                  <a:lnTo>
                    <a:pt x="115856" y="195450"/>
                  </a:lnTo>
                  <a:cubicBezTo>
                    <a:pt x="111838" y="181983"/>
                    <a:pt x="99469" y="172740"/>
                    <a:pt x="85416" y="172703"/>
                  </a:cubicBezTo>
                  <a:close/>
                  <a:moveTo>
                    <a:pt x="288143" y="223894"/>
                  </a:moveTo>
                  <a:cubicBezTo>
                    <a:pt x="277440" y="223894"/>
                    <a:pt x="268764" y="215218"/>
                    <a:pt x="268764" y="204515"/>
                  </a:cubicBezTo>
                  <a:cubicBezTo>
                    <a:pt x="268764" y="193813"/>
                    <a:pt x="277440" y="185137"/>
                    <a:pt x="288143" y="185137"/>
                  </a:cubicBezTo>
                  <a:cubicBezTo>
                    <a:pt x="298846" y="185137"/>
                    <a:pt x="307521" y="193813"/>
                    <a:pt x="307521" y="204515"/>
                  </a:cubicBezTo>
                  <a:cubicBezTo>
                    <a:pt x="307521" y="204529"/>
                    <a:pt x="307521" y="204543"/>
                    <a:pt x="307521" y="204557"/>
                  </a:cubicBezTo>
                  <a:cubicBezTo>
                    <a:pt x="307499" y="215243"/>
                    <a:pt x="298829" y="223894"/>
                    <a:pt x="288143" y="223894"/>
                  </a:cubicBezTo>
                  <a:close/>
                  <a:moveTo>
                    <a:pt x="353473" y="195450"/>
                  </a:moveTo>
                  <a:lnTo>
                    <a:pt x="318666" y="195450"/>
                  </a:lnTo>
                  <a:cubicBezTo>
                    <a:pt x="313524" y="178649"/>
                    <a:pt x="295736" y="169199"/>
                    <a:pt x="278936" y="174341"/>
                  </a:cubicBezTo>
                  <a:cubicBezTo>
                    <a:pt x="268830" y="177435"/>
                    <a:pt x="260920" y="185344"/>
                    <a:pt x="257827" y="195450"/>
                  </a:cubicBezTo>
                  <a:lnTo>
                    <a:pt x="224559" y="195450"/>
                  </a:lnTo>
                  <a:lnTo>
                    <a:pt x="224559" y="70695"/>
                  </a:lnTo>
                  <a:lnTo>
                    <a:pt x="316046" y="70695"/>
                  </a:lnTo>
                  <a:lnTo>
                    <a:pt x="316046" y="122676"/>
                  </a:lnTo>
                  <a:cubicBezTo>
                    <a:pt x="316046" y="126121"/>
                    <a:pt x="318839" y="128914"/>
                    <a:pt x="322284" y="128914"/>
                  </a:cubicBezTo>
                  <a:lnTo>
                    <a:pt x="353473" y="128914"/>
                  </a:lnTo>
                  <a:close/>
                </a:path>
              </a:pathLst>
            </a:custGeom>
            <a:solidFill>
              <a:schemeClr val="accent1"/>
            </a:solidFill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ru-RU" sz="937">
                <a:solidFill>
                  <a:srgbClr val="000000"/>
                </a:solidFill>
                <a:latin typeface="Calibri Light"/>
                <a:cs typeface="Arial"/>
              </a:endParaRPr>
            </a:p>
          </p:txBody>
        </p:sp>
        <p:sp>
          <p:nvSpPr>
            <p:cNvPr id="48" name="Полилиния: фигура 58">
              <a:extLst>
                <a:ext uri="{FF2B5EF4-FFF2-40B4-BE49-F238E27FC236}">
                  <a16:creationId xmlns:a16="http://schemas.microsoft.com/office/drawing/2014/main" id="{F023D567-3A36-AE4B-B9E2-B0202B593086}"/>
                </a:ext>
              </a:extLst>
            </p:cNvPr>
            <p:cNvSpPr/>
            <p:nvPr/>
          </p:nvSpPr>
          <p:spPr bwMode="auto">
            <a:xfrm>
              <a:off x="2815062" y="2713779"/>
              <a:ext cx="149706" cy="66536"/>
            </a:xfrm>
            <a:custGeom>
              <a:avLst/>
              <a:gdLst>
                <a:gd name="connsiteX0" fmla="*/ 6238 w 149706"/>
                <a:gd name="connsiteY0" fmla="*/ 36983 h 66536"/>
                <a:gd name="connsiteX1" fmla="*/ 133072 w 149706"/>
                <a:gd name="connsiteY1" fmla="*/ 36983 h 66536"/>
                <a:gd name="connsiteX2" fmla="*/ 112280 w 149706"/>
                <a:gd name="connsiteY2" fmla="*/ 57775 h 66536"/>
                <a:gd name="connsiteX3" fmla="*/ 111969 w 149706"/>
                <a:gd name="connsiteY3" fmla="*/ 66591 h 66536"/>
                <a:gd name="connsiteX4" fmla="*/ 120785 w 149706"/>
                <a:gd name="connsiteY4" fmla="*/ 66902 h 66536"/>
                <a:gd name="connsiteX5" fmla="*/ 121096 w 149706"/>
                <a:gd name="connsiteY5" fmla="*/ 66591 h 66536"/>
                <a:gd name="connsiteX6" fmla="*/ 149082 w 149706"/>
                <a:gd name="connsiteY6" fmla="*/ 38605 h 66536"/>
                <a:gd name="connsiteX7" fmla="*/ 149082 w 149706"/>
                <a:gd name="connsiteY7" fmla="*/ 29789 h 66536"/>
                <a:gd name="connsiteX8" fmla="*/ 121096 w 149706"/>
                <a:gd name="connsiteY8" fmla="*/ 1802 h 66536"/>
                <a:gd name="connsiteX9" fmla="*/ 112196 w 149706"/>
                <a:gd name="connsiteY9" fmla="*/ 1885 h 66536"/>
                <a:gd name="connsiteX10" fmla="*/ 112280 w 149706"/>
                <a:gd name="connsiteY10" fmla="*/ 10784 h 66536"/>
                <a:gd name="connsiteX11" fmla="*/ 126003 w 149706"/>
                <a:gd name="connsiteY11" fmla="*/ 24507 h 66536"/>
                <a:gd name="connsiteX12" fmla="*/ 6238 w 149706"/>
                <a:gd name="connsiteY12" fmla="*/ 24507 h 66536"/>
                <a:gd name="connsiteX13" fmla="*/ 0 w 149706"/>
                <a:gd name="connsiteY13" fmla="*/ 30745 h 66536"/>
                <a:gd name="connsiteX14" fmla="*/ 6238 w 149706"/>
                <a:gd name="connsiteY14" fmla="*/ 36983 h 6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9706" h="66536" extrusionOk="0">
                  <a:moveTo>
                    <a:pt x="6238" y="36983"/>
                  </a:moveTo>
                  <a:lnTo>
                    <a:pt x="133072" y="36983"/>
                  </a:lnTo>
                  <a:lnTo>
                    <a:pt x="112280" y="57775"/>
                  </a:lnTo>
                  <a:cubicBezTo>
                    <a:pt x="109759" y="60124"/>
                    <a:pt x="109620" y="64071"/>
                    <a:pt x="111969" y="66591"/>
                  </a:cubicBezTo>
                  <a:cubicBezTo>
                    <a:pt x="114317" y="69112"/>
                    <a:pt x="118264" y="69251"/>
                    <a:pt x="120785" y="66902"/>
                  </a:cubicBezTo>
                  <a:cubicBezTo>
                    <a:pt x="120892" y="66803"/>
                    <a:pt x="120995" y="66699"/>
                    <a:pt x="121096" y="66591"/>
                  </a:cubicBezTo>
                  <a:lnTo>
                    <a:pt x="149082" y="38605"/>
                  </a:lnTo>
                  <a:cubicBezTo>
                    <a:pt x="151515" y="36169"/>
                    <a:pt x="151515" y="32224"/>
                    <a:pt x="149082" y="29789"/>
                  </a:cubicBezTo>
                  <a:lnTo>
                    <a:pt x="121096" y="1802"/>
                  </a:lnTo>
                  <a:cubicBezTo>
                    <a:pt x="118615" y="-633"/>
                    <a:pt x="114631" y="-596"/>
                    <a:pt x="112196" y="1885"/>
                  </a:cubicBezTo>
                  <a:cubicBezTo>
                    <a:pt x="109762" y="4366"/>
                    <a:pt x="109799" y="8350"/>
                    <a:pt x="112280" y="10784"/>
                  </a:cubicBezTo>
                  <a:lnTo>
                    <a:pt x="126003" y="24507"/>
                  </a:lnTo>
                  <a:lnTo>
                    <a:pt x="6238" y="24507"/>
                  </a:lnTo>
                  <a:cubicBezTo>
                    <a:pt x="2793" y="24507"/>
                    <a:pt x="0" y="27300"/>
                    <a:pt x="0" y="30745"/>
                  </a:cubicBezTo>
                  <a:cubicBezTo>
                    <a:pt x="0" y="34190"/>
                    <a:pt x="2793" y="36983"/>
                    <a:pt x="6238" y="36983"/>
                  </a:cubicBezTo>
                  <a:close/>
                </a:path>
              </a:pathLst>
            </a:custGeom>
            <a:grpFill/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ru-RU" sz="937">
                <a:solidFill>
                  <a:srgbClr val="000000"/>
                </a:solidFill>
                <a:latin typeface="Calibri Light"/>
                <a:cs typeface="Arial"/>
              </a:endParaRPr>
            </a:p>
          </p:txBody>
        </p:sp>
        <p:sp>
          <p:nvSpPr>
            <p:cNvPr id="49" name="Полилиния: фигура 59">
              <a:extLst>
                <a:ext uri="{FF2B5EF4-FFF2-40B4-BE49-F238E27FC236}">
                  <a16:creationId xmlns:a16="http://schemas.microsoft.com/office/drawing/2014/main" id="{E051DD16-CB31-5348-AE1A-A79E8EEE825F}"/>
                </a:ext>
              </a:extLst>
            </p:cNvPr>
            <p:cNvSpPr/>
            <p:nvPr/>
          </p:nvSpPr>
          <p:spPr bwMode="auto">
            <a:xfrm>
              <a:off x="2805461" y="2773851"/>
              <a:ext cx="149706" cy="66536"/>
            </a:xfrm>
            <a:custGeom>
              <a:avLst/>
              <a:gdLst>
                <a:gd name="connsiteX0" fmla="*/ 150990 w 149706"/>
                <a:gd name="connsiteY0" fmla="*/ 37209 h 66536"/>
                <a:gd name="connsiteX1" fmla="*/ 144752 w 149706"/>
                <a:gd name="connsiteY1" fmla="*/ 30971 h 66536"/>
                <a:gd name="connsiteX2" fmla="*/ 18333 w 149706"/>
                <a:gd name="connsiteY2" fmla="*/ 30971 h 66536"/>
                <a:gd name="connsiteX3" fmla="*/ 38710 w 149706"/>
                <a:gd name="connsiteY3" fmla="*/ 10636 h 66536"/>
                <a:gd name="connsiteX4" fmla="*/ 38648 w 149706"/>
                <a:gd name="connsiteY4" fmla="*/ 1799 h 66536"/>
                <a:gd name="connsiteX5" fmla="*/ 29811 w 149706"/>
                <a:gd name="connsiteY5" fmla="*/ 1862 h 66536"/>
                <a:gd name="connsiteX6" fmla="*/ 1824 w 149706"/>
                <a:gd name="connsiteY6" fmla="*/ 29848 h 66536"/>
                <a:gd name="connsiteX7" fmla="*/ 1824 w 149706"/>
                <a:gd name="connsiteY7" fmla="*/ 38664 h 66536"/>
                <a:gd name="connsiteX8" fmla="*/ 29811 w 149706"/>
                <a:gd name="connsiteY8" fmla="*/ 66651 h 66536"/>
                <a:gd name="connsiteX9" fmla="*/ 38689 w 149706"/>
                <a:gd name="connsiteY9" fmla="*/ 66672 h 66536"/>
                <a:gd name="connsiteX10" fmla="*/ 38710 w 149706"/>
                <a:gd name="connsiteY10" fmla="*/ 57793 h 66536"/>
                <a:gd name="connsiteX11" fmla="*/ 24322 w 149706"/>
                <a:gd name="connsiteY11" fmla="*/ 43447 h 66536"/>
                <a:gd name="connsiteX12" fmla="*/ 144918 w 149706"/>
                <a:gd name="connsiteY12" fmla="*/ 43447 h 66536"/>
                <a:gd name="connsiteX13" fmla="*/ 150990 w 149706"/>
                <a:gd name="connsiteY13" fmla="*/ 37209 h 66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06" h="66536" extrusionOk="0">
                  <a:moveTo>
                    <a:pt x="150990" y="37209"/>
                  </a:moveTo>
                  <a:cubicBezTo>
                    <a:pt x="150990" y="33764"/>
                    <a:pt x="148197" y="30971"/>
                    <a:pt x="144752" y="30971"/>
                  </a:cubicBezTo>
                  <a:lnTo>
                    <a:pt x="18333" y="30971"/>
                  </a:lnTo>
                  <a:lnTo>
                    <a:pt x="38710" y="10636"/>
                  </a:lnTo>
                  <a:cubicBezTo>
                    <a:pt x="41133" y="8179"/>
                    <a:pt x="41105" y="4222"/>
                    <a:pt x="38648" y="1799"/>
                  </a:cubicBezTo>
                  <a:cubicBezTo>
                    <a:pt x="36191" y="-624"/>
                    <a:pt x="32234" y="-596"/>
                    <a:pt x="29811" y="1862"/>
                  </a:cubicBezTo>
                  <a:lnTo>
                    <a:pt x="1824" y="29848"/>
                  </a:lnTo>
                  <a:cubicBezTo>
                    <a:pt x="-608" y="32283"/>
                    <a:pt x="-608" y="36229"/>
                    <a:pt x="1824" y="38664"/>
                  </a:cubicBezTo>
                  <a:lnTo>
                    <a:pt x="29811" y="66651"/>
                  </a:lnTo>
                  <a:cubicBezTo>
                    <a:pt x="32257" y="69108"/>
                    <a:pt x="36232" y="69118"/>
                    <a:pt x="38689" y="66672"/>
                  </a:cubicBezTo>
                  <a:cubicBezTo>
                    <a:pt x="41147" y="64226"/>
                    <a:pt x="41156" y="60251"/>
                    <a:pt x="38710" y="57793"/>
                  </a:cubicBezTo>
                  <a:lnTo>
                    <a:pt x="24322" y="43447"/>
                  </a:lnTo>
                  <a:lnTo>
                    <a:pt x="144918" y="43447"/>
                  </a:lnTo>
                  <a:cubicBezTo>
                    <a:pt x="148298" y="43356"/>
                    <a:pt x="150991" y="40590"/>
                    <a:pt x="150990" y="37209"/>
                  </a:cubicBezTo>
                  <a:close/>
                </a:path>
              </a:pathLst>
            </a:custGeom>
            <a:grpFill/>
            <a:ln w="41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ru-RU" sz="937">
                <a:solidFill>
                  <a:srgbClr val="000000"/>
                </a:solidFill>
                <a:latin typeface="Calibri Light"/>
                <a:cs typeface="Arial"/>
              </a:endParaRPr>
            </a:p>
          </p:txBody>
        </p:sp>
      </p:grpSp>
      <p:grpSp>
        <p:nvGrpSpPr>
          <p:cNvPr id="50" name="Группа 12">
            <a:extLst>
              <a:ext uri="{FF2B5EF4-FFF2-40B4-BE49-F238E27FC236}">
                <a16:creationId xmlns:a16="http://schemas.microsoft.com/office/drawing/2014/main" id="{CDACCC0A-54A8-164E-8FE5-9D351E03DB58}"/>
              </a:ext>
            </a:extLst>
          </p:cNvPr>
          <p:cNvGrpSpPr/>
          <p:nvPr/>
        </p:nvGrpSpPr>
        <p:grpSpPr bwMode="auto">
          <a:xfrm>
            <a:off x="5841489" y="1894492"/>
            <a:ext cx="1724185" cy="768198"/>
            <a:chOff x="942801" y="1270983"/>
            <a:chExt cx="2576400" cy="1147895"/>
          </a:xfrm>
        </p:grpSpPr>
        <p:sp>
          <p:nvSpPr>
            <p:cNvPr id="51" name="Заголовок 1">
              <a:extLst>
                <a:ext uri="{FF2B5EF4-FFF2-40B4-BE49-F238E27FC236}">
                  <a16:creationId xmlns:a16="http://schemas.microsoft.com/office/drawing/2014/main" id="{D3E966B7-3D9B-1844-825E-F5E99309398A}"/>
                </a:ext>
              </a:extLst>
            </p:cNvPr>
            <p:cNvSpPr txBox="1"/>
            <p:nvPr/>
          </p:nvSpPr>
          <p:spPr bwMode="auto">
            <a:xfrm>
              <a:off x="942802" y="1270983"/>
              <a:ext cx="1755624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2409" b="1" dirty="0">
                  <a:solidFill>
                    <a:schemeClr val="accent1"/>
                  </a:solidFill>
                </a:rPr>
                <a:t>16 тыс.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52" name="Заголовок 1">
              <a:extLst>
                <a:ext uri="{FF2B5EF4-FFF2-40B4-BE49-F238E27FC236}">
                  <a16:creationId xmlns:a16="http://schemas.microsoft.com/office/drawing/2014/main" id="{2FB786E5-C3F9-6A4F-8F08-03987261157B}"/>
                </a:ext>
              </a:extLst>
            </p:cNvPr>
            <p:cNvSpPr txBox="1"/>
            <p:nvPr/>
          </p:nvSpPr>
          <p:spPr bwMode="auto">
            <a:xfrm>
              <a:off x="942801" y="1864696"/>
              <a:ext cx="2576400" cy="554182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единиц транспортной техники</a:t>
              </a:r>
              <a:endParaRPr lang="ru-RU" sz="1205" dirty="0"/>
            </a:p>
          </p:txBody>
        </p:sp>
      </p:grpSp>
      <p:grpSp>
        <p:nvGrpSpPr>
          <p:cNvPr id="53" name="Graphic 118">
            <a:extLst>
              <a:ext uri="{FF2B5EF4-FFF2-40B4-BE49-F238E27FC236}">
                <a16:creationId xmlns:a16="http://schemas.microsoft.com/office/drawing/2014/main" id="{D9CAB5F8-5FE0-FC40-B390-53417677D667}"/>
              </a:ext>
            </a:extLst>
          </p:cNvPr>
          <p:cNvGrpSpPr/>
          <p:nvPr/>
        </p:nvGrpSpPr>
        <p:grpSpPr bwMode="auto">
          <a:xfrm>
            <a:off x="7865648" y="1906887"/>
            <a:ext cx="772267" cy="916159"/>
            <a:chOff x="813643" y="3523764"/>
            <a:chExt cx="245118" cy="29078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54" name="Freeform: Shape 102">
              <a:extLst>
                <a:ext uri="{FF2B5EF4-FFF2-40B4-BE49-F238E27FC236}">
                  <a16:creationId xmlns:a16="http://schemas.microsoft.com/office/drawing/2014/main" id="{71D68396-FFB4-BC45-A02E-6EAABF19C55F}"/>
                </a:ext>
              </a:extLst>
            </p:cNvPr>
            <p:cNvSpPr/>
            <p:nvPr/>
          </p:nvSpPr>
          <p:spPr bwMode="auto">
            <a:xfrm>
              <a:off x="841382" y="3523764"/>
              <a:ext cx="189620" cy="120247"/>
            </a:xfrm>
            <a:custGeom>
              <a:avLst/>
              <a:gdLst>
                <a:gd name="connsiteX0" fmla="*/ 188185 w 189619"/>
                <a:gd name="connsiteY0" fmla="*/ 33704 h 120246"/>
                <a:gd name="connsiteX1" fmla="*/ 143613 w 189619"/>
                <a:gd name="connsiteY1" fmla="*/ 6937 h 120246"/>
                <a:gd name="connsiteX2" fmla="*/ 94820 w 189619"/>
                <a:gd name="connsiteY2" fmla="*/ 0 h 120246"/>
                <a:gd name="connsiteX3" fmla="*/ 46028 w 189619"/>
                <a:gd name="connsiteY3" fmla="*/ 6937 h 120246"/>
                <a:gd name="connsiteX4" fmla="*/ 1456 w 189619"/>
                <a:gd name="connsiteY4" fmla="*/ 33704 h 120246"/>
                <a:gd name="connsiteX5" fmla="*/ 11920 w 189619"/>
                <a:gd name="connsiteY5" fmla="*/ 64170 h 120246"/>
                <a:gd name="connsiteX6" fmla="*/ 12266 w 189619"/>
                <a:gd name="connsiteY6" fmla="*/ 64517 h 120246"/>
                <a:gd name="connsiteX7" fmla="*/ 12266 w 189619"/>
                <a:gd name="connsiteY7" fmla="*/ 85676 h 120246"/>
                <a:gd name="connsiteX8" fmla="*/ 12209 w 189619"/>
                <a:gd name="connsiteY8" fmla="*/ 88162 h 120246"/>
                <a:gd name="connsiteX9" fmla="*/ 12209 w 189619"/>
                <a:gd name="connsiteY9" fmla="*/ 88277 h 120246"/>
                <a:gd name="connsiteX10" fmla="*/ 13596 w 189619"/>
                <a:gd name="connsiteY10" fmla="*/ 100244 h 120246"/>
                <a:gd name="connsiteX11" fmla="*/ 26777 w 189619"/>
                <a:gd name="connsiteY11" fmla="*/ 112442 h 120246"/>
                <a:gd name="connsiteX12" fmla="*/ 94820 w 189619"/>
                <a:gd name="connsiteY12" fmla="*/ 120709 h 120246"/>
                <a:gd name="connsiteX13" fmla="*/ 161823 w 189619"/>
                <a:gd name="connsiteY13" fmla="*/ 112963 h 120246"/>
                <a:gd name="connsiteX14" fmla="*/ 163095 w 189619"/>
                <a:gd name="connsiteY14" fmla="*/ 112442 h 120246"/>
                <a:gd name="connsiteX15" fmla="*/ 174079 w 189619"/>
                <a:gd name="connsiteY15" fmla="*/ 104233 h 120246"/>
                <a:gd name="connsiteX16" fmla="*/ 177548 w 189619"/>
                <a:gd name="connsiteY16" fmla="*/ 87757 h 120246"/>
                <a:gd name="connsiteX17" fmla="*/ 177432 w 189619"/>
                <a:gd name="connsiteY17" fmla="*/ 85676 h 120246"/>
                <a:gd name="connsiteX18" fmla="*/ 177432 w 189619"/>
                <a:gd name="connsiteY18" fmla="*/ 64633 h 120246"/>
                <a:gd name="connsiteX19" fmla="*/ 177779 w 189619"/>
                <a:gd name="connsiteY19" fmla="*/ 64286 h 120246"/>
                <a:gd name="connsiteX20" fmla="*/ 188185 w 189619"/>
                <a:gd name="connsiteY20" fmla="*/ 33704 h 120246"/>
                <a:gd name="connsiteX21" fmla="*/ 165870 w 189619"/>
                <a:gd name="connsiteY21" fmla="*/ 99493 h 120246"/>
                <a:gd name="connsiteX22" fmla="*/ 165870 w 189619"/>
                <a:gd name="connsiteY22" fmla="*/ 99493 h 120246"/>
                <a:gd name="connsiteX23" fmla="*/ 94820 w 189619"/>
                <a:gd name="connsiteY23" fmla="*/ 111344 h 120246"/>
                <a:gd name="connsiteX24" fmla="*/ 24118 w 189619"/>
                <a:gd name="connsiteY24" fmla="*/ 99666 h 120246"/>
                <a:gd name="connsiteX25" fmla="*/ 21343 w 189619"/>
                <a:gd name="connsiteY25" fmla="*/ 91457 h 120246"/>
                <a:gd name="connsiteX26" fmla="*/ 21343 w 189619"/>
                <a:gd name="connsiteY26" fmla="*/ 90301 h 120246"/>
                <a:gd name="connsiteX27" fmla="*/ 168414 w 189619"/>
                <a:gd name="connsiteY27" fmla="*/ 90301 h 120246"/>
                <a:gd name="connsiteX28" fmla="*/ 168414 w 189619"/>
                <a:gd name="connsiteY28" fmla="*/ 91457 h 120246"/>
                <a:gd name="connsiteX29" fmla="*/ 165870 w 189619"/>
                <a:gd name="connsiteY29" fmla="*/ 99493 h 120246"/>
                <a:gd name="connsiteX30" fmla="*/ 168125 w 189619"/>
                <a:gd name="connsiteY30" fmla="*/ 67118 h 120246"/>
                <a:gd name="connsiteX31" fmla="*/ 168125 w 189619"/>
                <a:gd name="connsiteY31" fmla="*/ 80993 h 120246"/>
                <a:gd name="connsiteX32" fmla="*/ 21516 w 189619"/>
                <a:gd name="connsiteY32" fmla="*/ 80993 h 120246"/>
                <a:gd name="connsiteX33" fmla="*/ 21516 w 189619"/>
                <a:gd name="connsiteY33" fmla="*/ 67118 h 120246"/>
                <a:gd name="connsiteX34" fmla="*/ 168125 w 189619"/>
                <a:gd name="connsiteY34" fmla="*/ 67118 h 120246"/>
                <a:gd name="connsiteX35" fmla="*/ 85686 w 189619"/>
                <a:gd name="connsiteY35" fmla="*/ 57869 h 120246"/>
                <a:gd name="connsiteX36" fmla="*/ 85686 w 189619"/>
                <a:gd name="connsiteY36" fmla="*/ 43994 h 120246"/>
                <a:gd name="connsiteX37" fmla="*/ 103955 w 189619"/>
                <a:gd name="connsiteY37" fmla="*/ 43994 h 120246"/>
                <a:gd name="connsiteX38" fmla="*/ 103955 w 189619"/>
                <a:gd name="connsiteY38" fmla="*/ 57869 h 120246"/>
                <a:gd name="connsiteX39" fmla="*/ 85686 w 189619"/>
                <a:gd name="connsiteY39" fmla="*/ 57869 h 120246"/>
                <a:gd name="connsiteX40" fmla="*/ 171246 w 189619"/>
                <a:gd name="connsiteY40" fmla="*/ 57522 h 120246"/>
                <a:gd name="connsiteX41" fmla="*/ 170899 w 189619"/>
                <a:gd name="connsiteY41" fmla="*/ 57869 h 120246"/>
                <a:gd name="connsiteX42" fmla="*/ 113204 w 189619"/>
                <a:gd name="connsiteY42" fmla="*/ 57869 h 120246"/>
                <a:gd name="connsiteX43" fmla="*/ 113204 w 189619"/>
                <a:gd name="connsiteY43" fmla="*/ 39369 h 120246"/>
                <a:gd name="connsiteX44" fmla="*/ 108579 w 189619"/>
                <a:gd name="connsiteY44" fmla="*/ 34744 h 120246"/>
                <a:gd name="connsiteX45" fmla="*/ 81061 w 189619"/>
                <a:gd name="connsiteY45" fmla="*/ 34744 h 120246"/>
                <a:gd name="connsiteX46" fmla="*/ 76437 w 189619"/>
                <a:gd name="connsiteY46" fmla="*/ 39369 h 120246"/>
                <a:gd name="connsiteX47" fmla="*/ 76437 w 189619"/>
                <a:gd name="connsiteY47" fmla="*/ 57869 h 120246"/>
                <a:gd name="connsiteX48" fmla="*/ 18741 w 189619"/>
                <a:gd name="connsiteY48" fmla="*/ 57869 h 120246"/>
                <a:gd name="connsiteX49" fmla="*/ 18394 w 189619"/>
                <a:gd name="connsiteY49" fmla="*/ 57522 h 120246"/>
                <a:gd name="connsiteX50" fmla="*/ 10012 w 189619"/>
                <a:gd name="connsiteY50" fmla="*/ 37115 h 120246"/>
                <a:gd name="connsiteX51" fmla="*/ 48283 w 189619"/>
                <a:gd name="connsiteY51" fmla="*/ 15898 h 120246"/>
                <a:gd name="connsiteX52" fmla="*/ 94820 w 189619"/>
                <a:gd name="connsiteY52" fmla="*/ 9250 h 120246"/>
                <a:gd name="connsiteX53" fmla="*/ 141300 w 189619"/>
                <a:gd name="connsiteY53" fmla="*/ 15898 h 120246"/>
                <a:gd name="connsiteX54" fmla="*/ 179571 w 189619"/>
                <a:gd name="connsiteY54" fmla="*/ 37115 h 120246"/>
                <a:gd name="connsiteX55" fmla="*/ 171246 w 189619"/>
                <a:gd name="connsiteY55" fmla="*/ 57522 h 120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89619" h="120246" extrusionOk="0">
                  <a:moveTo>
                    <a:pt x="188185" y="33704"/>
                  </a:moveTo>
                  <a:cubicBezTo>
                    <a:pt x="183676" y="22315"/>
                    <a:pt x="168703" y="13297"/>
                    <a:pt x="143613" y="6937"/>
                  </a:cubicBezTo>
                  <a:cubicBezTo>
                    <a:pt x="123668" y="1850"/>
                    <a:pt x="103492" y="0"/>
                    <a:pt x="94820" y="0"/>
                  </a:cubicBezTo>
                  <a:cubicBezTo>
                    <a:pt x="86149" y="0"/>
                    <a:pt x="65973" y="1850"/>
                    <a:pt x="46028" y="6937"/>
                  </a:cubicBezTo>
                  <a:cubicBezTo>
                    <a:pt x="20938" y="13297"/>
                    <a:pt x="5965" y="22315"/>
                    <a:pt x="1456" y="33704"/>
                  </a:cubicBezTo>
                  <a:cubicBezTo>
                    <a:pt x="-2302" y="43185"/>
                    <a:pt x="1225" y="53417"/>
                    <a:pt x="11920" y="64170"/>
                  </a:cubicBezTo>
                  <a:lnTo>
                    <a:pt x="12266" y="64517"/>
                  </a:lnTo>
                  <a:lnTo>
                    <a:pt x="12266" y="85676"/>
                  </a:lnTo>
                  <a:cubicBezTo>
                    <a:pt x="12266" y="86427"/>
                    <a:pt x="12209" y="87295"/>
                    <a:pt x="12209" y="88162"/>
                  </a:cubicBezTo>
                  <a:lnTo>
                    <a:pt x="12209" y="88277"/>
                  </a:lnTo>
                  <a:cubicBezTo>
                    <a:pt x="12035" y="91688"/>
                    <a:pt x="11862" y="95966"/>
                    <a:pt x="13596" y="100244"/>
                  </a:cubicBezTo>
                  <a:cubicBezTo>
                    <a:pt x="20533" y="107297"/>
                    <a:pt x="25968" y="111749"/>
                    <a:pt x="26777" y="112442"/>
                  </a:cubicBezTo>
                  <a:cubicBezTo>
                    <a:pt x="39322" y="117992"/>
                    <a:pt x="61579" y="120709"/>
                    <a:pt x="94820" y="120709"/>
                  </a:cubicBezTo>
                  <a:cubicBezTo>
                    <a:pt x="127137" y="120709"/>
                    <a:pt x="149047" y="118166"/>
                    <a:pt x="161823" y="112963"/>
                  </a:cubicBezTo>
                  <a:cubicBezTo>
                    <a:pt x="162286" y="112731"/>
                    <a:pt x="162690" y="112558"/>
                    <a:pt x="163095" y="112442"/>
                  </a:cubicBezTo>
                  <a:cubicBezTo>
                    <a:pt x="170206" y="109956"/>
                    <a:pt x="174021" y="104291"/>
                    <a:pt x="174079" y="104233"/>
                  </a:cubicBezTo>
                  <a:cubicBezTo>
                    <a:pt x="178299" y="98452"/>
                    <a:pt x="177837" y="92266"/>
                    <a:pt x="177548" y="87757"/>
                  </a:cubicBezTo>
                  <a:cubicBezTo>
                    <a:pt x="177490" y="87063"/>
                    <a:pt x="177432" y="86370"/>
                    <a:pt x="177432" y="85676"/>
                  </a:cubicBezTo>
                  <a:lnTo>
                    <a:pt x="177432" y="64633"/>
                  </a:lnTo>
                  <a:lnTo>
                    <a:pt x="177779" y="64286"/>
                  </a:lnTo>
                  <a:cubicBezTo>
                    <a:pt x="188416" y="53417"/>
                    <a:pt x="191943" y="43127"/>
                    <a:pt x="188185" y="33704"/>
                  </a:cubicBezTo>
                  <a:close/>
                  <a:moveTo>
                    <a:pt x="165870" y="99493"/>
                  </a:moveTo>
                  <a:lnTo>
                    <a:pt x="165870" y="99493"/>
                  </a:lnTo>
                  <a:cubicBezTo>
                    <a:pt x="158644" y="107239"/>
                    <a:pt x="134074" y="111344"/>
                    <a:pt x="94820" y="111344"/>
                  </a:cubicBezTo>
                  <a:cubicBezTo>
                    <a:pt x="55336" y="111344"/>
                    <a:pt x="31575" y="107413"/>
                    <a:pt x="24118" y="99666"/>
                  </a:cubicBezTo>
                  <a:cubicBezTo>
                    <a:pt x="21805" y="97238"/>
                    <a:pt x="21343" y="94637"/>
                    <a:pt x="21343" y="91457"/>
                  </a:cubicBezTo>
                  <a:lnTo>
                    <a:pt x="21343" y="90301"/>
                  </a:lnTo>
                  <a:lnTo>
                    <a:pt x="168414" y="90301"/>
                  </a:lnTo>
                  <a:lnTo>
                    <a:pt x="168414" y="91457"/>
                  </a:lnTo>
                  <a:cubicBezTo>
                    <a:pt x="168529" y="94521"/>
                    <a:pt x="168125" y="97065"/>
                    <a:pt x="165870" y="99493"/>
                  </a:cubicBezTo>
                  <a:close/>
                  <a:moveTo>
                    <a:pt x="168125" y="67118"/>
                  </a:moveTo>
                  <a:lnTo>
                    <a:pt x="168125" y="80993"/>
                  </a:lnTo>
                  <a:lnTo>
                    <a:pt x="21516" y="80993"/>
                  </a:lnTo>
                  <a:lnTo>
                    <a:pt x="21516" y="67118"/>
                  </a:lnTo>
                  <a:lnTo>
                    <a:pt x="168125" y="67118"/>
                  </a:lnTo>
                  <a:close/>
                  <a:moveTo>
                    <a:pt x="85686" y="57869"/>
                  </a:moveTo>
                  <a:lnTo>
                    <a:pt x="85686" y="43994"/>
                  </a:lnTo>
                  <a:lnTo>
                    <a:pt x="103955" y="43994"/>
                  </a:lnTo>
                  <a:lnTo>
                    <a:pt x="103955" y="57869"/>
                  </a:lnTo>
                  <a:lnTo>
                    <a:pt x="85686" y="57869"/>
                  </a:lnTo>
                  <a:close/>
                  <a:moveTo>
                    <a:pt x="171246" y="57522"/>
                  </a:moveTo>
                  <a:lnTo>
                    <a:pt x="170899" y="57869"/>
                  </a:lnTo>
                  <a:lnTo>
                    <a:pt x="113204" y="57869"/>
                  </a:lnTo>
                  <a:lnTo>
                    <a:pt x="113204" y="39369"/>
                  </a:lnTo>
                  <a:cubicBezTo>
                    <a:pt x="113204" y="36826"/>
                    <a:pt x="111123" y="34744"/>
                    <a:pt x="108579" y="34744"/>
                  </a:cubicBezTo>
                  <a:lnTo>
                    <a:pt x="81061" y="34744"/>
                  </a:lnTo>
                  <a:cubicBezTo>
                    <a:pt x="78518" y="34744"/>
                    <a:pt x="76437" y="36826"/>
                    <a:pt x="76437" y="39369"/>
                  </a:cubicBezTo>
                  <a:lnTo>
                    <a:pt x="76437" y="57869"/>
                  </a:lnTo>
                  <a:lnTo>
                    <a:pt x="18741" y="57869"/>
                  </a:lnTo>
                  <a:lnTo>
                    <a:pt x="18394" y="57522"/>
                  </a:lnTo>
                  <a:cubicBezTo>
                    <a:pt x="10590" y="49717"/>
                    <a:pt x="7757" y="42838"/>
                    <a:pt x="10012" y="37115"/>
                  </a:cubicBezTo>
                  <a:cubicBezTo>
                    <a:pt x="13249" y="28905"/>
                    <a:pt x="26893" y="21332"/>
                    <a:pt x="48283" y="15898"/>
                  </a:cubicBezTo>
                  <a:cubicBezTo>
                    <a:pt x="67302" y="11042"/>
                    <a:pt x="86900" y="9250"/>
                    <a:pt x="94820" y="9250"/>
                  </a:cubicBezTo>
                  <a:cubicBezTo>
                    <a:pt x="102740" y="9250"/>
                    <a:pt x="122338" y="11042"/>
                    <a:pt x="141300" y="15898"/>
                  </a:cubicBezTo>
                  <a:cubicBezTo>
                    <a:pt x="162690" y="21332"/>
                    <a:pt x="176334" y="28848"/>
                    <a:pt x="179571" y="37115"/>
                  </a:cubicBezTo>
                  <a:cubicBezTo>
                    <a:pt x="181884" y="42838"/>
                    <a:pt x="179051" y="49717"/>
                    <a:pt x="171246" y="57522"/>
                  </a:cubicBezTo>
                  <a:close/>
                </a:path>
              </a:pathLst>
            </a:custGeom>
            <a:solidFill>
              <a:schemeClr val="accent1"/>
            </a:solidFill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en-US" sz="803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5" name="Freeform: Shape 103">
              <a:extLst>
                <a:ext uri="{FF2B5EF4-FFF2-40B4-BE49-F238E27FC236}">
                  <a16:creationId xmlns:a16="http://schemas.microsoft.com/office/drawing/2014/main" id="{E88C7AC8-4C62-7F46-B21D-2A36BA260CEB}"/>
                </a:ext>
              </a:extLst>
            </p:cNvPr>
            <p:cNvSpPr/>
            <p:nvPr/>
          </p:nvSpPr>
          <p:spPr bwMode="auto">
            <a:xfrm>
              <a:off x="813643" y="3730033"/>
              <a:ext cx="78623" cy="84404"/>
            </a:xfrm>
            <a:custGeom>
              <a:avLst/>
              <a:gdLst>
                <a:gd name="connsiteX0" fmla="*/ 74229 w 78622"/>
                <a:gd name="connsiteY0" fmla="*/ 75270 h 84403"/>
                <a:gd name="connsiteX1" fmla="*/ 9250 w 78622"/>
                <a:gd name="connsiteY1" fmla="*/ 75270 h 84403"/>
                <a:gd name="connsiteX2" fmla="*/ 9250 w 78622"/>
                <a:gd name="connsiteY2" fmla="*/ 52088 h 84403"/>
                <a:gd name="connsiteX3" fmla="*/ 38386 w 78622"/>
                <a:gd name="connsiteY3" fmla="*/ 8672 h 84403"/>
                <a:gd name="connsiteX4" fmla="*/ 39311 w 78622"/>
                <a:gd name="connsiteY4" fmla="*/ 8209 h 84403"/>
                <a:gd name="connsiteX5" fmla="*/ 35033 w 78622"/>
                <a:gd name="connsiteY5" fmla="*/ 0 h 84403"/>
                <a:gd name="connsiteX6" fmla="*/ 0 w 78622"/>
                <a:gd name="connsiteY6" fmla="*/ 52088 h 84403"/>
                <a:gd name="connsiteX7" fmla="*/ 0 w 78622"/>
                <a:gd name="connsiteY7" fmla="*/ 79895 h 84403"/>
                <a:gd name="connsiteX8" fmla="*/ 4625 w 78622"/>
                <a:gd name="connsiteY8" fmla="*/ 84520 h 84403"/>
                <a:gd name="connsiteX9" fmla="*/ 79027 w 78622"/>
                <a:gd name="connsiteY9" fmla="*/ 84520 h 84403"/>
                <a:gd name="connsiteX10" fmla="*/ 74229 w 78622"/>
                <a:gd name="connsiteY10" fmla="*/ 75270 h 8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622" h="84403" extrusionOk="0">
                  <a:moveTo>
                    <a:pt x="74229" y="75270"/>
                  </a:moveTo>
                  <a:lnTo>
                    <a:pt x="9250" y="75270"/>
                  </a:lnTo>
                  <a:lnTo>
                    <a:pt x="9250" y="52088"/>
                  </a:lnTo>
                  <a:cubicBezTo>
                    <a:pt x="9250" y="26131"/>
                    <a:pt x="25899" y="14915"/>
                    <a:pt x="38386" y="8672"/>
                  </a:cubicBezTo>
                  <a:lnTo>
                    <a:pt x="39311" y="8209"/>
                  </a:lnTo>
                  <a:lnTo>
                    <a:pt x="35033" y="0"/>
                  </a:lnTo>
                  <a:cubicBezTo>
                    <a:pt x="17864" y="8383"/>
                    <a:pt x="0" y="22142"/>
                    <a:pt x="0" y="52088"/>
                  </a:cubicBezTo>
                  <a:lnTo>
                    <a:pt x="0" y="79895"/>
                  </a:lnTo>
                  <a:cubicBezTo>
                    <a:pt x="0" y="82438"/>
                    <a:pt x="2081" y="84520"/>
                    <a:pt x="4625" y="84520"/>
                  </a:cubicBezTo>
                  <a:lnTo>
                    <a:pt x="79027" y="84520"/>
                  </a:lnTo>
                  <a:lnTo>
                    <a:pt x="74229" y="75270"/>
                  </a:lnTo>
                  <a:close/>
                </a:path>
              </a:pathLst>
            </a:custGeom>
            <a:grpFill/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en-US" sz="803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6" name="Freeform: Shape 104">
              <a:extLst>
                <a:ext uri="{FF2B5EF4-FFF2-40B4-BE49-F238E27FC236}">
                  <a16:creationId xmlns:a16="http://schemas.microsoft.com/office/drawing/2014/main" id="{3D5CF09B-2468-FE4C-9278-FBCFA97097D4}"/>
                </a:ext>
              </a:extLst>
            </p:cNvPr>
            <p:cNvSpPr/>
            <p:nvPr/>
          </p:nvSpPr>
          <p:spPr bwMode="auto">
            <a:xfrm>
              <a:off x="857174" y="3626436"/>
              <a:ext cx="201182" cy="187886"/>
            </a:xfrm>
            <a:custGeom>
              <a:avLst/>
              <a:gdLst>
                <a:gd name="connsiteX0" fmla="*/ 139093 w 201181"/>
                <a:gd name="connsiteY0" fmla="*/ 93018 h 187885"/>
                <a:gd name="connsiteX1" fmla="*/ 139440 w 201181"/>
                <a:gd name="connsiteY1" fmla="*/ 91919 h 187885"/>
                <a:gd name="connsiteX2" fmla="*/ 139093 w 201181"/>
                <a:gd name="connsiteY2" fmla="*/ 93018 h 187885"/>
                <a:gd name="connsiteX3" fmla="*/ 129901 w 201181"/>
                <a:gd name="connsiteY3" fmla="*/ 89838 h 187885"/>
                <a:gd name="connsiteX4" fmla="*/ 129381 w 201181"/>
                <a:gd name="connsiteY4" fmla="*/ 89665 h 187885"/>
                <a:gd name="connsiteX5" fmla="*/ 125565 w 201181"/>
                <a:gd name="connsiteY5" fmla="*/ 79201 h 187885"/>
                <a:gd name="connsiteX6" fmla="*/ 126259 w 201181"/>
                <a:gd name="connsiteY6" fmla="*/ 78681 h 187885"/>
                <a:gd name="connsiteX7" fmla="*/ 158055 w 201181"/>
                <a:gd name="connsiteY7" fmla="*/ 15320 h 187885"/>
                <a:gd name="connsiteX8" fmla="*/ 158055 w 201181"/>
                <a:gd name="connsiteY8" fmla="*/ 2312 h 187885"/>
                <a:gd name="connsiteX9" fmla="*/ 148805 w 201181"/>
                <a:gd name="connsiteY9" fmla="*/ 8614 h 187885"/>
                <a:gd name="connsiteX10" fmla="*/ 148805 w 201181"/>
                <a:gd name="connsiteY10" fmla="*/ 15378 h 187885"/>
                <a:gd name="connsiteX11" fmla="*/ 118108 w 201181"/>
                <a:gd name="connsiteY11" fmla="*/ 73189 h 187885"/>
                <a:gd name="connsiteX12" fmla="*/ 117992 w 201181"/>
                <a:gd name="connsiteY12" fmla="*/ 73246 h 187885"/>
                <a:gd name="connsiteX13" fmla="*/ 117009 w 201181"/>
                <a:gd name="connsiteY13" fmla="*/ 73882 h 187885"/>
                <a:gd name="connsiteX14" fmla="*/ 116894 w 201181"/>
                <a:gd name="connsiteY14" fmla="*/ 73998 h 187885"/>
                <a:gd name="connsiteX15" fmla="*/ 79027 w 201181"/>
                <a:gd name="connsiteY15" fmla="*/ 85156 h 187885"/>
                <a:gd name="connsiteX16" fmla="*/ 41161 w 201181"/>
                <a:gd name="connsiteY16" fmla="*/ 73940 h 187885"/>
                <a:gd name="connsiteX17" fmla="*/ 41046 w 201181"/>
                <a:gd name="connsiteY17" fmla="*/ 73825 h 187885"/>
                <a:gd name="connsiteX18" fmla="*/ 40063 w 201181"/>
                <a:gd name="connsiteY18" fmla="*/ 73189 h 187885"/>
                <a:gd name="connsiteX19" fmla="*/ 39947 w 201181"/>
                <a:gd name="connsiteY19" fmla="*/ 73131 h 187885"/>
                <a:gd name="connsiteX20" fmla="*/ 9250 w 201181"/>
                <a:gd name="connsiteY20" fmla="*/ 15320 h 187885"/>
                <a:gd name="connsiteX21" fmla="*/ 9250 w 201181"/>
                <a:gd name="connsiteY21" fmla="*/ 8325 h 187885"/>
                <a:gd name="connsiteX22" fmla="*/ 0 w 201181"/>
                <a:gd name="connsiteY22" fmla="*/ 0 h 187885"/>
                <a:gd name="connsiteX23" fmla="*/ 0 w 201181"/>
                <a:gd name="connsiteY23" fmla="*/ 15378 h 187885"/>
                <a:gd name="connsiteX24" fmla="*/ 31796 w 201181"/>
                <a:gd name="connsiteY24" fmla="*/ 78738 h 187885"/>
                <a:gd name="connsiteX25" fmla="*/ 32490 w 201181"/>
                <a:gd name="connsiteY25" fmla="*/ 79259 h 187885"/>
                <a:gd name="connsiteX26" fmla="*/ 28674 w 201181"/>
                <a:gd name="connsiteY26" fmla="*/ 89723 h 187885"/>
                <a:gd name="connsiteX27" fmla="*/ 28154 w 201181"/>
                <a:gd name="connsiteY27" fmla="*/ 89896 h 187885"/>
                <a:gd name="connsiteX28" fmla="*/ 31507 w 201181"/>
                <a:gd name="connsiteY28" fmla="*/ 99204 h 187885"/>
                <a:gd name="connsiteX29" fmla="*/ 59198 w 201181"/>
                <a:gd name="connsiteY29" fmla="*/ 128051 h 187885"/>
                <a:gd name="connsiteX30" fmla="*/ 63303 w 201181"/>
                <a:gd name="connsiteY30" fmla="*/ 129439 h 187885"/>
                <a:gd name="connsiteX31" fmla="*/ 66714 w 201181"/>
                <a:gd name="connsiteY31" fmla="*/ 126837 h 187885"/>
                <a:gd name="connsiteX32" fmla="*/ 79027 w 201181"/>
                <a:gd name="connsiteY32" fmla="*/ 100707 h 187885"/>
                <a:gd name="connsiteX33" fmla="*/ 91341 w 201181"/>
                <a:gd name="connsiteY33" fmla="*/ 126837 h 187885"/>
                <a:gd name="connsiteX34" fmla="*/ 94752 w 201181"/>
                <a:gd name="connsiteY34" fmla="*/ 129439 h 187885"/>
                <a:gd name="connsiteX35" fmla="*/ 98857 w 201181"/>
                <a:gd name="connsiteY35" fmla="*/ 128051 h 187885"/>
                <a:gd name="connsiteX36" fmla="*/ 127068 w 201181"/>
                <a:gd name="connsiteY36" fmla="*/ 98683 h 187885"/>
                <a:gd name="connsiteX37" fmla="*/ 127762 w 201181"/>
                <a:gd name="connsiteY37" fmla="*/ 98915 h 187885"/>
                <a:gd name="connsiteX38" fmla="*/ 136145 w 201181"/>
                <a:gd name="connsiteY38" fmla="*/ 101805 h 187885"/>
                <a:gd name="connsiteX39" fmla="*/ 192337 w 201181"/>
                <a:gd name="connsiteY39" fmla="*/ 155685 h 187885"/>
                <a:gd name="connsiteX40" fmla="*/ 192337 w 201181"/>
                <a:gd name="connsiteY40" fmla="*/ 178867 h 187885"/>
                <a:gd name="connsiteX41" fmla="*/ 73189 w 201181"/>
                <a:gd name="connsiteY41" fmla="*/ 178867 h 187885"/>
                <a:gd name="connsiteX42" fmla="*/ 78045 w 201181"/>
                <a:gd name="connsiteY42" fmla="*/ 188117 h 187885"/>
                <a:gd name="connsiteX43" fmla="*/ 196962 w 201181"/>
                <a:gd name="connsiteY43" fmla="*/ 188117 h 187885"/>
                <a:gd name="connsiteX44" fmla="*/ 201586 w 201181"/>
                <a:gd name="connsiteY44" fmla="*/ 183492 h 187885"/>
                <a:gd name="connsiteX45" fmla="*/ 201586 w 201181"/>
                <a:gd name="connsiteY45" fmla="*/ 155685 h 187885"/>
                <a:gd name="connsiteX46" fmla="*/ 139093 w 201181"/>
                <a:gd name="connsiteY46" fmla="*/ 93018 h 187885"/>
                <a:gd name="connsiteX47" fmla="*/ 61222 w 201181"/>
                <a:gd name="connsiteY47" fmla="*/ 116778 h 187885"/>
                <a:gd name="connsiteX48" fmla="*/ 37577 w 201181"/>
                <a:gd name="connsiteY48" fmla="*/ 92208 h 187885"/>
                <a:gd name="connsiteX49" fmla="*/ 40410 w 201181"/>
                <a:gd name="connsiteY49" fmla="*/ 84404 h 187885"/>
                <a:gd name="connsiteX50" fmla="*/ 41566 w 201181"/>
                <a:gd name="connsiteY50" fmla="*/ 85040 h 187885"/>
                <a:gd name="connsiteX51" fmla="*/ 70240 w 201181"/>
                <a:gd name="connsiteY51" fmla="*/ 94001 h 187885"/>
                <a:gd name="connsiteX52" fmla="*/ 71859 w 201181"/>
                <a:gd name="connsiteY52" fmla="*/ 94174 h 187885"/>
                <a:gd name="connsiteX53" fmla="*/ 61222 w 201181"/>
                <a:gd name="connsiteY53" fmla="*/ 116778 h 187885"/>
                <a:gd name="connsiteX54" fmla="*/ 96833 w 201181"/>
                <a:gd name="connsiteY54" fmla="*/ 116778 h 187885"/>
                <a:gd name="connsiteX55" fmla="*/ 86196 w 201181"/>
                <a:gd name="connsiteY55" fmla="*/ 94116 h 187885"/>
                <a:gd name="connsiteX56" fmla="*/ 87815 w 201181"/>
                <a:gd name="connsiteY56" fmla="*/ 93943 h 187885"/>
                <a:gd name="connsiteX57" fmla="*/ 116489 w 201181"/>
                <a:gd name="connsiteY57" fmla="*/ 84982 h 187885"/>
                <a:gd name="connsiteX58" fmla="*/ 117645 w 201181"/>
                <a:gd name="connsiteY58" fmla="*/ 84346 h 187885"/>
                <a:gd name="connsiteX59" fmla="*/ 120478 w 201181"/>
                <a:gd name="connsiteY59" fmla="*/ 92151 h 187885"/>
                <a:gd name="connsiteX60" fmla="*/ 96833 w 201181"/>
                <a:gd name="connsiteY60" fmla="*/ 116778 h 187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201181" h="187885" extrusionOk="0">
                  <a:moveTo>
                    <a:pt x="139093" y="93018"/>
                  </a:moveTo>
                  <a:lnTo>
                    <a:pt x="139440" y="91919"/>
                  </a:lnTo>
                  <a:lnTo>
                    <a:pt x="139093" y="93018"/>
                  </a:lnTo>
                  <a:cubicBezTo>
                    <a:pt x="135624" y="91862"/>
                    <a:pt x="132734" y="90879"/>
                    <a:pt x="129901" y="89838"/>
                  </a:cubicBezTo>
                  <a:lnTo>
                    <a:pt x="129381" y="89665"/>
                  </a:lnTo>
                  <a:lnTo>
                    <a:pt x="125565" y="79201"/>
                  </a:lnTo>
                  <a:lnTo>
                    <a:pt x="126259" y="78681"/>
                  </a:lnTo>
                  <a:cubicBezTo>
                    <a:pt x="146146" y="63765"/>
                    <a:pt x="158055" y="40121"/>
                    <a:pt x="158055" y="15320"/>
                  </a:cubicBezTo>
                  <a:lnTo>
                    <a:pt x="158055" y="2312"/>
                  </a:lnTo>
                  <a:cubicBezTo>
                    <a:pt x="156205" y="4278"/>
                    <a:pt x="153083" y="6937"/>
                    <a:pt x="148805" y="8614"/>
                  </a:cubicBezTo>
                  <a:lnTo>
                    <a:pt x="148805" y="15378"/>
                  </a:lnTo>
                  <a:cubicBezTo>
                    <a:pt x="148805" y="38502"/>
                    <a:pt x="137301" y="60123"/>
                    <a:pt x="118108" y="73189"/>
                  </a:cubicBezTo>
                  <a:lnTo>
                    <a:pt x="117992" y="73246"/>
                  </a:lnTo>
                  <a:cubicBezTo>
                    <a:pt x="117645" y="73420"/>
                    <a:pt x="117298" y="73651"/>
                    <a:pt x="117009" y="73882"/>
                  </a:cubicBezTo>
                  <a:lnTo>
                    <a:pt x="116894" y="73998"/>
                  </a:lnTo>
                  <a:cubicBezTo>
                    <a:pt x="105620" y="81340"/>
                    <a:pt x="92497" y="85156"/>
                    <a:pt x="79027" y="85156"/>
                  </a:cubicBezTo>
                  <a:cubicBezTo>
                    <a:pt x="65558" y="85156"/>
                    <a:pt x="52434" y="81282"/>
                    <a:pt x="41161" y="73940"/>
                  </a:cubicBezTo>
                  <a:lnTo>
                    <a:pt x="41046" y="73825"/>
                  </a:lnTo>
                  <a:cubicBezTo>
                    <a:pt x="40757" y="73536"/>
                    <a:pt x="40410" y="73362"/>
                    <a:pt x="40063" y="73189"/>
                  </a:cubicBezTo>
                  <a:lnTo>
                    <a:pt x="39947" y="73131"/>
                  </a:lnTo>
                  <a:cubicBezTo>
                    <a:pt x="20696" y="60066"/>
                    <a:pt x="9250" y="38502"/>
                    <a:pt x="9250" y="15320"/>
                  </a:cubicBezTo>
                  <a:lnTo>
                    <a:pt x="9250" y="8325"/>
                  </a:lnTo>
                  <a:cubicBezTo>
                    <a:pt x="8094" y="7342"/>
                    <a:pt x="4625" y="4394"/>
                    <a:pt x="0" y="0"/>
                  </a:cubicBezTo>
                  <a:lnTo>
                    <a:pt x="0" y="15378"/>
                  </a:lnTo>
                  <a:cubicBezTo>
                    <a:pt x="0" y="40121"/>
                    <a:pt x="11909" y="63823"/>
                    <a:pt x="31796" y="78738"/>
                  </a:cubicBezTo>
                  <a:lnTo>
                    <a:pt x="32490" y="79259"/>
                  </a:lnTo>
                  <a:lnTo>
                    <a:pt x="28674" y="89723"/>
                  </a:lnTo>
                  <a:lnTo>
                    <a:pt x="28154" y="89896"/>
                  </a:lnTo>
                  <a:lnTo>
                    <a:pt x="31507" y="99204"/>
                  </a:lnTo>
                  <a:lnTo>
                    <a:pt x="59198" y="128051"/>
                  </a:lnTo>
                  <a:cubicBezTo>
                    <a:pt x="60239" y="129150"/>
                    <a:pt x="61800" y="129670"/>
                    <a:pt x="63303" y="129439"/>
                  </a:cubicBezTo>
                  <a:cubicBezTo>
                    <a:pt x="64806" y="129207"/>
                    <a:pt x="66078" y="128225"/>
                    <a:pt x="66714" y="126837"/>
                  </a:cubicBezTo>
                  <a:lnTo>
                    <a:pt x="79027" y="100707"/>
                  </a:lnTo>
                  <a:lnTo>
                    <a:pt x="91341" y="126837"/>
                  </a:lnTo>
                  <a:cubicBezTo>
                    <a:pt x="91977" y="128225"/>
                    <a:pt x="93249" y="129207"/>
                    <a:pt x="94752" y="129439"/>
                  </a:cubicBezTo>
                  <a:cubicBezTo>
                    <a:pt x="96197" y="129670"/>
                    <a:pt x="97816" y="129150"/>
                    <a:pt x="98857" y="128051"/>
                  </a:cubicBezTo>
                  <a:lnTo>
                    <a:pt x="127068" y="98683"/>
                  </a:lnTo>
                  <a:lnTo>
                    <a:pt x="127762" y="98915"/>
                  </a:lnTo>
                  <a:cubicBezTo>
                    <a:pt x="130421" y="99839"/>
                    <a:pt x="133023" y="100707"/>
                    <a:pt x="136145" y="101805"/>
                  </a:cubicBezTo>
                  <a:cubicBezTo>
                    <a:pt x="163778" y="111113"/>
                    <a:pt x="192337" y="120767"/>
                    <a:pt x="192337" y="155685"/>
                  </a:cubicBezTo>
                  <a:lnTo>
                    <a:pt x="192337" y="178867"/>
                  </a:lnTo>
                  <a:lnTo>
                    <a:pt x="73189" y="178867"/>
                  </a:lnTo>
                  <a:lnTo>
                    <a:pt x="78045" y="188117"/>
                  </a:lnTo>
                  <a:lnTo>
                    <a:pt x="196962" y="188117"/>
                  </a:lnTo>
                  <a:cubicBezTo>
                    <a:pt x="199505" y="188117"/>
                    <a:pt x="201586" y="186036"/>
                    <a:pt x="201586" y="183492"/>
                  </a:cubicBezTo>
                  <a:lnTo>
                    <a:pt x="201586" y="155685"/>
                  </a:lnTo>
                  <a:cubicBezTo>
                    <a:pt x="201586" y="114119"/>
                    <a:pt x="166958" y="102441"/>
                    <a:pt x="139093" y="93018"/>
                  </a:cubicBezTo>
                  <a:close/>
                  <a:moveTo>
                    <a:pt x="61222" y="116778"/>
                  </a:moveTo>
                  <a:lnTo>
                    <a:pt x="37577" y="92208"/>
                  </a:lnTo>
                  <a:lnTo>
                    <a:pt x="40410" y="84404"/>
                  </a:lnTo>
                  <a:lnTo>
                    <a:pt x="41566" y="85040"/>
                  </a:lnTo>
                  <a:cubicBezTo>
                    <a:pt x="50469" y="89838"/>
                    <a:pt x="60123" y="92844"/>
                    <a:pt x="70240" y="94001"/>
                  </a:cubicBezTo>
                  <a:lnTo>
                    <a:pt x="71859" y="94174"/>
                  </a:lnTo>
                  <a:lnTo>
                    <a:pt x="61222" y="116778"/>
                  </a:lnTo>
                  <a:close/>
                  <a:moveTo>
                    <a:pt x="96833" y="116778"/>
                  </a:moveTo>
                  <a:lnTo>
                    <a:pt x="86196" y="94116"/>
                  </a:lnTo>
                  <a:lnTo>
                    <a:pt x="87815" y="93943"/>
                  </a:lnTo>
                  <a:cubicBezTo>
                    <a:pt x="97932" y="92844"/>
                    <a:pt x="107528" y="89838"/>
                    <a:pt x="116489" y="84982"/>
                  </a:cubicBezTo>
                  <a:lnTo>
                    <a:pt x="117645" y="84346"/>
                  </a:lnTo>
                  <a:lnTo>
                    <a:pt x="120478" y="92151"/>
                  </a:lnTo>
                  <a:lnTo>
                    <a:pt x="96833" y="116778"/>
                  </a:lnTo>
                  <a:close/>
                </a:path>
              </a:pathLst>
            </a:custGeom>
            <a:grpFill/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en-US" sz="803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7" name="Freeform: Shape 105">
              <a:extLst>
                <a:ext uri="{FF2B5EF4-FFF2-40B4-BE49-F238E27FC236}">
                  <a16:creationId xmlns:a16="http://schemas.microsoft.com/office/drawing/2014/main" id="{4BF0E5E3-7856-144E-9423-35BEDD41528A}"/>
                </a:ext>
              </a:extLst>
            </p:cNvPr>
            <p:cNvSpPr/>
            <p:nvPr/>
          </p:nvSpPr>
          <p:spPr bwMode="auto">
            <a:xfrm>
              <a:off x="848619" y="3716332"/>
              <a:ext cx="86138" cy="97700"/>
            </a:xfrm>
            <a:custGeom>
              <a:avLst/>
              <a:gdLst>
                <a:gd name="connsiteX0" fmla="*/ 86543 w 86138"/>
                <a:gd name="connsiteY0" fmla="*/ 98221 h 97700"/>
                <a:gd name="connsiteX1" fmla="*/ 81687 w 86138"/>
                <a:gd name="connsiteY1" fmla="*/ 88971 h 97700"/>
                <a:gd name="connsiteX2" fmla="*/ 81398 w 86138"/>
                <a:gd name="connsiteY2" fmla="*/ 88971 h 97700"/>
                <a:gd name="connsiteX3" fmla="*/ 81051 w 86138"/>
                <a:gd name="connsiteY3" fmla="*/ 88335 h 97700"/>
                <a:gd name="connsiteX4" fmla="*/ 40005 w 86138"/>
                <a:gd name="connsiteY4" fmla="*/ 9308 h 97700"/>
                <a:gd name="connsiteX5" fmla="*/ 36652 w 86138"/>
                <a:gd name="connsiteY5" fmla="*/ 0 h 97700"/>
                <a:gd name="connsiteX6" fmla="*/ 27460 w 86138"/>
                <a:gd name="connsiteY6" fmla="*/ 3180 h 97700"/>
                <a:gd name="connsiteX7" fmla="*/ 4972 w 86138"/>
                <a:gd name="connsiteY7" fmla="*/ 11504 h 97700"/>
                <a:gd name="connsiteX8" fmla="*/ 4914 w 86138"/>
                <a:gd name="connsiteY8" fmla="*/ 11504 h 97700"/>
                <a:gd name="connsiteX9" fmla="*/ 4394 w 86138"/>
                <a:gd name="connsiteY9" fmla="*/ 11736 h 97700"/>
                <a:gd name="connsiteX10" fmla="*/ 4336 w 86138"/>
                <a:gd name="connsiteY10" fmla="*/ 11793 h 97700"/>
                <a:gd name="connsiteX11" fmla="*/ 0 w 86138"/>
                <a:gd name="connsiteY11" fmla="*/ 13817 h 97700"/>
                <a:gd name="connsiteX12" fmla="*/ 4336 w 86138"/>
                <a:gd name="connsiteY12" fmla="*/ 21910 h 97700"/>
                <a:gd name="connsiteX13" fmla="*/ 4451 w 86138"/>
                <a:gd name="connsiteY13" fmla="*/ 21853 h 97700"/>
                <a:gd name="connsiteX14" fmla="*/ 4972 w 86138"/>
                <a:gd name="connsiteY14" fmla="*/ 22835 h 97700"/>
                <a:gd name="connsiteX15" fmla="*/ 39311 w 86138"/>
                <a:gd name="connsiteY15" fmla="*/ 88971 h 97700"/>
                <a:gd name="connsiteX16" fmla="*/ 39254 w 86138"/>
                <a:gd name="connsiteY16" fmla="*/ 88971 h 97700"/>
                <a:gd name="connsiteX17" fmla="*/ 44052 w 86138"/>
                <a:gd name="connsiteY17" fmla="*/ 98221 h 97700"/>
                <a:gd name="connsiteX18" fmla="*/ 78681 w 86138"/>
                <a:gd name="connsiteY18" fmla="*/ 98221 h 97700"/>
                <a:gd name="connsiteX19" fmla="*/ 86543 w 86138"/>
                <a:gd name="connsiteY19" fmla="*/ 98221 h 97700"/>
                <a:gd name="connsiteX20" fmla="*/ 49717 w 86138"/>
                <a:gd name="connsiteY20" fmla="*/ 88971 h 97700"/>
                <a:gd name="connsiteX21" fmla="*/ 49370 w 86138"/>
                <a:gd name="connsiteY21" fmla="*/ 88335 h 97700"/>
                <a:gd name="connsiteX22" fmla="*/ 12950 w 86138"/>
                <a:gd name="connsiteY22" fmla="*/ 18153 h 97700"/>
                <a:gd name="connsiteX23" fmla="*/ 14164 w 86138"/>
                <a:gd name="connsiteY23" fmla="*/ 17690 h 97700"/>
                <a:gd name="connsiteX24" fmla="*/ 29946 w 86138"/>
                <a:gd name="connsiteY24" fmla="*/ 12082 h 97700"/>
                <a:gd name="connsiteX25" fmla="*/ 30871 w 86138"/>
                <a:gd name="connsiteY25" fmla="*/ 11793 h 97700"/>
                <a:gd name="connsiteX26" fmla="*/ 70992 w 86138"/>
                <a:gd name="connsiteY26" fmla="*/ 88971 h 97700"/>
                <a:gd name="connsiteX27" fmla="*/ 49717 w 86138"/>
                <a:gd name="connsiteY27" fmla="*/ 88971 h 9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86138" h="97700" extrusionOk="0">
                  <a:moveTo>
                    <a:pt x="86543" y="98221"/>
                  </a:moveTo>
                  <a:lnTo>
                    <a:pt x="81687" y="88971"/>
                  </a:lnTo>
                  <a:lnTo>
                    <a:pt x="81398" y="88971"/>
                  </a:lnTo>
                  <a:lnTo>
                    <a:pt x="81051" y="88335"/>
                  </a:lnTo>
                  <a:lnTo>
                    <a:pt x="40005" y="9308"/>
                  </a:lnTo>
                  <a:lnTo>
                    <a:pt x="36652" y="0"/>
                  </a:lnTo>
                  <a:cubicBezTo>
                    <a:pt x="33704" y="1041"/>
                    <a:pt x="30755" y="2023"/>
                    <a:pt x="27460" y="3180"/>
                  </a:cubicBezTo>
                  <a:cubicBezTo>
                    <a:pt x="20060" y="5665"/>
                    <a:pt x="12429" y="8267"/>
                    <a:pt x="4972" y="11504"/>
                  </a:cubicBezTo>
                  <a:lnTo>
                    <a:pt x="4914" y="11504"/>
                  </a:lnTo>
                  <a:cubicBezTo>
                    <a:pt x="4740" y="11562"/>
                    <a:pt x="4567" y="11620"/>
                    <a:pt x="4394" y="11736"/>
                  </a:cubicBezTo>
                  <a:lnTo>
                    <a:pt x="4336" y="11793"/>
                  </a:lnTo>
                  <a:cubicBezTo>
                    <a:pt x="2891" y="12429"/>
                    <a:pt x="1445" y="13065"/>
                    <a:pt x="0" y="13817"/>
                  </a:cubicBezTo>
                  <a:lnTo>
                    <a:pt x="4336" y="21910"/>
                  </a:lnTo>
                  <a:lnTo>
                    <a:pt x="4451" y="21853"/>
                  </a:lnTo>
                  <a:lnTo>
                    <a:pt x="4972" y="22835"/>
                  </a:lnTo>
                  <a:lnTo>
                    <a:pt x="39311" y="88971"/>
                  </a:lnTo>
                  <a:lnTo>
                    <a:pt x="39254" y="88971"/>
                  </a:lnTo>
                  <a:lnTo>
                    <a:pt x="44052" y="98221"/>
                  </a:lnTo>
                  <a:lnTo>
                    <a:pt x="78681" y="98221"/>
                  </a:lnTo>
                  <a:lnTo>
                    <a:pt x="86543" y="98221"/>
                  </a:lnTo>
                  <a:close/>
                  <a:moveTo>
                    <a:pt x="49717" y="88971"/>
                  </a:moveTo>
                  <a:lnTo>
                    <a:pt x="49370" y="88335"/>
                  </a:lnTo>
                  <a:lnTo>
                    <a:pt x="12950" y="18153"/>
                  </a:lnTo>
                  <a:lnTo>
                    <a:pt x="14164" y="17690"/>
                  </a:lnTo>
                  <a:cubicBezTo>
                    <a:pt x="19482" y="15609"/>
                    <a:pt x="25032" y="13759"/>
                    <a:pt x="29946" y="12082"/>
                  </a:cubicBezTo>
                  <a:lnTo>
                    <a:pt x="30871" y="11793"/>
                  </a:lnTo>
                  <a:lnTo>
                    <a:pt x="70992" y="88971"/>
                  </a:lnTo>
                  <a:lnTo>
                    <a:pt x="49717" y="88971"/>
                  </a:lnTo>
                  <a:close/>
                </a:path>
              </a:pathLst>
            </a:custGeom>
            <a:solidFill>
              <a:schemeClr val="accent1"/>
            </a:solidFill>
            <a:ln w="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11916">
                <a:buClr>
                  <a:srgbClr val="000000"/>
                </a:buClr>
                <a:defRPr/>
              </a:pPr>
              <a:endParaRPr lang="en-US" sz="803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58" name="Группа 12">
            <a:extLst>
              <a:ext uri="{FF2B5EF4-FFF2-40B4-BE49-F238E27FC236}">
                <a16:creationId xmlns:a16="http://schemas.microsoft.com/office/drawing/2014/main" id="{4E995B46-7CDC-D143-AD71-172F0561DE51}"/>
              </a:ext>
            </a:extLst>
          </p:cNvPr>
          <p:cNvGrpSpPr/>
          <p:nvPr/>
        </p:nvGrpSpPr>
        <p:grpSpPr bwMode="auto">
          <a:xfrm>
            <a:off x="8806964" y="1906887"/>
            <a:ext cx="1810587" cy="582761"/>
            <a:chOff x="942801" y="1270983"/>
            <a:chExt cx="2705507" cy="870803"/>
          </a:xfrm>
        </p:grpSpPr>
        <p:sp>
          <p:nvSpPr>
            <p:cNvPr id="59" name="Заголовок 1">
              <a:extLst>
                <a:ext uri="{FF2B5EF4-FFF2-40B4-BE49-F238E27FC236}">
                  <a16:creationId xmlns:a16="http://schemas.microsoft.com/office/drawing/2014/main" id="{23E188F4-40C4-BD46-ACB5-39D765DFACD5}"/>
                </a:ext>
              </a:extLst>
            </p:cNvPr>
            <p:cNvSpPr txBox="1"/>
            <p:nvPr/>
          </p:nvSpPr>
          <p:spPr bwMode="auto">
            <a:xfrm>
              <a:off x="942801" y="1270983"/>
              <a:ext cx="2705507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en-US" sz="2409" b="1" dirty="0">
                  <a:solidFill>
                    <a:schemeClr val="accent1"/>
                  </a:solidFill>
                </a:rPr>
                <a:t>&gt; </a:t>
              </a:r>
              <a:r>
                <a:rPr lang="ru-RU" sz="2409" b="1" dirty="0">
                  <a:solidFill>
                    <a:schemeClr val="accent1"/>
                  </a:solidFill>
                </a:rPr>
                <a:t>300 тыс.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60" name="Заголовок 1">
              <a:extLst>
                <a:ext uri="{FF2B5EF4-FFF2-40B4-BE49-F238E27FC236}">
                  <a16:creationId xmlns:a16="http://schemas.microsoft.com/office/drawing/2014/main" id="{0BFF4262-029C-F047-AB2A-792624E962A5}"/>
                </a:ext>
              </a:extLst>
            </p:cNvPr>
            <p:cNvSpPr txBox="1"/>
            <p:nvPr/>
          </p:nvSpPr>
          <p:spPr bwMode="auto">
            <a:xfrm>
              <a:off x="942801" y="1864696"/>
              <a:ext cx="2576401" cy="2770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сотрудников</a:t>
              </a:r>
              <a:endParaRPr lang="ru-RU" sz="1205" dirty="0"/>
            </a:p>
          </p:txBody>
        </p:sp>
      </p:grpSp>
      <p:grpSp>
        <p:nvGrpSpPr>
          <p:cNvPr id="61" name="Рисунок 13">
            <a:extLst>
              <a:ext uri="{FF2B5EF4-FFF2-40B4-BE49-F238E27FC236}">
                <a16:creationId xmlns:a16="http://schemas.microsoft.com/office/drawing/2014/main" id="{D5FC2361-5037-704F-8DD9-8CB0371F596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1355" y="4140453"/>
            <a:ext cx="1174903" cy="1119795"/>
            <a:chOff x="3025605" y="1098365"/>
            <a:chExt cx="433137" cy="412822"/>
          </a:xfrm>
          <a:solidFill>
            <a:schemeClr val="tx2"/>
          </a:solidFill>
        </p:grpSpPr>
        <p:sp>
          <p:nvSpPr>
            <p:cNvPr id="62" name="Полилиния: фигура 805">
              <a:extLst>
                <a:ext uri="{FF2B5EF4-FFF2-40B4-BE49-F238E27FC236}">
                  <a16:creationId xmlns:a16="http://schemas.microsoft.com/office/drawing/2014/main" id="{AC9D23A1-6886-9648-8FA3-53EDB3AAFEE4}"/>
                </a:ext>
              </a:extLst>
            </p:cNvPr>
            <p:cNvSpPr/>
            <p:nvPr/>
          </p:nvSpPr>
          <p:spPr bwMode="auto">
            <a:xfrm>
              <a:off x="3025605" y="1304468"/>
              <a:ext cx="120656" cy="206719"/>
            </a:xfrm>
            <a:custGeom>
              <a:avLst/>
              <a:gdLst>
                <a:gd name="connsiteX0" fmla="*/ 67415 w 120656"/>
                <a:gd name="connsiteY0" fmla="*/ 168132 h 206718"/>
                <a:gd name="connsiteX1" fmla="*/ 92672 w 120656"/>
                <a:gd name="connsiteY1" fmla="*/ 127894 h 206718"/>
                <a:gd name="connsiteX2" fmla="*/ 120153 w 120656"/>
                <a:gd name="connsiteY2" fmla="*/ 60392 h 206718"/>
                <a:gd name="connsiteX3" fmla="*/ 60393 w 120656"/>
                <a:gd name="connsiteY3" fmla="*/ 633 h 206718"/>
                <a:gd name="connsiteX4" fmla="*/ 633 w 120656"/>
                <a:gd name="connsiteY4" fmla="*/ 60394 h 206718"/>
                <a:gd name="connsiteX5" fmla="*/ 53362 w 120656"/>
                <a:gd name="connsiteY5" fmla="*/ 168136 h 206718"/>
                <a:gd name="connsiteX6" fmla="*/ 40524 w 120656"/>
                <a:gd name="connsiteY6" fmla="*/ 186715 h 206718"/>
                <a:gd name="connsiteX7" fmla="*/ 60393 w 120656"/>
                <a:gd name="connsiteY7" fmla="*/ 206585 h 206718"/>
                <a:gd name="connsiteX8" fmla="*/ 79237 w 120656"/>
                <a:gd name="connsiteY8" fmla="*/ 193003 h 206718"/>
                <a:gd name="connsiteX9" fmla="*/ 93955 w 120656"/>
                <a:gd name="connsiteY9" fmla="*/ 193003 h 206718"/>
                <a:gd name="connsiteX10" fmla="*/ 93955 w 120656"/>
                <a:gd name="connsiteY10" fmla="*/ 179859 h 206718"/>
                <a:gd name="connsiteX11" fmla="*/ 79042 w 120656"/>
                <a:gd name="connsiteY11" fmla="*/ 179859 h 206718"/>
                <a:gd name="connsiteX12" fmla="*/ 67415 w 120656"/>
                <a:gd name="connsiteY12" fmla="*/ 168132 h 206718"/>
                <a:gd name="connsiteX13" fmla="*/ 13777 w 120656"/>
                <a:gd name="connsiteY13" fmla="*/ 60394 h 206718"/>
                <a:gd name="connsiteX14" fmla="*/ 60392 w 120656"/>
                <a:gd name="connsiteY14" fmla="*/ 13778 h 206718"/>
                <a:gd name="connsiteX15" fmla="*/ 107008 w 120656"/>
                <a:gd name="connsiteY15" fmla="*/ 60394 h 206718"/>
                <a:gd name="connsiteX16" fmla="*/ 60392 w 120656"/>
                <a:gd name="connsiteY16" fmla="*/ 155019 h 206718"/>
                <a:gd name="connsiteX17" fmla="*/ 13777 w 120656"/>
                <a:gd name="connsiteY17" fmla="*/ 60394 h 206718"/>
                <a:gd name="connsiteX18" fmla="*/ 60392 w 120656"/>
                <a:gd name="connsiteY18" fmla="*/ 193440 h 206718"/>
                <a:gd name="connsiteX19" fmla="*/ 53667 w 120656"/>
                <a:gd name="connsiteY19" fmla="*/ 186714 h 206718"/>
                <a:gd name="connsiteX20" fmla="*/ 60392 w 120656"/>
                <a:gd name="connsiteY20" fmla="*/ 179990 h 206718"/>
                <a:gd name="connsiteX21" fmla="*/ 67118 w 120656"/>
                <a:gd name="connsiteY21" fmla="*/ 186714 h 206718"/>
                <a:gd name="connsiteX22" fmla="*/ 60392 w 120656"/>
                <a:gd name="connsiteY22" fmla="*/ 193440 h 20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656" h="206718" extrusionOk="0">
                  <a:moveTo>
                    <a:pt x="67415" y="168132"/>
                  </a:moveTo>
                  <a:cubicBezTo>
                    <a:pt x="71384" y="162256"/>
                    <a:pt x="82083" y="146146"/>
                    <a:pt x="92672" y="127894"/>
                  </a:cubicBezTo>
                  <a:cubicBezTo>
                    <a:pt x="110907" y="96458"/>
                    <a:pt x="120153" y="73749"/>
                    <a:pt x="120153" y="60392"/>
                  </a:cubicBezTo>
                  <a:cubicBezTo>
                    <a:pt x="120153" y="27441"/>
                    <a:pt x="93344" y="633"/>
                    <a:pt x="60393" y="633"/>
                  </a:cubicBezTo>
                  <a:cubicBezTo>
                    <a:pt x="27441" y="633"/>
                    <a:pt x="633" y="27441"/>
                    <a:pt x="633" y="60394"/>
                  </a:cubicBezTo>
                  <a:cubicBezTo>
                    <a:pt x="633" y="88940"/>
                    <a:pt x="43248" y="153271"/>
                    <a:pt x="53362" y="168136"/>
                  </a:cubicBezTo>
                  <a:cubicBezTo>
                    <a:pt x="45866" y="170982"/>
                    <a:pt x="40524" y="178235"/>
                    <a:pt x="40524" y="186715"/>
                  </a:cubicBezTo>
                  <a:cubicBezTo>
                    <a:pt x="40524" y="197671"/>
                    <a:pt x="49437" y="206585"/>
                    <a:pt x="60393" y="206585"/>
                  </a:cubicBezTo>
                  <a:cubicBezTo>
                    <a:pt x="69152" y="206585"/>
                    <a:pt x="76600" y="200885"/>
                    <a:pt x="79237" y="193003"/>
                  </a:cubicBezTo>
                  <a:lnTo>
                    <a:pt x="93955" y="193003"/>
                  </a:lnTo>
                  <a:lnTo>
                    <a:pt x="93955" y="179859"/>
                  </a:lnTo>
                  <a:lnTo>
                    <a:pt x="79042" y="179859"/>
                  </a:lnTo>
                  <a:cubicBezTo>
                    <a:pt x="77052" y="174466"/>
                    <a:pt x="72785" y="170168"/>
                    <a:pt x="67415" y="168132"/>
                  </a:cubicBezTo>
                  <a:close/>
                  <a:moveTo>
                    <a:pt x="13777" y="60394"/>
                  </a:moveTo>
                  <a:cubicBezTo>
                    <a:pt x="13777" y="34690"/>
                    <a:pt x="34688" y="13778"/>
                    <a:pt x="60392" y="13778"/>
                  </a:cubicBezTo>
                  <a:cubicBezTo>
                    <a:pt x="86097" y="13778"/>
                    <a:pt x="107008" y="34691"/>
                    <a:pt x="107008" y="60394"/>
                  </a:cubicBezTo>
                  <a:cubicBezTo>
                    <a:pt x="107008" y="80383"/>
                    <a:pt x="77114" y="129732"/>
                    <a:pt x="60392" y="155019"/>
                  </a:cubicBezTo>
                  <a:cubicBezTo>
                    <a:pt x="43671" y="129731"/>
                    <a:pt x="13777" y="80383"/>
                    <a:pt x="13777" y="60394"/>
                  </a:cubicBezTo>
                  <a:close/>
                  <a:moveTo>
                    <a:pt x="60392" y="193440"/>
                  </a:moveTo>
                  <a:cubicBezTo>
                    <a:pt x="56685" y="193440"/>
                    <a:pt x="53667" y="190423"/>
                    <a:pt x="53667" y="186714"/>
                  </a:cubicBezTo>
                  <a:cubicBezTo>
                    <a:pt x="53667" y="183006"/>
                    <a:pt x="56684" y="179990"/>
                    <a:pt x="60392" y="179990"/>
                  </a:cubicBezTo>
                  <a:cubicBezTo>
                    <a:pt x="64101" y="179990"/>
                    <a:pt x="67118" y="183007"/>
                    <a:pt x="67118" y="186714"/>
                  </a:cubicBezTo>
                  <a:cubicBezTo>
                    <a:pt x="67118" y="190423"/>
                    <a:pt x="64101" y="193440"/>
                    <a:pt x="60392" y="1934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3" name="Полилиния: фигура 806">
              <a:extLst>
                <a:ext uri="{FF2B5EF4-FFF2-40B4-BE49-F238E27FC236}">
                  <a16:creationId xmlns:a16="http://schemas.microsoft.com/office/drawing/2014/main" id="{DAA02EDD-8AE4-AF49-A48F-AE461D7FF1B7}"/>
                </a:ext>
              </a:extLst>
            </p:cNvPr>
            <p:cNvSpPr/>
            <p:nvPr/>
          </p:nvSpPr>
          <p:spPr bwMode="auto">
            <a:xfrm>
              <a:off x="3045551" y="1324415"/>
              <a:ext cx="80156" cy="80156"/>
            </a:xfrm>
            <a:custGeom>
              <a:avLst/>
              <a:gdLst>
                <a:gd name="connsiteX0" fmla="*/ 40447 w 80156"/>
                <a:gd name="connsiteY0" fmla="*/ 633 h 80156"/>
                <a:gd name="connsiteX1" fmla="*/ 633 w 80156"/>
                <a:gd name="connsiteY1" fmla="*/ 40447 h 80156"/>
                <a:gd name="connsiteX2" fmla="*/ 40447 w 80156"/>
                <a:gd name="connsiteY2" fmla="*/ 80261 h 80156"/>
                <a:gd name="connsiteX3" fmla="*/ 80262 w 80156"/>
                <a:gd name="connsiteY3" fmla="*/ 40447 h 80156"/>
                <a:gd name="connsiteX4" fmla="*/ 40447 w 80156"/>
                <a:gd name="connsiteY4" fmla="*/ 633 h 80156"/>
                <a:gd name="connsiteX5" fmla="*/ 40447 w 80156"/>
                <a:gd name="connsiteY5" fmla="*/ 67117 h 80156"/>
                <a:gd name="connsiteX6" fmla="*/ 13777 w 80156"/>
                <a:gd name="connsiteY6" fmla="*/ 40447 h 80156"/>
                <a:gd name="connsiteX7" fmla="*/ 40447 w 80156"/>
                <a:gd name="connsiteY7" fmla="*/ 13777 h 80156"/>
                <a:gd name="connsiteX8" fmla="*/ 67118 w 80156"/>
                <a:gd name="connsiteY8" fmla="*/ 40447 h 80156"/>
                <a:gd name="connsiteX9" fmla="*/ 40447 w 80156"/>
                <a:gd name="connsiteY9" fmla="*/ 67117 h 8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56" h="80156" extrusionOk="0">
                  <a:moveTo>
                    <a:pt x="40447" y="633"/>
                  </a:moveTo>
                  <a:cubicBezTo>
                    <a:pt x="18492" y="633"/>
                    <a:pt x="633" y="18494"/>
                    <a:pt x="633" y="40447"/>
                  </a:cubicBezTo>
                  <a:cubicBezTo>
                    <a:pt x="633" y="62401"/>
                    <a:pt x="18494" y="80261"/>
                    <a:pt x="40447" y="80261"/>
                  </a:cubicBezTo>
                  <a:cubicBezTo>
                    <a:pt x="62401" y="80261"/>
                    <a:pt x="80262" y="62400"/>
                    <a:pt x="80262" y="40447"/>
                  </a:cubicBezTo>
                  <a:cubicBezTo>
                    <a:pt x="80262" y="18492"/>
                    <a:pt x="62401" y="633"/>
                    <a:pt x="40447" y="633"/>
                  </a:cubicBezTo>
                  <a:close/>
                  <a:moveTo>
                    <a:pt x="40447" y="67117"/>
                  </a:moveTo>
                  <a:cubicBezTo>
                    <a:pt x="25739" y="67117"/>
                    <a:pt x="13777" y="55153"/>
                    <a:pt x="13777" y="40447"/>
                  </a:cubicBezTo>
                  <a:cubicBezTo>
                    <a:pt x="13777" y="25740"/>
                    <a:pt x="25740" y="13777"/>
                    <a:pt x="40447" y="13777"/>
                  </a:cubicBezTo>
                  <a:cubicBezTo>
                    <a:pt x="55153" y="13777"/>
                    <a:pt x="67118" y="25741"/>
                    <a:pt x="67118" y="40447"/>
                  </a:cubicBezTo>
                  <a:cubicBezTo>
                    <a:pt x="67118" y="55153"/>
                    <a:pt x="55154" y="67117"/>
                    <a:pt x="40447" y="671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4" name="Полилиния: фигура 807">
              <a:extLst>
                <a:ext uri="{FF2B5EF4-FFF2-40B4-BE49-F238E27FC236}">
                  <a16:creationId xmlns:a16="http://schemas.microsoft.com/office/drawing/2014/main" id="{3AC4073E-FDF6-AA4E-A42D-64B104FF1162}"/>
                </a:ext>
              </a:extLst>
            </p:cNvPr>
            <p:cNvSpPr/>
            <p:nvPr/>
          </p:nvSpPr>
          <p:spPr bwMode="auto">
            <a:xfrm>
              <a:off x="3078620" y="1410088"/>
              <a:ext cx="14344" cy="14344"/>
            </a:xfrm>
            <a:custGeom>
              <a:avLst/>
              <a:gdLst>
                <a:gd name="connsiteX0" fmla="*/ 633 w 14343"/>
                <a:gd name="connsiteY0" fmla="*/ 633 h 14343"/>
                <a:gd name="connsiteX1" fmla="*/ 13777 w 14343"/>
                <a:gd name="connsiteY1" fmla="*/ 633 h 14343"/>
                <a:gd name="connsiteX2" fmla="*/ 13777 w 14343"/>
                <a:gd name="connsiteY2" fmla="*/ 13777 h 14343"/>
                <a:gd name="connsiteX3" fmla="*/ 633 w 1434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14343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5" name="Полилиния: фигура 808">
              <a:extLst>
                <a:ext uri="{FF2B5EF4-FFF2-40B4-BE49-F238E27FC236}">
                  <a16:creationId xmlns:a16="http://schemas.microsoft.com/office/drawing/2014/main" id="{535F08FE-CBC9-AD4D-897A-2701B8411DC7}"/>
                </a:ext>
              </a:extLst>
            </p:cNvPr>
            <p:cNvSpPr/>
            <p:nvPr/>
          </p:nvSpPr>
          <p:spPr bwMode="auto">
            <a:xfrm>
              <a:off x="3065495" y="1344360"/>
              <a:ext cx="40500" cy="40500"/>
            </a:xfrm>
            <a:custGeom>
              <a:avLst/>
              <a:gdLst>
                <a:gd name="connsiteX0" fmla="*/ 20502 w 40500"/>
                <a:gd name="connsiteY0" fmla="*/ 633 h 40500"/>
                <a:gd name="connsiteX1" fmla="*/ 633 w 40500"/>
                <a:gd name="connsiteY1" fmla="*/ 20501 h 40500"/>
                <a:gd name="connsiteX2" fmla="*/ 20502 w 40500"/>
                <a:gd name="connsiteY2" fmla="*/ 40371 h 40500"/>
                <a:gd name="connsiteX3" fmla="*/ 40372 w 40500"/>
                <a:gd name="connsiteY3" fmla="*/ 20501 h 40500"/>
                <a:gd name="connsiteX4" fmla="*/ 20502 w 40500"/>
                <a:gd name="connsiteY4" fmla="*/ 633 h 40500"/>
                <a:gd name="connsiteX5" fmla="*/ 20502 w 40500"/>
                <a:gd name="connsiteY5" fmla="*/ 27227 h 40500"/>
                <a:gd name="connsiteX6" fmla="*/ 13777 w 40500"/>
                <a:gd name="connsiteY6" fmla="*/ 20501 h 40500"/>
                <a:gd name="connsiteX7" fmla="*/ 20502 w 40500"/>
                <a:gd name="connsiteY7" fmla="*/ 13777 h 40500"/>
                <a:gd name="connsiteX8" fmla="*/ 27228 w 40500"/>
                <a:gd name="connsiteY8" fmla="*/ 20501 h 40500"/>
                <a:gd name="connsiteX9" fmla="*/ 20502 w 40500"/>
                <a:gd name="connsiteY9" fmla="*/ 27227 h 4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00" h="40500" extrusionOk="0">
                  <a:moveTo>
                    <a:pt x="20502" y="633"/>
                  </a:moveTo>
                  <a:cubicBezTo>
                    <a:pt x="9546" y="633"/>
                    <a:pt x="633" y="9546"/>
                    <a:pt x="633" y="20501"/>
                  </a:cubicBezTo>
                  <a:cubicBezTo>
                    <a:pt x="633" y="31458"/>
                    <a:pt x="9546" y="40371"/>
                    <a:pt x="20502" y="40371"/>
                  </a:cubicBezTo>
                  <a:cubicBezTo>
                    <a:pt x="31458" y="40370"/>
                    <a:pt x="40372" y="31458"/>
                    <a:pt x="40372" y="20501"/>
                  </a:cubicBezTo>
                  <a:cubicBezTo>
                    <a:pt x="40372" y="9546"/>
                    <a:pt x="31458" y="633"/>
                    <a:pt x="20502" y="633"/>
                  </a:cubicBezTo>
                  <a:close/>
                  <a:moveTo>
                    <a:pt x="20502" y="27227"/>
                  </a:moveTo>
                  <a:cubicBezTo>
                    <a:pt x="16795" y="27226"/>
                    <a:pt x="13777" y="24210"/>
                    <a:pt x="13777" y="20501"/>
                  </a:cubicBezTo>
                  <a:cubicBezTo>
                    <a:pt x="13777" y="16794"/>
                    <a:pt x="16794" y="13777"/>
                    <a:pt x="20502" y="13777"/>
                  </a:cubicBezTo>
                  <a:cubicBezTo>
                    <a:pt x="24211" y="13777"/>
                    <a:pt x="27228" y="16794"/>
                    <a:pt x="27228" y="20501"/>
                  </a:cubicBezTo>
                  <a:cubicBezTo>
                    <a:pt x="27228" y="24210"/>
                    <a:pt x="24211" y="27227"/>
                    <a:pt x="20502" y="272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6" name="Полилиния: фигура 809">
              <a:extLst>
                <a:ext uri="{FF2B5EF4-FFF2-40B4-BE49-F238E27FC236}">
                  <a16:creationId xmlns:a16="http://schemas.microsoft.com/office/drawing/2014/main" id="{B02E8930-AE21-374C-9552-F8C64FB76D6B}"/>
                </a:ext>
              </a:extLst>
            </p:cNvPr>
            <p:cNvSpPr/>
            <p:nvPr/>
          </p:nvSpPr>
          <p:spPr bwMode="auto">
            <a:xfrm>
              <a:off x="3338086" y="1098365"/>
              <a:ext cx="120656" cy="206719"/>
            </a:xfrm>
            <a:custGeom>
              <a:avLst/>
              <a:gdLst>
                <a:gd name="connsiteX0" fmla="*/ 120152 w 120656"/>
                <a:gd name="connsiteY0" fmla="*/ 60393 h 206718"/>
                <a:gd name="connsiteX1" fmla="*/ 60392 w 120656"/>
                <a:gd name="connsiteY1" fmla="*/ 633 h 206718"/>
                <a:gd name="connsiteX2" fmla="*/ 633 w 120656"/>
                <a:gd name="connsiteY2" fmla="*/ 60393 h 206718"/>
                <a:gd name="connsiteX3" fmla="*/ 53362 w 120656"/>
                <a:gd name="connsiteY3" fmla="*/ 168135 h 206718"/>
                <a:gd name="connsiteX4" fmla="*/ 41681 w 120656"/>
                <a:gd name="connsiteY4" fmla="*/ 180039 h 206718"/>
                <a:gd name="connsiteX5" fmla="*/ 26830 w 120656"/>
                <a:gd name="connsiteY5" fmla="*/ 180039 h 206718"/>
                <a:gd name="connsiteX6" fmla="*/ 26830 w 120656"/>
                <a:gd name="connsiteY6" fmla="*/ 193183 h 206718"/>
                <a:gd name="connsiteX7" fmla="*/ 41610 w 120656"/>
                <a:gd name="connsiteY7" fmla="*/ 193183 h 206718"/>
                <a:gd name="connsiteX8" fmla="*/ 60392 w 120656"/>
                <a:gd name="connsiteY8" fmla="*/ 206585 h 206718"/>
                <a:gd name="connsiteX9" fmla="*/ 80262 w 120656"/>
                <a:gd name="connsiteY9" fmla="*/ 186716 h 206718"/>
                <a:gd name="connsiteX10" fmla="*/ 67415 w 120656"/>
                <a:gd name="connsiteY10" fmla="*/ 168132 h 206718"/>
                <a:gd name="connsiteX11" fmla="*/ 92672 w 120656"/>
                <a:gd name="connsiteY11" fmla="*/ 127896 h 206718"/>
                <a:gd name="connsiteX12" fmla="*/ 120152 w 120656"/>
                <a:gd name="connsiteY12" fmla="*/ 60393 h 206718"/>
                <a:gd name="connsiteX13" fmla="*/ 60392 w 120656"/>
                <a:gd name="connsiteY13" fmla="*/ 193440 h 206718"/>
                <a:gd name="connsiteX14" fmla="*/ 53667 w 120656"/>
                <a:gd name="connsiteY14" fmla="*/ 186715 h 206718"/>
                <a:gd name="connsiteX15" fmla="*/ 60392 w 120656"/>
                <a:gd name="connsiteY15" fmla="*/ 179990 h 206718"/>
                <a:gd name="connsiteX16" fmla="*/ 67118 w 120656"/>
                <a:gd name="connsiteY16" fmla="*/ 186715 h 206718"/>
                <a:gd name="connsiteX17" fmla="*/ 60392 w 120656"/>
                <a:gd name="connsiteY17" fmla="*/ 193440 h 206718"/>
                <a:gd name="connsiteX18" fmla="*/ 60392 w 120656"/>
                <a:gd name="connsiteY18" fmla="*/ 155017 h 206718"/>
                <a:gd name="connsiteX19" fmla="*/ 13777 w 120656"/>
                <a:gd name="connsiteY19" fmla="*/ 60393 h 206718"/>
                <a:gd name="connsiteX20" fmla="*/ 60392 w 120656"/>
                <a:gd name="connsiteY20" fmla="*/ 13777 h 206718"/>
                <a:gd name="connsiteX21" fmla="*/ 107008 w 120656"/>
                <a:gd name="connsiteY21" fmla="*/ 60393 h 206718"/>
                <a:gd name="connsiteX22" fmla="*/ 60392 w 120656"/>
                <a:gd name="connsiteY22" fmla="*/ 155017 h 206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656" h="206718" extrusionOk="0">
                  <a:moveTo>
                    <a:pt x="120152" y="60393"/>
                  </a:moveTo>
                  <a:cubicBezTo>
                    <a:pt x="120152" y="27441"/>
                    <a:pt x="93343" y="633"/>
                    <a:pt x="60392" y="633"/>
                  </a:cubicBezTo>
                  <a:cubicBezTo>
                    <a:pt x="27441" y="633"/>
                    <a:pt x="633" y="27441"/>
                    <a:pt x="633" y="60393"/>
                  </a:cubicBezTo>
                  <a:cubicBezTo>
                    <a:pt x="633" y="88938"/>
                    <a:pt x="43248" y="153271"/>
                    <a:pt x="53362" y="168135"/>
                  </a:cubicBezTo>
                  <a:cubicBezTo>
                    <a:pt x="47936" y="170195"/>
                    <a:pt x="43640" y="174564"/>
                    <a:pt x="41681" y="180039"/>
                  </a:cubicBezTo>
                  <a:lnTo>
                    <a:pt x="26830" y="180039"/>
                  </a:lnTo>
                  <a:lnTo>
                    <a:pt x="26830" y="193183"/>
                  </a:lnTo>
                  <a:lnTo>
                    <a:pt x="41610" y="193183"/>
                  </a:lnTo>
                  <a:cubicBezTo>
                    <a:pt x="44299" y="200973"/>
                    <a:pt x="51701" y="206585"/>
                    <a:pt x="60392" y="206585"/>
                  </a:cubicBezTo>
                  <a:cubicBezTo>
                    <a:pt x="71348" y="206585"/>
                    <a:pt x="80262" y="197671"/>
                    <a:pt x="80262" y="186716"/>
                  </a:cubicBezTo>
                  <a:cubicBezTo>
                    <a:pt x="80262" y="178232"/>
                    <a:pt x="74915" y="170976"/>
                    <a:pt x="67415" y="168132"/>
                  </a:cubicBezTo>
                  <a:cubicBezTo>
                    <a:pt x="71383" y="162257"/>
                    <a:pt x="82084" y="146147"/>
                    <a:pt x="92672" y="127896"/>
                  </a:cubicBezTo>
                  <a:cubicBezTo>
                    <a:pt x="110905" y="96458"/>
                    <a:pt x="120152" y="73748"/>
                    <a:pt x="120152" y="60393"/>
                  </a:cubicBezTo>
                  <a:close/>
                  <a:moveTo>
                    <a:pt x="60392" y="193440"/>
                  </a:moveTo>
                  <a:cubicBezTo>
                    <a:pt x="56685" y="193440"/>
                    <a:pt x="53667" y="190423"/>
                    <a:pt x="53667" y="186715"/>
                  </a:cubicBezTo>
                  <a:cubicBezTo>
                    <a:pt x="53667" y="183007"/>
                    <a:pt x="56684" y="179990"/>
                    <a:pt x="60392" y="179990"/>
                  </a:cubicBezTo>
                  <a:cubicBezTo>
                    <a:pt x="64100" y="179990"/>
                    <a:pt x="67118" y="183007"/>
                    <a:pt x="67118" y="186715"/>
                  </a:cubicBezTo>
                  <a:cubicBezTo>
                    <a:pt x="67117" y="190423"/>
                    <a:pt x="64100" y="193440"/>
                    <a:pt x="60392" y="193440"/>
                  </a:cubicBezTo>
                  <a:close/>
                  <a:moveTo>
                    <a:pt x="60392" y="155017"/>
                  </a:moveTo>
                  <a:cubicBezTo>
                    <a:pt x="43671" y="129730"/>
                    <a:pt x="13777" y="80382"/>
                    <a:pt x="13777" y="60393"/>
                  </a:cubicBezTo>
                  <a:cubicBezTo>
                    <a:pt x="13777" y="34688"/>
                    <a:pt x="34688" y="13777"/>
                    <a:pt x="60392" y="13777"/>
                  </a:cubicBezTo>
                  <a:cubicBezTo>
                    <a:pt x="86097" y="13777"/>
                    <a:pt x="107008" y="34689"/>
                    <a:pt x="107008" y="60393"/>
                  </a:cubicBezTo>
                  <a:cubicBezTo>
                    <a:pt x="107008" y="80382"/>
                    <a:pt x="77114" y="129730"/>
                    <a:pt x="60392" y="1550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7" name="Полилиния: фигура 810">
              <a:extLst>
                <a:ext uri="{FF2B5EF4-FFF2-40B4-BE49-F238E27FC236}">
                  <a16:creationId xmlns:a16="http://schemas.microsoft.com/office/drawing/2014/main" id="{F23D951F-C913-2449-80CD-AD3CBBDD3AAB}"/>
                </a:ext>
              </a:extLst>
            </p:cNvPr>
            <p:cNvSpPr/>
            <p:nvPr/>
          </p:nvSpPr>
          <p:spPr bwMode="auto">
            <a:xfrm>
              <a:off x="3358031" y="1118311"/>
              <a:ext cx="80156" cy="80156"/>
            </a:xfrm>
            <a:custGeom>
              <a:avLst/>
              <a:gdLst>
                <a:gd name="connsiteX0" fmla="*/ 40448 w 80156"/>
                <a:gd name="connsiteY0" fmla="*/ 633 h 80156"/>
                <a:gd name="connsiteX1" fmla="*/ 633 w 80156"/>
                <a:gd name="connsiteY1" fmla="*/ 40447 h 80156"/>
                <a:gd name="connsiteX2" fmla="*/ 40448 w 80156"/>
                <a:gd name="connsiteY2" fmla="*/ 80262 h 80156"/>
                <a:gd name="connsiteX3" fmla="*/ 80263 w 80156"/>
                <a:gd name="connsiteY3" fmla="*/ 40447 h 80156"/>
                <a:gd name="connsiteX4" fmla="*/ 40448 w 80156"/>
                <a:gd name="connsiteY4" fmla="*/ 633 h 80156"/>
                <a:gd name="connsiteX5" fmla="*/ 40448 w 80156"/>
                <a:gd name="connsiteY5" fmla="*/ 67118 h 80156"/>
                <a:gd name="connsiteX6" fmla="*/ 13777 w 80156"/>
                <a:gd name="connsiteY6" fmla="*/ 40447 h 80156"/>
                <a:gd name="connsiteX7" fmla="*/ 40448 w 80156"/>
                <a:gd name="connsiteY7" fmla="*/ 13777 h 80156"/>
                <a:gd name="connsiteX8" fmla="*/ 67119 w 80156"/>
                <a:gd name="connsiteY8" fmla="*/ 40447 h 80156"/>
                <a:gd name="connsiteX9" fmla="*/ 40448 w 80156"/>
                <a:gd name="connsiteY9" fmla="*/ 67118 h 8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156" h="80156" extrusionOk="0">
                  <a:moveTo>
                    <a:pt x="40448" y="633"/>
                  </a:moveTo>
                  <a:cubicBezTo>
                    <a:pt x="18493" y="633"/>
                    <a:pt x="633" y="18494"/>
                    <a:pt x="633" y="40447"/>
                  </a:cubicBezTo>
                  <a:cubicBezTo>
                    <a:pt x="633" y="62401"/>
                    <a:pt x="18494" y="80262"/>
                    <a:pt x="40448" y="80262"/>
                  </a:cubicBezTo>
                  <a:cubicBezTo>
                    <a:pt x="62402" y="80262"/>
                    <a:pt x="80263" y="62400"/>
                    <a:pt x="80263" y="40447"/>
                  </a:cubicBezTo>
                  <a:cubicBezTo>
                    <a:pt x="80262" y="18493"/>
                    <a:pt x="62400" y="633"/>
                    <a:pt x="40448" y="633"/>
                  </a:cubicBezTo>
                  <a:close/>
                  <a:moveTo>
                    <a:pt x="40448" y="67118"/>
                  </a:moveTo>
                  <a:cubicBezTo>
                    <a:pt x="25741" y="67118"/>
                    <a:pt x="13777" y="55153"/>
                    <a:pt x="13777" y="40447"/>
                  </a:cubicBezTo>
                  <a:cubicBezTo>
                    <a:pt x="13777" y="25740"/>
                    <a:pt x="25740" y="13777"/>
                    <a:pt x="40448" y="13777"/>
                  </a:cubicBezTo>
                  <a:cubicBezTo>
                    <a:pt x="55155" y="13777"/>
                    <a:pt x="67119" y="25741"/>
                    <a:pt x="67119" y="40447"/>
                  </a:cubicBezTo>
                  <a:cubicBezTo>
                    <a:pt x="67118" y="55153"/>
                    <a:pt x="55153" y="67118"/>
                    <a:pt x="40448" y="671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8" name="Полилиния: фигура 811">
              <a:extLst>
                <a:ext uri="{FF2B5EF4-FFF2-40B4-BE49-F238E27FC236}">
                  <a16:creationId xmlns:a16="http://schemas.microsoft.com/office/drawing/2014/main" id="{2923E6FD-F17D-FE41-98CD-5AB7F7FBCFF8}"/>
                </a:ext>
              </a:extLst>
            </p:cNvPr>
            <p:cNvSpPr/>
            <p:nvPr/>
          </p:nvSpPr>
          <p:spPr bwMode="auto">
            <a:xfrm>
              <a:off x="3391447" y="1205041"/>
              <a:ext cx="14344" cy="14344"/>
            </a:xfrm>
            <a:custGeom>
              <a:avLst/>
              <a:gdLst>
                <a:gd name="connsiteX0" fmla="*/ 633 w 14343"/>
                <a:gd name="connsiteY0" fmla="*/ 633 h 14343"/>
                <a:gd name="connsiteX1" fmla="*/ 13777 w 14343"/>
                <a:gd name="connsiteY1" fmla="*/ 633 h 14343"/>
                <a:gd name="connsiteX2" fmla="*/ 13777 w 14343"/>
                <a:gd name="connsiteY2" fmla="*/ 13777 h 14343"/>
                <a:gd name="connsiteX3" fmla="*/ 633 w 1434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14343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69" name="Полилиния: фигура 812">
              <a:extLst>
                <a:ext uri="{FF2B5EF4-FFF2-40B4-BE49-F238E27FC236}">
                  <a16:creationId xmlns:a16="http://schemas.microsoft.com/office/drawing/2014/main" id="{AB290511-30C0-3649-A33F-61805E41AAE2}"/>
                </a:ext>
              </a:extLst>
            </p:cNvPr>
            <p:cNvSpPr/>
            <p:nvPr/>
          </p:nvSpPr>
          <p:spPr bwMode="auto">
            <a:xfrm>
              <a:off x="3377976" y="1138256"/>
              <a:ext cx="40500" cy="40500"/>
            </a:xfrm>
            <a:custGeom>
              <a:avLst/>
              <a:gdLst>
                <a:gd name="connsiteX0" fmla="*/ 20502 w 40500"/>
                <a:gd name="connsiteY0" fmla="*/ 633 h 40500"/>
                <a:gd name="connsiteX1" fmla="*/ 633 w 40500"/>
                <a:gd name="connsiteY1" fmla="*/ 20502 h 40500"/>
                <a:gd name="connsiteX2" fmla="*/ 20502 w 40500"/>
                <a:gd name="connsiteY2" fmla="*/ 40371 h 40500"/>
                <a:gd name="connsiteX3" fmla="*/ 40372 w 40500"/>
                <a:gd name="connsiteY3" fmla="*/ 20502 h 40500"/>
                <a:gd name="connsiteX4" fmla="*/ 20502 w 40500"/>
                <a:gd name="connsiteY4" fmla="*/ 633 h 40500"/>
                <a:gd name="connsiteX5" fmla="*/ 20502 w 40500"/>
                <a:gd name="connsiteY5" fmla="*/ 27227 h 40500"/>
                <a:gd name="connsiteX6" fmla="*/ 13777 w 40500"/>
                <a:gd name="connsiteY6" fmla="*/ 20502 h 40500"/>
                <a:gd name="connsiteX7" fmla="*/ 20502 w 40500"/>
                <a:gd name="connsiteY7" fmla="*/ 13777 h 40500"/>
                <a:gd name="connsiteX8" fmla="*/ 27228 w 40500"/>
                <a:gd name="connsiteY8" fmla="*/ 20502 h 40500"/>
                <a:gd name="connsiteX9" fmla="*/ 20502 w 40500"/>
                <a:gd name="connsiteY9" fmla="*/ 27227 h 4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00" h="40500" extrusionOk="0">
                  <a:moveTo>
                    <a:pt x="20502" y="633"/>
                  </a:moveTo>
                  <a:cubicBezTo>
                    <a:pt x="9546" y="633"/>
                    <a:pt x="633" y="9546"/>
                    <a:pt x="633" y="20502"/>
                  </a:cubicBezTo>
                  <a:cubicBezTo>
                    <a:pt x="633" y="31458"/>
                    <a:pt x="9546" y="40371"/>
                    <a:pt x="20502" y="40371"/>
                  </a:cubicBezTo>
                  <a:cubicBezTo>
                    <a:pt x="31458" y="40371"/>
                    <a:pt x="40372" y="31458"/>
                    <a:pt x="40372" y="20502"/>
                  </a:cubicBezTo>
                  <a:cubicBezTo>
                    <a:pt x="40372" y="9546"/>
                    <a:pt x="31458" y="633"/>
                    <a:pt x="20502" y="633"/>
                  </a:cubicBezTo>
                  <a:close/>
                  <a:moveTo>
                    <a:pt x="20502" y="27227"/>
                  </a:moveTo>
                  <a:cubicBezTo>
                    <a:pt x="16795" y="27227"/>
                    <a:pt x="13777" y="24210"/>
                    <a:pt x="13777" y="20502"/>
                  </a:cubicBezTo>
                  <a:cubicBezTo>
                    <a:pt x="13777" y="16794"/>
                    <a:pt x="16794" y="13777"/>
                    <a:pt x="20502" y="13777"/>
                  </a:cubicBezTo>
                  <a:cubicBezTo>
                    <a:pt x="24210" y="13777"/>
                    <a:pt x="27228" y="16794"/>
                    <a:pt x="27228" y="20502"/>
                  </a:cubicBezTo>
                  <a:cubicBezTo>
                    <a:pt x="27227" y="24210"/>
                    <a:pt x="24210" y="27227"/>
                    <a:pt x="20502" y="2722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0" name="Полилиния: фигура 813">
              <a:extLst>
                <a:ext uri="{FF2B5EF4-FFF2-40B4-BE49-F238E27FC236}">
                  <a16:creationId xmlns:a16="http://schemas.microsoft.com/office/drawing/2014/main" id="{38BF8E95-C61A-214D-B98C-776B8E383016}"/>
                </a:ext>
              </a:extLst>
            </p:cNvPr>
            <p:cNvSpPr/>
            <p:nvPr/>
          </p:nvSpPr>
          <p:spPr bwMode="auto">
            <a:xfrm>
              <a:off x="3131195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 extrusionOk="0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1" name="Полилиния: фигура 814">
              <a:extLst>
                <a:ext uri="{FF2B5EF4-FFF2-40B4-BE49-F238E27FC236}">
                  <a16:creationId xmlns:a16="http://schemas.microsoft.com/office/drawing/2014/main" id="{FA08F3FA-4147-2841-9445-5AE280A9E332}"/>
                </a:ext>
              </a:extLst>
            </p:cNvPr>
            <p:cNvSpPr/>
            <p:nvPr/>
          </p:nvSpPr>
          <p:spPr bwMode="auto">
            <a:xfrm>
              <a:off x="3165370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2" name="Полилиния: фигура 815">
              <a:extLst>
                <a:ext uri="{FF2B5EF4-FFF2-40B4-BE49-F238E27FC236}">
                  <a16:creationId xmlns:a16="http://schemas.microsoft.com/office/drawing/2014/main" id="{5A4AC99E-0164-1D48-8404-3F0B3806BFF2}"/>
                </a:ext>
              </a:extLst>
            </p:cNvPr>
            <p:cNvSpPr/>
            <p:nvPr/>
          </p:nvSpPr>
          <p:spPr bwMode="auto">
            <a:xfrm>
              <a:off x="3197791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 extrusionOk="0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3" name="Полилиния: фигура 816">
              <a:extLst>
                <a:ext uri="{FF2B5EF4-FFF2-40B4-BE49-F238E27FC236}">
                  <a16:creationId xmlns:a16="http://schemas.microsoft.com/office/drawing/2014/main" id="{90B9CDD8-30E7-684C-BE07-C2713A27A46D}"/>
                </a:ext>
              </a:extLst>
            </p:cNvPr>
            <p:cNvSpPr/>
            <p:nvPr/>
          </p:nvSpPr>
          <p:spPr bwMode="auto">
            <a:xfrm>
              <a:off x="3231966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4" name="Полилиния: фигура 817">
              <a:extLst>
                <a:ext uri="{FF2B5EF4-FFF2-40B4-BE49-F238E27FC236}">
                  <a16:creationId xmlns:a16="http://schemas.microsoft.com/office/drawing/2014/main" id="{617FA5C1-9840-644A-8302-B568D25F0F88}"/>
                </a:ext>
              </a:extLst>
            </p:cNvPr>
            <p:cNvSpPr/>
            <p:nvPr/>
          </p:nvSpPr>
          <p:spPr bwMode="auto">
            <a:xfrm>
              <a:off x="3264388" y="1483694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 extrusionOk="0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5" name="Полилиния: фигура 818">
              <a:extLst>
                <a:ext uri="{FF2B5EF4-FFF2-40B4-BE49-F238E27FC236}">
                  <a16:creationId xmlns:a16="http://schemas.microsoft.com/office/drawing/2014/main" id="{1230912A-F372-C946-A47C-4BD39013D091}"/>
                </a:ext>
              </a:extLst>
            </p:cNvPr>
            <p:cNvSpPr/>
            <p:nvPr/>
          </p:nvSpPr>
          <p:spPr bwMode="auto">
            <a:xfrm>
              <a:off x="3298563" y="1483694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6" name="Полилиния: фигура 819">
              <a:extLst>
                <a:ext uri="{FF2B5EF4-FFF2-40B4-BE49-F238E27FC236}">
                  <a16:creationId xmlns:a16="http://schemas.microsoft.com/office/drawing/2014/main" id="{797A4E8A-C129-9549-8A7D-2724F4119BC5}"/>
                </a:ext>
              </a:extLst>
            </p:cNvPr>
            <p:cNvSpPr/>
            <p:nvPr/>
          </p:nvSpPr>
          <p:spPr bwMode="auto">
            <a:xfrm>
              <a:off x="3330984" y="1471425"/>
              <a:ext cx="27844" cy="26156"/>
            </a:xfrm>
            <a:custGeom>
              <a:avLst/>
              <a:gdLst>
                <a:gd name="connsiteX0" fmla="*/ 14653 w 27843"/>
                <a:gd name="connsiteY0" fmla="*/ 633 h 26156"/>
                <a:gd name="connsiteX1" fmla="*/ 14653 w 27843"/>
                <a:gd name="connsiteY1" fmla="*/ 12901 h 26156"/>
                <a:gd name="connsiteX2" fmla="*/ 633 w 27843"/>
                <a:gd name="connsiteY2" fmla="*/ 12901 h 26156"/>
                <a:gd name="connsiteX3" fmla="*/ 633 w 27843"/>
                <a:gd name="connsiteY3" fmla="*/ 26045 h 26156"/>
                <a:gd name="connsiteX4" fmla="*/ 27797 w 27843"/>
                <a:gd name="connsiteY4" fmla="*/ 26045 h 26156"/>
                <a:gd name="connsiteX5" fmla="*/ 27797 w 27843"/>
                <a:gd name="connsiteY5" fmla="*/ 633 h 26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6156" extrusionOk="0">
                  <a:moveTo>
                    <a:pt x="14653" y="633"/>
                  </a:moveTo>
                  <a:lnTo>
                    <a:pt x="14653" y="12901"/>
                  </a:lnTo>
                  <a:lnTo>
                    <a:pt x="633" y="12901"/>
                  </a:lnTo>
                  <a:lnTo>
                    <a:pt x="633" y="26045"/>
                  </a:lnTo>
                  <a:lnTo>
                    <a:pt x="27797" y="26045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7" name="Полилиния: фигура 820">
              <a:extLst>
                <a:ext uri="{FF2B5EF4-FFF2-40B4-BE49-F238E27FC236}">
                  <a16:creationId xmlns:a16="http://schemas.microsoft.com/office/drawing/2014/main" id="{1E6E9474-8AF5-0243-8D86-B506C895943B}"/>
                </a:ext>
              </a:extLst>
            </p:cNvPr>
            <p:cNvSpPr/>
            <p:nvPr/>
          </p:nvSpPr>
          <p:spPr bwMode="auto">
            <a:xfrm>
              <a:off x="3345005" y="1437252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8" name="Полилиния: фигура 821">
              <a:extLst>
                <a:ext uri="{FF2B5EF4-FFF2-40B4-BE49-F238E27FC236}">
                  <a16:creationId xmlns:a16="http://schemas.microsoft.com/office/drawing/2014/main" id="{91AAFA4B-A971-1845-B4FA-DDA560390778}"/>
                </a:ext>
              </a:extLst>
            </p:cNvPr>
            <p:cNvSpPr/>
            <p:nvPr/>
          </p:nvSpPr>
          <p:spPr bwMode="auto">
            <a:xfrm>
              <a:off x="3345005" y="1404830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79" name="Полилиния: фигура 822">
              <a:extLst>
                <a:ext uri="{FF2B5EF4-FFF2-40B4-BE49-F238E27FC236}">
                  <a16:creationId xmlns:a16="http://schemas.microsoft.com/office/drawing/2014/main" id="{23191C67-6768-E146-90F4-AA5E6B558036}"/>
                </a:ext>
              </a:extLst>
            </p:cNvPr>
            <p:cNvSpPr/>
            <p:nvPr/>
          </p:nvSpPr>
          <p:spPr bwMode="auto">
            <a:xfrm>
              <a:off x="3330984" y="1364521"/>
              <a:ext cx="27844" cy="27000"/>
            </a:xfrm>
            <a:custGeom>
              <a:avLst/>
              <a:gdLst>
                <a:gd name="connsiteX0" fmla="*/ 633 w 27843"/>
                <a:gd name="connsiteY0" fmla="*/ 633 h 27000"/>
                <a:gd name="connsiteX1" fmla="*/ 633 w 27843"/>
                <a:gd name="connsiteY1" fmla="*/ 13777 h 27000"/>
                <a:gd name="connsiteX2" fmla="*/ 14653 w 27843"/>
                <a:gd name="connsiteY2" fmla="*/ 13777 h 27000"/>
                <a:gd name="connsiteX3" fmla="*/ 1465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633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 extrusionOk="0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6921"/>
                  </a:lnTo>
                  <a:lnTo>
                    <a:pt x="27797" y="26921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0" name="Полилиния: фигура 823">
              <a:extLst>
                <a:ext uri="{FF2B5EF4-FFF2-40B4-BE49-F238E27FC236}">
                  <a16:creationId xmlns:a16="http://schemas.microsoft.com/office/drawing/2014/main" id="{77FBADD2-4718-6245-97FA-43D5678F52CC}"/>
                </a:ext>
              </a:extLst>
            </p:cNvPr>
            <p:cNvSpPr/>
            <p:nvPr/>
          </p:nvSpPr>
          <p:spPr bwMode="auto">
            <a:xfrm>
              <a:off x="3298563" y="1364522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1" name="Полилиния: фигура 824">
              <a:extLst>
                <a:ext uri="{FF2B5EF4-FFF2-40B4-BE49-F238E27FC236}">
                  <a16:creationId xmlns:a16="http://schemas.microsoft.com/office/drawing/2014/main" id="{030EC1A3-3F4E-7545-9F9F-FE356E1BCBF3}"/>
                </a:ext>
              </a:extLst>
            </p:cNvPr>
            <p:cNvSpPr/>
            <p:nvPr/>
          </p:nvSpPr>
          <p:spPr bwMode="auto">
            <a:xfrm>
              <a:off x="3264388" y="1364522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 extrusionOk="0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2" name="Полилиния: фигура 825">
              <a:extLst>
                <a:ext uri="{FF2B5EF4-FFF2-40B4-BE49-F238E27FC236}">
                  <a16:creationId xmlns:a16="http://schemas.microsoft.com/office/drawing/2014/main" id="{DF933652-B744-FD48-8740-43BEA51943B4}"/>
                </a:ext>
              </a:extLst>
            </p:cNvPr>
            <p:cNvSpPr/>
            <p:nvPr/>
          </p:nvSpPr>
          <p:spPr bwMode="auto">
            <a:xfrm>
              <a:off x="3231966" y="1364522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3" name="Полилиния: фигура 826">
              <a:extLst>
                <a:ext uri="{FF2B5EF4-FFF2-40B4-BE49-F238E27FC236}">
                  <a16:creationId xmlns:a16="http://schemas.microsoft.com/office/drawing/2014/main" id="{D8CFC1FA-0781-9745-AF12-5AA25CCF6247}"/>
                </a:ext>
              </a:extLst>
            </p:cNvPr>
            <p:cNvSpPr/>
            <p:nvPr/>
          </p:nvSpPr>
          <p:spPr bwMode="auto">
            <a:xfrm>
              <a:off x="3191658" y="1351376"/>
              <a:ext cx="27844" cy="27000"/>
            </a:xfrm>
            <a:custGeom>
              <a:avLst/>
              <a:gdLst>
                <a:gd name="connsiteX0" fmla="*/ 13777 w 27843"/>
                <a:gd name="connsiteY0" fmla="*/ 13778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2 h 27000"/>
                <a:gd name="connsiteX4" fmla="*/ 27797 w 27843"/>
                <a:gd name="connsiteY4" fmla="*/ 26922 h 27000"/>
                <a:gd name="connsiteX5" fmla="*/ 27797 w 27843"/>
                <a:gd name="connsiteY5" fmla="*/ 13778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 extrusionOk="0">
                  <a:moveTo>
                    <a:pt x="13777" y="13778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2"/>
                  </a:lnTo>
                  <a:lnTo>
                    <a:pt x="27797" y="26922"/>
                  </a:lnTo>
                  <a:lnTo>
                    <a:pt x="27797" y="1377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4" name="Полилиния: фигура 827">
              <a:extLst>
                <a:ext uri="{FF2B5EF4-FFF2-40B4-BE49-F238E27FC236}">
                  <a16:creationId xmlns:a16="http://schemas.microsoft.com/office/drawing/2014/main" id="{FA990F07-D6D9-DF4F-9ED0-BF37FB8E7D96}"/>
                </a:ext>
              </a:extLst>
            </p:cNvPr>
            <p:cNvSpPr/>
            <p:nvPr/>
          </p:nvSpPr>
          <p:spPr bwMode="auto">
            <a:xfrm>
              <a:off x="3191658" y="1317203"/>
              <a:ext cx="14344" cy="21938"/>
            </a:xfrm>
            <a:custGeom>
              <a:avLst/>
              <a:gdLst>
                <a:gd name="connsiteX0" fmla="*/ 633 w 14343"/>
                <a:gd name="connsiteY0" fmla="*/ 633 h 21937"/>
                <a:gd name="connsiteX1" fmla="*/ 13777 w 14343"/>
                <a:gd name="connsiteY1" fmla="*/ 633 h 21937"/>
                <a:gd name="connsiteX2" fmla="*/ 13777 w 14343"/>
                <a:gd name="connsiteY2" fmla="*/ 21663 h 21937"/>
                <a:gd name="connsiteX3" fmla="*/ 633 w 14343"/>
                <a:gd name="connsiteY3" fmla="*/ 21663 h 2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937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21663"/>
                  </a:lnTo>
                  <a:lnTo>
                    <a:pt x="633" y="216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5" name="Полилиния: фигура 828">
              <a:extLst>
                <a:ext uri="{FF2B5EF4-FFF2-40B4-BE49-F238E27FC236}">
                  <a16:creationId xmlns:a16="http://schemas.microsoft.com/office/drawing/2014/main" id="{79260DB7-75BD-5D48-8DB9-396AACAD9AE7}"/>
                </a:ext>
              </a:extLst>
            </p:cNvPr>
            <p:cNvSpPr/>
            <p:nvPr/>
          </p:nvSpPr>
          <p:spPr bwMode="auto">
            <a:xfrm>
              <a:off x="3191658" y="1284781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6" name="Полилиния: фигура 829">
              <a:extLst>
                <a:ext uri="{FF2B5EF4-FFF2-40B4-BE49-F238E27FC236}">
                  <a16:creationId xmlns:a16="http://schemas.microsoft.com/office/drawing/2014/main" id="{0B7D317D-4133-3749-B5D9-F551EE289C91}"/>
                </a:ext>
              </a:extLst>
            </p:cNvPr>
            <p:cNvSpPr/>
            <p:nvPr/>
          </p:nvSpPr>
          <p:spPr bwMode="auto">
            <a:xfrm>
              <a:off x="3177638" y="1244472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13777 h 27843"/>
                <a:gd name="connsiteX2" fmla="*/ 14653 w 27843"/>
                <a:gd name="connsiteY2" fmla="*/ 13777 h 27843"/>
                <a:gd name="connsiteX3" fmla="*/ 14653 w 27843"/>
                <a:gd name="connsiteY3" fmla="*/ 27797 h 27843"/>
                <a:gd name="connsiteX4" fmla="*/ 27797 w 27843"/>
                <a:gd name="connsiteY4" fmla="*/ 2779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 extrusionOk="0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7797"/>
                  </a:lnTo>
                  <a:lnTo>
                    <a:pt x="27797" y="2779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7" name="Полилиния: фигура 830">
              <a:extLst>
                <a:ext uri="{FF2B5EF4-FFF2-40B4-BE49-F238E27FC236}">
                  <a16:creationId xmlns:a16="http://schemas.microsoft.com/office/drawing/2014/main" id="{84CE6929-2651-9443-AF7D-6A97E07A4B0E}"/>
                </a:ext>
              </a:extLst>
            </p:cNvPr>
            <p:cNvSpPr/>
            <p:nvPr/>
          </p:nvSpPr>
          <p:spPr bwMode="auto">
            <a:xfrm>
              <a:off x="3145216" y="1244473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 extrusionOk="0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8" name="Полилиния: фигура 831">
              <a:extLst>
                <a:ext uri="{FF2B5EF4-FFF2-40B4-BE49-F238E27FC236}">
                  <a16:creationId xmlns:a16="http://schemas.microsoft.com/office/drawing/2014/main" id="{66BE4967-5B28-4245-BCE4-5B8620FD0D57}"/>
                </a:ext>
              </a:extLst>
            </p:cNvPr>
            <p:cNvSpPr/>
            <p:nvPr/>
          </p:nvSpPr>
          <p:spPr bwMode="auto">
            <a:xfrm>
              <a:off x="3111917" y="1244473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89" name="Полилиния: фигура 832">
              <a:extLst>
                <a:ext uri="{FF2B5EF4-FFF2-40B4-BE49-F238E27FC236}">
                  <a16:creationId xmlns:a16="http://schemas.microsoft.com/office/drawing/2014/main" id="{71C18418-71B8-134D-922F-A39B31E908C6}"/>
                </a:ext>
              </a:extLst>
            </p:cNvPr>
            <p:cNvSpPr/>
            <p:nvPr/>
          </p:nvSpPr>
          <p:spPr bwMode="auto">
            <a:xfrm>
              <a:off x="3071609" y="1231329"/>
              <a:ext cx="27844" cy="27000"/>
            </a:xfrm>
            <a:custGeom>
              <a:avLst/>
              <a:gdLst>
                <a:gd name="connsiteX0" fmla="*/ 13777 w 27843"/>
                <a:gd name="connsiteY0" fmla="*/ 13777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13777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 extrusionOk="0">
                  <a:moveTo>
                    <a:pt x="13777" y="13777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1"/>
                  </a:lnTo>
                  <a:lnTo>
                    <a:pt x="27797" y="26921"/>
                  </a:lnTo>
                  <a:lnTo>
                    <a:pt x="27797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0" name="Полилиния: фигура 833">
              <a:extLst>
                <a:ext uri="{FF2B5EF4-FFF2-40B4-BE49-F238E27FC236}">
                  <a16:creationId xmlns:a16="http://schemas.microsoft.com/office/drawing/2014/main" id="{01B9612A-F2B7-F747-B5ED-5EABE5713F43}"/>
                </a:ext>
              </a:extLst>
            </p:cNvPr>
            <p:cNvSpPr/>
            <p:nvPr/>
          </p:nvSpPr>
          <p:spPr bwMode="auto">
            <a:xfrm>
              <a:off x="3071609" y="1198031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1" name="Полилиния: фигура 834">
              <a:extLst>
                <a:ext uri="{FF2B5EF4-FFF2-40B4-BE49-F238E27FC236}">
                  <a16:creationId xmlns:a16="http://schemas.microsoft.com/office/drawing/2014/main" id="{174CA6AF-AA1A-0A42-9038-20A46A0C149A}"/>
                </a:ext>
              </a:extLst>
            </p:cNvPr>
            <p:cNvSpPr/>
            <p:nvPr/>
          </p:nvSpPr>
          <p:spPr bwMode="auto">
            <a:xfrm>
              <a:off x="3071609" y="1164733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2" name="Полилиния: фигура 835">
              <a:extLst>
                <a:ext uri="{FF2B5EF4-FFF2-40B4-BE49-F238E27FC236}">
                  <a16:creationId xmlns:a16="http://schemas.microsoft.com/office/drawing/2014/main" id="{E5C2FD79-FE58-8D4A-80A5-7709BA8AEE3F}"/>
                </a:ext>
              </a:extLst>
            </p:cNvPr>
            <p:cNvSpPr/>
            <p:nvPr/>
          </p:nvSpPr>
          <p:spPr bwMode="auto">
            <a:xfrm>
              <a:off x="3071609" y="1124424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27797 h 27843"/>
                <a:gd name="connsiteX2" fmla="*/ 13777 w 27843"/>
                <a:gd name="connsiteY2" fmla="*/ 27797 h 27843"/>
                <a:gd name="connsiteX3" fmla="*/ 13777 w 27843"/>
                <a:gd name="connsiteY3" fmla="*/ 13777 h 27843"/>
                <a:gd name="connsiteX4" fmla="*/ 27797 w 27843"/>
                <a:gd name="connsiteY4" fmla="*/ 1377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 extrusionOk="0">
                  <a:moveTo>
                    <a:pt x="633" y="633"/>
                  </a:moveTo>
                  <a:lnTo>
                    <a:pt x="633" y="27797"/>
                  </a:lnTo>
                  <a:lnTo>
                    <a:pt x="13777" y="27797"/>
                  </a:lnTo>
                  <a:lnTo>
                    <a:pt x="13777" y="13777"/>
                  </a:lnTo>
                  <a:lnTo>
                    <a:pt x="27797" y="1377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3" name="Полилиния: фигура 836">
              <a:extLst>
                <a:ext uri="{FF2B5EF4-FFF2-40B4-BE49-F238E27FC236}">
                  <a16:creationId xmlns:a16="http://schemas.microsoft.com/office/drawing/2014/main" id="{767F9581-FB3F-AA4C-A503-64F0516ACD73}"/>
                </a:ext>
              </a:extLst>
            </p:cNvPr>
            <p:cNvSpPr/>
            <p:nvPr/>
          </p:nvSpPr>
          <p:spPr bwMode="auto">
            <a:xfrm>
              <a:off x="3111917" y="1124425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4" name="Полилиния: фигура 837">
              <a:extLst>
                <a:ext uri="{FF2B5EF4-FFF2-40B4-BE49-F238E27FC236}">
                  <a16:creationId xmlns:a16="http://schemas.microsoft.com/office/drawing/2014/main" id="{0167BF7A-2946-5C43-81D7-A2E4A3275430}"/>
                </a:ext>
              </a:extLst>
            </p:cNvPr>
            <p:cNvSpPr/>
            <p:nvPr/>
          </p:nvSpPr>
          <p:spPr bwMode="auto">
            <a:xfrm>
              <a:off x="3145216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 extrusionOk="0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5" name="Полилиния: фигура 838">
              <a:extLst>
                <a:ext uri="{FF2B5EF4-FFF2-40B4-BE49-F238E27FC236}">
                  <a16:creationId xmlns:a16="http://schemas.microsoft.com/office/drawing/2014/main" id="{C567760D-62FD-7742-9025-3AA830C35BD3}"/>
                </a:ext>
              </a:extLst>
            </p:cNvPr>
            <p:cNvSpPr/>
            <p:nvPr/>
          </p:nvSpPr>
          <p:spPr bwMode="auto">
            <a:xfrm>
              <a:off x="3177638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 extrusionOk="0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6" name="Полилиния: фигура 839">
              <a:extLst>
                <a:ext uri="{FF2B5EF4-FFF2-40B4-BE49-F238E27FC236}">
                  <a16:creationId xmlns:a16="http://schemas.microsoft.com/office/drawing/2014/main" id="{4EC02148-C5AE-6E4C-B490-B7C6FD5CF8EE}"/>
                </a:ext>
              </a:extLst>
            </p:cNvPr>
            <p:cNvSpPr/>
            <p:nvPr/>
          </p:nvSpPr>
          <p:spPr bwMode="auto">
            <a:xfrm>
              <a:off x="3211812" y="1124425"/>
              <a:ext cx="21094" cy="14344"/>
            </a:xfrm>
            <a:custGeom>
              <a:avLst/>
              <a:gdLst>
                <a:gd name="connsiteX0" fmla="*/ 633 w 21093"/>
                <a:gd name="connsiteY0" fmla="*/ 633 h 14343"/>
                <a:gd name="connsiteX1" fmla="*/ 20787 w 21093"/>
                <a:gd name="connsiteY1" fmla="*/ 633 h 14343"/>
                <a:gd name="connsiteX2" fmla="*/ 20787 w 21093"/>
                <a:gd name="connsiteY2" fmla="*/ 13777 h 14343"/>
                <a:gd name="connsiteX3" fmla="*/ 633 w 21093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93" h="14343" extrusionOk="0">
                  <a:moveTo>
                    <a:pt x="633" y="633"/>
                  </a:moveTo>
                  <a:lnTo>
                    <a:pt x="20787" y="633"/>
                  </a:lnTo>
                  <a:lnTo>
                    <a:pt x="20787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7" name="Полилиния: фигура 840">
              <a:extLst>
                <a:ext uri="{FF2B5EF4-FFF2-40B4-BE49-F238E27FC236}">
                  <a16:creationId xmlns:a16="http://schemas.microsoft.com/office/drawing/2014/main" id="{CFE39074-BCDD-464C-A55C-3EA90C488274}"/>
                </a:ext>
              </a:extLst>
            </p:cNvPr>
            <p:cNvSpPr/>
            <p:nvPr/>
          </p:nvSpPr>
          <p:spPr bwMode="auto">
            <a:xfrm>
              <a:off x="3244234" y="1124424"/>
              <a:ext cx="27844" cy="27844"/>
            </a:xfrm>
            <a:custGeom>
              <a:avLst/>
              <a:gdLst>
                <a:gd name="connsiteX0" fmla="*/ 633 w 27843"/>
                <a:gd name="connsiteY0" fmla="*/ 633 h 27843"/>
                <a:gd name="connsiteX1" fmla="*/ 633 w 27843"/>
                <a:gd name="connsiteY1" fmla="*/ 13777 h 27843"/>
                <a:gd name="connsiteX2" fmla="*/ 14653 w 27843"/>
                <a:gd name="connsiteY2" fmla="*/ 13777 h 27843"/>
                <a:gd name="connsiteX3" fmla="*/ 14653 w 27843"/>
                <a:gd name="connsiteY3" fmla="*/ 27797 h 27843"/>
                <a:gd name="connsiteX4" fmla="*/ 27797 w 27843"/>
                <a:gd name="connsiteY4" fmla="*/ 27797 h 27843"/>
                <a:gd name="connsiteX5" fmla="*/ 27797 w 27843"/>
                <a:gd name="connsiteY5" fmla="*/ 633 h 27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843" extrusionOk="0">
                  <a:moveTo>
                    <a:pt x="633" y="633"/>
                  </a:moveTo>
                  <a:lnTo>
                    <a:pt x="633" y="13777"/>
                  </a:lnTo>
                  <a:lnTo>
                    <a:pt x="14653" y="13777"/>
                  </a:lnTo>
                  <a:lnTo>
                    <a:pt x="14653" y="27797"/>
                  </a:lnTo>
                  <a:lnTo>
                    <a:pt x="27797" y="27797"/>
                  </a:lnTo>
                  <a:lnTo>
                    <a:pt x="27797" y="6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8" name="Полилиния: фигура 841">
              <a:extLst>
                <a:ext uri="{FF2B5EF4-FFF2-40B4-BE49-F238E27FC236}">
                  <a16:creationId xmlns:a16="http://schemas.microsoft.com/office/drawing/2014/main" id="{D4F057C3-AB2C-FD41-93FE-0A1168E13AB5}"/>
                </a:ext>
              </a:extLst>
            </p:cNvPr>
            <p:cNvSpPr/>
            <p:nvPr/>
          </p:nvSpPr>
          <p:spPr bwMode="auto">
            <a:xfrm>
              <a:off x="3258254" y="1164733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99" name="Полилиния: фигура 842">
              <a:extLst>
                <a:ext uri="{FF2B5EF4-FFF2-40B4-BE49-F238E27FC236}">
                  <a16:creationId xmlns:a16="http://schemas.microsoft.com/office/drawing/2014/main" id="{3BD5A611-A4C7-B44E-87FF-ACE5E2381F26}"/>
                </a:ext>
              </a:extLst>
            </p:cNvPr>
            <p:cNvSpPr/>
            <p:nvPr/>
          </p:nvSpPr>
          <p:spPr bwMode="auto">
            <a:xfrm>
              <a:off x="3258254" y="1198031"/>
              <a:ext cx="14344" cy="21094"/>
            </a:xfrm>
            <a:custGeom>
              <a:avLst/>
              <a:gdLst>
                <a:gd name="connsiteX0" fmla="*/ 633 w 14343"/>
                <a:gd name="connsiteY0" fmla="*/ 633 h 21093"/>
                <a:gd name="connsiteX1" fmla="*/ 13777 w 14343"/>
                <a:gd name="connsiteY1" fmla="*/ 633 h 21093"/>
                <a:gd name="connsiteX2" fmla="*/ 13777 w 14343"/>
                <a:gd name="connsiteY2" fmla="*/ 20787 h 21093"/>
                <a:gd name="connsiteX3" fmla="*/ 633 w 14343"/>
                <a:gd name="connsiteY3" fmla="*/ 20787 h 21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1093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20787"/>
                  </a:lnTo>
                  <a:lnTo>
                    <a:pt x="633" y="2078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100" name="Полилиния: фигура 843">
              <a:extLst>
                <a:ext uri="{FF2B5EF4-FFF2-40B4-BE49-F238E27FC236}">
                  <a16:creationId xmlns:a16="http://schemas.microsoft.com/office/drawing/2014/main" id="{008F6D00-DEBA-9B47-960B-BA4E53808770}"/>
                </a:ext>
              </a:extLst>
            </p:cNvPr>
            <p:cNvSpPr/>
            <p:nvPr/>
          </p:nvSpPr>
          <p:spPr bwMode="auto">
            <a:xfrm>
              <a:off x="3258254" y="1231329"/>
              <a:ext cx="14344" cy="20250"/>
            </a:xfrm>
            <a:custGeom>
              <a:avLst/>
              <a:gdLst>
                <a:gd name="connsiteX0" fmla="*/ 633 w 14343"/>
                <a:gd name="connsiteY0" fmla="*/ 633 h 20250"/>
                <a:gd name="connsiteX1" fmla="*/ 13777 w 14343"/>
                <a:gd name="connsiteY1" fmla="*/ 633 h 20250"/>
                <a:gd name="connsiteX2" fmla="*/ 13777 w 14343"/>
                <a:gd name="connsiteY2" fmla="*/ 19911 h 20250"/>
                <a:gd name="connsiteX3" fmla="*/ 633 w 14343"/>
                <a:gd name="connsiteY3" fmla="*/ 19911 h 2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43" h="20250" extrusionOk="0">
                  <a:moveTo>
                    <a:pt x="633" y="633"/>
                  </a:moveTo>
                  <a:lnTo>
                    <a:pt x="13777" y="633"/>
                  </a:lnTo>
                  <a:lnTo>
                    <a:pt x="13777" y="19911"/>
                  </a:lnTo>
                  <a:lnTo>
                    <a:pt x="633" y="199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101" name="Полилиния: фигура 844">
              <a:extLst>
                <a:ext uri="{FF2B5EF4-FFF2-40B4-BE49-F238E27FC236}">
                  <a16:creationId xmlns:a16="http://schemas.microsoft.com/office/drawing/2014/main" id="{285C6FBF-E19D-9E40-91BF-B4B2A7861EA0}"/>
                </a:ext>
              </a:extLst>
            </p:cNvPr>
            <p:cNvSpPr/>
            <p:nvPr/>
          </p:nvSpPr>
          <p:spPr bwMode="auto">
            <a:xfrm>
              <a:off x="3258254" y="1264626"/>
              <a:ext cx="27844" cy="27000"/>
            </a:xfrm>
            <a:custGeom>
              <a:avLst/>
              <a:gdLst>
                <a:gd name="connsiteX0" fmla="*/ 13777 w 27843"/>
                <a:gd name="connsiteY0" fmla="*/ 13777 h 27000"/>
                <a:gd name="connsiteX1" fmla="*/ 13777 w 27843"/>
                <a:gd name="connsiteY1" fmla="*/ 633 h 27000"/>
                <a:gd name="connsiteX2" fmla="*/ 633 w 27843"/>
                <a:gd name="connsiteY2" fmla="*/ 633 h 27000"/>
                <a:gd name="connsiteX3" fmla="*/ 633 w 27843"/>
                <a:gd name="connsiteY3" fmla="*/ 26921 h 27000"/>
                <a:gd name="connsiteX4" fmla="*/ 27797 w 27843"/>
                <a:gd name="connsiteY4" fmla="*/ 26921 h 27000"/>
                <a:gd name="connsiteX5" fmla="*/ 27797 w 27843"/>
                <a:gd name="connsiteY5" fmla="*/ 13777 h 2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843" h="27000" extrusionOk="0">
                  <a:moveTo>
                    <a:pt x="13777" y="13777"/>
                  </a:moveTo>
                  <a:lnTo>
                    <a:pt x="13777" y="633"/>
                  </a:lnTo>
                  <a:lnTo>
                    <a:pt x="633" y="633"/>
                  </a:lnTo>
                  <a:lnTo>
                    <a:pt x="633" y="26921"/>
                  </a:lnTo>
                  <a:lnTo>
                    <a:pt x="27797" y="26921"/>
                  </a:lnTo>
                  <a:lnTo>
                    <a:pt x="27797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102" name="Полилиния: фигура 845">
              <a:extLst>
                <a:ext uri="{FF2B5EF4-FFF2-40B4-BE49-F238E27FC236}">
                  <a16:creationId xmlns:a16="http://schemas.microsoft.com/office/drawing/2014/main" id="{E5CA24D3-4EB8-AD48-8769-9791147B2F24}"/>
                </a:ext>
              </a:extLst>
            </p:cNvPr>
            <p:cNvSpPr/>
            <p:nvPr/>
          </p:nvSpPr>
          <p:spPr bwMode="auto">
            <a:xfrm>
              <a:off x="3298563" y="1277771"/>
              <a:ext cx="20250" cy="14344"/>
            </a:xfrm>
            <a:custGeom>
              <a:avLst/>
              <a:gdLst>
                <a:gd name="connsiteX0" fmla="*/ 633 w 20250"/>
                <a:gd name="connsiteY0" fmla="*/ 633 h 14343"/>
                <a:gd name="connsiteX1" fmla="*/ 19911 w 20250"/>
                <a:gd name="connsiteY1" fmla="*/ 633 h 14343"/>
                <a:gd name="connsiteX2" fmla="*/ 19911 w 20250"/>
                <a:gd name="connsiteY2" fmla="*/ 13777 h 14343"/>
                <a:gd name="connsiteX3" fmla="*/ 633 w 20250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250" h="14343" extrusionOk="0">
                  <a:moveTo>
                    <a:pt x="633" y="633"/>
                  </a:moveTo>
                  <a:lnTo>
                    <a:pt x="19911" y="633"/>
                  </a:lnTo>
                  <a:lnTo>
                    <a:pt x="19911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  <p:sp>
          <p:nvSpPr>
            <p:cNvPr id="103" name="Полилиния: фигура 846">
              <a:extLst>
                <a:ext uri="{FF2B5EF4-FFF2-40B4-BE49-F238E27FC236}">
                  <a16:creationId xmlns:a16="http://schemas.microsoft.com/office/drawing/2014/main" id="{652208F5-75CD-A641-AFE6-FDF07F42560E}"/>
                </a:ext>
              </a:extLst>
            </p:cNvPr>
            <p:cNvSpPr/>
            <p:nvPr/>
          </p:nvSpPr>
          <p:spPr bwMode="auto">
            <a:xfrm>
              <a:off x="3330984" y="1277771"/>
              <a:ext cx="21938" cy="14344"/>
            </a:xfrm>
            <a:custGeom>
              <a:avLst/>
              <a:gdLst>
                <a:gd name="connsiteX0" fmla="*/ 633 w 21937"/>
                <a:gd name="connsiteY0" fmla="*/ 633 h 14343"/>
                <a:gd name="connsiteX1" fmla="*/ 21663 w 21937"/>
                <a:gd name="connsiteY1" fmla="*/ 633 h 14343"/>
                <a:gd name="connsiteX2" fmla="*/ 21663 w 21937"/>
                <a:gd name="connsiteY2" fmla="*/ 13777 h 14343"/>
                <a:gd name="connsiteX3" fmla="*/ 633 w 21937"/>
                <a:gd name="connsiteY3" fmla="*/ 13777 h 1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37" h="14343" extrusionOk="0">
                  <a:moveTo>
                    <a:pt x="633" y="633"/>
                  </a:moveTo>
                  <a:lnTo>
                    <a:pt x="21663" y="633"/>
                  </a:lnTo>
                  <a:lnTo>
                    <a:pt x="21663" y="13777"/>
                  </a:lnTo>
                  <a:lnTo>
                    <a:pt x="633" y="137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ru-RU" sz="1205"/>
            </a:p>
          </p:txBody>
        </p:sp>
      </p:grpSp>
      <p:grpSp>
        <p:nvGrpSpPr>
          <p:cNvPr id="104" name="Группа 12">
            <a:extLst>
              <a:ext uri="{FF2B5EF4-FFF2-40B4-BE49-F238E27FC236}">
                <a16:creationId xmlns:a16="http://schemas.microsoft.com/office/drawing/2014/main" id="{9694CC4B-9908-8A4A-9A7B-3AC1940666CF}"/>
              </a:ext>
            </a:extLst>
          </p:cNvPr>
          <p:cNvGrpSpPr/>
          <p:nvPr/>
        </p:nvGrpSpPr>
        <p:grpSpPr bwMode="auto">
          <a:xfrm>
            <a:off x="1988692" y="4222791"/>
            <a:ext cx="1926619" cy="953633"/>
            <a:chOff x="942801" y="1270983"/>
            <a:chExt cx="2878891" cy="1424985"/>
          </a:xfrm>
        </p:grpSpPr>
        <p:sp>
          <p:nvSpPr>
            <p:cNvPr id="105" name="Заголовок 1">
              <a:extLst>
                <a:ext uri="{FF2B5EF4-FFF2-40B4-BE49-F238E27FC236}">
                  <a16:creationId xmlns:a16="http://schemas.microsoft.com/office/drawing/2014/main" id="{80A40EF8-ECA7-5244-96FA-B85DE665716A}"/>
                </a:ext>
              </a:extLst>
            </p:cNvPr>
            <p:cNvSpPr txBox="1"/>
            <p:nvPr/>
          </p:nvSpPr>
          <p:spPr bwMode="auto">
            <a:xfrm>
              <a:off x="942802" y="1270983"/>
              <a:ext cx="2878890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2409" b="1" dirty="0">
                  <a:solidFill>
                    <a:schemeClr val="accent1"/>
                  </a:solidFill>
                </a:rPr>
                <a:t>2,3 млн. км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106" name="Заголовок 1">
              <a:extLst>
                <a:ext uri="{FF2B5EF4-FFF2-40B4-BE49-F238E27FC236}">
                  <a16:creationId xmlns:a16="http://schemas.microsoft.com/office/drawing/2014/main" id="{0105952F-B3A7-C244-9554-1352C083D8D7}"/>
                </a:ext>
              </a:extLst>
            </p:cNvPr>
            <p:cNvSpPr txBox="1"/>
            <p:nvPr/>
          </p:nvSpPr>
          <p:spPr bwMode="auto">
            <a:xfrm>
              <a:off x="942801" y="1864696"/>
              <a:ext cx="2576400" cy="831272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общая протяжённость логистических маршрутов</a:t>
              </a:r>
            </a:p>
          </p:txBody>
        </p:sp>
      </p:grpSp>
      <p:grpSp>
        <p:nvGrpSpPr>
          <p:cNvPr id="110" name="Группа 12">
            <a:extLst>
              <a:ext uri="{FF2B5EF4-FFF2-40B4-BE49-F238E27FC236}">
                <a16:creationId xmlns:a16="http://schemas.microsoft.com/office/drawing/2014/main" id="{150F47ED-DB51-E24C-A6FA-C944488C07EA}"/>
              </a:ext>
            </a:extLst>
          </p:cNvPr>
          <p:cNvGrpSpPr/>
          <p:nvPr/>
        </p:nvGrpSpPr>
        <p:grpSpPr bwMode="auto">
          <a:xfrm>
            <a:off x="5841489" y="4222791"/>
            <a:ext cx="1926619" cy="1139068"/>
            <a:chOff x="942801" y="1270983"/>
            <a:chExt cx="2878891" cy="1702076"/>
          </a:xfrm>
        </p:grpSpPr>
        <p:sp>
          <p:nvSpPr>
            <p:cNvPr id="111" name="Заголовок 1">
              <a:extLst>
                <a:ext uri="{FF2B5EF4-FFF2-40B4-BE49-F238E27FC236}">
                  <a16:creationId xmlns:a16="http://schemas.microsoft.com/office/drawing/2014/main" id="{874C001F-9A03-534C-9297-C52B94DE06D0}"/>
                </a:ext>
              </a:extLst>
            </p:cNvPr>
            <p:cNvSpPr txBox="1"/>
            <p:nvPr/>
          </p:nvSpPr>
          <p:spPr bwMode="auto">
            <a:xfrm>
              <a:off x="942802" y="1270983"/>
              <a:ext cx="2878890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en-US" sz="2409" b="1" dirty="0">
                  <a:solidFill>
                    <a:schemeClr val="accent1"/>
                  </a:solidFill>
                </a:rPr>
                <a:t>&gt; 85 </a:t>
              </a:r>
              <a:r>
                <a:rPr lang="ru-RU" sz="2409" b="1" dirty="0">
                  <a:solidFill>
                    <a:schemeClr val="accent1"/>
                  </a:solidFill>
                </a:rPr>
                <a:t>тыс.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112" name="Заголовок 1">
              <a:extLst>
                <a:ext uri="{FF2B5EF4-FFF2-40B4-BE49-F238E27FC236}">
                  <a16:creationId xmlns:a16="http://schemas.microsoft.com/office/drawing/2014/main" id="{9C8DBE1E-718B-0049-8015-3BEA5EC64D4C}"/>
                </a:ext>
              </a:extLst>
            </p:cNvPr>
            <p:cNvSpPr txBox="1"/>
            <p:nvPr/>
          </p:nvSpPr>
          <p:spPr bwMode="auto">
            <a:xfrm>
              <a:off x="942801" y="1864696"/>
              <a:ext cx="2576400" cy="1108363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продавцов и </a:t>
              </a:r>
              <a:r>
                <a:rPr lang="ru-RU" sz="1205" dirty="0" err="1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маркетплейсов</a:t>
              </a: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 пользуются услугами Почты</a:t>
              </a:r>
              <a:endParaRPr lang="ru-RU" sz="1205" dirty="0"/>
            </a:p>
          </p:txBody>
        </p:sp>
      </p:grpSp>
      <p:grpSp>
        <p:nvGrpSpPr>
          <p:cNvPr id="115" name="Рисунок 4">
            <a:extLst>
              <a:ext uri="{FF2B5EF4-FFF2-40B4-BE49-F238E27FC236}">
                <a16:creationId xmlns:a16="http://schemas.microsoft.com/office/drawing/2014/main" id="{4A44CE46-6459-C642-B7F8-2228ADE5D224}"/>
              </a:ext>
            </a:extLst>
          </p:cNvPr>
          <p:cNvGrpSpPr/>
          <p:nvPr/>
        </p:nvGrpSpPr>
        <p:grpSpPr bwMode="auto">
          <a:xfrm>
            <a:off x="7708620" y="4222791"/>
            <a:ext cx="925087" cy="694790"/>
            <a:chOff x="501300" y="1136356"/>
            <a:chExt cx="259703" cy="19505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6" name="Полилиния: фигура 6">
              <a:extLst>
                <a:ext uri="{FF2B5EF4-FFF2-40B4-BE49-F238E27FC236}">
                  <a16:creationId xmlns:a16="http://schemas.microsoft.com/office/drawing/2014/main" id="{818C6B2A-1187-CC4C-8CAC-1C01EB27318D}"/>
                </a:ext>
              </a:extLst>
            </p:cNvPr>
            <p:cNvSpPr/>
            <p:nvPr/>
          </p:nvSpPr>
          <p:spPr bwMode="auto">
            <a:xfrm>
              <a:off x="594596" y="1244112"/>
              <a:ext cx="166407" cy="87295"/>
            </a:xfrm>
            <a:custGeom>
              <a:avLst/>
              <a:gdLst>
                <a:gd name="connsiteX0" fmla="*/ 83749 w 166406"/>
                <a:gd name="connsiteY0" fmla="*/ 0 h 87295"/>
                <a:gd name="connsiteX1" fmla="*/ 0 w 166406"/>
                <a:gd name="connsiteY1" fmla="*/ 83746 h 87295"/>
                <a:gd name="connsiteX2" fmla="*/ 4092 w 166406"/>
                <a:gd name="connsiteY2" fmla="*/ 87838 h 87295"/>
                <a:gd name="connsiteX3" fmla="*/ 163406 w 166406"/>
                <a:gd name="connsiteY3" fmla="*/ 87838 h 87295"/>
                <a:gd name="connsiteX4" fmla="*/ 167498 w 166406"/>
                <a:gd name="connsiteY4" fmla="*/ 83746 h 87295"/>
                <a:gd name="connsiteX5" fmla="*/ 83749 w 166406"/>
                <a:gd name="connsiteY5" fmla="*/ 0 h 87295"/>
                <a:gd name="connsiteX6" fmla="*/ 8293 w 166406"/>
                <a:gd name="connsiteY6" fmla="*/ 79657 h 87295"/>
                <a:gd name="connsiteX7" fmla="*/ 83749 w 166406"/>
                <a:gd name="connsiteY7" fmla="*/ 8184 h 87295"/>
                <a:gd name="connsiteX8" fmla="*/ 159205 w 166406"/>
                <a:gd name="connsiteY8" fmla="*/ 79657 h 87295"/>
                <a:gd name="connsiteX9" fmla="*/ 8293 w 166406"/>
                <a:gd name="connsiteY9" fmla="*/ 79657 h 87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406" h="87295" extrusionOk="0">
                  <a:moveTo>
                    <a:pt x="83749" y="0"/>
                  </a:moveTo>
                  <a:cubicBezTo>
                    <a:pt x="37570" y="0"/>
                    <a:pt x="0" y="37567"/>
                    <a:pt x="0" y="83746"/>
                  </a:cubicBezTo>
                  <a:cubicBezTo>
                    <a:pt x="0" y="86005"/>
                    <a:pt x="1830" y="87838"/>
                    <a:pt x="4092" y="87838"/>
                  </a:cubicBezTo>
                  <a:lnTo>
                    <a:pt x="163406" y="87838"/>
                  </a:lnTo>
                  <a:cubicBezTo>
                    <a:pt x="165665" y="87838"/>
                    <a:pt x="167498" y="86005"/>
                    <a:pt x="167498" y="83746"/>
                  </a:cubicBezTo>
                  <a:cubicBezTo>
                    <a:pt x="167498" y="37570"/>
                    <a:pt x="129926" y="0"/>
                    <a:pt x="83749" y="0"/>
                  </a:cubicBezTo>
                  <a:close/>
                  <a:moveTo>
                    <a:pt x="8293" y="79657"/>
                  </a:moveTo>
                  <a:cubicBezTo>
                    <a:pt x="10426" y="39889"/>
                    <a:pt x="43454" y="8184"/>
                    <a:pt x="83749" y="8184"/>
                  </a:cubicBezTo>
                  <a:cubicBezTo>
                    <a:pt x="124044" y="8184"/>
                    <a:pt x="157072" y="39889"/>
                    <a:pt x="159205" y="79657"/>
                  </a:cubicBezTo>
                  <a:lnTo>
                    <a:pt x="8293" y="79657"/>
                  </a:lnTo>
                  <a:close/>
                </a:path>
              </a:pathLst>
            </a:custGeom>
            <a:solidFill>
              <a:schemeClr val="accent1"/>
            </a:solidFill>
            <a:ln w="2667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117" name="Полилиния: фигура 7">
              <a:extLst>
                <a:ext uri="{FF2B5EF4-FFF2-40B4-BE49-F238E27FC236}">
                  <a16:creationId xmlns:a16="http://schemas.microsoft.com/office/drawing/2014/main" id="{9D9A3C7A-AF16-F846-A9AB-2662A8615F9D}"/>
                </a:ext>
              </a:extLst>
            </p:cNvPr>
            <p:cNvSpPr/>
            <p:nvPr/>
          </p:nvSpPr>
          <p:spPr bwMode="auto">
            <a:xfrm>
              <a:off x="628423" y="1136356"/>
              <a:ext cx="95479" cy="95479"/>
            </a:xfrm>
            <a:custGeom>
              <a:avLst/>
              <a:gdLst>
                <a:gd name="connsiteX0" fmla="*/ 48285 w 95479"/>
                <a:gd name="connsiteY0" fmla="*/ 96570 h 95479"/>
                <a:gd name="connsiteX1" fmla="*/ 96570 w 95479"/>
                <a:gd name="connsiteY1" fmla="*/ 48285 h 95479"/>
                <a:gd name="connsiteX2" fmla="*/ 48285 w 95479"/>
                <a:gd name="connsiteY2" fmla="*/ 0 h 95479"/>
                <a:gd name="connsiteX3" fmla="*/ 0 w 95479"/>
                <a:gd name="connsiteY3" fmla="*/ 48285 h 95479"/>
                <a:gd name="connsiteX4" fmla="*/ 48285 w 95479"/>
                <a:gd name="connsiteY4" fmla="*/ 96570 h 95479"/>
                <a:gd name="connsiteX5" fmla="*/ 48285 w 95479"/>
                <a:gd name="connsiteY5" fmla="*/ 8184 h 95479"/>
                <a:gd name="connsiteX6" fmla="*/ 88387 w 95479"/>
                <a:gd name="connsiteY6" fmla="*/ 48285 h 95479"/>
                <a:gd name="connsiteX7" fmla="*/ 48285 w 95479"/>
                <a:gd name="connsiteY7" fmla="*/ 88387 h 95479"/>
                <a:gd name="connsiteX8" fmla="*/ 8184 w 95479"/>
                <a:gd name="connsiteY8" fmla="*/ 48285 h 95479"/>
                <a:gd name="connsiteX9" fmla="*/ 48285 w 95479"/>
                <a:gd name="connsiteY9" fmla="*/ 8184 h 95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479" h="95479" extrusionOk="0">
                  <a:moveTo>
                    <a:pt x="48285" y="96570"/>
                  </a:moveTo>
                  <a:cubicBezTo>
                    <a:pt x="74910" y="96570"/>
                    <a:pt x="96570" y="74910"/>
                    <a:pt x="96570" y="48285"/>
                  </a:cubicBezTo>
                  <a:cubicBezTo>
                    <a:pt x="96570" y="21660"/>
                    <a:pt x="74910" y="0"/>
                    <a:pt x="48285" y="0"/>
                  </a:cubicBezTo>
                  <a:cubicBezTo>
                    <a:pt x="21660" y="0"/>
                    <a:pt x="0" y="21660"/>
                    <a:pt x="0" y="48285"/>
                  </a:cubicBezTo>
                  <a:cubicBezTo>
                    <a:pt x="0" y="74910"/>
                    <a:pt x="21660" y="96570"/>
                    <a:pt x="48285" y="96570"/>
                  </a:cubicBezTo>
                  <a:close/>
                  <a:moveTo>
                    <a:pt x="48285" y="8184"/>
                  </a:moveTo>
                  <a:cubicBezTo>
                    <a:pt x="70396" y="8184"/>
                    <a:pt x="88387" y="26172"/>
                    <a:pt x="88387" y="48285"/>
                  </a:cubicBezTo>
                  <a:cubicBezTo>
                    <a:pt x="88387" y="70396"/>
                    <a:pt x="70396" y="88387"/>
                    <a:pt x="48285" y="88387"/>
                  </a:cubicBezTo>
                  <a:cubicBezTo>
                    <a:pt x="26175" y="88387"/>
                    <a:pt x="8184" y="70398"/>
                    <a:pt x="8184" y="48285"/>
                  </a:cubicBezTo>
                  <a:cubicBezTo>
                    <a:pt x="8184" y="26172"/>
                    <a:pt x="26175" y="8184"/>
                    <a:pt x="48285" y="8184"/>
                  </a:cubicBezTo>
                  <a:close/>
                </a:path>
              </a:pathLst>
            </a:custGeom>
            <a:solidFill>
              <a:schemeClr val="accent1"/>
            </a:solidFill>
            <a:ln w="2667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118" name="Полилиния: фигура 8">
              <a:extLst>
                <a:ext uri="{FF2B5EF4-FFF2-40B4-BE49-F238E27FC236}">
                  <a16:creationId xmlns:a16="http://schemas.microsoft.com/office/drawing/2014/main" id="{E78DB13B-EBFA-E64B-A9F9-3990E71011EC}"/>
                </a:ext>
              </a:extLst>
            </p:cNvPr>
            <p:cNvSpPr/>
            <p:nvPr/>
          </p:nvSpPr>
          <p:spPr bwMode="auto">
            <a:xfrm>
              <a:off x="501300" y="1264571"/>
              <a:ext cx="95479" cy="65472"/>
            </a:xfrm>
            <a:custGeom>
              <a:avLst/>
              <a:gdLst>
                <a:gd name="connsiteX0" fmla="*/ 63289 w 95479"/>
                <a:gd name="connsiteY0" fmla="*/ 8184 h 65471"/>
                <a:gd name="connsiteX1" fmla="*/ 91207 w 95479"/>
                <a:gd name="connsiteY1" fmla="*/ 15795 h 65471"/>
                <a:gd name="connsiteX2" fmla="*/ 96816 w 95479"/>
                <a:gd name="connsiteY2" fmla="*/ 14366 h 65471"/>
                <a:gd name="connsiteX3" fmla="*/ 95389 w 95479"/>
                <a:gd name="connsiteY3" fmla="*/ 8757 h 65471"/>
                <a:gd name="connsiteX4" fmla="*/ 63292 w 95479"/>
                <a:gd name="connsiteY4" fmla="*/ 0 h 65471"/>
                <a:gd name="connsiteX5" fmla="*/ 0 w 95479"/>
                <a:gd name="connsiteY5" fmla="*/ 63289 h 65471"/>
                <a:gd name="connsiteX6" fmla="*/ 4092 w 95479"/>
                <a:gd name="connsiteY6" fmla="*/ 67381 h 65471"/>
                <a:gd name="connsiteX7" fmla="*/ 77747 w 95479"/>
                <a:gd name="connsiteY7" fmla="*/ 67381 h 65471"/>
                <a:gd name="connsiteX8" fmla="*/ 81839 w 95479"/>
                <a:gd name="connsiteY8" fmla="*/ 63289 h 65471"/>
                <a:gd name="connsiteX9" fmla="*/ 77747 w 95479"/>
                <a:gd name="connsiteY9" fmla="*/ 59197 h 65471"/>
                <a:gd name="connsiteX10" fmla="*/ 8334 w 95479"/>
                <a:gd name="connsiteY10" fmla="*/ 59197 h 65471"/>
                <a:gd name="connsiteX11" fmla="*/ 63289 w 95479"/>
                <a:gd name="connsiteY11" fmla="*/ 8184 h 65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479" h="65471" extrusionOk="0">
                  <a:moveTo>
                    <a:pt x="63289" y="8184"/>
                  </a:moveTo>
                  <a:cubicBezTo>
                    <a:pt x="73173" y="8184"/>
                    <a:pt x="82824" y="10816"/>
                    <a:pt x="91207" y="15795"/>
                  </a:cubicBezTo>
                  <a:cubicBezTo>
                    <a:pt x="93152" y="16949"/>
                    <a:pt x="95662" y="16308"/>
                    <a:pt x="96816" y="14366"/>
                  </a:cubicBezTo>
                  <a:cubicBezTo>
                    <a:pt x="97970" y="12423"/>
                    <a:pt x="97329" y="9913"/>
                    <a:pt x="95389" y="8757"/>
                  </a:cubicBezTo>
                  <a:cubicBezTo>
                    <a:pt x="85743" y="3028"/>
                    <a:pt x="74643" y="0"/>
                    <a:pt x="63292" y="0"/>
                  </a:cubicBezTo>
                  <a:cubicBezTo>
                    <a:pt x="28390" y="0"/>
                    <a:pt x="0" y="28393"/>
                    <a:pt x="0" y="63289"/>
                  </a:cubicBezTo>
                  <a:cubicBezTo>
                    <a:pt x="0" y="65548"/>
                    <a:pt x="1830" y="67381"/>
                    <a:pt x="4092" y="67381"/>
                  </a:cubicBezTo>
                  <a:lnTo>
                    <a:pt x="77747" y="67381"/>
                  </a:lnTo>
                  <a:cubicBezTo>
                    <a:pt x="80009" y="67381"/>
                    <a:pt x="81839" y="65548"/>
                    <a:pt x="81839" y="63289"/>
                  </a:cubicBezTo>
                  <a:cubicBezTo>
                    <a:pt x="81839" y="61030"/>
                    <a:pt x="80009" y="59197"/>
                    <a:pt x="77747" y="59197"/>
                  </a:cubicBezTo>
                  <a:lnTo>
                    <a:pt x="8334" y="59197"/>
                  </a:lnTo>
                  <a:cubicBezTo>
                    <a:pt x="10435" y="30714"/>
                    <a:pt x="34280" y="8184"/>
                    <a:pt x="63289" y="8184"/>
                  </a:cubicBezTo>
                  <a:close/>
                </a:path>
              </a:pathLst>
            </a:custGeom>
            <a:grpFill/>
            <a:ln w="2667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  <p:sp>
          <p:nvSpPr>
            <p:cNvPr id="119" name="Полилиния: фигура 9">
              <a:extLst>
                <a:ext uri="{FF2B5EF4-FFF2-40B4-BE49-F238E27FC236}">
                  <a16:creationId xmlns:a16="http://schemas.microsoft.com/office/drawing/2014/main" id="{5235E920-1B89-5A40-9CE7-9EF2B2B979BF}"/>
                </a:ext>
              </a:extLst>
            </p:cNvPr>
            <p:cNvSpPr/>
            <p:nvPr/>
          </p:nvSpPr>
          <p:spPr bwMode="auto">
            <a:xfrm>
              <a:off x="526670" y="1177822"/>
              <a:ext cx="73655" cy="73655"/>
            </a:xfrm>
            <a:custGeom>
              <a:avLst/>
              <a:gdLst>
                <a:gd name="connsiteX0" fmla="*/ 37101 w 73655"/>
                <a:gd name="connsiteY0" fmla="*/ 74201 h 73655"/>
                <a:gd name="connsiteX1" fmla="*/ 74201 w 73655"/>
                <a:gd name="connsiteY1" fmla="*/ 37101 h 73655"/>
                <a:gd name="connsiteX2" fmla="*/ 37101 w 73655"/>
                <a:gd name="connsiteY2" fmla="*/ 0 h 73655"/>
                <a:gd name="connsiteX3" fmla="*/ 0 w 73655"/>
                <a:gd name="connsiteY3" fmla="*/ 37101 h 73655"/>
                <a:gd name="connsiteX4" fmla="*/ 37101 w 73655"/>
                <a:gd name="connsiteY4" fmla="*/ 74201 h 73655"/>
                <a:gd name="connsiteX5" fmla="*/ 37101 w 73655"/>
                <a:gd name="connsiteY5" fmla="*/ 8184 h 73655"/>
                <a:gd name="connsiteX6" fmla="*/ 66017 w 73655"/>
                <a:gd name="connsiteY6" fmla="*/ 37101 h 73655"/>
                <a:gd name="connsiteX7" fmla="*/ 37101 w 73655"/>
                <a:gd name="connsiteY7" fmla="*/ 66017 h 73655"/>
                <a:gd name="connsiteX8" fmla="*/ 8184 w 73655"/>
                <a:gd name="connsiteY8" fmla="*/ 37101 h 73655"/>
                <a:gd name="connsiteX9" fmla="*/ 37101 w 73655"/>
                <a:gd name="connsiteY9" fmla="*/ 8184 h 73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3655" h="73655" extrusionOk="0">
                  <a:moveTo>
                    <a:pt x="37101" y="74201"/>
                  </a:moveTo>
                  <a:cubicBezTo>
                    <a:pt x="57558" y="74201"/>
                    <a:pt x="74201" y="57558"/>
                    <a:pt x="74201" y="37101"/>
                  </a:cubicBezTo>
                  <a:cubicBezTo>
                    <a:pt x="74201" y="16643"/>
                    <a:pt x="57558" y="0"/>
                    <a:pt x="37101" y="0"/>
                  </a:cubicBezTo>
                  <a:cubicBezTo>
                    <a:pt x="16643" y="0"/>
                    <a:pt x="0" y="16643"/>
                    <a:pt x="0" y="37101"/>
                  </a:cubicBezTo>
                  <a:cubicBezTo>
                    <a:pt x="0" y="57558"/>
                    <a:pt x="16643" y="74201"/>
                    <a:pt x="37101" y="74201"/>
                  </a:cubicBezTo>
                  <a:close/>
                  <a:moveTo>
                    <a:pt x="37101" y="8184"/>
                  </a:moveTo>
                  <a:cubicBezTo>
                    <a:pt x="53046" y="8184"/>
                    <a:pt x="66017" y="21155"/>
                    <a:pt x="66017" y="37101"/>
                  </a:cubicBezTo>
                  <a:cubicBezTo>
                    <a:pt x="66017" y="53046"/>
                    <a:pt x="53046" y="66017"/>
                    <a:pt x="37101" y="66017"/>
                  </a:cubicBezTo>
                  <a:cubicBezTo>
                    <a:pt x="21155" y="66017"/>
                    <a:pt x="8184" y="53046"/>
                    <a:pt x="8184" y="37101"/>
                  </a:cubicBezTo>
                  <a:cubicBezTo>
                    <a:pt x="8184" y="21155"/>
                    <a:pt x="21155" y="8184"/>
                    <a:pt x="37101" y="8184"/>
                  </a:cubicBezTo>
                  <a:close/>
                </a:path>
              </a:pathLst>
            </a:custGeom>
            <a:grpFill/>
            <a:ln w="2667" cap="flat">
              <a:noFill/>
              <a:prstDash val="solid"/>
              <a:miter/>
            </a:ln>
          </p:spPr>
          <p:txBody>
            <a:bodyPr rtlCol="0" anchor="ctr"/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defRPr/>
              </a:pPr>
              <a:endParaRPr lang="ru-RU" sz="937"/>
            </a:p>
          </p:txBody>
        </p:sp>
      </p:grpSp>
      <p:grpSp>
        <p:nvGrpSpPr>
          <p:cNvPr id="122" name="Группа 12">
            <a:extLst>
              <a:ext uri="{FF2B5EF4-FFF2-40B4-BE49-F238E27FC236}">
                <a16:creationId xmlns:a16="http://schemas.microsoft.com/office/drawing/2014/main" id="{279B97BD-03F6-D84C-B551-58EDD524259D}"/>
              </a:ext>
            </a:extLst>
          </p:cNvPr>
          <p:cNvGrpSpPr/>
          <p:nvPr/>
        </p:nvGrpSpPr>
        <p:grpSpPr bwMode="auto">
          <a:xfrm>
            <a:off x="8806964" y="4194556"/>
            <a:ext cx="1926619" cy="1561234"/>
            <a:chOff x="942801" y="1270983"/>
            <a:chExt cx="2878891" cy="2332905"/>
          </a:xfrm>
        </p:grpSpPr>
        <p:sp>
          <p:nvSpPr>
            <p:cNvPr id="123" name="Заголовок 1">
              <a:extLst>
                <a:ext uri="{FF2B5EF4-FFF2-40B4-BE49-F238E27FC236}">
                  <a16:creationId xmlns:a16="http://schemas.microsoft.com/office/drawing/2014/main" id="{1B8A4EE1-E946-C94A-937E-8FA753AFCCE1}"/>
                </a:ext>
              </a:extLst>
            </p:cNvPr>
            <p:cNvSpPr txBox="1"/>
            <p:nvPr/>
          </p:nvSpPr>
          <p:spPr bwMode="auto">
            <a:xfrm>
              <a:off x="942802" y="1270983"/>
              <a:ext cx="2878890" cy="55399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2409" b="1" dirty="0">
                  <a:solidFill>
                    <a:schemeClr val="accent1"/>
                  </a:solidFill>
                </a:rPr>
                <a:t>3 млн</a:t>
              </a:r>
              <a:endParaRPr sz="2409" b="1" dirty="0">
                <a:solidFill>
                  <a:schemeClr val="accent1"/>
                </a:solidFill>
              </a:endParaRPr>
            </a:p>
          </p:txBody>
        </p:sp>
        <p:sp>
          <p:nvSpPr>
            <p:cNvPr id="124" name="Заголовок 1">
              <a:extLst>
                <a:ext uri="{FF2B5EF4-FFF2-40B4-BE49-F238E27FC236}">
                  <a16:creationId xmlns:a16="http://schemas.microsoft.com/office/drawing/2014/main" id="{E5418CB1-847B-3E40-903A-B3E1D03FCFAA}"/>
                </a:ext>
              </a:extLst>
            </p:cNvPr>
            <p:cNvSpPr txBox="1"/>
            <p:nvPr/>
          </p:nvSpPr>
          <p:spPr bwMode="auto">
            <a:xfrm>
              <a:off x="942801" y="1864695"/>
              <a:ext cx="2576400" cy="1739193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t">
              <a:spAutoFit/>
            </a:bodyPr>
            <a:lstStyle>
              <a:def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1pPr>
              <a:lvl2pPr marR="0" lvl="1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2pPr>
              <a:lvl3pPr marR="0" lvl="2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3pPr>
              <a:lvl4pPr marR="0" lvl="3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4pPr>
              <a:lvl5pPr marR="0" lvl="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5pPr>
              <a:lvl6pPr marR="0" lvl="5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6pPr>
              <a:lvl7pPr marR="0" lvl="6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7pPr>
              <a:lvl8pPr marR="0" lvl="7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8pPr>
              <a:lvl9pPr marR="0" lvl="8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lvl9pPr>
            </a:lstStyle>
            <a:p>
              <a:pPr defTabSz="611916">
                <a:spcAft>
                  <a:spcPts val="402"/>
                </a:spcAft>
                <a:defRPr/>
              </a:pPr>
              <a:r>
                <a:rPr lang="ru-RU" sz="1205" dirty="0">
                  <a:solidFill>
                    <a:srgbClr val="1F1F1F">
                      <a:lumMod val="75000"/>
                      <a:lumOff val="25000"/>
                    </a:srgbClr>
                  </a:solidFill>
                  <a:latin typeface="Segoe UI"/>
                  <a:ea typeface="Segoe UI"/>
                  <a:cs typeface="Segoe UI"/>
                </a:rPr>
                <a:t>человек в среднем ежедневно посещают почтовые отделения (до 6 млн. чел. в пиковые дни)</a:t>
              </a:r>
              <a:endParaRPr lang="ru-RU" sz="1205" dirty="0"/>
            </a:p>
            <a:p>
              <a:pPr defTabSz="611916">
                <a:spcAft>
                  <a:spcPts val="402"/>
                </a:spcAft>
                <a:defRPr/>
              </a:pPr>
              <a:endParaRPr lang="ru-RU" sz="1205" dirty="0">
                <a:solidFill>
                  <a:srgbClr val="1F1F1F">
                    <a:lumMod val="75000"/>
                    <a:lumOff val="25000"/>
                  </a:srgbClr>
                </a:solidFill>
                <a:latin typeface="Segoe UI"/>
                <a:ea typeface="Segoe UI"/>
                <a:cs typeface="Segoe UI"/>
              </a:endParaRPr>
            </a:p>
          </p:txBody>
        </p:sp>
      </p:grpSp>
      <p:grpSp>
        <p:nvGrpSpPr>
          <p:cNvPr id="322" name="Группа 321">
            <a:extLst>
              <a:ext uri="{FF2B5EF4-FFF2-40B4-BE49-F238E27FC236}">
                <a16:creationId xmlns:a16="http://schemas.microsoft.com/office/drawing/2014/main" id="{C78FEC67-CDB7-484A-9F21-BA60F2380D5C}"/>
              </a:ext>
            </a:extLst>
          </p:cNvPr>
          <p:cNvGrpSpPr/>
          <p:nvPr/>
        </p:nvGrpSpPr>
        <p:grpSpPr>
          <a:xfrm>
            <a:off x="4352091" y="4177185"/>
            <a:ext cx="1064847" cy="800538"/>
            <a:chOff x="9305926" y="7813675"/>
            <a:chExt cx="889000" cy="668338"/>
          </a:xfrm>
        </p:grpSpPr>
        <p:sp>
          <p:nvSpPr>
            <p:cNvPr id="323" name="Freeform 187">
              <a:extLst>
                <a:ext uri="{FF2B5EF4-FFF2-40B4-BE49-F238E27FC236}">
                  <a16:creationId xmlns:a16="http://schemas.microsoft.com/office/drawing/2014/main" id="{5F8A06F0-A01A-7544-B91B-9D3418ABB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5926" y="8002588"/>
              <a:ext cx="889000" cy="479425"/>
            </a:xfrm>
            <a:custGeom>
              <a:avLst/>
              <a:gdLst>
                <a:gd name="T0" fmla="*/ 33 w 560"/>
                <a:gd name="T1" fmla="*/ 0 h 302"/>
                <a:gd name="T2" fmla="*/ 33 w 560"/>
                <a:gd name="T3" fmla="*/ 0 h 302"/>
                <a:gd name="T4" fmla="*/ 26 w 560"/>
                <a:gd name="T5" fmla="*/ 0 h 302"/>
                <a:gd name="T6" fmla="*/ 18 w 560"/>
                <a:gd name="T7" fmla="*/ 3 h 302"/>
                <a:gd name="T8" fmla="*/ 11 w 560"/>
                <a:gd name="T9" fmla="*/ 7 h 302"/>
                <a:gd name="T10" fmla="*/ 6 w 560"/>
                <a:gd name="T11" fmla="*/ 13 h 302"/>
                <a:gd name="T12" fmla="*/ 2 w 560"/>
                <a:gd name="T13" fmla="*/ 21 h 302"/>
                <a:gd name="T14" fmla="*/ 0 w 560"/>
                <a:gd name="T15" fmla="*/ 28 h 302"/>
                <a:gd name="T16" fmla="*/ 0 w 560"/>
                <a:gd name="T17" fmla="*/ 36 h 302"/>
                <a:gd name="T18" fmla="*/ 2 w 560"/>
                <a:gd name="T19" fmla="*/ 45 h 302"/>
                <a:gd name="T20" fmla="*/ 78 w 560"/>
                <a:gd name="T21" fmla="*/ 266 h 302"/>
                <a:gd name="T22" fmla="*/ 78 w 560"/>
                <a:gd name="T23" fmla="*/ 266 h 302"/>
                <a:gd name="T24" fmla="*/ 81 w 560"/>
                <a:gd name="T25" fmla="*/ 273 h 302"/>
                <a:gd name="T26" fmla="*/ 86 w 560"/>
                <a:gd name="T27" fmla="*/ 281 h 302"/>
                <a:gd name="T28" fmla="*/ 92 w 560"/>
                <a:gd name="T29" fmla="*/ 287 h 302"/>
                <a:gd name="T30" fmla="*/ 98 w 560"/>
                <a:gd name="T31" fmla="*/ 291 h 302"/>
                <a:gd name="T32" fmla="*/ 105 w 560"/>
                <a:gd name="T33" fmla="*/ 296 h 302"/>
                <a:gd name="T34" fmla="*/ 113 w 560"/>
                <a:gd name="T35" fmla="*/ 299 h 302"/>
                <a:gd name="T36" fmla="*/ 122 w 560"/>
                <a:gd name="T37" fmla="*/ 302 h 302"/>
                <a:gd name="T38" fmla="*/ 131 w 560"/>
                <a:gd name="T39" fmla="*/ 302 h 302"/>
                <a:gd name="T40" fmla="*/ 437 w 560"/>
                <a:gd name="T41" fmla="*/ 302 h 302"/>
                <a:gd name="T42" fmla="*/ 437 w 560"/>
                <a:gd name="T43" fmla="*/ 302 h 302"/>
                <a:gd name="T44" fmla="*/ 444 w 560"/>
                <a:gd name="T45" fmla="*/ 302 h 302"/>
                <a:gd name="T46" fmla="*/ 453 w 560"/>
                <a:gd name="T47" fmla="*/ 299 h 302"/>
                <a:gd name="T48" fmla="*/ 461 w 560"/>
                <a:gd name="T49" fmla="*/ 296 h 302"/>
                <a:gd name="T50" fmla="*/ 469 w 560"/>
                <a:gd name="T51" fmla="*/ 291 h 302"/>
                <a:gd name="T52" fmla="*/ 475 w 560"/>
                <a:gd name="T53" fmla="*/ 285 h 302"/>
                <a:gd name="T54" fmla="*/ 481 w 560"/>
                <a:gd name="T55" fmla="*/ 279 h 302"/>
                <a:gd name="T56" fmla="*/ 485 w 560"/>
                <a:gd name="T57" fmla="*/ 272 h 302"/>
                <a:gd name="T58" fmla="*/ 488 w 560"/>
                <a:gd name="T59" fmla="*/ 264 h 302"/>
                <a:gd name="T60" fmla="*/ 559 w 560"/>
                <a:gd name="T61" fmla="*/ 43 h 302"/>
                <a:gd name="T62" fmla="*/ 559 w 560"/>
                <a:gd name="T63" fmla="*/ 43 h 302"/>
                <a:gd name="T64" fmla="*/ 560 w 560"/>
                <a:gd name="T65" fmla="*/ 36 h 302"/>
                <a:gd name="T66" fmla="*/ 560 w 560"/>
                <a:gd name="T67" fmla="*/ 27 h 302"/>
                <a:gd name="T68" fmla="*/ 557 w 560"/>
                <a:gd name="T69" fmla="*/ 19 h 302"/>
                <a:gd name="T70" fmla="*/ 554 w 560"/>
                <a:gd name="T71" fmla="*/ 13 h 302"/>
                <a:gd name="T72" fmla="*/ 548 w 560"/>
                <a:gd name="T73" fmla="*/ 7 h 302"/>
                <a:gd name="T74" fmla="*/ 542 w 560"/>
                <a:gd name="T75" fmla="*/ 3 h 302"/>
                <a:gd name="T76" fmla="*/ 535 w 560"/>
                <a:gd name="T77" fmla="*/ 0 h 302"/>
                <a:gd name="T78" fmla="*/ 527 w 560"/>
                <a:gd name="T79" fmla="*/ 0 h 302"/>
                <a:gd name="T80" fmla="*/ 33 w 560"/>
                <a:gd name="T81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0" h="302">
                  <a:moveTo>
                    <a:pt x="33" y="0"/>
                  </a:moveTo>
                  <a:lnTo>
                    <a:pt x="33" y="0"/>
                  </a:lnTo>
                  <a:lnTo>
                    <a:pt x="26" y="0"/>
                  </a:lnTo>
                  <a:lnTo>
                    <a:pt x="18" y="3"/>
                  </a:lnTo>
                  <a:lnTo>
                    <a:pt x="11" y="7"/>
                  </a:lnTo>
                  <a:lnTo>
                    <a:pt x="6" y="13"/>
                  </a:lnTo>
                  <a:lnTo>
                    <a:pt x="2" y="21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2" y="45"/>
                  </a:lnTo>
                  <a:lnTo>
                    <a:pt x="78" y="266"/>
                  </a:lnTo>
                  <a:lnTo>
                    <a:pt x="78" y="266"/>
                  </a:lnTo>
                  <a:lnTo>
                    <a:pt x="81" y="273"/>
                  </a:lnTo>
                  <a:lnTo>
                    <a:pt x="86" y="281"/>
                  </a:lnTo>
                  <a:lnTo>
                    <a:pt x="92" y="287"/>
                  </a:lnTo>
                  <a:lnTo>
                    <a:pt x="98" y="291"/>
                  </a:lnTo>
                  <a:lnTo>
                    <a:pt x="105" y="296"/>
                  </a:lnTo>
                  <a:lnTo>
                    <a:pt x="113" y="299"/>
                  </a:lnTo>
                  <a:lnTo>
                    <a:pt x="122" y="302"/>
                  </a:lnTo>
                  <a:lnTo>
                    <a:pt x="131" y="302"/>
                  </a:lnTo>
                  <a:lnTo>
                    <a:pt x="437" y="302"/>
                  </a:lnTo>
                  <a:lnTo>
                    <a:pt x="437" y="302"/>
                  </a:lnTo>
                  <a:lnTo>
                    <a:pt x="444" y="302"/>
                  </a:lnTo>
                  <a:lnTo>
                    <a:pt x="453" y="299"/>
                  </a:lnTo>
                  <a:lnTo>
                    <a:pt x="461" y="296"/>
                  </a:lnTo>
                  <a:lnTo>
                    <a:pt x="469" y="291"/>
                  </a:lnTo>
                  <a:lnTo>
                    <a:pt x="475" y="285"/>
                  </a:lnTo>
                  <a:lnTo>
                    <a:pt x="481" y="279"/>
                  </a:lnTo>
                  <a:lnTo>
                    <a:pt x="485" y="272"/>
                  </a:lnTo>
                  <a:lnTo>
                    <a:pt x="488" y="264"/>
                  </a:lnTo>
                  <a:lnTo>
                    <a:pt x="559" y="43"/>
                  </a:lnTo>
                  <a:lnTo>
                    <a:pt x="559" y="43"/>
                  </a:lnTo>
                  <a:lnTo>
                    <a:pt x="560" y="36"/>
                  </a:lnTo>
                  <a:lnTo>
                    <a:pt x="560" y="27"/>
                  </a:lnTo>
                  <a:lnTo>
                    <a:pt x="557" y="19"/>
                  </a:lnTo>
                  <a:lnTo>
                    <a:pt x="554" y="13"/>
                  </a:lnTo>
                  <a:lnTo>
                    <a:pt x="548" y="7"/>
                  </a:lnTo>
                  <a:lnTo>
                    <a:pt x="542" y="3"/>
                  </a:lnTo>
                  <a:lnTo>
                    <a:pt x="535" y="0"/>
                  </a:lnTo>
                  <a:lnTo>
                    <a:pt x="527" y="0"/>
                  </a:lnTo>
                  <a:lnTo>
                    <a:pt x="33" y="0"/>
                  </a:lnTo>
                  <a:close/>
                </a:path>
              </a:pathLst>
            </a:custGeom>
            <a:noFill/>
            <a:ln w="5715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4" name="Line 188">
              <a:extLst>
                <a:ext uri="{FF2B5EF4-FFF2-40B4-BE49-F238E27FC236}">
                  <a16:creationId xmlns:a16="http://schemas.microsoft.com/office/drawing/2014/main" id="{74A87DDE-1971-3942-87E4-1CD1F1598C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24976" y="8112125"/>
              <a:ext cx="858838" cy="0"/>
            </a:xfrm>
            <a:prstGeom prst="line">
              <a:avLst/>
            </a:prstGeom>
            <a:noFill/>
            <a:ln w="5715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5" name="Freeform 189">
              <a:extLst>
                <a:ext uri="{FF2B5EF4-FFF2-40B4-BE49-F238E27FC236}">
                  <a16:creationId xmlns:a16="http://schemas.microsoft.com/office/drawing/2014/main" id="{0FC55AA4-86AC-CE42-9A61-0EB327E93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1351" y="7813675"/>
              <a:ext cx="441325" cy="119062"/>
            </a:xfrm>
            <a:custGeom>
              <a:avLst/>
              <a:gdLst>
                <a:gd name="T0" fmla="*/ 278 w 278"/>
                <a:gd name="T1" fmla="*/ 75 h 75"/>
                <a:gd name="T2" fmla="*/ 278 w 278"/>
                <a:gd name="T3" fmla="*/ 75 h 75"/>
                <a:gd name="T4" fmla="*/ 278 w 278"/>
                <a:gd name="T5" fmla="*/ 75 h 75"/>
                <a:gd name="T6" fmla="*/ 277 w 278"/>
                <a:gd name="T7" fmla="*/ 60 h 75"/>
                <a:gd name="T8" fmla="*/ 272 w 278"/>
                <a:gd name="T9" fmla="*/ 47 h 75"/>
                <a:gd name="T10" fmla="*/ 265 w 278"/>
                <a:gd name="T11" fmla="*/ 33 h 75"/>
                <a:gd name="T12" fmla="*/ 256 w 278"/>
                <a:gd name="T13" fmla="*/ 23 h 75"/>
                <a:gd name="T14" fmla="*/ 245 w 278"/>
                <a:gd name="T15" fmla="*/ 14 h 75"/>
                <a:gd name="T16" fmla="*/ 233 w 278"/>
                <a:gd name="T17" fmla="*/ 6 h 75"/>
                <a:gd name="T18" fmla="*/ 218 w 278"/>
                <a:gd name="T19" fmla="*/ 2 h 75"/>
                <a:gd name="T20" fmla="*/ 203 w 278"/>
                <a:gd name="T21" fmla="*/ 0 h 75"/>
                <a:gd name="T22" fmla="*/ 75 w 278"/>
                <a:gd name="T23" fmla="*/ 0 h 75"/>
                <a:gd name="T24" fmla="*/ 75 w 278"/>
                <a:gd name="T25" fmla="*/ 0 h 75"/>
                <a:gd name="T26" fmla="*/ 60 w 278"/>
                <a:gd name="T27" fmla="*/ 2 h 75"/>
                <a:gd name="T28" fmla="*/ 46 w 278"/>
                <a:gd name="T29" fmla="*/ 6 h 75"/>
                <a:gd name="T30" fmla="*/ 33 w 278"/>
                <a:gd name="T31" fmla="*/ 14 h 75"/>
                <a:gd name="T32" fmla="*/ 22 w 278"/>
                <a:gd name="T33" fmla="*/ 23 h 75"/>
                <a:gd name="T34" fmla="*/ 13 w 278"/>
                <a:gd name="T35" fmla="*/ 33 h 75"/>
                <a:gd name="T36" fmla="*/ 6 w 278"/>
                <a:gd name="T37" fmla="*/ 47 h 75"/>
                <a:gd name="T38" fmla="*/ 1 w 278"/>
                <a:gd name="T39" fmla="*/ 60 h 75"/>
                <a:gd name="T40" fmla="*/ 0 w 278"/>
                <a:gd name="T41" fmla="*/ 75 h 75"/>
                <a:gd name="T42" fmla="*/ 0 w 278"/>
                <a:gd name="T4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8" h="75">
                  <a:moveTo>
                    <a:pt x="278" y="75"/>
                  </a:moveTo>
                  <a:lnTo>
                    <a:pt x="278" y="75"/>
                  </a:lnTo>
                  <a:lnTo>
                    <a:pt x="278" y="75"/>
                  </a:lnTo>
                  <a:lnTo>
                    <a:pt x="277" y="60"/>
                  </a:lnTo>
                  <a:lnTo>
                    <a:pt x="272" y="47"/>
                  </a:lnTo>
                  <a:lnTo>
                    <a:pt x="265" y="33"/>
                  </a:lnTo>
                  <a:lnTo>
                    <a:pt x="256" y="23"/>
                  </a:lnTo>
                  <a:lnTo>
                    <a:pt x="245" y="14"/>
                  </a:lnTo>
                  <a:lnTo>
                    <a:pt x="233" y="6"/>
                  </a:lnTo>
                  <a:lnTo>
                    <a:pt x="218" y="2"/>
                  </a:lnTo>
                  <a:lnTo>
                    <a:pt x="203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60" y="2"/>
                  </a:lnTo>
                  <a:lnTo>
                    <a:pt x="46" y="6"/>
                  </a:lnTo>
                  <a:lnTo>
                    <a:pt x="33" y="14"/>
                  </a:lnTo>
                  <a:lnTo>
                    <a:pt x="22" y="23"/>
                  </a:lnTo>
                  <a:lnTo>
                    <a:pt x="13" y="33"/>
                  </a:lnTo>
                  <a:lnTo>
                    <a:pt x="6" y="47"/>
                  </a:lnTo>
                  <a:lnTo>
                    <a:pt x="1" y="60"/>
                  </a:lnTo>
                  <a:lnTo>
                    <a:pt x="0" y="75"/>
                  </a:lnTo>
                  <a:lnTo>
                    <a:pt x="0" y="75"/>
                  </a:lnTo>
                </a:path>
              </a:pathLst>
            </a:custGeom>
            <a:noFill/>
            <a:ln w="5715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6" name="Line 190">
              <a:extLst>
                <a:ext uri="{FF2B5EF4-FFF2-40B4-BE49-F238E27FC236}">
                  <a16:creationId xmlns:a16="http://schemas.microsoft.com/office/drawing/2014/main" id="{3931BED2-A718-E343-B00C-4FC5761676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488488" y="7932738"/>
              <a:ext cx="0" cy="0"/>
            </a:xfrm>
            <a:prstGeom prst="line">
              <a:avLst/>
            </a:prstGeom>
            <a:noFill/>
            <a:ln w="5715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</p:grpSp>
    </p:spTree>
    <p:extLst>
      <p:ext uri="{BB962C8B-B14F-4D97-AF65-F5344CB8AC3E}">
        <p14:creationId xmlns:p14="http://schemas.microsoft.com/office/powerpoint/2010/main" val="124971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F99C2588-323A-2846-92BB-7D7112E8458E}"/>
              </a:ext>
            </a:extLst>
          </p:cNvPr>
          <p:cNvGrpSpPr/>
          <p:nvPr/>
        </p:nvGrpSpPr>
        <p:grpSpPr>
          <a:xfrm>
            <a:off x="4754453" y="1976162"/>
            <a:ext cx="6738908" cy="3658715"/>
            <a:chOff x="3924300" y="1787525"/>
            <a:chExt cx="12888913" cy="6997700"/>
          </a:xfrm>
          <a:solidFill>
            <a:schemeClr val="bg2"/>
          </a:solidFill>
        </p:grpSpPr>
        <p:sp>
          <p:nvSpPr>
            <p:cNvPr id="126" name="Freeform 5">
              <a:extLst>
                <a:ext uri="{FF2B5EF4-FFF2-40B4-BE49-F238E27FC236}">
                  <a16:creationId xmlns:a16="http://schemas.microsoft.com/office/drawing/2014/main" id="{00A13A79-C36B-0744-A143-F407C392F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4357688"/>
              <a:ext cx="411163" cy="336550"/>
            </a:xfrm>
            <a:custGeom>
              <a:avLst/>
              <a:gdLst>
                <a:gd name="T0" fmla="*/ 66 w 259"/>
                <a:gd name="T1" fmla="*/ 194 h 212"/>
                <a:gd name="T2" fmla="*/ 84 w 259"/>
                <a:gd name="T3" fmla="*/ 193 h 212"/>
                <a:gd name="T4" fmla="*/ 108 w 259"/>
                <a:gd name="T5" fmla="*/ 209 h 212"/>
                <a:gd name="T6" fmla="*/ 121 w 259"/>
                <a:gd name="T7" fmla="*/ 212 h 212"/>
                <a:gd name="T8" fmla="*/ 137 w 259"/>
                <a:gd name="T9" fmla="*/ 206 h 212"/>
                <a:gd name="T10" fmla="*/ 152 w 259"/>
                <a:gd name="T11" fmla="*/ 196 h 212"/>
                <a:gd name="T12" fmla="*/ 155 w 259"/>
                <a:gd name="T13" fmla="*/ 185 h 212"/>
                <a:gd name="T14" fmla="*/ 177 w 259"/>
                <a:gd name="T15" fmla="*/ 185 h 212"/>
                <a:gd name="T16" fmla="*/ 213 w 259"/>
                <a:gd name="T17" fmla="*/ 187 h 212"/>
                <a:gd name="T18" fmla="*/ 239 w 259"/>
                <a:gd name="T19" fmla="*/ 175 h 212"/>
                <a:gd name="T20" fmla="*/ 250 w 259"/>
                <a:gd name="T21" fmla="*/ 163 h 212"/>
                <a:gd name="T22" fmla="*/ 254 w 259"/>
                <a:gd name="T23" fmla="*/ 150 h 212"/>
                <a:gd name="T24" fmla="*/ 245 w 259"/>
                <a:gd name="T25" fmla="*/ 135 h 212"/>
                <a:gd name="T26" fmla="*/ 235 w 259"/>
                <a:gd name="T27" fmla="*/ 113 h 212"/>
                <a:gd name="T28" fmla="*/ 233 w 259"/>
                <a:gd name="T29" fmla="*/ 77 h 212"/>
                <a:gd name="T30" fmla="*/ 225 w 259"/>
                <a:gd name="T31" fmla="*/ 52 h 212"/>
                <a:gd name="T32" fmla="*/ 214 w 259"/>
                <a:gd name="T33" fmla="*/ 40 h 212"/>
                <a:gd name="T34" fmla="*/ 208 w 259"/>
                <a:gd name="T35" fmla="*/ 45 h 212"/>
                <a:gd name="T36" fmla="*/ 201 w 259"/>
                <a:gd name="T37" fmla="*/ 54 h 212"/>
                <a:gd name="T38" fmla="*/ 193 w 259"/>
                <a:gd name="T39" fmla="*/ 45 h 212"/>
                <a:gd name="T40" fmla="*/ 186 w 259"/>
                <a:gd name="T41" fmla="*/ 31 h 212"/>
                <a:gd name="T42" fmla="*/ 173 w 259"/>
                <a:gd name="T43" fmla="*/ 12 h 212"/>
                <a:gd name="T44" fmla="*/ 154 w 259"/>
                <a:gd name="T45" fmla="*/ 5 h 212"/>
                <a:gd name="T46" fmla="*/ 136 w 259"/>
                <a:gd name="T47" fmla="*/ 3 h 212"/>
                <a:gd name="T48" fmla="*/ 109 w 259"/>
                <a:gd name="T49" fmla="*/ 3 h 212"/>
                <a:gd name="T50" fmla="*/ 105 w 259"/>
                <a:gd name="T51" fmla="*/ 6 h 212"/>
                <a:gd name="T52" fmla="*/ 99 w 259"/>
                <a:gd name="T53" fmla="*/ 14 h 212"/>
                <a:gd name="T54" fmla="*/ 94 w 259"/>
                <a:gd name="T55" fmla="*/ 31 h 212"/>
                <a:gd name="T56" fmla="*/ 88 w 259"/>
                <a:gd name="T57" fmla="*/ 31 h 212"/>
                <a:gd name="T58" fmla="*/ 72 w 259"/>
                <a:gd name="T59" fmla="*/ 21 h 212"/>
                <a:gd name="T60" fmla="*/ 65 w 259"/>
                <a:gd name="T61" fmla="*/ 25 h 212"/>
                <a:gd name="T62" fmla="*/ 54 w 259"/>
                <a:gd name="T63" fmla="*/ 43 h 212"/>
                <a:gd name="T64" fmla="*/ 54 w 259"/>
                <a:gd name="T65" fmla="*/ 57 h 212"/>
                <a:gd name="T66" fmla="*/ 50 w 259"/>
                <a:gd name="T67" fmla="*/ 83 h 212"/>
                <a:gd name="T68" fmla="*/ 47 w 259"/>
                <a:gd name="T69" fmla="*/ 95 h 212"/>
                <a:gd name="T70" fmla="*/ 44 w 259"/>
                <a:gd name="T71" fmla="*/ 111 h 212"/>
                <a:gd name="T72" fmla="*/ 32 w 259"/>
                <a:gd name="T73" fmla="*/ 122 h 212"/>
                <a:gd name="T74" fmla="*/ 29 w 259"/>
                <a:gd name="T75" fmla="*/ 128 h 212"/>
                <a:gd name="T76" fmla="*/ 20 w 259"/>
                <a:gd name="T77" fmla="*/ 141 h 212"/>
                <a:gd name="T78" fmla="*/ 8 w 259"/>
                <a:gd name="T79" fmla="*/ 147 h 212"/>
                <a:gd name="T80" fmla="*/ 1 w 259"/>
                <a:gd name="T81" fmla="*/ 153 h 212"/>
                <a:gd name="T82" fmla="*/ 0 w 259"/>
                <a:gd name="T83" fmla="*/ 159 h 212"/>
                <a:gd name="T84" fmla="*/ 5 w 259"/>
                <a:gd name="T85" fmla="*/ 171 h 212"/>
                <a:gd name="T86" fmla="*/ 11 w 259"/>
                <a:gd name="T87" fmla="*/ 181 h 212"/>
                <a:gd name="T88" fmla="*/ 4 w 259"/>
                <a:gd name="T89" fmla="*/ 196 h 212"/>
                <a:gd name="T90" fmla="*/ 5 w 259"/>
                <a:gd name="T91" fmla="*/ 199 h 212"/>
                <a:gd name="T92" fmla="*/ 23 w 259"/>
                <a:gd name="T93" fmla="*/ 206 h 212"/>
                <a:gd name="T94" fmla="*/ 35 w 259"/>
                <a:gd name="T95" fmla="*/ 206 h 212"/>
                <a:gd name="T96" fmla="*/ 47 w 259"/>
                <a:gd name="T97" fmla="*/ 200 h 212"/>
                <a:gd name="T98" fmla="*/ 62 w 259"/>
                <a:gd name="T99" fmla="*/ 20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9" h="212">
                  <a:moveTo>
                    <a:pt x="63" y="199"/>
                  </a:moveTo>
                  <a:lnTo>
                    <a:pt x="63" y="199"/>
                  </a:lnTo>
                  <a:lnTo>
                    <a:pt x="66" y="194"/>
                  </a:lnTo>
                  <a:lnTo>
                    <a:pt x="71" y="191"/>
                  </a:lnTo>
                  <a:lnTo>
                    <a:pt x="78" y="191"/>
                  </a:lnTo>
                  <a:lnTo>
                    <a:pt x="84" y="193"/>
                  </a:lnTo>
                  <a:lnTo>
                    <a:pt x="84" y="193"/>
                  </a:lnTo>
                  <a:lnTo>
                    <a:pt x="96" y="200"/>
                  </a:lnTo>
                  <a:lnTo>
                    <a:pt x="108" y="209"/>
                  </a:lnTo>
                  <a:lnTo>
                    <a:pt x="108" y="209"/>
                  </a:lnTo>
                  <a:lnTo>
                    <a:pt x="114" y="211"/>
                  </a:lnTo>
                  <a:lnTo>
                    <a:pt x="121" y="212"/>
                  </a:lnTo>
                  <a:lnTo>
                    <a:pt x="130" y="212"/>
                  </a:lnTo>
                  <a:lnTo>
                    <a:pt x="130" y="212"/>
                  </a:lnTo>
                  <a:lnTo>
                    <a:pt x="137" y="206"/>
                  </a:lnTo>
                  <a:lnTo>
                    <a:pt x="149" y="199"/>
                  </a:lnTo>
                  <a:lnTo>
                    <a:pt x="149" y="199"/>
                  </a:lnTo>
                  <a:lnTo>
                    <a:pt x="152" y="196"/>
                  </a:lnTo>
                  <a:lnTo>
                    <a:pt x="154" y="191"/>
                  </a:lnTo>
                  <a:lnTo>
                    <a:pt x="154" y="188"/>
                  </a:lnTo>
                  <a:lnTo>
                    <a:pt x="155" y="185"/>
                  </a:lnTo>
                  <a:lnTo>
                    <a:pt x="155" y="185"/>
                  </a:lnTo>
                  <a:lnTo>
                    <a:pt x="162" y="185"/>
                  </a:lnTo>
                  <a:lnTo>
                    <a:pt x="177" y="185"/>
                  </a:lnTo>
                  <a:lnTo>
                    <a:pt x="204" y="187"/>
                  </a:lnTo>
                  <a:lnTo>
                    <a:pt x="204" y="187"/>
                  </a:lnTo>
                  <a:lnTo>
                    <a:pt x="213" y="187"/>
                  </a:lnTo>
                  <a:lnTo>
                    <a:pt x="223" y="184"/>
                  </a:lnTo>
                  <a:lnTo>
                    <a:pt x="232" y="179"/>
                  </a:lnTo>
                  <a:lnTo>
                    <a:pt x="239" y="175"/>
                  </a:lnTo>
                  <a:lnTo>
                    <a:pt x="239" y="175"/>
                  </a:lnTo>
                  <a:lnTo>
                    <a:pt x="244" y="169"/>
                  </a:lnTo>
                  <a:lnTo>
                    <a:pt x="250" y="163"/>
                  </a:lnTo>
                  <a:lnTo>
                    <a:pt x="259" y="153"/>
                  </a:lnTo>
                  <a:lnTo>
                    <a:pt x="259" y="153"/>
                  </a:lnTo>
                  <a:lnTo>
                    <a:pt x="254" y="150"/>
                  </a:lnTo>
                  <a:lnTo>
                    <a:pt x="251" y="145"/>
                  </a:lnTo>
                  <a:lnTo>
                    <a:pt x="251" y="145"/>
                  </a:lnTo>
                  <a:lnTo>
                    <a:pt x="245" y="135"/>
                  </a:lnTo>
                  <a:lnTo>
                    <a:pt x="238" y="122"/>
                  </a:lnTo>
                  <a:lnTo>
                    <a:pt x="238" y="122"/>
                  </a:lnTo>
                  <a:lnTo>
                    <a:pt x="235" y="113"/>
                  </a:lnTo>
                  <a:lnTo>
                    <a:pt x="233" y="102"/>
                  </a:lnTo>
                  <a:lnTo>
                    <a:pt x="233" y="77"/>
                  </a:lnTo>
                  <a:lnTo>
                    <a:pt x="233" y="77"/>
                  </a:lnTo>
                  <a:lnTo>
                    <a:pt x="232" y="70"/>
                  </a:lnTo>
                  <a:lnTo>
                    <a:pt x="231" y="64"/>
                  </a:lnTo>
                  <a:lnTo>
                    <a:pt x="225" y="52"/>
                  </a:lnTo>
                  <a:lnTo>
                    <a:pt x="219" y="43"/>
                  </a:lnTo>
                  <a:lnTo>
                    <a:pt x="216" y="40"/>
                  </a:lnTo>
                  <a:lnTo>
                    <a:pt x="214" y="40"/>
                  </a:lnTo>
                  <a:lnTo>
                    <a:pt x="214" y="40"/>
                  </a:lnTo>
                  <a:lnTo>
                    <a:pt x="211" y="42"/>
                  </a:lnTo>
                  <a:lnTo>
                    <a:pt x="208" y="45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1" y="54"/>
                  </a:lnTo>
                  <a:lnTo>
                    <a:pt x="198" y="54"/>
                  </a:lnTo>
                  <a:lnTo>
                    <a:pt x="196" y="51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1" y="39"/>
                  </a:lnTo>
                  <a:lnTo>
                    <a:pt x="186" y="31"/>
                  </a:lnTo>
                  <a:lnTo>
                    <a:pt x="176" y="17"/>
                  </a:lnTo>
                  <a:lnTo>
                    <a:pt x="176" y="17"/>
                  </a:lnTo>
                  <a:lnTo>
                    <a:pt x="173" y="12"/>
                  </a:lnTo>
                  <a:lnTo>
                    <a:pt x="170" y="9"/>
                  </a:lnTo>
                  <a:lnTo>
                    <a:pt x="164" y="6"/>
                  </a:lnTo>
                  <a:lnTo>
                    <a:pt x="154" y="5"/>
                  </a:lnTo>
                  <a:lnTo>
                    <a:pt x="154" y="5"/>
                  </a:lnTo>
                  <a:lnTo>
                    <a:pt x="142" y="3"/>
                  </a:lnTo>
                  <a:lnTo>
                    <a:pt x="136" y="3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5"/>
                  </a:lnTo>
                  <a:lnTo>
                    <a:pt x="105" y="6"/>
                  </a:lnTo>
                  <a:lnTo>
                    <a:pt x="100" y="9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21"/>
                  </a:lnTo>
                  <a:lnTo>
                    <a:pt x="96" y="27"/>
                  </a:lnTo>
                  <a:lnTo>
                    <a:pt x="94" y="31"/>
                  </a:lnTo>
                  <a:lnTo>
                    <a:pt x="91" y="33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78" y="24"/>
                  </a:lnTo>
                  <a:lnTo>
                    <a:pt x="74" y="21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5" y="25"/>
                  </a:lnTo>
                  <a:lnTo>
                    <a:pt x="60" y="33"/>
                  </a:lnTo>
                  <a:lnTo>
                    <a:pt x="56" y="40"/>
                  </a:lnTo>
                  <a:lnTo>
                    <a:pt x="54" y="43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57"/>
                  </a:lnTo>
                  <a:lnTo>
                    <a:pt x="54" y="67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8" y="88"/>
                  </a:lnTo>
                  <a:lnTo>
                    <a:pt x="47" y="95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4" y="111"/>
                  </a:lnTo>
                  <a:lnTo>
                    <a:pt x="42" y="113"/>
                  </a:lnTo>
                  <a:lnTo>
                    <a:pt x="38" y="117"/>
                  </a:lnTo>
                  <a:lnTo>
                    <a:pt x="32" y="122"/>
                  </a:lnTo>
                  <a:lnTo>
                    <a:pt x="31" y="125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6" y="134"/>
                  </a:lnTo>
                  <a:lnTo>
                    <a:pt x="23" y="138"/>
                  </a:lnTo>
                  <a:lnTo>
                    <a:pt x="20" y="141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8" y="147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0" y="156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2" y="163"/>
                  </a:lnTo>
                  <a:lnTo>
                    <a:pt x="5" y="171"/>
                  </a:lnTo>
                  <a:lnTo>
                    <a:pt x="10" y="176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0" y="185"/>
                  </a:lnTo>
                  <a:lnTo>
                    <a:pt x="7" y="190"/>
                  </a:lnTo>
                  <a:lnTo>
                    <a:pt x="4" y="196"/>
                  </a:lnTo>
                  <a:lnTo>
                    <a:pt x="4" y="197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11" y="203"/>
                  </a:lnTo>
                  <a:lnTo>
                    <a:pt x="16" y="205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31" y="206"/>
                  </a:lnTo>
                  <a:lnTo>
                    <a:pt x="35" y="206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7" y="200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3" y="199"/>
                  </a:lnTo>
                  <a:lnTo>
                    <a:pt x="63" y="19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7" name="Freeform 6">
              <a:extLst>
                <a:ext uri="{FF2B5EF4-FFF2-40B4-BE49-F238E27FC236}">
                  <a16:creationId xmlns:a16="http://schemas.microsoft.com/office/drawing/2014/main" id="{386673FE-750F-6B46-BA59-D041435520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32800" y="3941763"/>
              <a:ext cx="1609725" cy="2189162"/>
            </a:xfrm>
            <a:custGeom>
              <a:avLst/>
              <a:gdLst>
                <a:gd name="T0" fmla="*/ 856 w 1014"/>
                <a:gd name="T1" fmla="*/ 1334 h 1379"/>
                <a:gd name="T2" fmla="*/ 905 w 1014"/>
                <a:gd name="T3" fmla="*/ 1358 h 1379"/>
                <a:gd name="T4" fmla="*/ 964 w 1014"/>
                <a:gd name="T5" fmla="*/ 1281 h 1379"/>
                <a:gd name="T6" fmla="*/ 1004 w 1014"/>
                <a:gd name="T7" fmla="*/ 1160 h 1379"/>
                <a:gd name="T8" fmla="*/ 969 w 1014"/>
                <a:gd name="T9" fmla="*/ 1093 h 1379"/>
                <a:gd name="T10" fmla="*/ 964 w 1014"/>
                <a:gd name="T11" fmla="*/ 1019 h 1379"/>
                <a:gd name="T12" fmla="*/ 936 w 1014"/>
                <a:gd name="T13" fmla="*/ 949 h 1379"/>
                <a:gd name="T14" fmla="*/ 952 w 1014"/>
                <a:gd name="T15" fmla="*/ 866 h 1379"/>
                <a:gd name="T16" fmla="*/ 933 w 1014"/>
                <a:gd name="T17" fmla="*/ 755 h 1379"/>
                <a:gd name="T18" fmla="*/ 977 w 1014"/>
                <a:gd name="T19" fmla="*/ 705 h 1379"/>
                <a:gd name="T20" fmla="*/ 997 w 1014"/>
                <a:gd name="T21" fmla="*/ 612 h 1379"/>
                <a:gd name="T22" fmla="*/ 926 w 1014"/>
                <a:gd name="T23" fmla="*/ 560 h 1379"/>
                <a:gd name="T24" fmla="*/ 914 w 1014"/>
                <a:gd name="T25" fmla="*/ 467 h 1379"/>
                <a:gd name="T26" fmla="*/ 951 w 1014"/>
                <a:gd name="T27" fmla="*/ 341 h 1379"/>
                <a:gd name="T28" fmla="*/ 997 w 1014"/>
                <a:gd name="T29" fmla="*/ 274 h 1379"/>
                <a:gd name="T30" fmla="*/ 937 w 1014"/>
                <a:gd name="T31" fmla="*/ 253 h 1379"/>
                <a:gd name="T32" fmla="*/ 875 w 1014"/>
                <a:gd name="T33" fmla="*/ 253 h 1379"/>
                <a:gd name="T34" fmla="*/ 912 w 1014"/>
                <a:gd name="T35" fmla="*/ 378 h 1379"/>
                <a:gd name="T36" fmla="*/ 834 w 1014"/>
                <a:gd name="T37" fmla="*/ 281 h 1379"/>
                <a:gd name="T38" fmla="*/ 892 w 1014"/>
                <a:gd name="T39" fmla="*/ 164 h 1379"/>
                <a:gd name="T40" fmla="*/ 815 w 1014"/>
                <a:gd name="T41" fmla="*/ 224 h 1379"/>
                <a:gd name="T42" fmla="*/ 724 w 1014"/>
                <a:gd name="T43" fmla="*/ 394 h 1379"/>
                <a:gd name="T44" fmla="*/ 678 w 1014"/>
                <a:gd name="T45" fmla="*/ 507 h 1379"/>
                <a:gd name="T46" fmla="*/ 810 w 1014"/>
                <a:gd name="T47" fmla="*/ 591 h 1379"/>
                <a:gd name="T48" fmla="*/ 757 w 1014"/>
                <a:gd name="T49" fmla="*/ 695 h 1379"/>
                <a:gd name="T50" fmla="*/ 749 w 1014"/>
                <a:gd name="T51" fmla="*/ 704 h 1379"/>
                <a:gd name="T52" fmla="*/ 758 w 1014"/>
                <a:gd name="T53" fmla="*/ 561 h 1379"/>
                <a:gd name="T54" fmla="*/ 635 w 1014"/>
                <a:gd name="T55" fmla="*/ 672 h 1379"/>
                <a:gd name="T56" fmla="*/ 508 w 1014"/>
                <a:gd name="T57" fmla="*/ 741 h 1379"/>
                <a:gd name="T58" fmla="*/ 379 w 1014"/>
                <a:gd name="T59" fmla="*/ 684 h 1379"/>
                <a:gd name="T60" fmla="*/ 419 w 1014"/>
                <a:gd name="T61" fmla="*/ 699 h 1379"/>
                <a:gd name="T62" fmla="*/ 475 w 1014"/>
                <a:gd name="T63" fmla="*/ 711 h 1379"/>
                <a:gd name="T64" fmla="*/ 554 w 1014"/>
                <a:gd name="T65" fmla="*/ 641 h 1379"/>
                <a:gd name="T66" fmla="*/ 638 w 1014"/>
                <a:gd name="T67" fmla="*/ 554 h 1379"/>
                <a:gd name="T68" fmla="*/ 724 w 1014"/>
                <a:gd name="T69" fmla="*/ 247 h 1379"/>
                <a:gd name="T70" fmla="*/ 739 w 1014"/>
                <a:gd name="T71" fmla="*/ 58 h 1379"/>
                <a:gd name="T72" fmla="*/ 545 w 1014"/>
                <a:gd name="T73" fmla="*/ 190 h 1379"/>
                <a:gd name="T74" fmla="*/ 527 w 1014"/>
                <a:gd name="T75" fmla="*/ 246 h 1379"/>
                <a:gd name="T76" fmla="*/ 495 w 1014"/>
                <a:gd name="T77" fmla="*/ 357 h 1379"/>
                <a:gd name="T78" fmla="*/ 455 w 1014"/>
                <a:gd name="T79" fmla="*/ 495 h 1379"/>
                <a:gd name="T80" fmla="*/ 415 w 1014"/>
                <a:gd name="T81" fmla="*/ 396 h 1379"/>
                <a:gd name="T82" fmla="*/ 342 w 1014"/>
                <a:gd name="T83" fmla="*/ 364 h 1379"/>
                <a:gd name="T84" fmla="*/ 315 w 1014"/>
                <a:gd name="T85" fmla="*/ 436 h 1379"/>
                <a:gd name="T86" fmla="*/ 320 w 1014"/>
                <a:gd name="T87" fmla="*/ 499 h 1379"/>
                <a:gd name="T88" fmla="*/ 286 w 1014"/>
                <a:gd name="T89" fmla="*/ 529 h 1379"/>
                <a:gd name="T90" fmla="*/ 138 w 1014"/>
                <a:gd name="T91" fmla="*/ 564 h 1379"/>
                <a:gd name="T92" fmla="*/ 45 w 1014"/>
                <a:gd name="T93" fmla="*/ 628 h 1379"/>
                <a:gd name="T94" fmla="*/ 0 w 1014"/>
                <a:gd name="T95" fmla="*/ 707 h 1379"/>
                <a:gd name="T96" fmla="*/ 76 w 1014"/>
                <a:gd name="T97" fmla="*/ 776 h 1379"/>
                <a:gd name="T98" fmla="*/ 156 w 1014"/>
                <a:gd name="T99" fmla="*/ 801 h 1379"/>
                <a:gd name="T100" fmla="*/ 159 w 1014"/>
                <a:gd name="T101" fmla="*/ 853 h 1379"/>
                <a:gd name="T102" fmla="*/ 244 w 1014"/>
                <a:gd name="T103" fmla="*/ 883 h 1379"/>
                <a:gd name="T104" fmla="*/ 304 w 1014"/>
                <a:gd name="T105" fmla="*/ 906 h 1379"/>
                <a:gd name="T106" fmla="*/ 311 w 1014"/>
                <a:gd name="T107" fmla="*/ 1000 h 1379"/>
                <a:gd name="T108" fmla="*/ 382 w 1014"/>
                <a:gd name="T109" fmla="*/ 1065 h 1379"/>
                <a:gd name="T110" fmla="*/ 498 w 1014"/>
                <a:gd name="T111" fmla="*/ 1146 h 1379"/>
                <a:gd name="T112" fmla="*/ 572 w 1014"/>
                <a:gd name="T113" fmla="*/ 1246 h 1379"/>
                <a:gd name="T114" fmla="*/ 699 w 1014"/>
                <a:gd name="T115" fmla="*/ 1247 h 1379"/>
                <a:gd name="T116" fmla="*/ 772 w 1014"/>
                <a:gd name="T117" fmla="*/ 1286 h 1379"/>
                <a:gd name="T118" fmla="*/ 967 w 1014"/>
                <a:gd name="T119" fmla="*/ 194 h 1379"/>
                <a:gd name="T120" fmla="*/ 746 w 1014"/>
                <a:gd name="T121" fmla="*/ 42 h 1379"/>
                <a:gd name="T122" fmla="*/ 795 w 1014"/>
                <a:gd name="T123" fmla="*/ 9 h 1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14" h="1379">
                  <a:moveTo>
                    <a:pt x="800" y="1284"/>
                  </a:moveTo>
                  <a:lnTo>
                    <a:pt x="800" y="1284"/>
                  </a:lnTo>
                  <a:lnTo>
                    <a:pt x="810" y="1299"/>
                  </a:lnTo>
                  <a:lnTo>
                    <a:pt x="817" y="1306"/>
                  </a:lnTo>
                  <a:lnTo>
                    <a:pt x="817" y="1306"/>
                  </a:lnTo>
                  <a:lnTo>
                    <a:pt x="819" y="1308"/>
                  </a:lnTo>
                  <a:lnTo>
                    <a:pt x="819" y="1312"/>
                  </a:lnTo>
                  <a:lnTo>
                    <a:pt x="819" y="1318"/>
                  </a:lnTo>
                  <a:lnTo>
                    <a:pt x="819" y="1318"/>
                  </a:lnTo>
                  <a:lnTo>
                    <a:pt x="819" y="1320"/>
                  </a:lnTo>
                  <a:lnTo>
                    <a:pt x="820" y="1321"/>
                  </a:lnTo>
                  <a:lnTo>
                    <a:pt x="823" y="1323"/>
                  </a:lnTo>
                  <a:lnTo>
                    <a:pt x="826" y="1327"/>
                  </a:lnTo>
                  <a:lnTo>
                    <a:pt x="826" y="1327"/>
                  </a:lnTo>
                  <a:lnTo>
                    <a:pt x="829" y="1334"/>
                  </a:lnTo>
                  <a:lnTo>
                    <a:pt x="832" y="1336"/>
                  </a:lnTo>
                  <a:lnTo>
                    <a:pt x="835" y="1336"/>
                  </a:lnTo>
                  <a:lnTo>
                    <a:pt x="835" y="1336"/>
                  </a:lnTo>
                  <a:lnTo>
                    <a:pt x="847" y="1333"/>
                  </a:lnTo>
                  <a:lnTo>
                    <a:pt x="853" y="1333"/>
                  </a:lnTo>
                  <a:lnTo>
                    <a:pt x="854" y="1333"/>
                  </a:lnTo>
                  <a:lnTo>
                    <a:pt x="856" y="1334"/>
                  </a:lnTo>
                  <a:lnTo>
                    <a:pt x="856" y="1334"/>
                  </a:lnTo>
                  <a:lnTo>
                    <a:pt x="862" y="1343"/>
                  </a:lnTo>
                  <a:lnTo>
                    <a:pt x="865" y="1348"/>
                  </a:lnTo>
                  <a:lnTo>
                    <a:pt x="869" y="1349"/>
                  </a:lnTo>
                  <a:lnTo>
                    <a:pt x="869" y="1349"/>
                  </a:lnTo>
                  <a:lnTo>
                    <a:pt x="872" y="1351"/>
                  </a:lnTo>
                  <a:lnTo>
                    <a:pt x="874" y="1354"/>
                  </a:lnTo>
                  <a:lnTo>
                    <a:pt x="874" y="1364"/>
                  </a:lnTo>
                  <a:lnTo>
                    <a:pt x="874" y="1364"/>
                  </a:lnTo>
                  <a:lnTo>
                    <a:pt x="877" y="1374"/>
                  </a:lnTo>
                  <a:lnTo>
                    <a:pt x="878" y="1379"/>
                  </a:lnTo>
                  <a:lnTo>
                    <a:pt x="878" y="1379"/>
                  </a:lnTo>
                  <a:lnTo>
                    <a:pt x="880" y="1379"/>
                  </a:lnTo>
                  <a:lnTo>
                    <a:pt x="881" y="1379"/>
                  </a:lnTo>
                  <a:lnTo>
                    <a:pt x="884" y="1376"/>
                  </a:lnTo>
                  <a:lnTo>
                    <a:pt x="889" y="1369"/>
                  </a:lnTo>
                  <a:lnTo>
                    <a:pt x="889" y="1369"/>
                  </a:lnTo>
                  <a:lnTo>
                    <a:pt x="893" y="1366"/>
                  </a:lnTo>
                  <a:lnTo>
                    <a:pt x="897" y="1364"/>
                  </a:lnTo>
                  <a:lnTo>
                    <a:pt x="902" y="1361"/>
                  </a:lnTo>
                  <a:lnTo>
                    <a:pt x="903" y="1360"/>
                  </a:lnTo>
                  <a:lnTo>
                    <a:pt x="905" y="1358"/>
                  </a:lnTo>
                  <a:lnTo>
                    <a:pt x="905" y="1358"/>
                  </a:lnTo>
                  <a:lnTo>
                    <a:pt x="903" y="1352"/>
                  </a:lnTo>
                  <a:lnTo>
                    <a:pt x="902" y="1348"/>
                  </a:lnTo>
                  <a:lnTo>
                    <a:pt x="902" y="1346"/>
                  </a:lnTo>
                  <a:lnTo>
                    <a:pt x="903" y="1343"/>
                  </a:lnTo>
                  <a:lnTo>
                    <a:pt x="905" y="1342"/>
                  </a:lnTo>
                  <a:lnTo>
                    <a:pt x="909" y="1340"/>
                  </a:lnTo>
                  <a:lnTo>
                    <a:pt x="909" y="1340"/>
                  </a:lnTo>
                  <a:lnTo>
                    <a:pt x="924" y="1336"/>
                  </a:lnTo>
                  <a:lnTo>
                    <a:pt x="929" y="1333"/>
                  </a:lnTo>
                  <a:lnTo>
                    <a:pt x="931" y="1329"/>
                  </a:lnTo>
                  <a:lnTo>
                    <a:pt x="931" y="1329"/>
                  </a:lnTo>
                  <a:lnTo>
                    <a:pt x="937" y="1323"/>
                  </a:lnTo>
                  <a:lnTo>
                    <a:pt x="943" y="1318"/>
                  </a:lnTo>
                  <a:lnTo>
                    <a:pt x="951" y="1314"/>
                  </a:lnTo>
                  <a:lnTo>
                    <a:pt x="955" y="1308"/>
                  </a:lnTo>
                  <a:lnTo>
                    <a:pt x="955" y="1308"/>
                  </a:lnTo>
                  <a:lnTo>
                    <a:pt x="958" y="1300"/>
                  </a:lnTo>
                  <a:lnTo>
                    <a:pt x="958" y="1296"/>
                  </a:lnTo>
                  <a:lnTo>
                    <a:pt x="961" y="1286"/>
                  </a:lnTo>
                  <a:lnTo>
                    <a:pt x="961" y="1286"/>
                  </a:lnTo>
                  <a:lnTo>
                    <a:pt x="964" y="1281"/>
                  </a:lnTo>
                  <a:lnTo>
                    <a:pt x="967" y="1277"/>
                  </a:lnTo>
                  <a:lnTo>
                    <a:pt x="970" y="1272"/>
                  </a:lnTo>
                  <a:lnTo>
                    <a:pt x="969" y="1269"/>
                  </a:lnTo>
                  <a:lnTo>
                    <a:pt x="967" y="1268"/>
                  </a:lnTo>
                  <a:lnTo>
                    <a:pt x="967" y="1268"/>
                  </a:lnTo>
                  <a:lnTo>
                    <a:pt x="954" y="1252"/>
                  </a:lnTo>
                  <a:lnTo>
                    <a:pt x="945" y="1241"/>
                  </a:lnTo>
                  <a:lnTo>
                    <a:pt x="945" y="1241"/>
                  </a:lnTo>
                  <a:lnTo>
                    <a:pt x="957" y="1229"/>
                  </a:lnTo>
                  <a:lnTo>
                    <a:pt x="966" y="1220"/>
                  </a:lnTo>
                  <a:lnTo>
                    <a:pt x="971" y="1212"/>
                  </a:lnTo>
                  <a:lnTo>
                    <a:pt x="971" y="1212"/>
                  </a:lnTo>
                  <a:lnTo>
                    <a:pt x="974" y="1207"/>
                  </a:lnTo>
                  <a:lnTo>
                    <a:pt x="980" y="1204"/>
                  </a:lnTo>
                  <a:lnTo>
                    <a:pt x="985" y="1200"/>
                  </a:lnTo>
                  <a:lnTo>
                    <a:pt x="992" y="1194"/>
                  </a:lnTo>
                  <a:lnTo>
                    <a:pt x="992" y="1194"/>
                  </a:lnTo>
                  <a:lnTo>
                    <a:pt x="998" y="1185"/>
                  </a:lnTo>
                  <a:lnTo>
                    <a:pt x="1001" y="1176"/>
                  </a:lnTo>
                  <a:lnTo>
                    <a:pt x="1004" y="1167"/>
                  </a:lnTo>
                  <a:lnTo>
                    <a:pt x="1004" y="1160"/>
                  </a:lnTo>
                  <a:lnTo>
                    <a:pt x="1004" y="1160"/>
                  </a:lnTo>
                  <a:lnTo>
                    <a:pt x="1006" y="1154"/>
                  </a:lnTo>
                  <a:lnTo>
                    <a:pt x="1007" y="1149"/>
                  </a:lnTo>
                  <a:lnTo>
                    <a:pt x="1013" y="1142"/>
                  </a:lnTo>
                  <a:lnTo>
                    <a:pt x="1013" y="1142"/>
                  </a:lnTo>
                  <a:lnTo>
                    <a:pt x="1014" y="1139"/>
                  </a:lnTo>
                  <a:lnTo>
                    <a:pt x="1014" y="1135"/>
                  </a:lnTo>
                  <a:lnTo>
                    <a:pt x="1014" y="1127"/>
                  </a:lnTo>
                  <a:lnTo>
                    <a:pt x="1010" y="1120"/>
                  </a:lnTo>
                  <a:lnTo>
                    <a:pt x="1008" y="1117"/>
                  </a:lnTo>
                  <a:lnTo>
                    <a:pt x="1006" y="1115"/>
                  </a:lnTo>
                  <a:lnTo>
                    <a:pt x="1006" y="1115"/>
                  </a:lnTo>
                  <a:lnTo>
                    <a:pt x="998" y="1114"/>
                  </a:lnTo>
                  <a:lnTo>
                    <a:pt x="988" y="1112"/>
                  </a:lnTo>
                  <a:lnTo>
                    <a:pt x="980" y="1111"/>
                  </a:lnTo>
                  <a:lnTo>
                    <a:pt x="977" y="1109"/>
                  </a:lnTo>
                  <a:lnTo>
                    <a:pt x="976" y="1106"/>
                  </a:lnTo>
                  <a:lnTo>
                    <a:pt x="976" y="1106"/>
                  </a:lnTo>
                  <a:lnTo>
                    <a:pt x="974" y="1102"/>
                  </a:lnTo>
                  <a:lnTo>
                    <a:pt x="973" y="1096"/>
                  </a:lnTo>
                  <a:lnTo>
                    <a:pt x="973" y="1095"/>
                  </a:lnTo>
                  <a:lnTo>
                    <a:pt x="971" y="1093"/>
                  </a:lnTo>
                  <a:lnTo>
                    <a:pt x="969" y="1093"/>
                  </a:lnTo>
                  <a:lnTo>
                    <a:pt x="964" y="1095"/>
                  </a:lnTo>
                  <a:lnTo>
                    <a:pt x="964" y="1095"/>
                  </a:lnTo>
                  <a:lnTo>
                    <a:pt x="957" y="1096"/>
                  </a:lnTo>
                  <a:lnTo>
                    <a:pt x="951" y="1096"/>
                  </a:lnTo>
                  <a:lnTo>
                    <a:pt x="949" y="1096"/>
                  </a:lnTo>
                  <a:lnTo>
                    <a:pt x="948" y="1095"/>
                  </a:lnTo>
                  <a:lnTo>
                    <a:pt x="948" y="1093"/>
                  </a:lnTo>
                  <a:lnTo>
                    <a:pt x="948" y="1090"/>
                  </a:lnTo>
                  <a:lnTo>
                    <a:pt x="948" y="1090"/>
                  </a:lnTo>
                  <a:lnTo>
                    <a:pt x="954" y="1075"/>
                  </a:lnTo>
                  <a:lnTo>
                    <a:pt x="960" y="1068"/>
                  </a:lnTo>
                  <a:lnTo>
                    <a:pt x="966" y="1062"/>
                  </a:lnTo>
                  <a:lnTo>
                    <a:pt x="966" y="1062"/>
                  </a:lnTo>
                  <a:lnTo>
                    <a:pt x="969" y="1061"/>
                  </a:lnTo>
                  <a:lnTo>
                    <a:pt x="971" y="1056"/>
                  </a:lnTo>
                  <a:lnTo>
                    <a:pt x="974" y="1047"/>
                  </a:lnTo>
                  <a:lnTo>
                    <a:pt x="976" y="1037"/>
                  </a:lnTo>
                  <a:lnTo>
                    <a:pt x="974" y="1028"/>
                  </a:lnTo>
                  <a:lnTo>
                    <a:pt x="974" y="1028"/>
                  </a:lnTo>
                  <a:lnTo>
                    <a:pt x="971" y="1023"/>
                  </a:lnTo>
                  <a:lnTo>
                    <a:pt x="969" y="1022"/>
                  </a:lnTo>
                  <a:lnTo>
                    <a:pt x="964" y="1019"/>
                  </a:lnTo>
                  <a:lnTo>
                    <a:pt x="964" y="1018"/>
                  </a:lnTo>
                  <a:lnTo>
                    <a:pt x="964" y="1015"/>
                  </a:lnTo>
                  <a:lnTo>
                    <a:pt x="964" y="1015"/>
                  </a:lnTo>
                  <a:lnTo>
                    <a:pt x="964" y="1004"/>
                  </a:lnTo>
                  <a:lnTo>
                    <a:pt x="963" y="1001"/>
                  </a:lnTo>
                  <a:lnTo>
                    <a:pt x="963" y="998"/>
                  </a:lnTo>
                  <a:lnTo>
                    <a:pt x="963" y="998"/>
                  </a:lnTo>
                  <a:lnTo>
                    <a:pt x="958" y="995"/>
                  </a:lnTo>
                  <a:lnTo>
                    <a:pt x="952" y="992"/>
                  </a:lnTo>
                  <a:lnTo>
                    <a:pt x="946" y="991"/>
                  </a:lnTo>
                  <a:lnTo>
                    <a:pt x="940" y="988"/>
                  </a:lnTo>
                  <a:lnTo>
                    <a:pt x="940" y="988"/>
                  </a:lnTo>
                  <a:lnTo>
                    <a:pt x="939" y="985"/>
                  </a:lnTo>
                  <a:lnTo>
                    <a:pt x="937" y="981"/>
                  </a:lnTo>
                  <a:lnTo>
                    <a:pt x="937" y="972"/>
                  </a:lnTo>
                  <a:lnTo>
                    <a:pt x="936" y="963"/>
                  </a:lnTo>
                  <a:lnTo>
                    <a:pt x="936" y="958"/>
                  </a:lnTo>
                  <a:lnTo>
                    <a:pt x="936" y="958"/>
                  </a:lnTo>
                  <a:lnTo>
                    <a:pt x="934" y="952"/>
                  </a:lnTo>
                  <a:lnTo>
                    <a:pt x="934" y="951"/>
                  </a:lnTo>
                  <a:lnTo>
                    <a:pt x="936" y="949"/>
                  </a:lnTo>
                  <a:lnTo>
                    <a:pt x="936" y="949"/>
                  </a:lnTo>
                  <a:lnTo>
                    <a:pt x="940" y="949"/>
                  </a:lnTo>
                  <a:lnTo>
                    <a:pt x="943" y="946"/>
                  </a:lnTo>
                  <a:lnTo>
                    <a:pt x="946" y="944"/>
                  </a:lnTo>
                  <a:lnTo>
                    <a:pt x="948" y="938"/>
                  </a:lnTo>
                  <a:lnTo>
                    <a:pt x="948" y="938"/>
                  </a:lnTo>
                  <a:lnTo>
                    <a:pt x="945" y="932"/>
                  </a:lnTo>
                  <a:lnTo>
                    <a:pt x="940" y="926"/>
                  </a:lnTo>
                  <a:lnTo>
                    <a:pt x="936" y="921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33" y="915"/>
                  </a:lnTo>
                  <a:lnTo>
                    <a:pt x="933" y="911"/>
                  </a:lnTo>
                  <a:lnTo>
                    <a:pt x="936" y="901"/>
                  </a:lnTo>
                  <a:lnTo>
                    <a:pt x="936" y="901"/>
                  </a:lnTo>
                  <a:lnTo>
                    <a:pt x="939" y="895"/>
                  </a:lnTo>
                  <a:lnTo>
                    <a:pt x="942" y="892"/>
                  </a:lnTo>
                  <a:lnTo>
                    <a:pt x="945" y="890"/>
                  </a:lnTo>
                  <a:lnTo>
                    <a:pt x="945" y="890"/>
                  </a:lnTo>
                  <a:lnTo>
                    <a:pt x="949" y="886"/>
                  </a:lnTo>
                  <a:lnTo>
                    <a:pt x="952" y="878"/>
                  </a:lnTo>
                  <a:lnTo>
                    <a:pt x="952" y="871"/>
                  </a:lnTo>
                  <a:lnTo>
                    <a:pt x="952" y="866"/>
                  </a:lnTo>
                  <a:lnTo>
                    <a:pt x="949" y="864"/>
                  </a:lnTo>
                  <a:lnTo>
                    <a:pt x="949" y="864"/>
                  </a:lnTo>
                  <a:lnTo>
                    <a:pt x="943" y="850"/>
                  </a:lnTo>
                  <a:lnTo>
                    <a:pt x="934" y="837"/>
                  </a:lnTo>
                  <a:lnTo>
                    <a:pt x="934" y="837"/>
                  </a:lnTo>
                  <a:lnTo>
                    <a:pt x="929" y="829"/>
                  </a:lnTo>
                  <a:lnTo>
                    <a:pt x="926" y="825"/>
                  </a:lnTo>
                  <a:lnTo>
                    <a:pt x="923" y="822"/>
                  </a:lnTo>
                  <a:lnTo>
                    <a:pt x="923" y="819"/>
                  </a:lnTo>
                  <a:lnTo>
                    <a:pt x="923" y="819"/>
                  </a:lnTo>
                  <a:lnTo>
                    <a:pt x="926" y="813"/>
                  </a:lnTo>
                  <a:lnTo>
                    <a:pt x="933" y="803"/>
                  </a:lnTo>
                  <a:lnTo>
                    <a:pt x="933" y="803"/>
                  </a:lnTo>
                  <a:lnTo>
                    <a:pt x="937" y="795"/>
                  </a:lnTo>
                  <a:lnTo>
                    <a:pt x="939" y="787"/>
                  </a:lnTo>
                  <a:lnTo>
                    <a:pt x="939" y="779"/>
                  </a:lnTo>
                  <a:lnTo>
                    <a:pt x="937" y="773"/>
                  </a:lnTo>
                  <a:lnTo>
                    <a:pt x="937" y="773"/>
                  </a:lnTo>
                  <a:lnTo>
                    <a:pt x="936" y="766"/>
                  </a:lnTo>
                  <a:lnTo>
                    <a:pt x="936" y="760"/>
                  </a:lnTo>
                  <a:lnTo>
                    <a:pt x="933" y="755"/>
                  </a:lnTo>
                  <a:lnTo>
                    <a:pt x="933" y="755"/>
                  </a:lnTo>
                  <a:lnTo>
                    <a:pt x="927" y="748"/>
                  </a:lnTo>
                  <a:lnTo>
                    <a:pt x="926" y="745"/>
                  </a:lnTo>
                  <a:lnTo>
                    <a:pt x="924" y="741"/>
                  </a:lnTo>
                  <a:lnTo>
                    <a:pt x="924" y="741"/>
                  </a:lnTo>
                  <a:lnTo>
                    <a:pt x="926" y="736"/>
                  </a:lnTo>
                  <a:lnTo>
                    <a:pt x="927" y="733"/>
                  </a:lnTo>
                  <a:lnTo>
                    <a:pt x="930" y="730"/>
                  </a:lnTo>
                  <a:lnTo>
                    <a:pt x="934" y="732"/>
                  </a:lnTo>
                  <a:lnTo>
                    <a:pt x="934" y="732"/>
                  </a:lnTo>
                  <a:lnTo>
                    <a:pt x="946" y="736"/>
                  </a:lnTo>
                  <a:lnTo>
                    <a:pt x="951" y="736"/>
                  </a:lnTo>
                  <a:lnTo>
                    <a:pt x="954" y="735"/>
                  </a:lnTo>
                  <a:lnTo>
                    <a:pt x="955" y="733"/>
                  </a:lnTo>
                  <a:lnTo>
                    <a:pt x="955" y="733"/>
                  </a:lnTo>
                  <a:lnTo>
                    <a:pt x="960" y="727"/>
                  </a:lnTo>
                  <a:lnTo>
                    <a:pt x="961" y="723"/>
                  </a:lnTo>
                  <a:lnTo>
                    <a:pt x="967" y="714"/>
                  </a:lnTo>
                  <a:lnTo>
                    <a:pt x="967" y="714"/>
                  </a:lnTo>
                  <a:lnTo>
                    <a:pt x="970" y="712"/>
                  </a:lnTo>
                  <a:lnTo>
                    <a:pt x="973" y="710"/>
                  </a:lnTo>
                  <a:lnTo>
                    <a:pt x="976" y="708"/>
                  </a:lnTo>
                  <a:lnTo>
                    <a:pt x="977" y="705"/>
                  </a:lnTo>
                  <a:lnTo>
                    <a:pt x="977" y="705"/>
                  </a:lnTo>
                  <a:lnTo>
                    <a:pt x="980" y="702"/>
                  </a:lnTo>
                  <a:lnTo>
                    <a:pt x="980" y="699"/>
                  </a:lnTo>
                  <a:lnTo>
                    <a:pt x="983" y="687"/>
                  </a:lnTo>
                  <a:lnTo>
                    <a:pt x="983" y="687"/>
                  </a:lnTo>
                  <a:lnTo>
                    <a:pt x="991" y="671"/>
                  </a:lnTo>
                  <a:lnTo>
                    <a:pt x="997" y="659"/>
                  </a:lnTo>
                  <a:lnTo>
                    <a:pt x="997" y="659"/>
                  </a:lnTo>
                  <a:lnTo>
                    <a:pt x="1000" y="656"/>
                  </a:lnTo>
                  <a:lnTo>
                    <a:pt x="1000" y="655"/>
                  </a:lnTo>
                  <a:lnTo>
                    <a:pt x="997" y="649"/>
                  </a:lnTo>
                  <a:lnTo>
                    <a:pt x="997" y="649"/>
                  </a:lnTo>
                  <a:lnTo>
                    <a:pt x="994" y="644"/>
                  </a:lnTo>
                  <a:lnTo>
                    <a:pt x="991" y="638"/>
                  </a:lnTo>
                  <a:lnTo>
                    <a:pt x="991" y="632"/>
                  </a:lnTo>
                  <a:lnTo>
                    <a:pt x="991" y="627"/>
                  </a:lnTo>
                  <a:lnTo>
                    <a:pt x="991" y="627"/>
                  </a:lnTo>
                  <a:lnTo>
                    <a:pt x="994" y="621"/>
                  </a:lnTo>
                  <a:lnTo>
                    <a:pt x="995" y="618"/>
                  </a:lnTo>
                  <a:lnTo>
                    <a:pt x="997" y="616"/>
                  </a:lnTo>
                  <a:lnTo>
                    <a:pt x="997" y="612"/>
                  </a:lnTo>
                  <a:lnTo>
                    <a:pt x="997" y="612"/>
                  </a:lnTo>
                  <a:lnTo>
                    <a:pt x="997" y="610"/>
                  </a:lnTo>
                  <a:lnTo>
                    <a:pt x="994" y="609"/>
                  </a:lnTo>
                  <a:lnTo>
                    <a:pt x="986" y="609"/>
                  </a:lnTo>
                  <a:lnTo>
                    <a:pt x="983" y="607"/>
                  </a:lnTo>
                  <a:lnTo>
                    <a:pt x="980" y="604"/>
                  </a:lnTo>
                  <a:lnTo>
                    <a:pt x="977" y="601"/>
                  </a:lnTo>
                  <a:lnTo>
                    <a:pt x="977" y="595"/>
                  </a:lnTo>
                  <a:lnTo>
                    <a:pt x="977" y="595"/>
                  </a:lnTo>
                  <a:lnTo>
                    <a:pt x="979" y="584"/>
                  </a:lnTo>
                  <a:lnTo>
                    <a:pt x="979" y="575"/>
                  </a:lnTo>
                  <a:lnTo>
                    <a:pt x="976" y="569"/>
                  </a:lnTo>
                  <a:lnTo>
                    <a:pt x="974" y="567"/>
                  </a:lnTo>
                  <a:lnTo>
                    <a:pt x="973" y="569"/>
                  </a:lnTo>
                  <a:lnTo>
                    <a:pt x="973" y="569"/>
                  </a:lnTo>
                  <a:lnTo>
                    <a:pt x="969" y="573"/>
                  </a:lnTo>
                  <a:lnTo>
                    <a:pt x="961" y="578"/>
                  </a:lnTo>
                  <a:lnTo>
                    <a:pt x="955" y="581"/>
                  </a:lnTo>
                  <a:lnTo>
                    <a:pt x="951" y="581"/>
                  </a:lnTo>
                  <a:lnTo>
                    <a:pt x="948" y="579"/>
                  </a:lnTo>
                  <a:lnTo>
                    <a:pt x="948" y="579"/>
                  </a:lnTo>
                  <a:lnTo>
                    <a:pt x="934" y="567"/>
                  </a:lnTo>
                  <a:lnTo>
                    <a:pt x="926" y="560"/>
                  </a:lnTo>
                  <a:lnTo>
                    <a:pt x="915" y="555"/>
                  </a:lnTo>
                  <a:lnTo>
                    <a:pt x="915" y="555"/>
                  </a:lnTo>
                  <a:lnTo>
                    <a:pt x="911" y="553"/>
                  </a:lnTo>
                  <a:lnTo>
                    <a:pt x="908" y="548"/>
                  </a:lnTo>
                  <a:lnTo>
                    <a:pt x="902" y="539"/>
                  </a:lnTo>
                  <a:lnTo>
                    <a:pt x="899" y="529"/>
                  </a:lnTo>
                  <a:lnTo>
                    <a:pt x="894" y="517"/>
                  </a:lnTo>
                  <a:lnTo>
                    <a:pt x="894" y="517"/>
                  </a:lnTo>
                  <a:lnTo>
                    <a:pt x="890" y="508"/>
                  </a:lnTo>
                  <a:lnTo>
                    <a:pt x="889" y="499"/>
                  </a:lnTo>
                  <a:lnTo>
                    <a:pt x="890" y="492"/>
                  </a:lnTo>
                  <a:lnTo>
                    <a:pt x="894" y="486"/>
                  </a:lnTo>
                  <a:lnTo>
                    <a:pt x="894" y="486"/>
                  </a:lnTo>
                  <a:lnTo>
                    <a:pt x="896" y="481"/>
                  </a:lnTo>
                  <a:lnTo>
                    <a:pt x="897" y="478"/>
                  </a:lnTo>
                  <a:lnTo>
                    <a:pt x="899" y="473"/>
                  </a:lnTo>
                  <a:lnTo>
                    <a:pt x="900" y="471"/>
                  </a:lnTo>
                  <a:lnTo>
                    <a:pt x="902" y="470"/>
                  </a:lnTo>
                  <a:lnTo>
                    <a:pt x="905" y="468"/>
                  </a:lnTo>
                  <a:lnTo>
                    <a:pt x="909" y="468"/>
                  </a:lnTo>
                  <a:lnTo>
                    <a:pt x="909" y="468"/>
                  </a:lnTo>
                  <a:lnTo>
                    <a:pt x="914" y="467"/>
                  </a:lnTo>
                  <a:lnTo>
                    <a:pt x="920" y="465"/>
                  </a:lnTo>
                  <a:lnTo>
                    <a:pt x="933" y="461"/>
                  </a:lnTo>
                  <a:lnTo>
                    <a:pt x="946" y="455"/>
                  </a:lnTo>
                  <a:lnTo>
                    <a:pt x="952" y="453"/>
                  </a:lnTo>
                  <a:lnTo>
                    <a:pt x="957" y="453"/>
                  </a:lnTo>
                  <a:lnTo>
                    <a:pt x="957" y="453"/>
                  </a:lnTo>
                  <a:lnTo>
                    <a:pt x="961" y="453"/>
                  </a:lnTo>
                  <a:lnTo>
                    <a:pt x="964" y="452"/>
                  </a:lnTo>
                  <a:lnTo>
                    <a:pt x="966" y="450"/>
                  </a:lnTo>
                  <a:lnTo>
                    <a:pt x="969" y="447"/>
                  </a:lnTo>
                  <a:lnTo>
                    <a:pt x="974" y="430"/>
                  </a:lnTo>
                  <a:lnTo>
                    <a:pt x="974" y="430"/>
                  </a:lnTo>
                  <a:lnTo>
                    <a:pt x="979" y="418"/>
                  </a:lnTo>
                  <a:lnTo>
                    <a:pt x="982" y="404"/>
                  </a:lnTo>
                  <a:lnTo>
                    <a:pt x="985" y="393"/>
                  </a:lnTo>
                  <a:lnTo>
                    <a:pt x="985" y="387"/>
                  </a:lnTo>
                  <a:lnTo>
                    <a:pt x="985" y="387"/>
                  </a:lnTo>
                  <a:lnTo>
                    <a:pt x="983" y="382"/>
                  </a:lnTo>
                  <a:lnTo>
                    <a:pt x="980" y="379"/>
                  </a:lnTo>
                  <a:lnTo>
                    <a:pt x="971" y="370"/>
                  </a:lnTo>
                  <a:lnTo>
                    <a:pt x="971" y="370"/>
                  </a:lnTo>
                  <a:lnTo>
                    <a:pt x="951" y="341"/>
                  </a:lnTo>
                  <a:lnTo>
                    <a:pt x="951" y="341"/>
                  </a:lnTo>
                  <a:lnTo>
                    <a:pt x="951" y="338"/>
                  </a:lnTo>
                  <a:lnTo>
                    <a:pt x="952" y="335"/>
                  </a:lnTo>
                  <a:lnTo>
                    <a:pt x="955" y="330"/>
                  </a:lnTo>
                  <a:lnTo>
                    <a:pt x="961" y="329"/>
                  </a:lnTo>
                  <a:lnTo>
                    <a:pt x="961" y="329"/>
                  </a:lnTo>
                  <a:lnTo>
                    <a:pt x="967" y="326"/>
                  </a:lnTo>
                  <a:lnTo>
                    <a:pt x="971" y="323"/>
                  </a:lnTo>
                  <a:lnTo>
                    <a:pt x="976" y="321"/>
                  </a:lnTo>
                  <a:lnTo>
                    <a:pt x="980" y="323"/>
                  </a:lnTo>
                  <a:lnTo>
                    <a:pt x="980" y="323"/>
                  </a:lnTo>
                  <a:lnTo>
                    <a:pt x="983" y="323"/>
                  </a:lnTo>
                  <a:lnTo>
                    <a:pt x="986" y="323"/>
                  </a:lnTo>
                  <a:lnTo>
                    <a:pt x="992" y="319"/>
                  </a:lnTo>
                  <a:lnTo>
                    <a:pt x="997" y="311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3" y="293"/>
                  </a:lnTo>
                  <a:lnTo>
                    <a:pt x="1003" y="284"/>
                  </a:lnTo>
                  <a:lnTo>
                    <a:pt x="1000" y="279"/>
                  </a:lnTo>
                  <a:lnTo>
                    <a:pt x="997" y="274"/>
                  </a:lnTo>
                  <a:lnTo>
                    <a:pt x="997" y="274"/>
                  </a:lnTo>
                  <a:lnTo>
                    <a:pt x="991" y="273"/>
                  </a:lnTo>
                  <a:lnTo>
                    <a:pt x="986" y="271"/>
                  </a:lnTo>
                  <a:lnTo>
                    <a:pt x="982" y="270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6" y="264"/>
                  </a:lnTo>
                  <a:lnTo>
                    <a:pt x="974" y="258"/>
                  </a:lnTo>
                  <a:lnTo>
                    <a:pt x="974" y="247"/>
                  </a:lnTo>
                  <a:lnTo>
                    <a:pt x="974" y="247"/>
                  </a:lnTo>
                  <a:lnTo>
                    <a:pt x="973" y="242"/>
                  </a:lnTo>
                  <a:lnTo>
                    <a:pt x="970" y="234"/>
                  </a:lnTo>
                  <a:lnTo>
                    <a:pt x="966" y="227"/>
                  </a:lnTo>
                  <a:lnTo>
                    <a:pt x="966" y="227"/>
                  </a:lnTo>
                  <a:lnTo>
                    <a:pt x="948" y="227"/>
                  </a:lnTo>
                  <a:lnTo>
                    <a:pt x="948" y="227"/>
                  </a:lnTo>
                  <a:lnTo>
                    <a:pt x="945" y="228"/>
                  </a:lnTo>
                  <a:lnTo>
                    <a:pt x="942" y="231"/>
                  </a:lnTo>
                  <a:lnTo>
                    <a:pt x="937" y="237"/>
                  </a:lnTo>
                  <a:lnTo>
                    <a:pt x="936" y="244"/>
                  </a:lnTo>
                  <a:lnTo>
                    <a:pt x="936" y="249"/>
                  </a:lnTo>
                  <a:lnTo>
                    <a:pt x="936" y="249"/>
                  </a:lnTo>
                  <a:lnTo>
                    <a:pt x="937" y="253"/>
                  </a:lnTo>
                  <a:lnTo>
                    <a:pt x="942" y="261"/>
                  </a:lnTo>
                  <a:lnTo>
                    <a:pt x="946" y="267"/>
                  </a:lnTo>
                  <a:lnTo>
                    <a:pt x="948" y="273"/>
                  </a:lnTo>
                  <a:lnTo>
                    <a:pt x="948" y="273"/>
                  </a:lnTo>
                  <a:lnTo>
                    <a:pt x="948" y="276"/>
                  </a:lnTo>
                  <a:lnTo>
                    <a:pt x="943" y="277"/>
                  </a:lnTo>
                  <a:lnTo>
                    <a:pt x="939" y="277"/>
                  </a:lnTo>
                  <a:lnTo>
                    <a:pt x="933" y="277"/>
                  </a:lnTo>
                  <a:lnTo>
                    <a:pt x="933" y="277"/>
                  </a:lnTo>
                  <a:lnTo>
                    <a:pt x="927" y="274"/>
                  </a:lnTo>
                  <a:lnTo>
                    <a:pt x="923" y="270"/>
                  </a:lnTo>
                  <a:lnTo>
                    <a:pt x="914" y="258"/>
                  </a:lnTo>
                  <a:lnTo>
                    <a:pt x="914" y="258"/>
                  </a:lnTo>
                  <a:lnTo>
                    <a:pt x="905" y="247"/>
                  </a:lnTo>
                  <a:lnTo>
                    <a:pt x="902" y="244"/>
                  </a:lnTo>
                  <a:lnTo>
                    <a:pt x="897" y="242"/>
                  </a:lnTo>
                  <a:lnTo>
                    <a:pt x="897" y="242"/>
                  </a:lnTo>
                  <a:lnTo>
                    <a:pt x="893" y="242"/>
                  </a:lnTo>
                  <a:lnTo>
                    <a:pt x="889" y="243"/>
                  </a:lnTo>
                  <a:lnTo>
                    <a:pt x="878" y="249"/>
                  </a:lnTo>
                  <a:lnTo>
                    <a:pt x="878" y="249"/>
                  </a:lnTo>
                  <a:lnTo>
                    <a:pt x="875" y="253"/>
                  </a:lnTo>
                  <a:lnTo>
                    <a:pt x="872" y="261"/>
                  </a:lnTo>
                  <a:lnTo>
                    <a:pt x="871" y="268"/>
                  </a:lnTo>
                  <a:lnTo>
                    <a:pt x="869" y="277"/>
                  </a:lnTo>
                  <a:lnTo>
                    <a:pt x="869" y="277"/>
                  </a:lnTo>
                  <a:lnTo>
                    <a:pt x="871" y="281"/>
                  </a:lnTo>
                  <a:lnTo>
                    <a:pt x="872" y="286"/>
                  </a:lnTo>
                  <a:lnTo>
                    <a:pt x="877" y="295"/>
                  </a:lnTo>
                  <a:lnTo>
                    <a:pt x="884" y="304"/>
                  </a:lnTo>
                  <a:lnTo>
                    <a:pt x="884" y="304"/>
                  </a:lnTo>
                  <a:lnTo>
                    <a:pt x="896" y="321"/>
                  </a:lnTo>
                  <a:lnTo>
                    <a:pt x="906" y="335"/>
                  </a:lnTo>
                  <a:lnTo>
                    <a:pt x="914" y="344"/>
                  </a:lnTo>
                  <a:lnTo>
                    <a:pt x="914" y="344"/>
                  </a:lnTo>
                  <a:lnTo>
                    <a:pt x="917" y="347"/>
                  </a:lnTo>
                  <a:lnTo>
                    <a:pt x="920" y="350"/>
                  </a:lnTo>
                  <a:lnTo>
                    <a:pt x="921" y="357"/>
                  </a:lnTo>
                  <a:lnTo>
                    <a:pt x="923" y="370"/>
                  </a:lnTo>
                  <a:lnTo>
                    <a:pt x="923" y="370"/>
                  </a:lnTo>
                  <a:lnTo>
                    <a:pt x="923" y="373"/>
                  </a:lnTo>
                  <a:lnTo>
                    <a:pt x="923" y="375"/>
                  </a:lnTo>
                  <a:lnTo>
                    <a:pt x="918" y="378"/>
                  </a:lnTo>
                  <a:lnTo>
                    <a:pt x="912" y="378"/>
                  </a:lnTo>
                  <a:lnTo>
                    <a:pt x="908" y="376"/>
                  </a:lnTo>
                  <a:lnTo>
                    <a:pt x="908" y="376"/>
                  </a:lnTo>
                  <a:lnTo>
                    <a:pt x="905" y="373"/>
                  </a:lnTo>
                  <a:lnTo>
                    <a:pt x="902" y="367"/>
                  </a:lnTo>
                  <a:lnTo>
                    <a:pt x="896" y="356"/>
                  </a:lnTo>
                  <a:lnTo>
                    <a:pt x="896" y="356"/>
                  </a:lnTo>
                  <a:lnTo>
                    <a:pt x="893" y="350"/>
                  </a:lnTo>
                  <a:lnTo>
                    <a:pt x="889" y="345"/>
                  </a:lnTo>
                  <a:lnTo>
                    <a:pt x="884" y="342"/>
                  </a:lnTo>
                  <a:lnTo>
                    <a:pt x="878" y="339"/>
                  </a:lnTo>
                  <a:lnTo>
                    <a:pt x="878" y="339"/>
                  </a:lnTo>
                  <a:lnTo>
                    <a:pt x="863" y="330"/>
                  </a:lnTo>
                  <a:lnTo>
                    <a:pt x="847" y="320"/>
                  </a:lnTo>
                  <a:lnTo>
                    <a:pt x="847" y="320"/>
                  </a:lnTo>
                  <a:lnTo>
                    <a:pt x="841" y="314"/>
                  </a:lnTo>
                  <a:lnTo>
                    <a:pt x="837" y="307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8" y="289"/>
                  </a:lnTo>
                  <a:lnTo>
                    <a:pt x="829" y="286"/>
                  </a:lnTo>
                  <a:lnTo>
                    <a:pt x="834" y="281"/>
                  </a:lnTo>
                  <a:lnTo>
                    <a:pt x="834" y="281"/>
                  </a:lnTo>
                  <a:lnTo>
                    <a:pt x="838" y="279"/>
                  </a:lnTo>
                  <a:lnTo>
                    <a:pt x="841" y="276"/>
                  </a:lnTo>
                  <a:lnTo>
                    <a:pt x="844" y="273"/>
                  </a:lnTo>
                  <a:lnTo>
                    <a:pt x="844" y="273"/>
                  </a:lnTo>
                  <a:lnTo>
                    <a:pt x="846" y="268"/>
                  </a:lnTo>
                  <a:lnTo>
                    <a:pt x="847" y="262"/>
                  </a:lnTo>
                  <a:lnTo>
                    <a:pt x="847" y="249"/>
                  </a:lnTo>
                  <a:lnTo>
                    <a:pt x="847" y="249"/>
                  </a:lnTo>
                  <a:lnTo>
                    <a:pt x="849" y="239"/>
                  </a:lnTo>
                  <a:lnTo>
                    <a:pt x="852" y="231"/>
                  </a:lnTo>
                  <a:lnTo>
                    <a:pt x="852" y="231"/>
                  </a:lnTo>
                  <a:lnTo>
                    <a:pt x="853" y="228"/>
                  </a:lnTo>
                  <a:lnTo>
                    <a:pt x="857" y="225"/>
                  </a:lnTo>
                  <a:lnTo>
                    <a:pt x="863" y="222"/>
                  </a:lnTo>
                  <a:lnTo>
                    <a:pt x="863" y="222"/>
                  </a:lnTo>
                  <a:lnTo>
                    <a:pt x="871" y="215"/>
                  </a:lnTo>
                  <a:lnTo>
                    <a:pt x="877" y="206"/>
                  </a:lnTo>
                  <a:lnTo>
                    <a:pt x="877" y="206"/>
                  </a:lnTo>
                  <a:lnTo>
                    <a:pt x="890" y="179"/>
                  </a:lnTo>
                  <a:lnTo>
                    <a:pt x="890" y="179"/>
                  </a:lnTo>
                  <a:lnTo>
                    <a:pt x="892" y="173"/>
                  </a:lnTo>
                  <a:lnTo>
                    <a:pt x="892" y="164"/>
                  </a:lnTo>
                  <a:lnTo>
                    <a:pt x="890" y="150"/>
                  </a:lnTo>
                  <a:lnTo>
                    <a:pt x="890" y="150"/>
                  </a:lnTo>
                  <a:lnTo>
                    <a:pt x="889" y="145"/>
                  </a:lnTo>
                  <a:lnTo>
                    <a:pt x="887" y="141"/>
                  </a:lnTo>
                  <a:lnTo>
                    <a:pt x="884" y="138"/>
                  </a:lnTo>
                  <a:lnTo>
                    <a:pt x="881" y="136"/>
                  </a:lnTo>
                  <a:lnTo>
                    <a:pt x="881" y="136"/>
                  </a:lnTo>
                  <a:lnTo>
                    <a:pt x="880" y="136"/>
                  </a:lnTo>
                  <a:lnTo>
                    <a:pt x="878" y="139"/>
                  </a:lnTo>
                  <a:lnTo>
                    <a:pt x="875" y="147"/>
                  </a:lnTo>
                  <a:lnTo>
                    <a:pt x="871" y="160"/>
                  </a:lnTo>
                  <a:lnTo>
                    <a:pt x="871" y="160"/>
                  </a:lnTo>
                  <a:lnTo>
                    <a:pt x="863" y="190"/>
                  </a:lnTo>
                  <a:lnTo>
                    <a:pt x="863" y="190"/>
                  </a:lnTo>
                  <a:lnTo>
                    <a:pt x="862" y="196"/>
                  </a:lnTo>
                  <a:lnTo>
                    <a:pt x="859" y="202"/>
                  </a:lnTo>
                  <a:lnTo>
                    <a:pt x="853" y="210"/>
                  </a:lnTo>
                  <a:lnTo>
                    <a:pt x="853" y="210"/>
                  </a:lnTo>
                  <a:lnTo>
                    <a:pt x="850" y="213"/>
                  </a:lnTo>
                  <a:lnTo>
                    <a:pt x="847" y="215"/>
                  </a:lnTo>
                  <a:lnTo>
                    <a:pt x="837" y="218"/>
                  </a:lnTo>
                  <a:lnTo>
                    <a:pt x="815" y="224"/>
                  </a:lnTo>
                  <a:lnTo>
                    <a:pt x="815" y="224"/>
                  </a:lnTo>
                  <a:lnTo>
                    <a:pt x="803" y="228"/>
                  </a:lnTo>
                  <a:lnTo>
                    <a:pt x="786" y="237"/>
                  </a:lnTo>
                  <a:lnTo>
                    <a:pt x="786" y="237"/>
                  </a:lnTo>
                  <a:lnTo>
                    <a:pt x="777" y="243"/>
                  </a:lnTo>
                  <a:lnTo>
                    <a:pt x="770" y="253"/>
                  </a:lnTo>
                  <a:lnTo>
                    <a:pt x="761" y="268"/>
                  </a:lnTo>
                  <a:lnTo>
                    <a:pt x="761" y="268"/>
                  </a:lnTo>
                  <a:lnTo>
                    <a:pt x="760" y="276"/>
                  </a:lnTo>
                  <a:lnTo>
                    <a:pt x="760" y="287"/>
                  </a:lnTo>
                  <a:lnTo>
                    <a:pt x="761" y="311"/>
                  </a:lnTo>
                  <a:lnTo>
                    <a:pt x="761" y="311"/>
                  </a:lnTo>
                  <a:lnTo>
                    <a:pt x="760" y="335"/>
                  </a:lnTo>
                  <a:lnTo>
                    <a:pt x="757" y="350"/>
                  </a:lnTo>
                  <a:lnTo>
                    <a:pt x="755" y="359"/>
                  </a:lnTo>
                  <a:lnTo>
                    <a:pt x="755" y="359"/>
                  </a:lnTo>
                  <a:lnTo>
                    <a:pt x="749" y="370"/>
                  </a:lnTo>
                  <a:lnTo>
                    <a:pt x="740" y="381"/>
                  </a:lnTo>
                  <a:lnTo>
                    <a:pt x="740" y="381"/>
                  </a:lnTo>
                  <a:lnTo>
                    <a:pt x="732" y="388"/>
                  </a:lnTo>
                  <a:lnTo>
                    <a:pt x="724" y="394"/>
                  </a:lnTo>
                  <a:lnTo>
                    <a:pt x="724" y="394"/>
                  </a:lnTo>
                  <a:lnTo>
                    <a:pt x="723" y="400"/>
                  </a:lnTo>
                  <a:lnTo>
                    <a:pt x="723" y="406"/>
                  </a:lnTo>
                  <a:lnTo>
                    <a:pt x="723" y="412"/>
                  </a:lnTo>
                  <a:lnTo>
                    <a:pt x="721" y="418"/>
                  </a:lnTo>
                  <a:lnTo>
                    <a:pt x="721" y="418"/>
                  </a:lnTo>
                  <a:lnTo>
                    <a:pt x="717" y="422"/>
                  </a:lnTo>
                  <a:lnTo>
                    <a:pt x="711" y="427"/>
                  </a:lnTo>
                  <a:lnTo>
                    <a:pt x="696" y="437"/>
                  </a:lnTo>
                  <a:lnTo>
                    <a:pt x="696" y="437"/>
                  </a:lnTo>
                  <a:lnTo>
                    <a:pt x="692" y="441"/>
                  </a:lnTo>
                  <a:lnTo>
                    <a:pt x="690" y="444"/>
                  </a:lnTo>
                  <a:lnTo>
                    <a:pt x="690" y="450"/>
                  </a:lnTo>
                  <a:lnTo>
                    <a:pt x="692" y="455"/>
                  </a:lnTo>
                  <a:lnTo>
                    <a:pt x="692" y="455"/>
                  </a:lnTo>
                  <a:lnTo>
                    <a:pt x="692" y="467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83" y="489"/>
                  </a:lnTo>
                  <a:lnTo>
                    <a:pt x="677" y="501"/>
                  </a:lnTo>
                  <a:lnTo>
                    <a:pt x="677" y="501"/>
                  </a:lnTo>
                  <a:lnTo>
                    <a:pt x="675" y="504"/>
                  </a:lnTo>
                  <a:lnTo>
                    <a:pt x="678" y="507"/>
                  </a:lnTo>
                  <a:lnTo>
                    <a:pt x="681" y="507"/>
                  </a:lnTo>
                  <a:lnTo>
                    <a:pt x="683" y="507"/>
                  </a:lnTo>
                  <a:lnTo>
                    <a:pt x="683" y="507"/>
                  </a:lnTo>
                  <a:lnTo>
                    <a:pt x="695" y="507"/>
                  </a:lnTo>
                  <a:lnTo>
                    <a:pt x="703" y="508"/>
                  </a:lnTo>
                  <a:lnTo>
                    <a:pt x="708" y="510"/>
                  </a:lnTo>
                  <a:lnTo>
                    <a:pt x="708" y="510"/>
                  </a:lnTo>
                  <a:lnTo>
                    <a:pt x="714" y="514"/>
                  </a:lnTo>
                  <a:lnTo>
                    <a:pt x="717" y="517"/>
                  </a:lnTo>
                  <a:lnTo>
                    <a:pt x="721" y="517"/>
                  </a:lnTo>
                  <a:lnTo>
                    <a:pt x="721" y="517"/>
                  </a:lnTo>
                  <a:lnTo>
                    <a:pt x="736" y="518"/>
                  </a:lnTo>
                  <a:lnTo>
                    <a:pt x="752" y="521"/>
                  </a:lnTo>
                  <a:lnTo>
                    <a:pt x="752" y="521"/>
                  </a:lnTo>
                  <a:lnTo>
                    <a:pt x="760" y="527"/>
                  </a:lnTo>
                  <a:lnTo>
                    <a:pt x="775" y="539"/>
                  </a:lnTo>
                  <a:lnTo>
                    <a:pt x="798" y="563"/>
                  </a:lnTo>
                  <a:lnTo>
                    <a:pt x="798" y="563"/>
                  </a:lnTo>
                  <a:lnTo>
                    <a:pt x="803" y="569"/>
                  </a:lnTo>
                  <a:lnTo>
                    <a:pt x="807" y="576"/>
                  </a:lnTo>
                  <a:lnTo>
                    <a:pt x="809" y="584"/>
                  </a:lnTo>
                  <a:lnTo>
                    <a:pt x="810" y="591"/>
                  </a:lnTo>
                  <a:lnTo>
                    <a:pt x="810" y="591"/>
                  </a:lnTo>
                  <a:lnTo>
                    <a:pt x="809" y="598"/>
                  </a:lnTo>
                  <a:lnTo>
                    <a:pt x="807" y="606"/>
                  </a:lnTo>
                  <a:lnTo>
                    <a:pt x="803" y="619"/>
                  </a:lnTo>
                  <a:lnTo>
                    <a:pt x="803" y="619"/>
                  </a:lnTo>
                  <a:lnTo>
                    <a:pt x="803" y="624"/>
                  </a:lnTo>
                  <a:lnTo>
                    <a:pt x="801" y="631"/>
                  </a:lnTo>
                  <a:lnTo>
                    <a:pt x="800" y="646"/>
                  </a:lnTo>
                  <a:lnTo>
                    <a:pt x="800" y="646"/>
                  </a:lnTo>
                  <a:lnTo>
                    <a:pt x="798" y="649"/>
                  </a:lnTo>
                  <a:lnTo>
                    <a:pt x="794" y="652"/>
                  </a:lnTo>
                  <a:lnTo>
                    <a:pt x="783" y="653"/>
                  </a:lnTo>
                  <a:lnTo>
                    <a:pt x="783" y="653"/>
                  </a:lnTo>
                  <a:lnTo>
                    <a:pt x="779" y="655"/>
                  </a:lnTo>
                  <a:lnTo>
                    <a:pt x="776" y="656"/>
                  </a:lnTo>
                  <a:lnTo>
                    <a:pt x="769" y="664"/>
                  </a:lnTo>
                  <a:lnTo>
                    <a:pt x="769" y="664"/>
                  </a:lnTo>
                  <a:lnTo>
                    <a:pt x="764" y="667"/>
                  </a:lnTo>
                  <a:lnTo>
                    <a:pt x="763" y="671"/>
                  </a:lnTo>
                  <a:lnTo>
                    <a:pt x="760" y="680"/>
                  </a:lnTo>
                  <a:lnTo>
                    <a:pt x="757" y="695"/>
                  </a:lnTo>
                  <a:lnTo>
                    <a:pt x="757" y="695"/>
                  </a:lnTo>
                  <a:lnTo>
                    <a:pt x="757" y="698"/>
                  </a:lnTo>
                  <a:lnTo>
                    <a:pt x="758" y="699"/>
                  </a:lnTo>
                  <a:lnTo>
                    <a:pt x="763" y="705"/>
                  </a:lnTo>
                  <a:lnTo>
                    <a:pt x="773" y="712"/>
                  </a:lnTo>
                  <a:lnTo>
                    <a:pt x="773" y="712"/>
                  </a:lnTo>
                  <a:lnTo>
                    <a:pt x="789" y="721"/>
                  </a:lnTo>
                  <a:lnTo>
                    <a:pt x="803" y="730"/>
                  </a:lnTo>
                  <a:lnTo>
                    <a:pt x="803" y="730"/>
                  </a:lnTo>
                  <a:lnTo>
                    <a:pt x="804" y="733"/>
                  </a:lnTo>
                  <a:lnTo>
                    <a:pt x="806" y="736"/>
                  </a:lnTo>
                  <a:lnTo>
                    <a:pt x="806" y="739"/>
                  </a:lnTo>
                  <a:lnTo>
                    <a:pt x="804" y="742"/>
                  </a:lnTo>
                  <a:lnTo>
                    <a:pt x="804" y="742"/>
                  </a:lnTo>
                  <a:lnTo>
                    <a:pt x="803" y="742"/>
                  </a:lnTo>
                  <a:lnTo>
                    <a:pt x="800" y="742"/>
                  </a:lnTo>
                  <a:lnTo>
                    <a:pt x="795" y="739"/>
                  </a:lnTo>
                  <a:lnTo>
                    <a:pt x="785" y="732"/>
                  </a:lnTo>
                  <a:lnTo>
                    <a:pt x="785" y="732"/>
                  </a:lnTo>
                  <a:lnTo>
                    <a:pt x="770" y="721"/>
                  </a:lnTo>
                  <a:lnTo>
                    <a:pt x="754" y="708"/>
                  </a:lnTo>
                  <a:lnTo>
                    <a:pt x="754" y="708"/>
                  </a:lnTo>
                  <a:lnTo>
                    <a:pt x="749" y="704"/>
                  </a:lnTo>
                  <a:lnTo>
                    <a:pt x="748" y="698"/>
                  </a:lnTo>
                  <a:lnTo>
                    <a:pt x="748" y="693"/>
                  </a:lnTo>
                  <a:lnTo>
                    <a:pt x="748" y="689"/>
                  </a:lnTo>
                  <a:lnTo>
                    <a:pt x="748" y="689"/>
                  </a:lnTo>
                  <a:lnTo>
                    <a:pt x="752" y="672"/>
                  </a:lnTo>
                  <a:lnTo>
                    <a:pt x="758" y="658"/>
                  </a:lnTo>
                  <a:lnTo>
                    <a:pt x="758" y="658"/>
                  </a:lnTo>
                  <a:lnTo>
                    <a:pt x="766" y="644"/>
                  </a:lnTo>
                  <a:lnTo>
                    <a:pt x="773" y="631"/>
                  </a:lnTo>
                  <a:lnTo>
                    <a:pt x="773" y="631"/>
                  </a:lnTo>
                  <a:lnTo>
                    <a:pt x="776" y="628"/>
                  </a:lnTo>
                  <a:lnTo>
                    <a:pt x="776" y="624"/>
                  </a:lnTo>
                  <a:lnTo>
                    <a:pt x="776" y="618"/>
                  </a:lnTo>
                  <a:lnTo>
                    <a:pt x="776" y="618"/>
                  </a:lnTo>
                  <a:lnTo>
                    <a:pt x="769" y="597"/>
                  </a:lnTo>
                  <a:lnTo>
                    <a:pt x="769" y="597"/>
                  </a:lnTo>
                  <a:lnTo>
                    <a:pt x="769" y="585"/>
                  </a:lnTo>
                  <a:lnTo>
                    <a:pt x="769" y="579"/>
                  </a:lnTo>
                  <a:lnTo>
                    <a:pt x="767" y="572"/>
                  </a:lnTo>
                  <a:lnTo>
                    <a:pt x="767" y="572"/>
                  </a:lnTo>
                  <a:lnTo>
                    <a:pt x="764" y="567"/>
                  </a:lnTo>
                  <a:lnTo>
                    <a:pt x="758" y="561"/>
                  </a:lnTo>
                  <a:lnTo>
                    <a:pt x="751" y="557"/>
                  </a:lnTo>
                  <a:lnTo>
                    <a:pt x="745" y="555"/>
                  </a:lnTo>
                  <a:lnTo>
                    <a:pt x="745" y="555"/>
                  </a:lnTo>
                  <a:lnTo>
                    <a:pt x="720" y="555"/>
                  </a:lnTo>
                  <a:lnTo>
                    <a:pt x="690" y="555"/>
                  </a:lnTo>
                  <a:lnTo>
                    <a:pt x="690" y="555"/>
                  </a:lnTo>
                  <a:lnTo>
                    <a:pt x="681" y="557"/>
                  </a:lnTo>
                  <a:lnTo>
                    <a:pt x="675" y="560"/>
                  </a:lnTo>
                  <a:lnTo>
                    <a:pt x="666" y="569"/>
                  </a:lnTo>
                  <a:lnTo>
                    <a:pt x="666" y="569"/>
                  </a:lnTo>
                  <a:lnTo>
                    <a:pt x="665" y="572"/>
                  </a:lnTo>
                  <a:lnTo>
                    <a:pt x="663" y="578"/>
                  </a:lnTo>
                  <a:lnTo>
                    <a:pt x="662" y="590"/>
                  </a:lnTo>
                  <a:lnTo>
                    <a:pt x="662" y="612"/>
                  </a:lnTo>
                  <a:lnTo>
                    <a:pt x="662" y="612"/>
                  </a:lnTo>
                  <a:lnTo>
                    <a:pt x="662" y="631"/>
                  </a:lnTo>
                  <a:lnTo>
                    <a:pt x="659" y="652"/>
                  </a:lnTo>
                  <a:lnTo>
                    <a:pt x="659" y="652"/>
                  </a:lnTo>
                  <a:lnTo>
                    <a:pt x="658" y="656"/>
                  </a:lnTo>
                  <a:lnTo>
                    <a:pt x="655" y="659"/>
                  </a:lnTo>
                  <a:lnTo>
                    <a:pt x="644" y="667"/>
                  </a:lnTo>
                  <a:lnTo>
                    <a:pt x="635" y="672"/>
                  </a:lnTo>
                  <a:lnTo>
                    <a:pt x="626" y="677"/>
                  </a:lnTo>
                  <a:lnTo>
                    <a:pt x="626" y="677"/>
                  </a:lnTo>
                  <a:lnTo>
                    <a:pt x="615" y="681"/>
                  </a:lnTo>
                  <a:lnTo>
                    <a:pt x="609" y="683"/>
                  </a:lnTo>
                  <a:lnTo>
                    <a:pt x="604" y="687"/>
                  </a:lnTo>
                  <a:lnTo>
                    <a:pt x="604" y="687"/>
                  </a:lnTo>
                  <a:lnTo>
                    <a:pt x="600" y="693"/>
                  </a:lnTo>
                  <a:lnTo>
                    <a:pt x="595" y="701"/>
                  </a:lnTo>
                  <a:lnTo>
                    <a:pt x="592" y="714"/>
                  </a:lnTo>
                  <a:lnTo>
                    <a:pt x="592" y="714"/>
                  </a:lnTo>
                  <a:lnTo>
                    <a:pt x="589" y="718"/>
                  </a:lnTo>
                  <a:lnTo>
                    <a:pt x="582" y="724"/>
                  </a:lnTo>
                  <a:lnTo>
                    <a:pt x="575" y="729"/>
                  </a:lnTo>
                  <a:lnTo>
                    <a:pt x="566" y="730"/>
                  </a:lnTo>
                  <a:lnTo>
                    <a:pt x="566" y="730"/>
                  </a:lnTo>
                  <a:lnTo>
                    <a:pt x="544" y="736"/>
                  </a:lnTo>
                  <a:lnTo>
                    <a:pt x="544" y="736"/>
                  </a:lnTo>
                  <a:lnTo>
                    <a:pt x="527" y="738"/>
                  </a:lnTo>
                  <a:lnTo>
                    <a:pt x="512" y="738"/>
                  </a:lnTo>
                  <a:lnTo>
                    <a:pt x="512" y="738"/>
                  </a:lnTo>
                  <a:lnTo>
                    <a:pt x="511" y="739"/>
                  </a:lnTo>
                  <a:lnTo>
                    <a:pt x="508" y="741"/>
                  </a:lnTo>
                  <a:lnTo>
                    <a:pt x="502" y="747"/>
                  </a:lnTo>
                  <a:lnTo>
                    <a:pt x="492" y="760"/>
                  </a:lnTo>
                  <a:lnTo>
                    <a:pt x="492" y="760"/>
                  </a:lnTo>
                  <a:lnTo>
                    <a:pt x="489" y="760"/>
                  </a:lnTo>
                  <a:lnTo>
                    <a:pt x="486" y="761"/>
                  </a:lnTo>
                  <a:lnTo>
                    <a:pt x="480" y="760"/>
                  </a:lnTo>
                  <a:lnTo>
                    <a:pt x="472" y="757"/>
                  </a:lnTo>
                  <a:lnTo>
                    <a:pt x="467" y="752"/>
                  </a:lnTo>
                  <a:lnTo>
                    <a:pt x="467" y="752"/>
                  </a:lnTo>
                  <a:lnTo>
                    <a:pt x="455" y="741"/>
                  </a:lnTo>
                  <a:lnTo>
                    <a:pt x="443" y="730"/>
                  </a:lnTo>
                  <a:lnTo>
                    <a:pt x="443" y="730"/>
                  </a:lnTo>
                  <a:lnTo>
                    <a:pt x="438" y="726"/>
                  </a:lnTo>
                  <a:lnTo>
                    <a:pt x="430" y="721"/>
                  </a:lnTo>
                  <a:lnTo>
                    <a:pt x="419" y="718"/>
                  </a:lnTo>
                  <a:lnTo>
                    <a:pt x="413" y="714"/>
                  </a:lnTo>
                  <a:lnTo>
                    <a:pt x="413" y="714"/>
                  </a:lnTo>
                  <a:lnTo>
                    <a:pt x="397" y="702"/>
                  </a:lnTo>
                  <a:lnTo>
                    <a:pt x="387" y="695"/>
                  </a:lnTo>
                  <a:lnTo>
                    <a:pt x="381" y="689"/>
                  </a:lnTo>
                  <a:lnTo>
                    <a:pt x="381" y="689"/>
                  </a:lnTo>
                  <a:lnTo>
                    <a:pt x="379" y="684"/>
                  </a:lnTo>
                  <a:lnTo>
                    <a:pt x="381" y="680"/>
                  </a:lnTo>
                  <a:lnTo>
                    <a:pt x="384" y="671"/>
                  </a:lnTo>
                  <a:lnTo>
                    <a:pt x="384" y="671"/>
                  </a:lnTo>
                  <a:lnTo>
                    <a:pt x="387" y="668"/>
                  </a:lnTo>
                  <a:lnTo>
                    <a:pt x="390" y="665"/>
                  </a:lnTo>
                  <a:lnTo>
                    <a:pt x="394" y="664"/>
                  </a:lnTo>
                  <a:lnTo>
                    <a:pt x="398" y="664"/>
                  </a:lnTo>
                  <a:lnTo>
                    <a:pt x="398" y="664"/>
                  </a:lnTo>
                  <a:lnTo>
                    <a:pt x="400" y="664"/>
                  </a:lnTo>
                  <a:lnTo>
                    <a:pt x="401" y="665"/>
                  </a:lnTo>
                  <a:lnTo>
                    <a:pt x="404" y="670"/>
                  </a:lnTo>
                  <a:lnTo>
                    <a:pt x="407" y="674"/>
                  </a:lnTo>
                  <a:lnTo>
                    <a:pt x="407" y="678"/>
                  </a:lnTo>
                  <a:lnTo>
                    <a:pt x="407" y="678"/>
                  </a:lnTo>
                  <a:lnTo>
                    <a:pt x="407" y="687"/>
                  </a:lnTo>
                  <a:lnTo>
                    <a:pt x="410" y="698"/>
                  </a:lnTo>
                  <a:lnTo>
                    <a:pt x="410" y="698"/>
                  </a:lnTo>
                  <a:lnTo>
                    <a:pt x="410" y="701"/>
                  </a:lnTo>
                  <a:lnTo>
                    <a:pt x="413" y="701"/>
                  </a:lnTo>
                  <a:lnTo>
                    <a:pt x="416" y="701"/>
                  </a:lnTo>
                  <a:lnTo>
                    <a:pt x="419" y="699"/>
                  </a:lnTo>
                  <a:lnTo>
                    <a:pt x="419" y="699"/>
                  </a:lnTo>
                  <a:lnTo>
                    <a:pt x="421" y="696"/>
                  </a:lnTo>
                  <a:lnTo>
                    <a:pt x="422" y="693"/>
                  </a:lnTo>
                  <a:lnTo>
                    <a:pt x="422" y="684"/>
                  </a:lnTo>
                  <a:lnTo>
                    <a:pt x="422" y="684"/>
                  </a:lnTo>
                  <a:lnTo>
                    <a:pt x="424" y="677"/>
                  </a:lnTo>
                  <a:lnTo>
                    <a:pt x="425" y="671"/>
                  </a:lnTo>
                  <a:lnTo>
                    <a:pt x="425" y="671"/>
                  </a:lnTo>
                  <a:lnTo>
                    <a:pt x="432" y="678"/>
                  </a:lnTo>
                  <a:lnTo>
                    <a:pt x="437" y="683"/>
                  </a:lnTo>
                  <a:lnTo>
                    <a:pt x="440" y="687"/>
                  </a:lnTo>
                  <a:lnTo>
                    <a:pt x="440" y="687"/>
                  </a:lnTo>
                  <a:lnTo>
                    <a:pt x="443" y="701"/>
                  </a:lnTo>
                  <a:lnTo>
                    <a:pt x="446" y="708"/>
                  </a:lnTo>
                  <a:lnTo>
                    <a:pt x="449" y="714"/>
                  </a:lnTo>
                  <a:lnTo>
                    <a:pt x="449" y="714"/>
                  </a:lnTo>
                  <a:lnTo>
                    <a:pt x="452" y="717"/>
                  </a:lnTo>
                  <a:lnTo>
                    <a:pt x="455" y="717"/>
                  </a:lnTo>
                  <a:lnTo>
                    <a:pt x="462" y="718"/>
                  </a:lnTo>
                  <a:lnTo>
                    <a:pt x="468" y="717"/>
                  </a:lnTo>
                  <a:lnTo>
                    <a:pt x="472" y="714"/>
                  </a:lnTo>
                  <a:lnTo>
                    <a:pt x="472" y="714"/>
                  </a:lnTo>
                  <a:lnTo>
                    <a:pt x="475" y="711"/>
                  </a:lnTo>
                  <a:lnTo>
                    <a:pt x="475" y="707"/>
                  </a:lnTo>
                  <a:lnTo>
                    <a:pt x="475" y="696"/>
                  </a:lnTo>
                  <a:lnTo>
                    <a:pt x="475" y="696"/>
                  </a:lnTo>
                  <a:lnTo>
                    <a:pt x="475" y="692"/>
                  </a:lnTo>
                  <a:lnTo>
                    <a:pt x="478" y="686"/>
                  </a:lnTo>
                  <a:lnTo>
                    <a:pt x="483" y="681"/>
                  </a:lnTo>
                  <a:lnTo>
                    <a:pt x="484" y="681"/>
                  </a:lnTo>
                  <a:lnTo>
                    <a:pt x="486" y="681"/>
                  </a:lnTo>
                  <a:lnTo>
                    <a:pt x="486" y="681"/>
                  </a:lnTo>
                  <a:lnTo>
                    <a:pt x="499" y="680"/>
                  </a:lnTo>
                  <a:lnTo>
                    <a:pt x="507" y="678"/>
                  </a:lnTo>
                  <a:lnTo>
                    <a:pt x="514" y="677"/>
                  </a:lnTo>
                  <a:lnTo>
                    <a:pt x="514" y="677"/>
                  </a:lnTo>
                  <a:lnTo>
                    <a:pt x="518" y="671"/>
                  </a:lnTo>
                  <a:lnTo>
                    <a:pt x="524" y="665"/>
                  </a:lnTo>
                  <a:lnTo>
                    <a:pt x="529" y="656"/>
                  </a:lnTo>
                  <a:lnTo>
                    <a:pt x="533" y="652"/>
                  </a:lnTo>
                  <a:lnTo>
                    <a:pt x="533" y="652"/>
                  </a:lnTo>
                  <a:lnTo>
                    <a:pt x="542" y="644"/>
                  </a:lnTo>
                  <a:lnTo>
                    <a:pt x="548" y="643"/>
                  </a:lnTo>
                  <a:lnTo>
                    <a:pt x="554" y="641"/>
                  </a:lnTo>
                  <a:lnTo>
                    <a:pt x="554" y="641"/>
                  </a:lnTo>
                  <a:lnTo>
                    <a:pt x="563" y="641"/>
                  </a:lnTo>
                  <a:lnTo>
                    <a:pt x="569" y="638"/>
                  </a:lnTo>
                  <a:lnTo>
                    <a:pt x="576" y="635"/>
                  </a:lnTo>
                  <a:lnTo>
                    <a:pt x="581" y="632"/>
                  </a:lnTo>
                  <a:lnTo>
                    <a:pt x="581" y="632"/>
                  </a:lnTo>
                  <a:lnTo>
                    <a:pt x="584" y="628"/>
                  </a:lnTo>
                  <a:lnTo>
                    <a:pt x="588" y="619"/>
                  </a:lnTo>
                  <a:lnTo>
                    <a:pt x="592" y="606"/>
                  </a:lnTo>
                  <a:lnTo>
                    <a:pt x="592" y="606"/>
                  </a:lnTo>
                  <a:lnTo>
                    <a:pt x="594" y="600"/>
                  </a:lnTo>
                  <a:lnTo>
                    <a:pt x="595" y="595"/>
                  </a:lnTo>
                  <a:lnTo>
                    <a:pt x="600" y="591"/>
                  </a:lnTo>
                  <a:lnTo>
                    <a:pt x="604" y="587"/>
                  </a:lnTo>
                  <a:lnTo>
                    <a:pt x="604" y="587"/>
                  </a:lnTo>
                  <a:lnTo>
                    <a:pt x="610" y="582"/>
                  </a:lnTo>
                  <a:lnTo>
                    <a:pt x="618" y="576"/>
                  </a:lnTo>
                  <a:lnTo>
                    <a:pt x="625" y="570"/>
                  </a:lnTo>
                  <a:lnTo>
                    <a:pt x="632" y="566"/>
                  </a:lnTo>
                  <a:lnTo>
                    <a:pt x="632" y="566"/>
                  </a:lnTo>
                  <a:lnTo>
                    <a:pt x="635" y="564"/>
                  </a:lnTo>
                  <a:lnTo>
                    <a:pt x="637" y="561"/>
                  </a:lnTo>
                  <a:lnTo>
                    <a:pt x="638" y="554"/>
                  </a:lnTo>
                  <a:lnTo>
                    <a:pt x="638" y="547"/>
                  </a:lnTo>
                  <a:lnTo>
                    <a:pt x="637" y="539"/>
                  </a:lnTo>
                  <a:lnTo>
                    <a:pt x="637" y="539"/>
                  </a:lnTo>
                  <a:lnTo>
                    <a:pt x="634" y="514"/>
                  </a:lnTo>
                  <a:lnTo>
                    <a:pt x="631" y="484"/>
                  </a:lnTo>
                  <a:lnTo>
                    <a:pt x="631" y="484"/>
                  </a:lnTo>
                  <a:lnTo>
                    <a:pt x="631" y="478"/>
                  </a:lnTo>
                  <a:lnTo>
                    <a:pt x="632" y="471"/>
                  </a:lnTo>
                  <a:lnTo>
                    <a:pt x="640" y="455"/>
                  </a:lnTo>
                  <a:lnTo>
                    <a:pt x="655" y="431"/>
                  </a:lnTo>
                  <a:lnTo>
                    <a:pt x="655" y="431"/>
                  </a:lnTo>
                  <a:lnTo>
                    <a:pt x="689" y="367"/>
                  </a:lnTo>
                  <a:lnTo>
                    <a:pt x="689" y="367"/>
                  </a:lnTo>
                  <a:lnTo>
                    <a:pt x="720" y="304"/>
                  </a:lnTo>
                  <a:lnTo>
                    <a:pt x="720" y="304"/>
                  </a:lnTo>
                  <a:lnTo>
                    <a:pt x="723" y="293"/>
                  </a:lnTo>
                  <a:lnTo>
                    <a:pt x="723" y="280"/>
                  </a:lnTo>
                  <a:lnTo>
                    <a:pt x="724" y="265"/>
                  </a:lnTo>
                  <a:lnTo>
                    <a:pt x="723" y="256"/>
                  </a:lnTo>
                  <a:lnTo>
                    <a:pt x="723" y="256"/>
                  </a:lnTo>
                  <a:lnTo>
                    <a:pt x="723" y="252"/>
                  </a:lnTo>
                  <a:lnTo>
                    <a:pt x="724" y="247"/>
                  </a:lnTo>
                  <a:lnTo>
                    <a:pt x="730" y="236"/>
                  </a:lnTo>
                  <a:lnTo>
                    <a:pt x="738" y="224"/>
                  </a:lnTo>
                  <a:lnTo>
                    <a:pt x="745" y="215"/>
                  </a:lnTo>
                  <a:lnTo>
                    <a:pt x="745" y="215"/>
                  </a:lnTo>
                  <a:lnTo>
                    <a:pt x="763" y="193"/>
                  </a:lnTo>
                  <a:lnTo>
                    <a:pt x="779" y="175"/>
                  </a:lnTo>
                  <a:lnTo>
                    <a:pt x="779" y="175"/>
                  </a:lnTo>
                  <a:lnTo>
                    <a:pt x="789" y="162"/>
                  </a:lnTo>
                  <a:lnTo>
                    <a:pt x="803" y="141"/>
                  </a:lnTo>
                  <a:lnTo>
                    <a:pt x="803" y="141"/>
                  </a:lnTo>
                  <a:lnTo>
                    <a:pt x="804" y="135"/>
                  </a:lnTo>
                  <a:lnTo>
                    <a:pt x="806" y="130"/>
                  </a:lnTo>
                  <a:lnTo>
                    <a:pt x="804" y="122"/>
                  </a:lnTo>
                  <a:lnTo>
                    <a:pt x="800" y="113"/>
                  </a:lnTo>
                  <a:lnTo>
                    <a:pt x="797" y="107"/>
                  </a:lnTo>
                  <a:lnTo>
                    <a:pt x="797" y="107"/>
                  </a:lnTo>
                  <a:lnTo>
                    <a:pt x="789" y="98"/>
                  </a:lnTo>
                  <a:lnTo>
                    <a:pt x="776" y="86"/>
                  </a:lnTo>
                  <a:lnTo>
                    <a:pt x="754" y="65"/>
                  </a:lnTo>
                  <a:lnTo>
                    <a:pt x="754" y="65"/>
                  </a:lnTo>
                  <a:lnTo>
                    <a:pt x="748" y="61"/>
                  </a:lnTo>
                  <a:lnTo>
                    <a:pt x="739" y="58"/>
                  </a:lnTo>
                  <a:lnTo>
                    <a:pt x="730" y="56"/>
                  </a:lnTo>
                  <a:lnTo>
                    <a:pt x="721" y="55"/>
                  </a:lnTo>
                  <a:lnTo>
                    <a:pt x="721" y="55"/>
                  </a:lnTo>
                  <a:lnTo>
                    <a:pt x="718" y="56"/>
                  </a:lnTo>
                  <a:lnTo>
                    <a:pt x="712" y="58"/>
                  </a:lnTo>
                  <a:lnTo>
                    <a:pt x="702" y="65"/>
                  </a:lnTo>
                  <a:lnTo>
                    <a:pt x="693" y="73"/>
                  </a:lnTo>
                  <a:lnTo>
                    <a:pt x="687" y="79"/>
                  </a:lnTo>
                  <a:lnTo>
                    <a:pt x="687" y="79"/>
                  </a:lnTo>
                  <a:lnTo>
                    <a:pt x="643" y="130"/>
                  </a:lnTo>
                  <a:lnTo>
                    <a:pt x="643" y="130"/>
                  </a:lnTo>
                  <a:lnTo>
                    <a:pt x="635" y="136"/>
                  </a:lnTo>
                  <a:lnTo>
                    <a:pt x="623" y="145"/>
                  </a:lnTo>
                  <a:lnTo>
                    <a:pt x="604" y="157"/>
                  </a:lnTo>
                  <a:lnTo>
                    <a:pt x="604" y="157"/>
                  </a:lnTo>
                  <a:lnTo>
                    <a:pt x="584" y="164"/>
                  </a:lnTo>
                  <a:lnTo>
                    <a:pt x="569" y="170"/>
                  </a:lnTo>
                  <a:lnTo>
                    <a:pt x="560" y="173"/>
                  </a:lnTo>
                  <a:lnTo>
                    <a:pt x="560" y="173"/>
                  </a:lnTo>
                  <a:lnTo>
                    <a:pt x="555" y="178"/>
                  </a:lnTo>
                  <a:lnTo>
                    <a:pt x="549" y="182"/>
                  </a:lnTo>
                  <a:lnTo>
                    <a:pt x="545" y="190"/>
                  </a:lnTo>
                  <a:lnTo>
                    <a:pt x="544" y="196"/>
                  </a:lnTo>
                  <a:lnTo>
                    <a:pt x="544" y="196"/>
                  </a:lnTo>
                  <a:lnTo>
                    <a:pt x="542" y="197"/>
                  </a:lnTo>
                  <a:lnTo>
                    <a:pt x="541" y="200"/>
                  </a:lnTo>
                  <a:lnTo>
                    <a:pt x="535" y="203"/>
                  </a:lnTo>
                  <a:lnTo>
                    <a:pt x="529" y="204"/>
                  </a:lnTo>
                  <a:lnTo>
                    <a:pt x="523" y="206"/>
                  </a:lnTo>
                  <a:lnTo>
                    <a:pt x="523" y="206"/>
                  </a:lnTo>
                  <a:lnTo>
                    <a:pt x="521" y="209"/>
                  </a:lnTo>
                  <a:lnTo>
                    <a:pt x="523" y="213"/>
                  </a:lnTo>
                  <a:lnTo>
                    <a:pt x="527" y="221"/>
                  </a:lnTo>
                  <a:lnTo>
                    <a:pt x="527" y="221"/>
                  </a:lnTo>
                  <a:lnTo>
                    <a:pt x="530" y="222"/>
                  </a:lnTo>
                  <a:lnTo>
                    <a:pt x="535" y="225"/>
                  </a:lnTo>
                  <a:lnTo>
                    <a:pt x="539" y="227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1"/>
                  </a:lnTo>
                  <a:lnTo>
                    <a:pt x="542" y="233"/>
                  </a:lnTo>
                  <a:lnTo>
                    <a:pt x="539" y="237"/>
                  </a:lnTo>
                  <a:lnTo>
                    <a:pt x="527" y="246"/>
                  </a:lnTo>
                  <a:lnTo>
                    <a:pt x="527" y="246"/>
                  </a:lnTo>
                  <a:lnTo>
                    <a:pt x="523" y="252"/>
                  </a:lnTo>
                  <a:lnTo>
                    <a:pt x="518" y="258"/>
                  </a:lnTo>
                  <a:lnTo>
                    <a:pt x="514" y="271"/>
                  </a:lnTo>
                  <a:lnTo>
                    <a:pt x="514" y="271"/>
                  </a:lnTo>
                  <a:lnTo>
                    <a:pt x="504" y="283"/>
                  </a:lnTo>
                  <a:lnTo>
                    <a:pt x="496" y="290"/>
                  </a:lnTo>
                  <a:lnTo>
                    <a:pt x="489" y="295"/>
                  </a:lnTo>
                  <a:lnTo>
                    <a:pt x="489" y="295"/>
                  </a:lnTo>
                  <a:lnTo>
                    <a:pt x="481" y="301"/>
                  </a:lnTo>
                  <a:lnTo>
                    <a:pt x="474" y="310"/>
                  </a:lnTo>
                  <a:lnTo>
                    <a:pt x="469" y="317"/>
                  </a:lnTo>
                  <a:lnTo>
                    <a:pt x="465" y="324"/>
                  </a:lnTo>
                  <a:lnTo>
                    <a:pt x="465" y="324"/>
                  </a:lnTo>
                  <a:lnTo>
                    <a:pt x="465" y="327"/>
                  </a:lnTo>
                  <a:lnTo>
                    <a:pt x="468" y="330"/>
                  </a:lnTo>
                  <a:lnTo>
                    <a:pt x="478" y="335"/>
                  </a:lnTo>
                  <a:lnTo>
                    <a:pt x="478" y="335"/>
                  </a:lnTo>
                  <a:lnTo>
                    <a:pt x="484" y="339"/>
                  </a:lnTo>
                  <a:lnTo>
                    <a:pt x="489" y="345"/>
                  </a:lnTo>
                  <a:lnTo>
                    <a:pt x="493" y="351"/>
                  </a:lnTo>
                  <a:lnTo>
                    <a:pt x="495" y="357"/>
                  </a:lnTo>
                  <a:lnTo>
                    <a:pt x="495" y="357"/>
                  </a:lnTo>
                  <a:lnTo>
                    <a:pt x="493" y="364"/>
                  </a:lnTo>
                  <a:lnTo>
                    <a:pt x="490" y="375"/>
                  </a:lnTo>
                  <a:lnTo>
                    <a:pt x="486" y="390"/>
                  </a:lnTo>
                  <a:lnTo>
                    <a:pt x="486" y="390"/>
                  </a:lnTo>
                  <a:lnTo>
                    <a:pt x="481" y="403"/>
                  </a:lnTo>
                  <a:lnTo>
                    <a:pt x="480" y="412"/>
                  </a:lnTo>
                  <a:lnTo>
                    <a:pt x="481" y="418"/>
                  </a:lnTo>
                  <a:lnTo>
                    <a:pt x="481" y="418"/>
                  </a:lnTo>
                  <a:lnTo>
                    <a:pt x="489" y="431"/>
                  </a:lnTo>
                  <a:lnTo>
                    <a:pt x="493" y="440"/>
                  </a:lnTo>
                  <a:lnTo>
                    <a:pt x="496" y="446"/>
                  </a:lnTo>
                  <a:lnTo>
                    <a:pt x="496" y="446"/>
                  </a:lnTo>
                  <a:lnTo>
                    <a:pt x="495" y="452"/>
                  </a:lnTo>
                  <a:lnTo>
                    <a:pt x="493" y="458"/>
                  </a:lnTo>
                  <a:lnTo>
                    <a:pt x="489" y="464"/>
                  </a:lnTo>
                  <a:lnTo>
                    <a:pt x="484" y="468"/>
                  </a:lnTo>
                  <a:lnTo>
                    <a:pt x="484" y="468"/>
                  </a:lnTo>
                  <a:lnTo>
                    <a:pt x="480" y="471"/>
                  </a:lnTo>
                  <a:lnTo>
                    <a:pt x="475" y="477"/>
                  </a:lnTo>
                  <a:lnTo>
                    <a:pt x="467" y="486"/>
                  </a:lnTo>
                  <a:lnTo>
                    <a:pt x="467" y="486"/>
                  </a:lnTo>
                  <a:lnTo>
                    <a:pt x="455" y="495"/>
                  </a:lnTo>
                  <a:lnTo>
                    <a:pt x="447" y="499"/>
                  </a:lnTo>
                  <a:lnTo>
                    <a:pt x="438" y="502"/>
                  </a:lnTo>
                  <a:lnTo>
                    <a:pt x="438" y="502"/>
                  </a:lnTo>
                  <a:lnTo>
                    <a:pt x="435" y="502"/>
                  </a:lnTo>
                  <a:lnTo>
                    <a:pt x="432" y="502"/>
                  </a:lnTo>
                  <a:lnTo>
                    <a:pt x="430" y="499"/>
                  </a:lnTo>
                  <a:lnTo>
                    <a:pt x="428" y="495"/>
                  </a:lnTo>
                  <a:lnTo>
                    <a:pt x="430" y="490"/>
                  </a:lnTo>
                  <a:lnTo>
                    <a:pt x="430" y="490"/>
                  </a:lnTo>
                  <a:lnTo>
                    <a:pt x="432" y="481"/>
                  </a:lnTo>
                  <a:lnTo>
                    <a:pt x="432" y="477"/>
                  </a:lnTo>
                  <a:lnTo>
                    <a:pt x="431" y="471"/>
                  </a:lnTo>
                  <a:lnTo>
                    <a:pt x="431" y="471"/>
                  </a:lnTo>
                  <a:lnTo>
                    <a:pt x="425" y="452"/>
                  </a:lnTo>
                  <a:lnTo>
                    <a:pt x="422" y="441"/>
                  </a:lnTo>
                  <a:lnTo>
                    <a:pt x="421" y="434"/>
                  </a:lnTo>
                  <a:lnTo>
                    <a:pt x="421" y="434"/>
                  </a:lnTo>
                  <a:lnTo>
                    <a:pt x="421" y="428"/>
                  </a:lnTo>
                  <a:lnTo>
                    <a:pt x="419" y="419"/>
                  </a:lnTo>
                  <a:lnTo>
                    <a:pt x="418" y="403"/>
                  </a:lnTo>
                  <a:lnTo>
                    <a:pt x="418" y="403"/>
                  </a:lnTo>
                  <a:lnTo>
                    <a:pt x="415" y="396"/>
                  </a:lnTo>
                  <a:lnTo>
                    <a:pt x="409" y="387"/>
                  </a:lnTo>
                  <a:lnTo>
                    <a:pt x="395" y="367"/>
                  </a:lnTo>
                  <a:lnTo>
                    <a:pt x="395" y="367"/>
                  </a:lnTo>
                  <a:lnTo>
                    <a:pt x="391" y="360"/>
                  </a:lnTo>
                  <a:lnTo>
                    <a:pt x="388" y="353"/>
                  </a:lnTo>
                  <a:lnTo>
                    <a:pt x="384" y="342"/>
                  </a:lnTo>
                  <a:lnTo>
                    <a:pt x="384" y="342"/>
                  </a:lnTo>
                  <a:lnTo>
                    <a:pt x="379" y="335"/>
                  </a:lnTo>
                  <a:lnTo>
                    <a:pt x="379" y="335"/>
                  </a:lnTo>
                  <a:lnTo>
                    <a:pt x="370" y="332"/>
                  </a:lnTo>
                  <a:lnTo>
                    <a:pt x="370" y="332"/>
                  </a:lnTo>
                  <a:lnTo>
                    <a:pt x="364" y="332"/>
                  </a:lnTo>
                  <a:lnTo>
                    <a:pt x="355" y="335"/>
                  </a:lnTo>
                  <a:lnTo>
                    <a:pt x="345" y="338"/>
                  </a:lnTo>
                  <a:lnTo>
                    <a:pt x="336" y="344"/>
                  </a:lnTo>
                  <a:lnTo>
                    <a:pt x="336" y="344"/>
                  </a:lnTo>
                  <a:lnTo>
                    <a:pt x="333" y="345"/>
                  </a:lnTo>
                  <a:lnTo>
                    <a:pt x="332" y="348"/>
                  </a:lnTo>
                  <a:lnTo>
                    <a:pt x="332" y="351"/>
                  </a:lnTo>
                  <a:lnTo>
                    <a:pt x="333" y="354"/>
                  </a:lnTo>
                  <a:lnTo>
                    <a:pt x="338" y="359"/>
                  </a:lnTo>
                  <a:lnTo>
                    <a:pt x="342" y="364"/>
                  </a:lnTo>
                  <a:lnTo>
                    <a:pt x="342" y="364"/>
                  </a:lnTo>
                  <a:lnTo>
                    <a:pt x="347" y="369"/>
                  </a:lnTo>
                  <a:lnTo>
                    <a:pt x="348" y="373"/>
                  </a:lnTo>
                  <a:lnTo>
                    <a:pt x="350" y="378"/>
                  </a:lnTo>
                  <a:lnTo>
                    <a:pt x="350" y="381"/>
                  </a:lnTo>
                  <a:lnTo>
                    <a:pt x="350" y="381"/>
                  </a:lnTo>
                  <a:lnTo>
                    <a:pt x="350" y="391"/>
                  </a:lnTo>
                  <a:lnTo>
                    <a:pt x="350" y="396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5" y="403"/>
                  </a:lnTo>
                  <a:lnTo>
                    <a:pt x="354" y="406"/>
                  </a:lnTo>
                  <a:lnTo>
                    <a:pt x="351" y="410"/>
                  </a:lnTo>
                  <a:lnTo>
                    <a:pt x="351" y="410"/>
                  </a:lnTo>
                  <a:lnTo>
                    <a:pt x="348" y="413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29" y="422"/>
                  </a:lnTo>
                  <a:lnTo>
                    <a:pt x="320" y="430"/>
                  </a:lnTo>
                  <a:lnTo>
                    <a:pt x="317" y="433"/>
                  </a:lnTo>
                  <a:lnTo>
                    <a:pt x="315" y="436"/>
                  </a:lnTo>
                  <a:lnTo>
                    <a:pt x="315" y="436"/>
                  </a:lnTo>
                  <a:lnTo>
                    <a:pt x="314" y="440"/>
                  </a:lnTo>
                  <a:lnTo>
                    <a:pt x="310" y="446"/>
                  </a:lnTo>
                  <a:lnTo>
                    <a:pt x="307" y="452"/>
                  </a:lnTo>
                  <a:lnTo>
                    <a:pt x="307" y="455"/>
                  </a:lnTo>
                  <a:lnTo>
                    <a:pt x="308" y="456"/>
                  </a:lnTo>
                  <a:lnTo>
                    <a:pt x="308" y="456"/>
                  </a:lnTo>
                  <a:lnTo>
                    <a:pt x="313" y="458"/>
                  </a:lnTo>
                  <a:lnTo>
                    <a:pt x="317" y="456"/>
                  </a:lnTo>
                  <a:lnTo>
                    <a:pt x="324" y="455"/>
                  </a:lnTo>
                  <a:lnTo>
                    <a:pt x="324" y="455"/>
                  </a:lnTo>
                  <a:lnTo>
                    <a:pt x="327" y="455"/>
                  </a:lnTo>
                  <a:lnTo>
                    <a:pt x="329" y="456"/>
                  </a:lnTo>
                  <a:lnTo>
                    <a:pt x="329" y="459"/>
                  </a:lnTo>
                  <a:lnTo>
                    <a:pt x="327" y="468"/>
                  </a:lnTo>
                  <a:lnTo>
                    <a:pt x="327" y="468"/>
                  </a:lnTo>
                  <a:lnTo>
                    <a:pt x="326" y="477"/>
                  </a:lnTo>
                  <a:lnTo>
                    <a:pt x="326" y="483"/>
                  </a:lnTo>
                  <a:lnTo>
                    <a:pt x="326" y="489"/>
                  </a:lnTo>
                  <a:lnTo>
                    <a:pt x="324" y="493"/>
                  </a:lnTo>
                  <a:lnTo>
                    <a:pt x="324" y="493"/>
                  </a:lnTo>
                  <a:lnTo>
                    <a:pt x="323" y="498"/>
                  </a:lnTo>
                  <a:lnTo>
                    <a:pt x="320" y="499"/>
                  </a:lnTo>
                  <a:lnTo>
                    <a:pt x="317" y="499"/>
                  </a:lnTo>
                  <a:lnTo>
                    <a:pt x="314" y="496"/>
                  </a:lnTo>
                  <a:lnTo>
                    <a:pt x="314" y="496"/>
                  </a:lnTo>
                  <a:lnTo>
                    <a:pt x="313" y="492"/>
                  </a:lnTo>
                  <a:lnTo>
                    <a:pt x="313" y="487"/>
                  </a:lnTo>
                  <a:lnTo>
                    <a:pt x="311" y="484"/>
                  </a:lnTo>
                  <a:lnTo>
                    <a:pt x="307" y="487"/>
                  </a:lnTo>
                  <a:lnTo>
                    <a:pt x="307" y="487"/>
                  </a:lnTo>
                  <a:lnTo>
                    <a:pt x="301" y="492"/>
                  </a:lnTo>
                  <a:lnTo>
                    <a:pt x="296" y="496"/>
                  </a:lnTo>
                  <a:lnTo>
                    <a:pt x="295" y="501"/>
                  </a:lnTo>
                  <a:lnTo>
                    <a:pt x="295" y="502"/>
                  </a:lnTo>
                  <a:lnTo>
                    <a:pt x="295" y="504"/>
                  </a:lnTo>
                  <a:lnTo>
                    <a:pt x="295" y="504"/>
                  </a:lnTo>
                  <a:lnTo>
                    <a:pt x="301" y="508"/>
                  </a:lnTo>
                  <a:lnTo>
                    <a:pt x="302" y="510"/>
                  </a:lnTo>
                  <a:lnTo>
                    <a:pt x="304" y="511"/>
                  </a:lnTo>
                  <a:lnTo>
                    <a:pt x="304" y="511"/>
                  </a:lnTo>
                  <a:lnTo>
                    <a:pt x="302" y="514"/>
                  </a:lnTo>
                  <a:lnTo>
                    <a:pt x="299" y="518"/>
                  </a:lnTo>
                  <a:lnTo>
                    <a:pt x="286" y="529"/>
                  </a:lnTo>
                  <a:lnTo>
                    <a:pt x="286" y="529"/>
                  </a:lnTo>
                  <a:lnTo>
                    <a:pt x="280" y="532"/>
                  </a:lnTo>
                  <a:lnTo>
                    <a:pt x="274" y="533"/>
                  </a:lnTo>
                  <a:lnTo>
                    <a:pt x="268" y="535"/>
                  </a:lnTo>
                  <a:lnTo>
                    <a:pt x="261" y="536"/>
                  </a:lnTo>
                  <a:lnTo>
                    <a:pt x="261" y="536"/>
                  </a:lnTo>
                  <a:lnTo>
                    <a:pt x="253" y="541"/>
                  </a:lnTo>
                  <a:lnTo>
                    <a:pt x="244" y="547"/>
                  </a:lnTo>
                  <a:lnTo>
                    <a:pt x="236" y="551"/>
                  </a:lnTo>
                  <a:lnTo>
                    <a:pt x="231" y="553"/>
                  </a:lnTo>
                  <a:lnTo>
                    <a:pt x="227" y="554"/>
                  </a:lnTo>
                  <a:lnTo>
                    <a:pt x="227" y="554"/>
                  </a:lnTo>
                  <a:lnTo>
                    <a:pt x="197" y="554"/>
                  </a:lnTo>
                  <a:lnTo>
                    <a:pt x="173" y="554"/>
                  </a:lnTo>
                  <a:lnTo>
                    <a:pt x="173" y="554"/>
                  </a:lnTo>
                  <a:lnTo>
                    <a:pt x="169" y="557"/>
                  </a:lnTo>
                  <a:lnTo>
                    <a:pt x="164" y="561"/>
                  </a:lnTo>
                  <a:lnTo>
                    <a:pt x="160" y="564"/>
                  </a:lnTo>
                  <a:lnTo>
                    <a:pt x="156" y="566"/>
                  </a:lnTo>
                  <a:lnTo>
                    <a:pt x="156" y="566"/>
                  </a:lnTo>
                  <a:lnTo>
                    <a:pt x="145" y="564"/>
                  </a:lnTo>
                  <a:lnTo>
                    <a:pt x="141" y="563"/>
                  </a:lnTo>
                  <a:lnTo>
                    <a:pt x="138" y="564"/>
                  </a:lnTo>
                  <a:lnTo>
                    <a:pt x="138" y="564"/>
                  </a:lnTo>
                  <a:lnTo>
                    <a:pt x="133" y="572"/>
                  </a:lnTo>
                  <a:lnTo>
                    <a:pt x="129" y="573"/>
                  </a:lnTo>
                  <a:lnTo>
                    <a:pt x="124" y="575"/>
                  </a:lnTo>
                  <a:lnTo>
                    <a:pt x="124" y="575"/>
                  </a:lnTo>
                  <a:lnTo>
                    <a:pt x="119" y="575"/>
                  </a:lnTo>
                  <a:lnTo>
                    <a:pt x="113" y="576"/>
                  </a:lnTo>
                  <a:lnTo>
                    <a:pt x="108" y="579"/>
                  </a:lnTo>
                  <a:lnTo>
                    <a:pt x="102" y="582"/>
                  </a:lnTo>
                  <a:lnTo>
                    <a:pt x="102" y="582"/>
                  </a:lnTo>
                  <a:lnTo>
                    <a:pt x="101" y="584"/>
                  </a:lnTo>
                  <a:lnTo>
                    <a:pt x="96" y="585"/>
                  </a:lnTo>
                  <a:lnTo>
                    <a:pt x="86" y="585"/>
                  </a:lnTo>
                  <a:lnTo>
                    <a:pt x="74" y="584"/>
                  </a:lnTo>
                  <a:lnTo>
                    <a:pt x="62" y="585"/>
                  </a:lnTo>
                  <a:lnTo>
                    <a:pt x="62" y="585"/>
                  </a:lnTo>
                  <a:lnTo>
                    <a:pt x="46" y="588"/>
                  </a:lnTo>
                  <a:lnTo>
                    <a:pt x="46" y="588"/>
                  </a:lnTo>
                  <a:lnTo>
                    <a:pt x="43" y="603"/>
                  </a:lnTo>
                  <a:lnTo>
                    <a:pt x="43" y="616"/>
                  </a:lnTo>
                  <a:lnTo>
                    <a:pt x="43" y="622"/>
                  </a:lnTo>
                  <a:lnTo>
                    <a:pt x="45" y="628"/>
                  </a:lnTo>
                  <a:lnTo>
                    <a:pt x="45" y="628"/>
                  </a:lnTo>
                  <a:lnTo>
                    <a:pt x="49" y="641"/>
                  </a:lnTo>
                  <a:lnTo>
                    <a:pt x="49" y="644"/>
                  </a:lnTo>
                  <a:lnTo>
                    <a:pt x="50" y="649"/>
                  </a:lnTo>
                  <a:lnTo>
                    <a:pt x="50" y="649"/>
                  </a:lnTo>
                  <a:lnTo>
                    <a:pt x="49" y="652"/>
                  </a:lnTo>
                  <a:lnTo>
                    <a:pt x="46" y="655"/>
                  </a:lnTo>
                  <a:lnTo>
                    <a:pt x="39" y="664"/>
                  </a:lnTo>
                  <a:lnTo>
                    <a:pt x="30" y="671"/>
                  </a:lnTo>
                  <a:lnTo>
                    <a:pt x="27" y="675"/>
                  </a:lnTo>
                  <a:lnTo>
                    <a:pt x="25" y="678"/>
                  </a:lnTo>
                  <a:lnTo>
                    <a:pt x="25" y="678"/>
                  </a:lnTo>
                  <a:lnTo>
                    <a:pt x="27" y="689"/>
                  </a:lnTo>
                  <a:lnTo>
                    <a:pt x="27" y="692"/>
                  </a:lnTo>
                  <a:lnTo>
                    <a:pt x="25" y="695"/>
                  </a:lnTo>
                  <a:lnTo>
                    <a:pt x="24" y="696"/>
                  </a:lnTo>
                  <a:lnTo>
                    <a:pt x="19" y="698"/>
                  </a:lnTo>
                  <a:lnTo>
                    <a:pt x="19" y="698"/>
                  </a:lnTo>
                  <a:lnTo>
                    <a:pt x="5" y="701"/>
                  </a:lnTo>
                  <a:lnTo>
                    <a:pt x="2" y="702"/>
                  </a:lnTo>
                  <a:lnTo>
                    <a:pt x="0" y="704"/>
                  </a:lnTo>
                  <a:lnTo>
                    <a:pt x="0" y="707"/>
                  </a:lnTo>
                  <a:lnTo>
                    <a:pt x="2" y="710"/>
                  </a:lnTo>
                  <a:lnTo>
                    <a:pt x="2" y="710"/>
                  </a:lnTo>
                  <a:lnTo>
                    <a:pt x="6" y="717"/>
                  </a:lnTo>
                  <a:lnTo>
                    <a:pt x="12" y="720"/>
                  </a:lnTo>
                  <a:lnTo>
                    <a:pt x="16" y="723"/>
                  </a:lnTo>
                  <a:lnTo>
                    <a:pt x="19" y="727"/>
                  </a:lnTo>
                  <a:lnTo>
                    <a:pt x="19" y="727"/>
                  </a:lnTo>
                  <a:lnTo>
                    <a:pt x="24" y="733"/>
                  </a:lnTo>
                  <a:lnTo>
                    <a:pt x="24" y="741"/>
                  </a:lnTo>
                  <a:lnTo>
                    <a:pt x="24" y="749"/>
                  </a:lnTo>
                  <a:lnTo>
                    <a:pt x="22" y="755"/>
                  </a:lnTo>
                  <a:lnTo>
                    <a:pt x="22" y="755"/>
                  </a:lnTo>
                  <a:lnTo>
                    <a:pt x="22" y="761"/>
                  </a:lnTo>
                  <a:lnTo>
                    <a:pt x="24" y="764"/>
                  </a:lnTo>
                  <a:lnTo>
                    <a:pt x="28" y="766"/>
                  </a:lnTo>
                  <a:lnTo>
                    <a:pt x="36" y="766"/>
                  </a:lnTo>
                  <a:lnTo>
                    <a:pt x="36" y="766"/>
                  </a:lnTo>
                  <a:lnTo>
                    <a:pt x="52" y="766"/>
                  </a:lnTo>
                  <a:lnTo>
                    <a:pt x="59" y="767"/>
                  </a:lnTo>
                  <a:lnTo>
                    <a:pt x="65" y="770"/>
                  </a:lnTo>
                  <a:lnTo>
                    <a:pt x="65" y="770"/>
                  </a:lnTo>
                  <a:lnTo>
                    <a:pt x="76" y="776"/>
                  </a:lnTo>
                  <a:lnTo>
                    <a:pt x="82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92" y="776"/>
                  </a:lnTo>
                  <a:lnTo>
                    <a:pt x="96" y="773"/>
                  </a:lnTo>
                  <a:lnTo>
                    <a:pt x="101" y="772"/>
                  </a:lnTo>
                  <a:lnTo>
                    <a:pt x="105" y="770"/>
                  </a:lnTo>
                  <a:lnTo>
                    <a:pt x="105" y="770"/>
                  </a:lnTo>
                  <a:lnTo>
                    <a:pt x="113" y="772"/>
                  </a:lnTo>
                  <a:lnTo>
                    <a:pt x="120" y="776"/>
                  </a:lnTo>
                  <a:lnTo>
                    <a:pt x="127" y="782"/>
                  </a:lnTo>
                  <a:lnTo>
                    <a:pt x="133" y="787"/>
                  </a:lnTo>
                  <a:lnTo>
                    <a:pt x="133" y="787"/>
                  </a:lnTo>
                  <a:lnTo>
                    <a:pt x="138" y="789"/>
                  </a:lnTo>
                  <a:lnTo>
                    <a:pt x="142" y="791"/>
                  </a:lnTo>
                  <a:lnTo>
                    <a:pt x="145" y="792"/>
                  </a:lnTo>
                  <a:lnTo>
                    <a:pt x="148" y="795"/>
                  </a:lnTo>
                  <a:lnTo>
                    <a:pt x="148" y="795"/>
                  </a:lnTo>
                  <a:lnTo>
                    <a:pt x="151" y="801"/>
                  </a:lnTo>
                  <a:lnTo>
                    <a:pt x="153" y="801"/>
                  </a:lnTo>
                  <a:lnTo>
                    <a:pt x="156" y="801"/>
                  </a:lnTo>
                  <a:lnTo>
                    <a:pt x="156" y="801"/>
                  </a:lnTo>
                  <a:lnTo>
                    <a:pt x="160" y="803"/>
                  </a:lnTo>
                  <a:lnTo>
                    <a:pt x="164" y="806"/>
                  </a:lnTo>
                  <a:lnTo>
                    <a:pt x="166" y="809"/>
                  </a:lnTo>
                  <a:lnTo>
                    <a:pt x="167" y="810"/>
                  </a:lnTo>
                  <a:lnTo>
                    <a:pt x="167" y="813"/>
                  </a:lnTo>
                  <a:lnTo>
                    <a:pt x="166" y="818"/>
                  </a:lnTo>
                  <a:lnTo>
                    <a:pt x="166" y="818"/>
                  </a:lnTo>
                  <a:lnTo>
                    <a:pt x="163" y="821"/>
                  </a:lnTo>
                  <a:lnTo>
                    <a:pt x="160" y="822"/>
                  </a:lnTo>
                  <a:lnTo>
                    <a:pt x="154" y="825"/>
                  </a:lnTo>
                  <a:lnTo>
                    <a:pt x="150" y="829"/>
                  </a:lnTo>
                  <a:lnTo>
                    <a:pt x="148" y="831"/>
                  </a:lnTo>
                  <a:lnTo>
                    <a:pt x="147" y="834"/>
                  </a:lnTo>
                  <a:lnTo>
                    <a:pt x="147" y="834"/>
                  </a:lnTo>
                  <a:lnTo>
                    <a:pt x="147" y="841"/>
                  </a:lnTo>
                  <a:lnTo>
                    <a:pt x="145" y="849"/>
                  </a:lnTo>
                  <a:lnTo>
                    <a:pt x="145" y="853"/>
                  </a:lnTo>
                  <a:lnTo>
                    <a:pt x="145" y="853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56" y="852"/>
                  </a:lnTo>
                  <a:lnTo>
                    <a:pt x="159" y="853"/>
                  </a:lnTo>
                  <a:lnTo>
                    <a:pt x="160" y="855"/>
                  </a:lnTo>
                  <a:lnTo>
                    <a:pt x="160" y="858"/>
                  </a:lnTo>
                  <a:lnTo>
                    <a:pt x="160" y="858"/>
                  </a:lnTo>
                  <a:lnTo>
                    <a:pt x="161" y="865"/>
                  </a:lnTo>
                  <a:lnTo>
                    <a:pt x="161" y="871"/>
                  </a:lnTo>
                  <a:lnTo>
                    <a:pt x="163" y="875"/>
                  </a:lnTo>
                  <a:lnTo>
                    <a:pt x="164" y="875"/>
                  </a:lnTo>
                  <a:lnTo>
                    <a:pt x="167" y="877"/>
                  </a:lnTo>
                  <a:lnTo>
                    <a:pt x="167" y="877"/>
                  </a:lnTo>
                  <a:lnTo>
                    <a:pt x="185" y="878"/>
                  </a:lnTo>
                  <a:lnTo>
                    <a:pt x="194" y="878"/>
                  </a:lnTo>
                  <a:lnTo>
                    <a:pt x="200" y="878"/>
                  </a:lnTo>
                  <a:lnTo>
                    <a:pt x="200" y="878"/>
                  </a:lnTo>
                  <a:lnTo>
                    <a:pt x="206" y="875"/>
                  </a:lnTo>
                  <a:lnTo>
                    <a:pt x="212" y="872"/>
                  </a:lnTo>
                  <a:lnTo>
                    <a:pt x="219" y="871"/>
                  </a:lnTo>
                  <a:lnTo>
                    <a:pt x="222" y="871"/>
                  </a:lnTo>
                  <a:lnTo>
                    <a:pt x="225" y="872"/>
                  </a:lnTo>
                  <a:lnTo>
                    <a:pt x="225" y="872"/>
                  </a:lnTo>
                  <a:lnTo>
                    <a:pt x="237" y="880"/>
                  </a:lnTo>
                  <a:lnTo>
                    <a:pt x="244" y="883"/>
                  </a:lnTo>
                  <a:lnTo>
                    <a:pt x="244" y="883"/>
                  </a:lnTo>
                  <a:lnTo>
                    <a:pt x="246" y="883"/>
                  </a:lnTo>
                  <a:lnTo>
                    <a:pt x="247" y="881"/>
                  </a:lnTo>
                  <a:lnTo>
                    <a:pt x="249" y="878"/>
                  </a:lnTo>
                  <a:lnTo>
                    <a:pt x="249" y="875"/>
                  </a:lnTo>
                  <a:lnTo>
                    <a:pt x="249" y="875"/>
                  </a:lnTo>
                  <a:lnTo>
                    <a:pt x="249" y="872"/>
                  </a:lnTo>
                  <a:lnTo>
                    <a:pt x="253" y="869"/>
                  </a:lnTo>
                  <a:lnTo>
                    <a:pt x="258" y="868"/>
                  </a:lnTo>
                  <a:lnTo>
                    <a:pt x="261" y="868"/>
                  </a:lnTo>
                  <a:lnTo>
                    <a:pt x="261" y="868"/>
                  </a:lnTo>
                  <a:lnTo>
                    <a:pt x="264" y="869"/>
                  </a:lnTo>
                  <a:lnTo>
                    <a:pt x="265" y="872"/>
                  </a:lnTo>
                  <a:lnTo>
                    <a:pt x="270" y="883"/>
                  </a:lnTo>
                  <a:lnTo>
                    <a:pt x="270" y="883"/>
                  </a:lnTo>
                  <a:lnTo>
                    <a:pt x="271" y="889"/>
                  </a:lnTo>
                  <a:lnTo>
                    <a:pt x="274" y="892"/>
                  </a:lnTo>
                  <a:lnTo>
                    <a:pt x="278" y="893"/>
                  </a:lnTo>
                  <a:lnTo>
                    <a:pt x="283" y="898"/>
                  </a:lnTo>
                  <a:lnTo>
                    <a:pt x="283" y="898"/>
                  </a:lnTo>
                  <a:lnTo>
                    <a:pt x="287" y="902"/>
                  </a:lnTo>
                  <a:lnTo>
                    <a:pt x="295" y="905"/>
                  </a:lnTo>
                  <a:lnTo>
                    <a:pt x="304" y="906"/>
                  </a:lnTo>
                  <a:lnTo>
                    <a:pt x="304" y="906"/>
                  </a:lnTo>
                  <a:lnTo>
                    <a:pt x="307" y="909"/>
                  </a:lnTo>
                  <a:lnTo>
                    <a:pt x="308" y="914"/>
                  </a:lnTo>
                  <a:lnTo>
                    <a:pt x="310" y="921"/>
                  </a:lnTo>
                  <a:lnTo>
                    <a:pt x="310" y="921"/>
                  </a:lnTo>
                  <a:lnTo>
                    <a:pt x="313" y="923"/>
                  </a:lnTo>
                  <a:lnTo>
                    <a:pt x="315" y="926"/>
                  </a:lnTo>
                  <a:lnTo>
                    <a:pt x="315" y="930"/>
                  </a:lnTo>
                  <a:lnTo>
                    <a:pt x="315" y="930"/>
                  </a:lnTo>
                  <a:lnTo>
                    <a:pt x="315" y="933"/>
                  </a:lnTo>
                  <a:lnTo>
                    <a:pt x="313" y="936"/>
                  </a:lnTo>
                  <a:lnTo>
                    <a:pt x="308" y="941"/>
                  </a:lnTo>
                  <a:lnTo>
                    <a:pt x="302" y="945"/>
                  </a:lnTo>
                  <a:lnTo>
                    <a:pt x="301" y="948"/>
                  </a:lnTo>
                  <a:lnTo>
                    <a:pt x="299" y="952"/>
                  </a:lnTo>
                  <a:lnTo>
                    <a:pt x="299" y="952"/>
                  </a:lnTo>
                  <a:lnTo>
                    <a:pt x="301" y="976"/>
                  </a:lnTo>
                  <a:lnTo>
                    <a:pt x="302" y="989"/>
                  </a:lnTo>
                  <a:lnTo>
                    <a:pt x="304" y="994"/>
                  </a:lnTo>
                  <a:lnTo>
                    <a:pt x="305" y="997"/>
                  </a:lnTo>
                  <a:lnTo>
                    <a:pt x="305" y="997"/>
                  </a:lnTo>
                  <a:lnTo>
                    <a:pt x="311" y="1000"/>
                  </a:lnTo>
                  <a:lnTo>
                    <a:pt x="315" y="1003"/>
                  </a:lnTo>
                  <a:lnTo>
                    <a:pt x="320" y="1006"/>
                  </a:lnTo>
                  <a:lnTo>
                    <a:pt x="321" y="1007"/>
                  </a:lnTo>
                  <a:lnTo>
                    <a:pt x="321" y="1009"/>
                  </a:lnTo>
                  <a:lnTo>
                    <a:pt x="321" y="1009"/>
                  </a:lnTo>
                  <a:lnTo>
                    <a:pt x="321" y="1016"/>
                  </a:lnTo>
                  <a:lnTo>
                    <a:pt x="318" y="1023"/>
                  </a:lnTo>
                  <a:lnTo>
                    <a:pt x="315" y="1032"/>
                  </a:lnTo>
                  <a:lnTo>
                    <a:pt x="313" y="1040"/>
                  </a:lnTo>
                  <a:lnTo>
                    <a:pt x="313" y="1040"/>
                  </a:lnTo>
                  <a:lnTo>
                    <a:pt x="313" y="1043"/>
                  </a:lnTo>
                  <a:lnTo>
                    <a:pt x="314" y="1046"/>
                  </a:lnTo>
                  <a:lnTo>
                    <a:pt x="318" y="1050"/>
                  </a:lnTo>
                  <a:lnTo>
                    <a:pt x="326" y="1055"/>
                  </a:lnTo>
                  <a:lnTo>
                    <a:pt x="332" y="1056"/>
                  </a:lnTo>
                  <a:lnTo>
                    <a:pt x="332" y="1056"/>
                  </a:lnTo>
                  <a:lnTo>
                    <a:pt x="347" y="1061"/>
                  </a:lnTo>
                  <a:lnTo>
                    <a:pt x="363" y="1062"/>
                  </a:lnTo>
                  <a:lnTo>
                    <a:pt x="363" y="1062"/>
                  </a:lnTo>
                  <a:lnTo>
                    <a:pt x="382" y="1061"/>
                  </a:lnTo>
                  <a:lnTo>
                    <a:pt x="382" y="1061"/>
                  </a:lnTo>
                  <a:lnTo>
                    <a:pt x="382" y="1065"/>
                  </a:lnTo>
                  <a:lnTo>
                    <a:pt x="384" y="1075"/>
                  </a:lnTo>
                  <a:lnTo>
                    <a:pt x="388" y="1086"/>
                  </a:lnTo>
                  <a:lnTo>
                    <a:pt x="391" y="1092"/>
                  </a:lnTo>
                  <a:lnTo>
                    <a:pt x="395" y="1095"/>
                  </a:lnTo>
                  <a:lnTo>
                    <a:pt x="395" y="1095"/>
                  </a:lnTo>
                  <a:lnTo>
                    <a:pt x="406" y="1100"/>
                  </a:lnTo>
                  <a:lnTo>
                    <a:pt x="415" y="1105"/>
                  </a:lnTo>
                  <a:lnTo>
                    <a:pt x="424" y="1111"/>
                  </a:lnTo>
                  <a:lnTo>
                    <a:pt x="430" y="1117"/>
                  </a:lnTo>
                  <a:lnTo>
                    <a:pt x="430" y="1117"/>
                  </a:lnTo>
                  <a:lnTo>
                    <a:pt x="434" y="1124"/>
                  </a:lnTo>
                  <a:lnTo>
                    <a:pt x="438" y="1132"/>
                  </a:lnTo>
                  <a:lnTo>
                    <a:pt x="441" y="1133"/>
                  </a:lnTo>
                  <a:lnTo>
                    <a:pt x="446" y="1136"/>
                  </a:lnTo>
                  <a:lnTo>
                    <a:pt x="450" y="1138"/>
                  </a:lnTo>
                  <a:lnTo>
                    <a:pt x="458" y="1138"/>
                  </a:lnTo>
                  <a:lnTo>
                    <a:pt x="458" y="1138"/>
                  </a:lnTo>
                  <a:lnTo>
                    <a:pt x="471" y="1139"/>
                  </a:lnTo>
                  <a:lnTo>
                    <a:pt x="483" y="1139"/>
                  </a:lnTo>
                  <a:lnTo>
                    <a:pt x="492" y="1142"/>
                  </a:lnTo>
                  <a:lnTo>
                    <a:pt x="495" y="1143"/>
                  </a:lnTo>
                  <a:lnTo>
                    <a:pt x="498" y="1146"/>
                  </a:lnTo>
                  <a:lnTo>
                    <a:pt x="498" y="1146"/>
                  </a:lnTo>
                  <a:lnTo>
                    <a:pt x="511" y="1167"/>
                  </a:lnTo>
                  <a:lnTo>
                    <a:pt x="511" y="1167"/>
                  </a:lnTo>
                  <a:lnTo>
                    <a:pt x="515" y="1170"/>
                  </a:lnTo>
                  <a:lnTo>
                    <a:pt x="520" y="1172"/>
                  </a:lnTo>
                  <a:lnTo>
                    <a:pt x="532" y="1170"/>
                  </a:lnTo>
                  <a:lnTo>
                    <a:pt x="532" y="1170"/>
                  </a:lnTo>
                  <a:lnTo>
                    <a:pt x="539" y="1170"/>
                  </a:lnTo>
                  <a:lnTo>
                    <a:pt x="545" y="1172"/>
                  </a:lnTo>
                  <a:lnTo>
                    <a:pt x="548" y="1173"/>
                  </a:lnTo>
                  <a:lnTo>
                    <a:pt x="549" y="1176"/>
                  </a:lnTo>
                  <a:lnTo>
                    <a:pt x="551" y="1179"/>
                  </a:lnTo>
                  <a:lnTo>
                    <a:pt x="551" y="1183"/>
                  </a:lnTo>
                  <a:lnTo>
                    <a:pt x="551" y="1183"/>
                  </a:lnTo>
                  <a:lnTo>
                    <a:pt x="552" y="1206"/>
                  </a:lnTo>
                  <a:lnTo>
                    <a:pt x="552" y="1216"/>
                  </a:lnTo>
                  <a:lnTo>
                    <a:pt x="555" y="1219"/>
                  </a:lnTo>
                  <a:lnTo>
                    <a:pt x="557" y="1222"/>
                  </a:lnTo>
                  <a:lnTo>
                    <a:pt x="557" y="1222"/>
                  </a:lnTo>
                  <a:lnTo>
                    <a:pt x="563" y="1228"/>
                  </a:lnTo>
                  <a:lnTo>
                    <a:pt x="567" y="1237"/>
                  </a:lnTo>
                  <a:lnTo>
                    <a:pt x="572" y="1246"/>
                  </a:lnTo>
                  <a:lnTo>
                    <a:pt x="578" y="1253"/>
                  </a:lnTo>
                  <a:lnTo>
                    <a:pt x="578" y="1253"/>
                  </a:lnTo>
                  <a:lnTo>
                    <a:pt x="579" y="1256"/>
                  </a:lnTo>
                  <a:lnTo>
                    <a:pt x="582" y="1257"/>
                  </a:lnTo>
                  <a:lnTo>
                    <a:pt x="589" y="1259"/>
                  </a:lnTo>
                  <a:lnTo>
                    <a:pt x="597" y="1259"/>
                  </a:lnTo>
                  <a:lnTo>
                    <a:pt x="606" y="1257"/>
                  </a:lnTo>
                  <a:lnTo>
                    <a:pt x="606" y="1257"/>
                  </a:lnTo>
                  <a:lnTo>
                    <a:pt x="615" y="1259"/>
                  </a:lnTo>
                  <a:lnTo>
                    <a:pt x="625" y="1260"/>
                  </a:lnTo>
                  <a:lnTo>
                    <a:pt x="646" y="1265"/>
                  </a:lnTo>
                  <a:lnTo>
                    <a:pt x="646" y="1265"/>
                  </a:lnTo>
                  <a:lnTo>
                    <a:pt x="650" y="1266"/>
                  </a:lnTo>
                  <a:lnTo>
                    <a:pt x="655" y="1265"/>
                  </a:lnTo>
                  <a:lnTo>
                    <a:pt x="661" y="1260"/>
                  </a:lnTo>
                  <a:lnTo>
                    <a:pt x="668" y="1255"/>
                  </a:lnTo>
                  <a:lnTo>
                    <a:pt x="672" y="1253"/>
                  </a:lnTo>
                  <a:lnTo>
                    <a:pt x="678" y="1252"/>
                  </a:lnTo>
                  <a:lnTo>
                    <a:pt x="678" y="1252"/>
                  </a:lnTo>
                  <a:lnTo>
                    <a:pt x="684" y="1252"/>
                  </a:lnTo>
                  <a:lnTo>
                    <a:pt x="690" y="1250"/>
                  </a:lnTo>
                  <a:lnTo>
                    <a:pt x="699" y="1247"/>
                  </a:lnTo>
                  <a:lnTo>
                    <a:pt x="706" y="1243"/>
                  </a:lnTo>
                  <a:lnTo>
                    <a:pt x="711" y="1240"/>
                  </a:lnTo>
                  <a:lnTo>
                    <a:pt x="711" y="1240"/>
                  </a:lnTo>
                  <a:lnTo>
                    <a:pt x="715" y="1238"/>
                  </a:lnTo>
                  <a:lnTo>
                    <a:pt x="721" y="1237"/>
                  </a:lnTo>
                  <a:lnTo>
                    <a:pt x="721" y="1237"/>
                  </a:lnTo>
                  <a:lnTo>
                    <a:pt x="729" y="1232"/>
                  </a:lnTo>
                  <a:lnTo>
                    <a:pt x="732" y="1232"/>
                  </a:lnTo>
                  <a:lnTo>
                    <a:pt x="733" y="1232"/>
                  </a:lnTo>
                  <a:lnTo>
                    <a:pt x="736" y="1235"/>
                  </a:lnTo>
                  <a:lnTo>
                    <a:pt x="736" y="1235"/>
                  </a:lnTo>
                  <a:lnTo>
                    <a:pt x="738" y="1240"/>
                  </a:lnTo>
                  <a:lnTo>
                    <a:pt x="739" y="1247"/>
                  </a:lnTo>
                  <a:lnTo>
                    <a:pt x="740" y="1255"/>
                  </a:lnTo>
                  <a:lnTo>
                    <a:pt x="743" y="1263"/>
                  </a:lnTo>
                  <a:lnTo>
                    <a:pt x="743" y="1263"/>
                  </a:lnTo>
                  <a:lnTo>
                    <a:pt x="751" y="1269"/>
                  </a:lnTo>
                  <a:lnTo>
                    <a:pt x="757" y="1274"/>
                  </a:lnTo>
                  <a:lnTo>
                    <a:pt x="763" y="1278"/>
                  </a:lnTo>
                  <a:lnTo>
                    <a:pt x="767" y="1281"/>
                  </a:lnTo>
                  <a:lnTo>
                    <a:pt x="767" y="1281"/>
                  </a:lnTo>
                  <a:lnTo>
                    <a:pt x="772" y="1286"/>
                  </a:lnTo>
                  <a:lnTo>
                    <a:pt x="777" y="1287"/>
                  </a:lnTo>
                  <a:lnTo>
                    <a:pt x="782" y="1289"/>
                  </a:lnTo>
                  <a:lnTo>
                    <a:pt x="785" y="1287"/>
                  </a:lnTo>
                  <a:lnTo>
                    <a:pt x="785" y="1287"/>
                  </a:lnTo>
                  <a:lnTo>
                    <a:pt x="786" y="1284"/>
                  </a:lnTo>
                  <a:lnTo>
                    <a:pt x="789" y="1281"/>
                  </a:lnTo>
                  <a:lnTo>
                    <a:pt x="792" y="1280"/>
                  </a:lnTo>
                  <a:lnTo>
                    <a:pt x="794" y="1280"/>
                  </a:lnTo>
                  <a:lnTo>
                    <a:pt x="797" y="1281"/>
                  </a:lnTo>
                  <a:lnTo>
                    <a:pt x="800" y="1284"/>
                  </a:lnTo>
                  <a:lnTo>
                    <a:pt x="800" y="1284"/>
                  </a:lnTo>
                  <a:close/>
                  <a:moveTo>
                    <a:pt x="923" y="199"/>
                  </a:moveTo>
                  <a:lnTo>
                    <a:pt x="923" y="199"/>
                  </a:lnTo>
                  <a:lnTo>
                    <a:pt x="930" y="199"/>
                  </a:lnTo>
                  <a:lnTo>
                    <a:pt x="936" y="199"/>
                  </a:lnTo>
                  <a:lnTo>
                    <a:pt x="943" y="194"/>
                  </a:lnTo>
                  <a:lnTo>
                    <a:pt x="943" y="194"/>
                  </a:lnTo>
                  <a:lnTo>
                    <a:pt x="951" y="191"/>
                  </a:lnTo>
                  <a:lnTo>
                    <a:pt x="958" y="190"/>
                  </a:lnTo>
                  <a:lnTo>
                    <a:pt x="964" y="191"/>
                  </a:lnTo>
                  <a:lnTo>
                    <a:pt x="966" y="193"/>
                  </a:lnTo>
                  <a:lnTo>
                    <a:pt x="967" y="194"/>
                  </a:lnTo>
                  <a:lnTo>
                    <a:pt x="967" y="194"/>
                  </a:lnTo>
                  <a:lnTo>
                    <a:pt x="970" y="200"/>
                  </a:lnTo>
                  <a:lnTo>
                    <a:pt x="970" y="204"/>
                  </a:lnTo>
                  <a:lnTo>
                    <a:pt x="969" y="207"/>
                  </a:lnTo>
                  <a:lnTo>
                    <a:pt x="964" y="210"/>
                  </a:lnTo>
                  <a:lnTo>
                    <a:pt x="964" y="210"/>
                  </a:lnTo>
                  <a:lnTo>
                    <a:pt x="958" y="215"/>
                  </a:lnTo>
                  <a:lnTo>
                    <a:pt x="954" y="218"/>
                  </a:lnTo>
                  <a:lnTo>
                    <a:pt x="951" y="219"/>
                  </a:lnTo>
                  <a:lnTo>
                    <a:pt x="945" y="219"/>
                  </a:lnTo>
                  <a:lnTo>
                    <a:pt x="945" y="219"/>
                  </a:lnTo>
                  <a:lnTo>
                    <a:pt x="933" y="216"/>
                  </a:lnTo>
                  <a:lnTo>
                    <a:pt x="929" y="215"/>
                  </a:lnTo>
                  <a:lnTo>
                    <a:pt x="924" y="213"/>
                  </a:lnTo>
                  <a:lnTo>
                    <a:pt x="924" y="213"/>
                  </a:lnTo>
                  <a:lnTo>
                    <a:pt x="923" y="212"/>
                  </a:lnTo>
                  <a:lnTo>
                    <a:pt x="923" y="209"/>
                  </a:lnTo>
                  <a:lnTo>
                    <a:pt x="921" y="204"/>
                  </a:lnTo>
                  <a:lnTo>
                    <a:pt x="923" y="199"/>
                  </a:lnTo>
                  <a:lnTo>
                    <a:pt x="923" y="199"/>
                  </a:lnTo>
                  <a:close/>
                  <a:moveTo>
                    <a:pt x="746" y="42"/>
                  </a:moveTo>
                  <a:lnTo>
                    <a:pt x="746" y="42"/>
                  </a:lnTo>
                  <a:lnTo>
                    <a:pt x="754" y="42"/>
                  </a:lnTo>
                  <a:lnTo>
                    <a:pt x="769" y="47"/>
                  </a:lnTo>
                  <a:lnTo>
                    <a:pt x="769" y="47"/>
                  </a:lnTo>
                  <a:lnTo>
                    <a:pt x="782" y="50"/>
                  </a:lnTo>
                  <a:lnTo>
                    <a:pt x="795" y="50"/>
                  </a:lnTo>
                  <a:lnTo>
                    <a:pt x="804" y="50"/>
                  </a:lnTo>
                  <a:lnTo>
                    <a:pt x="806" y="49"/>
                  </a:lnTo>
                  <a:lnTo>
                    <a:pt x="807" y="46"/>
                  </a:lnTo>
                  <a:lnTo>
                    <a:pt x="807" y="46"/>
                  </a:lnTo>
                  <a:lnTo>
                    <a:pt x="804" y="43"/>
                  </a:lnTo>
                  <a:lnTo>
                    <a:pt x="801" y="40"/>
                  </a:lnTo>
                  <a:lnTo>
                    <a:pt x="798" y="39"/>
                  </a:lnTo>
                  <a:lnTo>
                    <a:pt x="795" y="36"/>
                  </a:lnTo>
                  <a:lnTo>
                    <a:pt x="795" y="36"/>
                  </a:lnTo>
                  <a:lnTo>
                    <a:pt x="795" y="33"/>
                  </a:lnTo>
                  <a:lnTo>
                    <a:pt x="797" y="30"/>
                  </a:lnTo>
                  <a:lnTo>
                    <a:pt x="800" y="25"/>
                  </a:lnTo>
                  <a:lnTo>
                    <a:pt x="801" y="21"/>
                  </a:lnTo>
                  <a:lnTo>
                    <a:pt x="801" y="21"/>
                  </a:lnTo>
                  <a:lnTo>
                    <a:pt x="800" y="15"/>
                  </a:lnTo>
                  <a:lnTo>
                    <a:pt x="798" y="12"/>
                  </a:lnTo>
                  <a:lnTo>
                    <a:pt x="795" y="9"/>
                  </a:lnTo>
                  <a:lnTo>
                    <a:pt x="788" y="8"/>
                  </a:lnTo>
                  <a:lnTo>
                    <a:pt x="788" y="8"/>
                  </a:lnTo>
                  <a:lnTo>
                    <a:pt x="780" y="5"/>
                  </a:lnTo>
                  <a:lnTo>
                    <a:pt x="775" y="2"/>
                  </a:lnTo>
                  <a:lnTo>
                    <a:pt x="772" y="0"/>
                  </a:lnTo>
                  <a:lnTo>
                    <a:pt x="769" y="0"/>
                  </a:lnTo>
                  <a:lnTo>
                    <a:pt x="769" y="0"/>
                  </a:lnTo>
                  <a:lnTo>
                    <a:pt x="766" y="3"/>
                  </a:lnTo>
                  <a:lnTo>
                    <a:pt x="764" y="9"/>
                  </a:lnTo>
                  <a:lnTo>
                    <a:pt x="763" y="15"/>
                  </a:lnTo>
                  <a:lnTo>
                    <a:pt x="760" y="19"/>
                  </a:lnTo>
                  <a:lnTo>
                    <a:pt x="760" y="19"/>
                  </a:lnTo>
                  <a:lnTo>
                    <a:pt x="751" y="33"/>
                  </a:lnTo>
                  <a:lnTo>
                    <a:pt x="746" y="42"/>
                  </a:lnTo>
                  <a:lnTo>
                    <a:pt x="746" y="4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8" name="Freeform 7">
              <a:extLst>
                <a:ext uri="{FF2B5EF4-FFF2-40B4-BE49-F238E27FC236}">
                  <a16:creationId xmlns:a16="http://schemas.microsoft.com/office/drawing/2014/main" id="{8FA792A1-EAD3-2F46-A041-7FF4B32353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43063" y="1787525"/>
              <a:ext cx="1736725" cy="2030412"/>
            </a:xfrm>
            <a:custGeom>
              <a:avLst/>
              <a:gdLst>
                <a:gd name="T0" fmla="*/ 0 w 1094"/>
                <a:gd name="T1" fmla="*/ 911 h 1279"/>
                <a:gd name="T2" fmla="*/ 56 w 1094"/>
                <a:gd name="T3" fmla="*/ 945 h 1279"/>
                <a:gd name="T4" fmla="*/ 94 w 1094"/>
                <a:gd name="T5" fmla="*/ 1022 h 1279"/>
                <a:gd name="T6" fmla="*/ 52 w 1094"/>
                <a:gd name="T7" fmla="*/ 1157 h 1279"/>
                <a:gd name="T8" fmla="*/ 112 w 1094"/>
                <a:gd name="T9" fmla="*/ 1210 h 1279"/>
                <a:gd name="T10" fmla="*/ 229 w 1094"/>
                <a:gd name="T11" fmla="*/ 1236 h 1279"/>
                <a:gd name="T12" fmla="*/ 323 w 1094"/>
                <a:gd name="T13" fmla="*/ 1265 h 1279"/>
                <a:gd name="T14" fmla="*/ 422 w 1094"/>
                <a:gd name="T15" fmla="*/ 1233 h 1279"/>
                <a:gd name="T16" fmla="*/ 478 w 1094"/>
                <a:gd name="T17" fmla="*/ 1169 h 1279"/>
                <a:gd name="T18" fmla="*/ 534 w 1094"/>
                <a:gd name="T19" fmla="*/ 1116 h 1279"/>
                <a:gd name="T20" fmla="*/ 558 w 1094"/>
                <a:gd name="T21" fmla="*/ 1089 h 1279"/>
                <a:gd name="T22" fmla="*/ 602 w 1094"/>
                <a:gd name="T23" fmla="*/ 1031 h 1279"/>
                <a:gd name="T24" fmla="*/ 666 w 1094"/>
                <a:gd name="T25" fmla="*/ 996 h 1279"/>
                <a:gd name="T26" fmla="*/ 759 w 1094"/>
                <a:gd name="T27" fmla="*/ 1013 h 1279"/>
                <a:gd name="T28" fmla="*/ 817 w 1094"/>
                <a:gd name="T29" fmla="*/ 1051 h 1279"/>
                <a:gd name="T30" fmla="*/ 893 w 1094"/>
                <a:gd name="T31" fmla="*/ 1034 h 1279"/>
                <a:gd name="T32" fmla="*/ 927 w 1094"/>
                <a:gd name="T33" fmla="*/ 974 h 1279"/>
                <a:gd name="T34" fmla="*/ 961 w 1094"/>
                <a:gd name="T35" fmla="*/ 911 h 1279"/>
                <a:gd name="T36" fmla="*/ 980 w 1094"/>
                <a:gd name="T37" fmla="*/ 849 h 1279"/>
                <a:gd name="T38" fmla="*/ 1035 w 1094"/>
                <a:gd name="T39" fmla="*/ 796 h 1279"/>
                <a:gd name="T40" fmla="*/ 1001 w 1094"/>
                <a:gd name="T41" fmla="*/ 694 h 1279"/>
                <a:gd name="T42" fmla="*/ 1056 w 1094"/>
                <a:gd name="T43" fmla="*/ 658 h 1279"/>
                <a:gd name="T44" fmla="*/ 1073 w 1094"/>
                <a:gd name="T45" fmla="*/ 599 h 1279"/>
                <a:gd name="T46" fmla="*/ 999 w 1094"/>
                <a:gd name="T47" fmla="*/ 575 h 1279"/>
                <a:gd name="T48" fmla="*/ 928 w 1094"/>
                <a:gd name="T49" fmla="*/ 578 h 1279"/>
                <a:gd name="T50" fmla="*/ 847 w 1094"/>
                <a:gd name="T51" fmla="*/ 606 h 1279"/>
                <a:gd name="T52" fmla="*/ 801 w 1094"/>
                <a:gd name="T53" fmla="*/ 648 h 1279"/>
                <a:gd name="T54" fmla="*/ 767 w 1094"/>
                <a:gd name="T55" fmla="*/ 621 h 1279"/>
                <a:gd name="T56" fmla="*/ 829 w 1094"/>
                <a:gd name="T57" fmla="*/ 563 h 1279"/>
                <a:gd name="T58" fmla="*/ 765 w 1094"/>
                <a:gd name="T59" fmla="*/ 434 h 1279"/>
                <a:gd name="T60" fmla="*/ 688 w 1094"/>
                <a:gd name="T61" fmla="*/ 396 h 1279"/>
                <a:gd name="T62" fmla="*/ 705 w 1094"/>
                <a:gd name="T63" fmla="*/ 360 h 1279"/>
                <a:gd name="T64" fmla="*/ 783 w 1094"/>
                <a:gd name="T65" fmla="*/ 393 h 1279"/>
                <a:gd name="T66" fmla="*/ 829 w 1094"/>
                <a:gd name="T67" fmla="*/ 297 h 1279"/>
                <a:gd name="T68" fmla="*/ 943 w 1094"/>
                <a:gd name="T69" fmla="*/ 237 h 1279"/>
                <a:gd name="T70" fmla="*/ 955 w 1094"/>
                <a:gd name="T71" fmla="*/ 190 h 1279"/>
                <a:gd name="T72" fmla="*/ 981 w 1094"/>
                <a:gd name="T73" fmla="*/ 166 h 1279"/>
                <a:gd name="T74" fmla="*/ 925 w 1094"/>
                <a:gd name="T75" fmla="*/ 156 h 1279"/>
                <a:gd name="T76" fmla="*/ 848 w 1094"/>
                <a:gd name="T77" fmla="*/ 125 h 1279"/>
                <a:gd name="T78" fmla="*/ 842 w 1094"/>
                <a:gd name="T79" fmla="*/ 89 h 1279"/>
                <a:gd name="T80" fmla="*/ 862 w 1094"/>
                <a:gd name="T81" fmla="*/ 45 h 1279"/>
                <a:gd name="T82" fmla="*/ 817 w 1094"/>
                <a:gd name="T83" fmla="*/ 0 h 1279"/>
                <a:gd name="T84" fmla="*/ 696 w 1094"/>
                <a:gd name="T85" fmla="*/ 100 h 1279"/>
                <a:gd name="T86" fmla="*/ 675 w 1094"/>
                <a:gd name="T87" fmla="*/ 171 h 1279"/>
                <a:gd name="T88" fmla="*/ 756 w 1094"/>
                <a:gd name="T89" fmla="*/ 177 h 1279"/>
                <a:gd name="T90" fmla="*/ 659 w 1094"/>
                <a:gd name="T91" fmla="*/ 189 h 1279"/>
                <a:gd name="T92" fmla="*/ 591 w 1094"/>
                <a:gd name="T93" fmla="*/ 217 h 1279"/>
                <a:gd name="T94" fmla="*/ 546 w 1094"/>
                <a:gd name="T95" fmla="*/ 224 h 1279"/>
                <a:gd name="T96" fmla="*/ 477 w 1094"/>
                <a:gd name="T97" fmla="*/ 285 h 1279"/>
                <a:gd name="T98" fmla="*/ 380 w 1094"/>
                <a:gd name="T99" fmla="*/ 343 h 1279"/>
                <a:gd name="T100" fmla="*/ 219 w 1094"/>
                <a:gd name="T101" fmla="*/ 454 h 1279"/>
                <a:gd name="T102" fmla="*/ 191 w 1094"/>
                <a:gd name="T103" fmla="*/ 545 h 1279"/>
                <a:gd name="T104" fmla="*/ 112 w 1094"/>
                <a:gd name="T105" fmla="*/ 621 h 1279"/>
                <a:gd name="T106" fmla="*/ 158 w 1094"/>
                <a:gd name="T107" fmla="*/ 665 h 1279"/>
                <a:gd name="T108" fmla="*/ 246 w 1094"/>
                <a:gd name="T109" fmla="*/ 683 h 1279"/>
                <a:gd name="T110" fmla="*/ 183 w 1094"/>
                <a:gd name="T111" fmla="*/ 723 h 1279"/>
                <a:gd name="T112" fmla="*/ 102 w 1094"/>
                <a:gd name="T113" fmla="*/ 753 h 1279"/>
                <a:gd name="T114" fmla="*/ 177 w 1094"/>
                <a:gd name="T115" fmla="*/ 314 h 1279"/>
                <a:gd name="T116" fmla="*/ 194 w 1094"/>
                <a:gd name="T117" fmla="*/ 242 h 1279"/>
                <a:gd name="T118" fmla="*/ 126 w 1094"/>
                <a:gd name="T119" fmla="*/ 197 h 1279"/>
                <a:gd name="T120" fmla="*/ 137 w 1094"/>
                <a:gd name="T121" fmla="*/ 306 h 1279"/>
                <a:gd name="T122" fmla="*/ 117 w 1094"/>
                <a:gd name="T123" fmla="*/ 728 h 1279"/>
                <a:gd name="T124" fmla="*/ 118 w 1094"/>
                <a:gd name="T125" fmla="*/ 685 h 1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4" h="1279">
                  <a:moveTo>
                    <a:pt x="56" y="842"/>
                  </a:moveTo>
                  <a:lnTo>
                    <a:pt x="56" y="842"/>
                  </a:lnTo>
                  <a:lnTo>
                    <a:pt x="52" y="845"/>
                  </a:lnTo>
                  <a:lnTo>
                    <a:pt x="44" y="846"/>
                  </a:lnTo>
                  <a:lnTo>
                    <a:pt x="29" y="849"/>
                  </a:lnTo>
                  <a:lnTo>
                    <a:pt x="29" y="849"/>
                  </a:lnTo>
                  <a:lnTo>
                    <a:pt x="28" y="851"/>
                  </a:lnTo>
                  <a:lnTo>
                    <a:pt x="26" y="854"/>
                  </a:lnTo>
                  <a:lnTo>
                    <a:pt x="26" y="861"/>
                  </a:lnTo>
                  <a:lnTo>
                    <a:pt x="28" y="873"/>
                  </a:lnTo>
                  <a:lnTo>
                    <a:pt x="28" y="873"/>
                  </a:lnTo>
                  <a:lnTo>
                    <a:pt x="28" y="874"/>
                  </a:lnTo>
                  <a:lnTo>
                    <a:pt x="25" y="877"/>
                  </a:lnTo>
                  <a:lnTo>
                    <a:pt x="17" y="882"/>
                  </a:lnTo>
                  <a:lnTo>
                    <a:pt x="17" y="882"/>
                  </a:lnTo>
                  <a:lnTo>
                    <a:pt x="15" y="886"/>
                  </a:lnTo>
                  <a:lnTo>
                    <a:pt x="10" y="894"/>
                  </a:lnTo>
                  <a:lnTo>
                    <a:pt x="0" y="911"/>
                  </a:lnTo>
                  <a:lnTo>
                    <a:pt x="0" y="911"/>
                  </a:lnTo>
                  <a:lnTo>
                    <a:pt x="7" y="920"/>
                  </a:lnTo>
                  <a:lnTo>
                    <a:pt x="15" y="926"/>
                  </a:lnTo>
                  <a:lnTo>
                    <a:pt x="19" y="929"/>
                  </a:lnTo>
                  <a:lnTo>
                    <a:pt x="23" y="931"/>
                  </a:lnTo>
                  <a:lnTo>
                    <a:pt x="23" y="931"/>
                  </a:lnTo>
                  <a:lnTo>
                    <a:pt x="32" y="932"/>
                  </a:lnTo>
                  <a:lnTo>
                    <a:pt x="38" y="931"/>
                  </a:lnTo>
                  <a:lnTo>
                    <a:pt x="44" y="929"/>
                  </a:lnTo>
                  <a:lnTo>
                    <a:pt x="47" y="928"/>
                  </a:lnTo>
                  <a:lnTo>
                    <a:pt x="47" y="928"/>
                  </a:lnTo>
                  <a:lnTo>
                    <a:pt x="49" y="926"/>
                  </a:lnTo>
                  <a:lnTo>
                    <a:pt x="52" y="928"/>
                  </a:lnTo>
                  <a:lnTo>
                    <a:pt x="53" y="929"/>
                  </a:lnTo>
                  <a:lnTo>
                    <a:pt x="55" y="935"/>
                  </a:lnTo>
                  <a:lnTo>
                    <a:pt x="55" y="935"/>
                  </a:lnTo>
                  <a:lnTo>
                    <a:pt x="55" y="941"/>
                  </a:lnTo>
                  <a:lnTo>
                    <a:pt x="56" y="945"/>
                  </a:lnTo>
                  <a:lnTo>
                    <a:pt x="60" y="947"/>
                  </a:lnTo>
                  <a:lnTo>
                    <a:pt x="66" y="948"/>
                  </a:lnTo>
                  <a:lnTo>
                    <a:pt x="66" y="948"/>
                  </a:lnTo>
                  <a:lnTo>
                    <a:pt x="71" y="950"/>
                  </a:lnTo>
                  <a:lnTo>
                    <a:pt x="78" y="954"/>
                  </a:lnTo>
                  <a:lnTo>
                    <a:pt x="97" y="968"/>
                  </a:lnTo>
                  <a:lnTo>
                    <a:pt x="114" y="982"/>
                  </a:lnTo>
                  <a:lnTo>
                    <a:pt x="121" y="991"/>
                  </a:lnTo>
                  <a:lnTo>
                    <a:pt x="121" y="991"/>
                  </a:lnTo>
                  <a:lnTo>
                    <a:pt x="121" y="993"/>
                  </a:lnTo>
                  <a:lnTo>
                    <a:pt x="117" y="994"/>
                  </a:lnTo>
                  <a:lnTo>
                    <a:pt x="112" y="997"/>
                  </a:lnTo>
                  <a:lnTo>
                    <a:pt x="108" y="1002"/>
                  </a:lnTo>
                  <a:lnTo>
                    <a:pt x="108" y="1002"/>
                  </a:lnTo>
                  <a:lnTo>
                    <a:pt x="103" y="1008"/>
                  </a:lnTo>
                  <a:lnTo>
                    <a:pt x="99" y="1012"/>
                  </a:lnTo>
                  <a:lnTo>
                    <a:pt x="94" y="1018"/>
                  </a:lnTo>
                  <a:lnTo>
                    <a:pt x="94" y="1022"/>
                  </a:lnTo>
                  <a:lnTo>
                    <a:pt x="94" y="1027"/>
                  </a:lnTo>
                  <a:lnTo>
                    <a:pt x="94" y="1027"/>
                  </a:lnTo>
                  <a:lnTo>
                    <a:pt x="94" y="1039"/>
                  </a:lnTo>
                  <a:lnTo>
                    <a:pt x="94" y="1049"/>
                  </a:lnTo>
                  <a:lnTo>
                    <a:pt x="92" y="1058"/>
                  </a:lnTo>
                  <a:lnTo>
                    <a:pt x="89" y="1064"/>
                  </a:lnTo>
                  <a:lnTo>
                    <a:pt x="89" y="1064"/>
                  </a:lnTo>
                  <a:lnTo>
                    <a:pt x="74" y="1083"/>
                  </a:lnTo>
                  <a:lnTo>
                    <a:pt x="65" y="1095"/>
                  </a:lnTo>
                  <a:lnTo>
                    <a:pt x="62" y="1104"/>
                  </a:lnTo>
                  <a:lnTo>
                    <a:pt x="62" y="1104"/>
                  </a:lnTo>
                  <a:lnTo>
                    <a:pt x="59" y="1114"/>
                  </a:lnTo>
                  <a:lnTo>
                    <a:pt x="52" y="1128"/>
                  </a:lnTo>
                  <a:lnTo>
                    <a:pt x="52" y="1128"/>
                  </a:lnTo>
                  <a:lnTo>
                    <a:pt x="50" y="1132"/>
                  </a:lnTo>
                  <a:lnTo>
                    <a:pt x="49" y="1136"/>
                  </a:lnTo>
                  <a:lnTo>
                    <a:pt x="49" y="1147"/>
                  </a:lnTo>
                  <a:lnTo>
                    <a:pt x="52" y="1157"/>
                  </a:lnTo>
                  <a:lnTo>
                    <a:pt x="55" y="1162"/>
                  </a:lnTo>
                  <a:lnTo>
                    <a:pt x="55" y="1162"/>
                  </a:lnTo>
                  <a:lnTo>
                    <a:pt x="57" y="1165"/>
                  </a:lnTo>
                  <a:lnTo>
                    <a:pt x="62" y="1165"/>
                  </a:lnTo>
                  <a:lnTo>
                    <a:pt x="69" y="1165"/>
                  </a:lnTo>
                  <a:lnTo>
                    <a:pt x="69" y="1165"/>
                  </a:lnTo>
                  <a:lnTo>
                    <a:pt x="71" y="1166"/>
                  </a:lnTo>
                  <a:lnTo>
                    <a:pt x="71" y="1169"/>
                  </a:lnTo>
                  <a:lnTo>
                    <a:pt x="68" y="1178"/>
                  </a:lnTo>
                  <a:lnTo>
                    <a:pt x="68" y="1178"/>
                  </a:lnTo>
                  <a:lnTo>
                    <a:pt x="68" y="1182"/>
                  </a:lnTo>
                  <a:lnTo>
                    <a:pt x="71" y="1187"/>
                  </a:lnTo>
                  <a:lnTo>
                    <a:pt x="75" y="1191"/>
                  </a:lnTo>
                  <a:lnTo>
                    <a:pt x="83" y="1197"/>
                  </a:lnTo>
                  <a:lnTo>
                    <a:pt x="83" y="1197"/>
                  </a:lnTo>
                  <a:lnTo>
                    <a:pt x="96" y="1208"/>
                  </a:lnTo>
                  <a:lnTo>
                    <a:pt x="102" y="1210"/>
                  </a:lnTo>
                  <a:lnTo>
                    <a:pt x="112" y="1210"/>
                  </a:lnTo>
                  <a:lnTo>
                    <a:pt x="112" y="1210"/>
                  </a:lnTo>
                  <a:lnTo>
                    <a:pt x="132" y="1208"/>
                  </a:lnTo>
                  <a:lnTo>
                    <a:pt x="148" y="1206"/>
                  </a:lnTo>
                  <a:lnTo>
                    <a:pt x="148" y="1206"/>
                  </a:lnTo>
                  <a:lnTo>
                    <a:pt x="158" y="1209"/>
                  </a:lnTo>
                  <a:lnTo>
                    <a:pt x="169" y="1213"/>
                  </a:lnTo>
                  <a:lnTo>
                    <a:pt x="177" y="1222"/>
                  </a:lnTo>
                  <a:lnTo>
                    <a:pt x="185" y="1231"/>
                  </a:lnTo>
                  <a:lnTo>
                    <a:pt x="185" y="1231"/>
                  </a:lnTo>
                  <a:lnTo>
                    <a:pt x="192" y="1242"/>
                  </a:lnTo>
                  <a:lnTo>
                    <a:pt x="200" y="1250"/>
                  </a:lnTo>
                  <a:lnTo>
                    <a:pt x="207" y="1259"/>
                  </a:lnTo>
                  <a:lnTo>
                    <a:pt x="207" y="1259"/>
                  </a:lnTo>
                  <a:lnTo>
                    <a:pt x="209" y="1256"/>
                  </a:lnTo>
                  <a:lnTo>
                    <a:pt x="209" y="1256"/>
                  </a:lnTo>
                  <a:lnTo>
                    <a:pt x="213" y="1250"/>
                  </a:lnTo>
                  <a:lnTo>
                    <a:pt x="220" y="1243"/>
                  </a:lnTo>
                  <a:lnTo>
                    <a:pt x="229" y="1236"/>
                  </a:lnTo>
                  <a:lnTo>
                    <a:pt x="229" y="1236"/>
                  </a:lnTo>
                  <a:lnTo>
                    <a:pt x="237" y="1240"/>
                  </a:lnTo>
                  <a:lnTo>
                    <a:pt x="241" y="1246"/>
                  </a:lnTo>
                  <a:lnTo>
                    <a:pt x="246" y="1252"/>
                  </a:lnTo>
                  <a:lnTo>
                    <a:pt x="246" y="1252"/>
                  </a:lnTo>
                  <a:lnTo>
                    <a:pt x="253" y="1268"/>
                  </a:lnTo>
                  <a:lnTo>
                    <a:pt x="256" y="1276"/>
                  </a:lnTo>
                  <a:lnTo>
                    <a:pt x="257" y="1277"/>
                  </a:lnTo>
                  <a:lnTo>
                    <a:pt x="260" y="1279"/>
                  </a:lnTo>
                  <a:lnTo>
                    <a:pt x="260" y="1279"/>
                  </a:lnTo>
                  <a:lnTo>
                    <a:pt x="268" y="1279"/>
                  </a:lnTo>
                  <a:lnTo>
                    <a:pt x="278" y="1277"/>
                  </a:lnTo>
                  <a:lnTo>
                    <a:pt x="290" y="1274"/>
                  </a:lnTo>
                  <a:lnTo>
                    <a:pt x="297" y="1271"/>
                  </a:lnTo>
                  <a:lnTo>
                    <a:pt x="297" y="1271"/>
                  </a:lnTo>
                  <a:lnTo>
                    <a:pt x="303" y="1268"/>
                  </a:lnTo>
                  <a:lnTo>
                    <a:pt x="311" y="1265"/>
                  </a:lnTo>
                  <a:lnTo>
                    <a:pt x="323" y="1265"/>
                  </a:lnTo>
                  <a:lnTo>
                    <a:pt x="323" y="1265"/>
                  </a:lnTo>
                  <a:lnTo>
                    <a:pt x="325" y="1264"/>
                  </a:lnTo>
                  <a:lnTo>
                    <a:pt x="328" y="1262"/>
                  </a:lnTo>
                  <a:lnTo>
                    <a:pt x="333" y="1261"/>
                  </a:lnTo>
                  <a:lnTo>
                    <a:pt x="343" y="1261"/>
                  </a:lnTo>
                  <a:lnTo>
                    <a:pt x="343" y="1261"/>
                  </a:lnTo>
                  <a:lnTo>
                    <a:pt x="368" y="1262"/>
                  </a:lnTo>
                  <a:lnTo>
                    <a:pt x="377" y="1261"/>
                  </a:lnTo>
                  <a:lnTo>
                    <a:pt x="380" y="1259"/>
                  </a:lnTo>
                  <a:lnTo>
                    <a:pt x="382" y="1258"/>
                  </a:lnTo>
                  <a:lnTo>
                    <a:pt x="382" y="1258"/>
                  </a:lnTo>
                  <a:lnTo>
                    <a:pt x="386" y="1252"/>
                  </a:lnTo>
                  <a:lnTo>
                    <a:pt x="394" y="1243"/>
                  </a:lnTo>
                  <a:lnTo>
                    <a:pt x="402" y="1236"/>
                  </a:lnTo>
                  <a:lnTo>
                    <a:pt x="405" y="1233"/>
                  </a:lnTo>
                  <a:lnTo>
                    <a:pt x="408" y="1233"/>
                  </a:lnTo>
                  <a:lnTo>
                    <a:pt x="408" y="1233"/>
                  </a:lnTo>
                  <a:lnTo>
                    <a:pt x="422" y="1233"/>
                  </a:lnTo>
                  <a:lnTo>
                    <a:pt x="429" y="1233"/>
                  </a:lnTo>
                  <a:lnTo>
                    <a:pt x="434" y="1233"/>
                  </a:lnTo>
                  <a:lnTo>
                    <a:pt x="434" y="1233"/>
                  </a:lnTo>
                  <a:lnTo>
                    <a:pt x="454" y="1221"/>
                  </a:lnTo>
                  <a:lnTo>
                    <a:pt x="454" y="1221"/>
                  </a:lnTo>
                  <a:lnTo>
                    <a:pt x="459" y="1219"/>
                  </a:lnTo>
                  <a:lnTo>
                    <a:pt x="462" y="1218"/>
                  </a:lnTo>
                  <a:lnTo>
                    <a:pt x="466" y="1218"/>
                  </a:lnTo>
                  <a:lnTo>
                    <a:pt x="469" y="1215"/>
                  </a:lnTo>
                  <a:lnTo>
                    <a:pt x="469" y="1215"/>
                  </a:lnTo>
                  <a:lnTo>
                    <a:pt x="474" y="1209"/>
                  </a:lnTo>
                  <a:lnTo>
                    <a:pt x="477" y="1203"/>
                  </a:lnTo>
                  <a:lnTo>
                    <a:pt x="479" y="1193"/>
                  </a:lnTo>
                  <a:lnTo>
                    <a:pt x="479" y="1193"/>
                  </a:lnTo>
                  <a:lnTo>
                    <a:pt x="477" y="1179"/>
                  </a:lnTo>
                  <a:lnTo>
                    <a:pt x="477" y="1179"/>
                  </a:lnTo>
                  <a:lnTo>
                    <a:pt x="477" y="1175"/>
                  </a:lnTo>
                  <a:lnTo>
                    <a:pt x="478" y="1169"/>
                  </a:lnTo>
                  <a:lnTo>
                    <a:pt x="481" y="1163"/>
                  </a:lnTo>
                  <a:lnTo>
                    <a:pt x="485" y="1157"/>
                  </a:lnTo>
                  <a:lnTo>
                    <a:pt x="485" y="1157"/>
                  </a:lnTo>
                  <a:lnTo>
                    <a:pt x="491" y="1150"/>
                  </a:lnTo>
                  <a:lnTo>
                    <a:pt x="496" y="1142"/>
                  </a:lnTo>
                  <a:lnTo>
                    <a:pt x="496" y="1142"/>
                  </a:lnTo>
                  <a:lnTo>
                    <a:pt x="497" y="1138"/>
                  </a:lnTo>
                  <a:lnTo>
                    <a:pt x="503" y="1135"/>
                  </a:lnTo>
                  <a:lnTo>
                    <a:pt x="509" y="1132"/>
                  </a:lnTo>
                  <a:lnTo>
                    <a:pt x="518" y="1129"/>
                  </a:lnTo>
                  <a:lnTo>
                    <a:pt x="518" y="1129"/>
                  </a:lnTo>
                  <a:lnTo>
                    <a:pt x="533" y="1126"/>
                  </a:lnTo>
                  <a:lnTo>
                    <a:pt x="539" y="1125"/>
                  </a:lnTo>
                  <a:lnTo>
                    <a:pt x="540" y="1123"/>
                  </a:lnTo>
                  <a:lnTo>
                    <a:pt x="542" y="1122"/>
                  </a:lnTo>
                  <a:lnTo>
                    <a:pt x="542" y="1122"/>
                  </a:lnTo>
                  <a:lnTo>
                    <a:pt x="539" y="1119"/>
                  </a:lnTo>
                  <a:lnTo>
                    <a:pt x="534" y="1116"/>
                  </a:lnTo>
                  <a:lnTo>
                    <a:pt x="530" y="1111"/>
                  </a:lnTo>
                  <a:lnTo>
                    <a:pt x="528" y="1108"/>
                  </a:lnTo>
                  <a:lnTo>
                    <a:pt x="528" y="1108"/>
                  </a:lnTo>
                  <a:lnTo>
                    <a:pt x="528" y="1105"/>
                  </a:lnTo>
                  <a:lnTo>
                    <a:pt x="528" y="1101"/>
                  </a:lnTo>
                  <a:lnTo>
                    <a:pt x="531" y="1098"/>
                  </a:lnTo>
                  <a:lnTo>
                    <a:pt x="534" y="1096"/>
                  </a:lnTo>
                  <a:lnTo>
                    <a:pt x="534" y="1096"/>
                  </a:lnTo>
                  <a:lnTo>
                    <a:pt x="536" y="1096"/>
                  </a:lnTo>
                  <a:lnTo>
                    <a:pt x="537" y="1095"/>
                  </a:lnTo>
                  <a:lnTo>
                    <a:pt x="539" y="1092"/>
                  </a:lnTo>
                  <a:lnTo>
                    <a:pt x="540" y="1088"/>
                  </a:lnTo>
                  <a:lnTo>
                    <a:pt x="543" y="1085"/>
                  </a:lnTo>
                  <a:lnTo>
                    <a:pt x="543" y="1085"/>
                  </a:lnTo>
                  <a:lnTo>
                    <a:pt x="546" y="1085"/>
                  </a:lnTo>
                  <a:lnTo>
                    <a:pt x="549" y="1085"/>
                  </a:lnTo>
                  <a:lnTo>
                    <a:pt x="552" y="1086"/>
                  </a:lnTo>
                  <a:lnTo>
                    <a:pt x="558" y="1089"/>
                  </a:lnTo>
                  <a:lnTo>
                    <a:pt x="558" y="1089"/>
                  </a:lnTo>
                  <a:lnTo>
                    <a:pt x="565" y="1091"/>
                  </a:lnTo>
                  <a:lnTo>
                    <a:pt x="571" y="1091"/>
                  </a:lnTo>
                  <a:lnTo>
                    <a:pt x="574" y="1088"/>
                  </a:lnTo>
                  <a:lnTo>
                    <a:pt x="577" y="1083"/>
                  </a:lnTo>
                  <a:lnTo>
                    <a:pt x="577" y="1083"/>
                  </a:lnTo>
                  <a:lnTo>
                    <a:pt x="579" y="1074"/>
                  </a:lnTo>
                  <a:lnTo>
                    <a:pt x="580" y="1070"/>
                  </a:lnTo>
                  <a:lnTo>
                    <a:pt x="586" y="1065"/>
                  </a:lnTo>
                  <a:lnTo>
                    <a:pt x="586" y="1065"/>
                  </a:lnTo>
                  <a:lnTo>
                    <a:pt x="592" y="1061"/>
                  </a:lnTo>
                  <a:lnTo>
                    <a:pt x="595" y="1058"/>
                  </a:lnTo>
                  <a:lnTo>
                    <a:pt x="596" y="1055"/>
                  </a:lnTo>
                  <a:lnTo>
                    <a:pt x="596" y="1048"/>
                  </a:lnTo>
                  <a:lnTo>
                    <a:pt x="596" y="1048"/>
                  </a:lnTo>
                  <a:lnTo>
                    <a:pt x="598" y="1040"/>
                  </a:lnTo>
                  <a:lnTo>
                    <a:pt x="599" y="1034"/>
                  </a:lnTo>
                  <a:lnTo>
                    <a:pt x="602" y="1031"/>
                  </a:lnTo>
                  <a:lnTo>
                    <a:pt x="607" y="1030"/>
                  </a:lnTo>
                  <a:lnTo>
                    <a:pt x="607" y="1030"/>
                  </a:lnTo>
                  <a:lnTo>
                    <a:pt x="616" y="1030"/>
                  </a:lnTo>
                  <a:lnTo>
                    <a:pt x="619" y="1030"/>
                  </a:lnTo>
                  <a:lnTo>
                    <a:pt x="622" y="1027"/>
                  </a:lnTo>
                  <a:lnTo>
                    <a:pt x="622" y="1027"/>
                  </a:lnTo>
                  <a:lnTo>
                    <a:pt x="625" y="1027"/>
                  </a:lnTo>
                  <a:lnTo>
                    <a:pt x="629" y="1027"/>
                  </a:lnTo>
                  <a:lnTo>
                    <a:pt x="633" y="1027"/>
                  </a:lnTo>
                  <a:lnTo>
                    <a:pt x="638" y="1027"/>
                  </a:lnTo>
                  <a:lnTo>
                    <a:pt x="638" y="1027"/>
                  </a:lnTo>
                  <a:lnTo>
                    <a:pt x="642" y="1024"/>
                  </a:lnTo>
                  <a:lnTo>
                    <a:pt x="647" y="1019"/>
                  </a:lnTo>
                  <a:lnTo>
                    <a:pt x="656" y="1008"/>
                  </a:lnTo>
                  <a:lnTo>
                    <a:pt x="656" y="1008"/>
                  </a:lnTo>
                  <a:lnTo>
                    <a:pt x="659" y="1000"/>
                  </a:lnTo>
                  <a:lnTo>
                    <a:pt x="662" y="997"/>
                  </a:lnTo>
                  <a:lnTo>
                    <a:pt x="666" y="996"/>
                  </a:lnTo>
                  <a:lnTo>
                    <a:pt x="675" y="997"/>
                  </a:lnTo>
                  <a:lnTo>
                    <a:pt x="675" y="997"/>
                  </a:lnTo>
                  <a:lnTo>
                    <a:pt x="685" y="1000"/>
                  </a:lnTo>
                  <a:lnTo>
                    <a:pt x="694" y="1002"/>
                  </a:lnTo>
                  <a:lnTo>
                    <a:pt x="703" y="1002"/>
                  </a:lnTo>
                  <a:lnTo>
                    <a:pt x="709" y="999"/>
                  </a:lnTo>
                  <a:lnTo>
                    <a:pt x="709" y="999"/>
                  </a:lnTo>
                  <a:lnTo>
                    <a:pt x="718" y="993"/>
                  </a:lnTo>
                  <a:lnTo>
                    <a:pt x="728" y="988"/>
                  </a:lnTo>
                  <a:lnTo>
                    <a:pt x="739" y="985"/>
                  </a:lnTo>
                  <a:lnTo>
                    <a:pt x="743" y="985"/>
                  </a:lnTo>
                  <a:lnTo>
                    <a:pt x="748" y="985"/>
                  </a:lnTo>
                  <a:lnTo>
                    <a:pt x="748" y="985"/>
                  </a:lnTo>
                  <a:lnTo>
                    <a:pt x="750" y="987"/>
                  </a:lnTo>
                  <a:lnTo>
                    <a:pt x="752" y="990"/>
                  </a:lnTo>
                  <a:lnTo>
                    <a:pt x="755" y="997"/>
                  </a:lnTo>
                  <a:lnTo>
                    <a:pt x="756" y="1005"/>
                  </a:lnTo>
                  <a:lnTo>
                    <a:pt x="759" y="1013"/>
                  </a:lnTo>
                  <a:lnTo>
                    <a:pt x="759" y="1013"/>
                  </a:lnTo>
                  <a:lnTo>
                    <a:pt x="770" y="1030"/>
                  </a:lnTo>
                  <a:lnTo>
                    <a:pt x="773" y="1036"/>
                  </a:lnTo>
                  <a:lnTo>
                    <a:pt x="774" y="1042"/>
                  </a:lnTo>
                  <a:lnTo>
                    <a:pt x="774" y="1042"/>
                  </a:lnTo>
                  <a:lnTo>
                    <a:pt x="776" y="1046"/>
                  </a:lnTo>
                  <a:lnTo>
                    <a:pt x="779" y="1049"/>
                  </a:lnTo>
                  <a:lnTo>
                    <a:pt x="782" y="1053"/>
                  </a:lnTo>
                  <a:lnTo>
                    <a:pt x="786" y="1059"/>
                  </a:lnTo>
                  <a:lnTo>
                    <a:pt x="786" y="1059"/>
                  </a:lnTo>
                  <a:lnTo>
                    <a:pt x="793" y="1071"/>
                  </a:lnTo>
                  <a:lnTo>
                    <a:pt x="796" y="1073"/>
                  </a:lnTo>
                  <a:lnTo>
                    <a:pt x="799" y="1073"/>
                  </a:lnTo>
                  <a:lnTo>
                    <a:pt x="799" y="1073"/>
                  </a:lnTo>
                  <a:lnTo>
                    <a:pt x="805" y="1067"/>
                  </a:lnTo>
                  <a:lnTo>
                    <a:pt x="813" y="1055"/>
                  </a:lnTo>
                  <a:lnTo>
                    <a:pt x="813" y="1055"/>
                  </a:lnTo>
                  <a:lnTo>
                    <a:pt x="817" y="1051"/>
                  </a:lnTo>
                  <a:lnTo>
                    <a:pt x="823" y="1046"/>
                  </a:lnTo>
                  <a:lnTo>
                    <a:pt x="830" y="1043"/>
                  </a:lnTo>
                  <a:lnTo>
                    <a:pt x="838" y="1042"/>
                  </a:lnTo>
                  <a:lnTo>
                    <a:pt x="838" y="1042"/>
                  </a:lnTo>
                  <a:lnTo>
                    <a:pt x="847" y="1039"/>
                  </a:lnTo>
                  <a:lnTo>
                    <a:pt x="851" y="1037"/>
                  </a:lnTo>
                  <a:lnTo>
                    <a:pt x="856" y="1033"/>
                  </a:lnTo>
                  <a:lnTo>
                    <a:pt x="857" y="1028"/>
                  </a:lnTo>
                  <a:lnTo>
                    <a:pt x="857" y="1028"/>
                  </a:lnTo>
                  <a:lnTo>
                    <a:pt x="860" y="1025"/>
                  </a:lnTo>
                  <a:lnTo>
                    <a:pt x="864" y="1022"/>
                  </a:lnTo>
                  <a:lnTo>
                    <a:pt x="870" y="1022"/>
                  </a:lnTo>
                  <a:lnTo>
                    <a:pt x="873" y="1024"/>
                  </a:lnTo>
                  <a:lnTo>
                    <a:pt x="876" y="1027"/>
                  </a:lnTo>
                  <a:lnTo>
                    <a:pt x="876" y="1027"/>
                  </a:lnTo>
                  <a:lnTo>
                    <a:pt x="882" y="1031"/>
                  </a:lnTo>
                  <a:lnTo>
                    <a:pt x="888" y="1034"/>
                  </a:lnTo>
                  <a:lnTo>
                    <a:pt x="893" y="1034"/>
                  </a:lnTo>
                  <a:lnTo>
                    <a:pt x="897" y="1033"/>
                  </a:lnTo>
                  <a:lnTo>
                    <a:pt x="897" y="1033"/>
                  </a:lnTo>
                  <a:lnTo>
                    <a:pt x="900" y="1030"/>
                  </a:lnTo>
                  <a:lnTo>
                    <a:pt x="902" y="1027"/>
                  </a:lnTo>
                  <a:lnTo>
                    <a:pt x="904" y="1021"/>
                  </a:lnTo>
                  <a:lnTo>
                    <a:pt x="904" y="1021"/>
                  </a:lnTo>
                  <a:lnTo>
                    <a:pt x="907" y="1018"/>
                  </a:lnTo>
                  <a:lnTo>
                    <a:pt x="912" y="1016"/>
                  </a:lnTo>
                  <a:lnTo>
                    <a:pt x="915" y="1015"/>
                  </a:lnTo>
                  <a:lnTo>
                    <a:pt x="916" y="1011"/>
                  </a:lnTo>
                  <a:lnTo>
                    <a:pt x="916" y="1011"/>
                  </a:lnTo>
                  <a:lnTo>
                    <a:pt x="918" y="999"/>
                  </a:lnTo>
                  <a:lnTo>
                    <a:pt x="918" y="987"/>
                  </a:lnTo>
                  <a:lnTo>
                    <a:pt x="918" y="987"/>
                  </a:lnTo>
                  <a:lnTo>
                    <a:pt x="919" y="982"/>
                  </a:lnTo>
                  <a:lnTo>
                    <a:pt x="922" y="979"/>
                  </a:lnTo>
                  <a:lnTo>
                    <a:pt x="925" y="978"/>
                  </a:lnTo>
                  <a:lnTo>
                    <a:pt x="927" y="974"/>
                  </a:lnTo>
                  <a:lnTo>
                    <a:pt x="927" y="974"/>
                  </a:lnTo>
                  <a:lnTo>
                    <a:pt x="933" y="965"/>
                  </a:lnTo>
                  <a:lnTo>
                    <a:pt x="934" y="959"/>
                  </a:lnTo>
                  <a:lnTo>
                    <a:pt x="936" y="953"/>
                  </a:lnTo>
                  <a:lnTo>
                    <a:pt x="936" y="953"/>
                  </a:lnTo>
                  <a:lnTo>
                    <a:pt x="937" y="947"/>
                  </a:lnTo>
                  <a:lnTo>
                    <a:pt x="939" y="945"/>
                  </a:lnTo>
                  <a:lnTo>
                    <a:pt x="943" y="942"/>
                  </a:lnTo>
                  <a:lnTo>
                    <a:pt x="946" y="939"/>
                  </a:lnTo>
                  <a:lnTo>
                    <a:pt x="946" y="939"/>
                  </a:lnTo>
                  <a:lnTo>
                    <a:pt x="949" y="934"/>
                  </a:lnTo>
                  <a:lnTo>
                    <a:pt x="950" y="929"/>
                  </a:lnTo>
                  <a:lnTo>
                    <a:pt x="952" y="926"/>
                  </a:lnTo>
                  <a:lnTo>
                    <a:pt x="955" y="922"/>
                  </a:lnTo>
                  <a:lnTo>
                    <a:pt x="955" y="922"/>
                  </a:lnTo>
                  <a:lnTo>
                    <a:pt x="959" y="917"/>
                  </a:lnTo>
                  <a:lnTo>
                    <a:pt x="961" y="911"/>
                  </a:lnTo>
                  <a:lnTo>
                    <a:pt x="961" y="911"/>
                  </a:lnTo>
                  <a:lnTo>
                    <a:pt x="962" y="908"/>
                  </a:lnTo>
                  <a:lnTo>
                    <a:pt x="967" y="905"/>
                  </a:lnTo>
                  <a:lnTo>
                    <a:pt x="970" y="904"/>
                  </a:lnTo>
                  <a:lnTo>
                    <a:pt x="971" y="902"/>
                  </a:lnTo>
                  <a:lnTo>
                    <a:pt x="973" y="899"/>
                  </a:lnTo>
                  <a:lnTo>
                    <a:pt x="973" y="899"/>
                  </a:lnTo>
                  <a:lnTo>
                    <a:pt x="974" y="895"/>
                  </a:lnTo>
                  <a:lnTo>
                    <a:pt x="973" y="889"/>
                  </a:lnTo>
                  <a:lnTo>
                    <a:pt x="973" y="885"/>
                  </a:lnTo>
                  <a:lnTo>
                    <a:pt x="970" y="880"/>
                  </a:lnTo>
                  <a:lnTo>
                    <a:pt x="970" y="880"/>
                  </a:lnTo>
                  <a:lnTo>
                    <a:pt x="967" y="876"/>
                  </a:lnTo>
                  <a:lnTo>
                    <a:pt x="965" y="870"/>
                  </a:lnTo>
                  <a:lnTo>
                    <a:pt x="965" y="865"/>
                  </a:lnTo>
                  <a:lnTo>
                    <a:pt x="968" y="859"/>
                  </a:lnTo>
                  <a:lnTo>
                    <a:pt x="968" y="859"/>
                  </a:lnTo>
                  <a:lnTo>
                    <a:pt x="974" y="854"/>
                  </a:lnTo>
                  <a:lnTo>
                    <a:pt x="980" y="849"/>
                  </a:lnTo>
                  <a:lnTo>
                    <a:pt x="984" y="848"/>
                  </a:lnTo>
                  <a:lnTo>
                    <a:pt x="987" y="848"/>
                  </a:lnTo>
                  <a:lnTo>
                    <a:pt x="989" y="849"/>
                  </a:lnTo>
                  <a:lnTo>
                    <a:pt x="989" y="849"/>
                  </a:lnTo>
                  <a:lnTo>
                    <a:pt x="992" y="852"/>
                  </a:lnTo>
                  <a:lnTo>
                    <a:pt x="995" y="855"/>
                  </a:lnTo>
                  <a:lnTo>
                    <a:pt x="1005" y="857"/>
                  </a:lnTo>
                  <a:lnTo>
                    <a:pt x="1005" y="857"/>
                  </a:lnTo>
                  <a:lnTo>
                    <a:pt x="1013" y="858"/>
                  </a:lnTo>
                  <a:lnTo>
                    <a:pt x="1017" y="857"/>
                  </a:lnTo>
                  <a:lnTo>
                    <a:pt x="1026" y="855"/>
                  </a:lnTo>
                  <a:lnTo>
                    <a:pt x="1026" y="855"/>
                  </a:lnTo>
                  <a:lnTo>
                    <a:pt x="1029" y="855"/>
                  </a:lnTo>
                  <a:lnTo>
                    <a:pt x="1033" y="855"/>
                  </a:lnTo>
                  <a:lnTo>
                    <a:pt x="1041" y="857"/>
                  </a:lnTo>
                  <a:lnTo>
                    <a:pt x="1044" y="855"/>
                  </a:lnTo>
                  <a:lnTo>
                    <a:pt x="1044" y="855"/>
                  </a:lnTo>
                  <a:lnTo>
                    <a:pt x="1035" y="796"/>
                  </a:lnTo>
                  <a:lnTo>
                    <a:pt x="1035" y="796"/>
                  </a:lnTo>
                  <a:lnTo>
                    <a:pt x="1035" y="753"/>
                  </a:lnTo>
                  <a:lnTo>
                    <a:pt x="1035" y="753"/>
                  </a:lnTo>
                  <a:lnTo>
                    <a:pt x="1033" y="735"/>
                  </a:lnTo>
                  <a:lnTo>
                    <a:pt x="1033" y="723"/>
                  </a:lnTo>
                  <a:lnTo>
                    <a:pt x="1032" y="714"/>
                  </a:lnTo>
                  <a:lnTo>
                    <a:pt x="1032" y="714"/>
                  </a:lnTo>
                  <a:lnTo>
                    <a:pt x="1029" y="710"/>
                  </a:lnTo>
                  <a:lnTo>
                    <a:pt x="1027" y="705"/>
                  </a:lnTo>
                  <a:lnTo>
                    <a:pt x="1024" y="704"/>
                  </a:lnTo>
                  <a:lnTo>
                    <a:pt x="1021" y="704"/>
                  </a:lnTo>
                  <a:lnTo>
                    <a:pt x="1021" y="704"/>
                  </a:lnTo>
                  <a:lnTo>
                    <a:pt x="1013" y="702"/>
                  </a:lnTo>
                  <a:lnTo>
                    <a:pt x="1007" y="701"/>
                  </a:lnTo>
                  <a:lnTo>
                    <a:pt x="1002" y="697"/>
                  </a:lnTo>
                  <a:lnTo>
                    <a:pt x="1002" y="697"/>
                  </a:lnTo>
                  <a:lnTo>
                    <a:pt x="1001" y="695"/>
                  </a:lnTo>
                  <a:lnTo>
                    <a:pt x="1001" y="694"/>
                  </a:lnTo>
                  <a:lnTo>
                    <a:pt x="1002" y="689"/>
                  </a:lnTo>
                  <a:lnTo>
                    <a:pt x="1007" y="686"/>
                  </a:lnTo>
                  <a:lnTo>
                    <a:pt x="1011" y="685"/>
                  </a:lnTo>
                  <a:lnTo>
                    <a:pt x="1011" y="685"/>
                  </a:lnTo>
                  <a:lnTo>
                    <a:pt x="1016" y="686"/>
                  </a:lnTo>
                  <a:lnTo>
                    <a:pt x="1020" y="688"/>
                  </a:lnTo>
                  <a:lnTo>
                    <a:pt x="1032" y="692"/>
                  </a:lnTo>
                  <a:lnTo>
                    <a:pt x="1032" y="692"/>
                  </a:lnTo>
                  <a:lnTo>
                    <a:pt x="1033" y="692"/>
                  </a:lnTo>
                  <a:lnTo>
                    <a:pt x="1036" y="691"/>
                  </a:lnTo>
                  <a:lnTo>
                    <a:pt x="1039" y="688"/>
                  </a:lnTo>
                  <a:lnTo>
                    <a:pt x="1045" y="682"/>
                  </a:lnTo>
                  <a:lnTo>
                    <a:pt x="1045" y="682"/>
                  </a:lnTo>
                  <a:lnTo>
                    <a:pt x="1047" y="679"/>
                  </a:lnTo>
                  <a:lnTo>
                    <a:pt x="1050" y="673"/>
                  </a:lnTo>
                  <a:lnTo>
                    <a:pt x="1054" y="662"/>
                  </a:lnTo>
                  <a:lnTo>
                    <a:pt x="1054" y="662"/>
                  </a:lnTo>
                  <a:lnTo>
                    <a:pt x="1056" y="658"/>
                  </a:lnTo>
                  <a:lnTo>
                    <a:pt x="1060" y="652"/>
                  </a:lnTo>
                  <a:lnTo>
                    <a:pt x="1070" y="643"/>
                  </a:lnTo>
                  <a:lnTo>
                    <a:pt x="1070" y="643"/>
                  </a:lnTo>
                  <a:lnTo>
                    <a:pt x="1084" y="633"/>
                  </a:lnTo>
                  <a:lnTo>
                    <a:pt x="1091" y="627"/>
                  </a:lnTo>
                  <a:lnTo>
                    <a:pt x="1093" y="624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3" y="620"/>
                  </a:lnTo>
                  <a:lnTo>
                    <a:pt x="1090" y="618"/>
                  </a:lnTo>
                  <a:lnTo>
                    <a:pt x="1085" y="617"/>
                  </a:lnTo>
                  <a:lnTo>
                    <a:pt x="1079" y="615"/>
                  </a:lnTo>
                  <a:lnTo>
                    <a:pt x="1079" y="615"/>
                  </a:lnTo>
                  <a:lnTo>
                    <a:pt x="1075" y="612"/>
                  </a:lnTo>
                  <a:lnTo>
                    <a:pt x="1073" y="609"/>
                  </a:lnTo>
                  <a:lnTo>
                    <a:pt x="1073" y="605"/>
                  </a:lnTo>
                  <a:lnTo>
                    <a:pt x="1073" y="599"/>
                  </a:lnTo>
                  <a:lnTo>
                    <a:pt x="1073" y="599"/>
                  </a:lnTo>
                  <a:lnTo>
                    <a:pt x="1072" y="591"/>
                  </a:lnTo>
                  <a:lnTo>
                    <a:pt x="1067" y="587"/>
                  </a:lnTo>
                  <a:lnTo>
                    <a:pt x="1063" y="583"/>
                  </a:lnTo>
                  <a:lnTo>
                    <a:pt x="1057" y="581"/>
                  </a:lnTo>
                  <a:lnTo>
                    <a:pt x="1057" y="581"/>
                  </a:lnTo>
                  <a:lnTo>
                    <a:pt x="1051" y="581"/>
                  </a:lnTo>
                  <a:lnTo>
                    <a:pt x="1047" y="583"/>
                  </a:lnTo>
                  <a:lnTo>
                    <a:pt x="1042" y="585"/>
                  </a:lnTo>
                  <a:lnTo>
                    <a:pt x="1038" y="587"/>
                  </a:lnTo>
                  <a:lnTo>
                    <a:pt x="1038" y="587"/>
                  </a:lnTo>
                  <a:lnTo>
                    <a:pt x="1033" y="585"/>
                  </a:lnTo>
                  <a:lnTo>
                    <a:pt x="1030" y="584"/>
                  </a:lnTo>
                  <a:lnTo>
                    <a:pt x="1024" y="575"/>
                  </a:lnTo>
                  <a:lnTo>
                    <a:pt x="1024" y="575"/>
                  </a:lnTo>
                  <a:lnTo>
                    <a:pt x="1021" y="572"/>
                  </a:lnTo>
                  <a:lnTo>
                    <a:pt x="1017" y="572"/>
                  </a:lnTo>
                  <a:lnTo>
                    <a:pt x="1008" y="572"/>
                  </a:lnTo>
                  <a:lnTo>
                    <a:pt x="999" y="575"/>
                  </a:lnTo>
                  <a:lnTo>
                    <a:pt x="992" y="577"/>
                  </a:lnTo>
                  <a:lnTo>
                    <a:pt x="992" y="577"/>
                  </a:lnTo>
                  <a:lnTo>
                    <a:pt x="974" y="587"/>
                  </a:lnTo>
                  <a:lnTo>
                    <a:pt x="955" y="599"/>
                  </a:lnTo>
                  <a:lnTo>
                    <a:pt x="955" y="599"/>
                  </a:lnTo>
                  <a:lnTo>
                    <a:pt x="947" y="603"/>
                  </a:lnTo>
                  <a:lnTo>
                    <a:pt x="944" y="603"/>
                  </a:lnTo>
                  <a:lnTo>
                    <a:pt x="943" y="603"/>
                  </a:lnTo>
                  <a:lnTo>
                    <a:pt x="943" y="603"/>
                  </a:lnTo>
                  <a:lnTo>
                    <a:pt x="941" y="600"/>
                  </a:lnTo>
                  <a:lnTo>
                    <a:pt x="943" y="599"/>
                  </a:lnTo>
                  <a:lnTo>
                    <a:pt x="943" y="590"/>
                  </a:lnTo>
                  <a:lnTo>
                    <a:pt x="943" y="590"/>
                  </a:lnTo>
                  <a:lnTo>
                    <a:pt x="943" y="587"/>
                  </a:lnTo>
                  <a:lnTo>
                    <a:pt x="941" y="585"/>
                  </a:lnTo>
                  <a:lnTo>
                    <a:pt x="937" y="581"/>
                  </a:lnTo>
                  <a:lnTo>
                    <a:pt x="933" y="580"/>
                  </a:lnTo>
                  <a:lnTo>
                    <a:pt x="928" y="578"/>
                  </a:lnTo>
                  <a:lnTo>
                    <a:pt x="928" y="578"/>
                  </a:lnTo>
                  <a:lnTo>
                    <a:pt x="899" y="578"/>
                  </a:lnTo>
                  <a:lnTo>
                    <a:pt x="864" y="580"/>
                  </a:lnTo>
                  <a:lnTo>
                    <a:pt x="864" y="580"/>
                  </a:lnTo>
                  <a:lnTo>
                    <a:pt x="859" y="581"/>
                  </a:lnTo>
                  <a:lnTo>
                    <a:pt x="856" y="583"/>
                  </a:lnTo>
                  <a:lnTo>
                    <a:pt x="854" y="584"/>
                  </a:lnTo>
                  <a:lnTo>
                    <a:pt x="856" y="585"/>
                  </a:lnTo>
                  <a:lnTo>
                    <a:pt x="859" y="587"/>
                  </a:lnTo>
                  <a:lnTo>
                    <a:pt x="859" y="587"/>
                  </a:lnTo>
                  <a:lnTo>
                    <a:pt x="863" y="590"/>
                  </a:lnTo>
                  <a:lnTo>
                    <a:pt x="866" y="593"/>
                  </a:lnTo>
                  <a:lnTo>
                    <a:pt x="866" y="596"/>
                  </a:lnTo>
                  <a:lnTo>
                    <a:pt x="864" y="600"/>
                  </a:lnTo>
                  <a:lnTo>
                    <a:pt x="864" y="600"/>
                  </a:lnTo>
                  <a:lnTo>
                    <a:pt x="862" y="603"/>
                  </a:lnTo>
                  <a:lnTo>
                    <a:pt x="857" y="605"/>
                  </a:lnTo>
                  <a:lnTo>
                    <a:pt x="847" y="606"/>
                  </a:lnTo>
                  <a:lnTo>
                    <a:pt x="847" y="606"/>
                  </a:lnTo>
                  <a:lnTo>
                    <a:pt x="841" y="608"/>
                  </a:lnTo>
                  <a:lnTo>
                    <a:pt x="835" y="611"/>
                  </a:lnTo>
                  <a:lnTo>
                    <a:pt x="835" y="611"/>
                  </a:lnTo>
                  <a:lnTo>
                    <a:pt x="827" y="614"/>
                  </a:lnTo>
                  <a:lnTo>
                    <a:pt x="811" y="614"/>
                  </a:lnTo>
                  <a:lnTo>
                    <a:pt x="811" y="614"/>
                  </a:lnTo>
                  <a:lnTo>
                    <a:pt x="805" y="615"/>
                  </a:lnTo>
                  <a:lnTo>
                    <a:pt x="802" y="615"/>
                  </a:lnTo>
                  <a:lnTo>
                    <a:pt x="799" y="618"/>
                  </a:lnTo>
                  <a:lnTo>
                    <a:pt x="799" y="620"/>
                  </a:lnTo>
                  <a:lnTo>
                    <a:pt x="799" y="624"/>
                  </a:lnTo>
                  <a:lnTo>
                    <a:pt x="799" y="625"/>
                  </a:lnTo>
                  <a:lnTo>
                    <a:pt x="799" y="625"/>
                  </a:lnTo>
                  <a:lnTo>
                    <a:pt x="801" y="634"/>
                  </a:lnTo>
                  <a:lnTo>
                    <a:pt x="802" y="642"/>
                  </a:lnTo>
                  <a:lnTo>
                    <a:pt x="801" y="648"/>
                  </a:lnTo>
                  <a:lnTo>
                    <a:pt x="801" y="648"/>
                  </a:lnTo>
                  <a:lnTo>
                    <a:pt x="796" y="651"/>
                  </a:lnTo>
                  <a:lnTo>
                    <a:pt x="787" y="652"/>
                  </a:lnTo>
                  <a:lnTo>
                    <a:pt x="779" y="654"/>
                  </a:lnTo>
                  <a:lnTo>
                    <a:pt x="773" y="654"/>
                  </a:lnTo>
                  <a:lnTo>
                    <a:pt x="773" y="654"/>
                  </a:lnTo>
                  <a:lnTo>
                    <a:pt x="771" y="652"/>
                  </a:lnTo>
                  <a:lnTo>
                    <a:pt x="771" y="649"/>
                  </a:lnTo>
                  <a:lnTo>
                    <a:pt x="773" y="645"/>
                  </a:lnTo>
                  <a:lnTo>
                    <a:pt x="776" y="640"/>
                  </a:lnTo>
                  <a:lnTo>
                    <a:pt x="776" y="640"/>
                  </a:lnTo>
                  <a:lnTo>
                    <a:pt x="783" y="627"/>
                  </a:lnTo>
                  <a:lnTo>
                    <a:pt x="790" y="612"/>
                  </a:lnTo>
                  <a:lnTo>
                    <a:pt x="790" y="612"/>
                  </a:lnTo>
                  <a:lnTo>
                    <a:pt x="790" y="611"/>
                  </a:lnTo>
                  <a:lnTo>
                    <a:pt x="789" y="609"/>
                  </a:lnTo>
                  <a:lnTo>
                    <a:pt x="783" y="611"/>
                  </a:lnTo>
                  <a:lnTo>
                    <a:pt x="767" y="621"/>
                  </a:lnTo>
                  <a:lnTo>
                    <a:pt x="767" y="621"/>
                  </a:lnTo>
                  <a:lnTo>
                    <a:pt x="761" y="625"/>
                  </a:lnTo>
                  <a:lnTo>
                    <a:pt x="756" y="627"/>
                  </a:lnTo>
                  <a:lnTo>
                    <a:pt x="755" y="627"/>
                  </a:lnTo>
                  <a:lnTo>
                    <a:pt x="755" y="624"/>
                  </a:lnTo>
                  <a:lnTo>
                    <a:pt x="755" y="624"/>
                  </a:lnTo>
                  <a:lnTo>
                    <a:pt x="758" y="620"/>
                  </a:lnTo>
                  <a:lnTo>
                    <a:pt x="762" y="614"/>
                  </a:lnTo>
                  <a:lnTo>
                    <a:pt x="771" y="602"/>
                  </a:lnTo>
                  <a:lnTo>
                    <a:pt x="771" y="602"/>
                  </a:lnTo>
                  <a:lnTo>
                    <a:pt x="777" y="600"/>
                  </a:lnTo>
                  <a:lnTo>
                    <a:pt x="785" y="599"/>
                  </a:lnTo>
                  <a:lnTo>
                    <a:pt x="802" y="596"/>
                  </a:lnTo>
                  <a:lnTo>
                    <a:pt x="802" y="596"/>
                  </a:lnTo>
                  <a:lnTo>
                    <a:pt x="805" y="594"/>
                  </a:lnTo>
                  <a:lnTo>
                    <a:pt x="808" y="591"/>
                  </a:lnTo>
                  <a:lnTo>
                    <a:pt x="816" y="583"/>
                  </a:lnTo>
                  <a:lnTo>
                    <a:pt x="823" y="572"/>
                  </a:lnTo>
                  <a:lnTo>
                    <a:pt x="829" y="563"/>
                  </a:lnTo>
                  <a:lnTo>
                    <a:pt x="829" y="563"/>
                  </a:lnTo>
                  <a:lnTo>
                    <a:pt x="830" y="559"/>
                  </a:lnTo>
                  <a:lnTo>
                    <a:pt x="832" y="551"/>
                  </a:lnTo>
                  <a:lnTo>
                    <a:pt x="832" y="534"/>
                  </a:lnTo>
                  <a:lnTo>
                    <a:pt x="830" y="504"/>
                  </a:lnTo>
                  <a:lnTo>
                    <a:pt x="830" y="504"/>
                  </a:lnTo>
                  <a:lnTo>
                    <a:pt x="830" y="500"/>
                  </a:lnTo>
                  <a:lnTo>
                    <a:pt x="827" y="494"/>
                  </a:lnTo>
                  <a:lnTo>
                    <a:pt x="822" y="479"/>
                  </a:lnTo>
                  <a:lnTo>
                    <a:pt x="808" y="457"/>
                  </a:lnTo>
                  <a:lnTo>
                    <a:pt x="808" y="457"/>
                  </a:lnTo>
                  <a:lnTo>
                    <a:pt x="804" y="451"/>
                  </a:lnTo>
                  <a:lnTo>
                    <a:pt x="796" y="445"/>
                  </a:lnTo>
                  <a:lnTo>
                    <a:pt x="789" y="439"/>
                  </a:lnTo>
                  <a:lnTo>
                    <a:pt x="783" y="434"/>
                  </a:lnTo>
                  <a:lnTo>
                    <a:pt x="783" y="434"/>
                  </a:lnTo>
                  <a:lnTo>
                    <a:pt x="776" y="433"/>
                  </a:lnTo>
                  <a:lnTo>
                    <a:pt x="765" y="434"/>
                  </a:lnTo>
                  <a:lnTo>
                    <a:pt x="755" y="434"/>
                  </a:lnTo>
                  <a:lnTo>
                    <a:pt x="745" y="436"/>
                  </a:lnTo>
                  <a:lnTo>
                    <a:pt x="745" y="436"/>
                  </a:lnTo>
                  <a:lnTo>
                    <a:pt x="725" y="436"/>
                  </a:lnTo>
                  <a:lnTo>
                    <a:pt x="716" y="434"/>
                  </a:lnTo>
                  <a:lnTo>
                    <a:pt x="710" y="434"/>
                  </a:lnTo>
                  <a:lnTo>
                    <a:pt x="710" y="434"/>
                  </a:lnTo>
                  <a:lnTo>
                    <a:pt x="706" y="431"/>
                  </a:lnTo>
                  <a:lnTo>
                    <a:pt x="705" y="428"/>
                  </a:lnTo>
                  <a:lnTo>
                    <a:pt x="702" y="418"/>
                  </a:lnTo>
                  <a:lnTo>
                    <a:pt x="702" y="418"/>
                  </a:lnTo>
                  <a:lnTo>
                    <a:pt x="700" y="412"/>
                  </a:lnTo>
                  <a:lnTo>
                    <a:pt x="697" y="409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88" y="400"/>
                  </a:lnTo>
                  <a:lnTo>
                    <a:pt x="688" y="399"/>
                  </a:lnTo>
                  <a:lnTo>
                    <a:pt x="688" y="396"/>
                  </a:lnTo>
                  <a:lnTo>
                    <a:pt x="688" y="394"/>
                  </a:lnTo>
                  <a:lnTo>
                    <a:pt x="688" y="394"/>
                  </a:lnTo>
                  <a:lnTo>
                    <a:pt x="691" y="393"/>
                  </a:lnTo>
                  <a:lnTo>
                    <a:pt x="694" y="393"/>
                  </a:lnTo>
                  <a:lnTo>
                    <a:pt x="703" y="393"/>
                  </a:lnTo>
                  <a:lnTo>
                    <a:pt x="703" y="393"/>
                  </a:lnTo>
                  <a:lnTo>
                    <a:pt x="706" y="391"/>
                  </a:lnTo>
                  <a:lnTo>
                    <a:pt x="708" y="390"/>
                  </a:lnTo>
                  <a:lnTo>
                    <a:pt x="706" y="387"/>
                  </a:lnTo>
                  <a:lnTo>
                    <a:pt x="705" y="383"/>
                  </a:lnTo>
                  <a:lnTo>
                    <a:pt x="705" y="383"/>
                  </a:lnTo>
                  <a:lnTo>
                    <a:pt x="700" y="377"/>
                  </a:lnTo>
                  <a:lnTo>
                    <a:pt x="697" y="371"/>
                  </a:lnTo>
                  <a:lnTo>
                    <a:pt x="697" y="371"/>
                  </a:lnTo>
                  <a:lnTo>
                    <a:pt x="696" y="368"/>
                  </a:lnTo>
                  <a:lnTo>
                    <a:pt x="697" y="365"/>
                  </a:lnTo>
                  <a:lnTo>
                    <a:pt x="700" y="362"/>
                  </a:lnTo>
                  <a:lnTo>
                    <a:pt x="705" y="360"/>
                  </a:lnTo>
                  <a:lnTo>
                    <a:pt x="705" y="360"/>
                  </a:lnTo>
                  <a:lnTo>
                    <a:pt x="709" y="360"/>
                  </a:lnTo>
                  <a:lnTo>
                    <a:pt x="712" y="360"/>
                  </a:lnTo>
                  <a:lnTo>
                    <a:pt x="716" y="365"/>
                  </a:lnTo>
                  <a:lnTo>
                    <a:pt x="721" y="371"/>
                  </a:lnTo>
                  <a:lnTo>
                    <a:pt x="725" y="375"/>
                  </a:lnTo>
                  <a:lnTo>
                    <a:pt x="725" y="375"/>
                  </a:lnTo>
                  <a:lnTo>
                    <a:pt x="739" y="389"/>
                  </a:lnTo>
                  <a:lnTo>
                    <a:pt x="745" y="394"/>
                  </a:lnTo>
                  <a:lnTo>
                    <a:pt x="749" y="397"/>
                  </a:lnTo>
                  <a:lnTo>
                    <a:pt x="749" y="397"/>
                  </a:lnTo>
                  <a:lnTo>
                    <a:pt x="750" y="396"/>
                  </a:lnTo>
                  <a:lnTo>
                    <a:pt x="753" y="394"/>
                  </a:lnTo>
                  <a:lnTo>
                    <a:pt x="762" y="387"/>
                  </a:lnTo>
                  <a:lnTo>
                    <a:pt x="762" y="387"/>
                  </a:lnTo>
                  <a:lnTo>
                    <a:pt x="767" y="387"/>
                  </a:lnTo>
                  <a:lnTo>
                    <a:pt x="773" y="387"/>
                  </a:lnTo>
                  <a:lnTo>
                    <a:pt x="783" y="393"/>
                  </a:lnTo>
                  <a:lnTo>
                    <a:pt x="783" y="393"/>
                  </a:lnTo>
                  <a:lnTo>
                    <a:pt x="787" y="393"/>
                  </a:lnTo>
                  <a:lnTo>
                    <a:pt x="790" y="391"/>
                  </a:lnTo>
                  <a:lnTo>
                    <a:pt x="798" y="386"/>
                  </a:lnTo>
                  <a:lnTo>
                    <a:pt x="798" y="386"/>
                  </a:lnTo>
                  <a:lnTo>
                    <a:pt x="801" y="381"/>
                  </a:lnTo>
                  <a:lnTo>
                    <a:pt x="804" y="375"/>
                  </a:lnTo>
                  <a:lnTo>
                    <a:pt x="804" y="369"/>
                  </a:lnTo>
                  <a:lnTo>
                    <a:pt x="805" y="362"/>
                  </a:lnTo>
                  <a:lnTo>
                    <a:pt x="805" y="362"/>
                  </a:lnTo>
                  <a:lnTo>
                    <a:pt x="805" y="338"/>
                  </a:lnTo>
                  <a:lnTo>
                    <a:pt x="807" y="325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11" y="313"/>
                  </a:lnTo>
                  <a:lnTo>
                    <a:pt x="816" y="307"/>
                  </a:lnTo>
                  <a:lnTo>
                    <a:pt x="823" y="301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36" y="294"/>
                  </a:lnTo>
                  <a:lnTo>
                    <a:pt x="845" y="292"/>
                  </a:lnTo>
                  <a:lnTo>
                    <a:pt x="862" y="294"/>
                  </a:lnTo>
                  <a:lnTo>
                    <a:pt x="862" y="294"/>
                  </a:lnTo>
                  <a:lnTo>
                    <a:pt x="881" y="294"/>
                  </a:lnTo>
                  <a:lnTo>
                    <a:pt x="890" y="292"/>
                  </a:lnTo>
                  <a:lnTo>
                    <a:pt x="896" y="291"/>
                  </a:lnTo>
                  <a:lnTo>
                    <a:pt x="896" y="291"/>
                  </a:lnTo>
                  <a:lnTo>
                    <a:pt x="900" y="286"/>
                  </a:lnTo>
                  <a:lnTo>
                    <a:pt x="904" y="279"/>
                  </a:lnTo>
                  <a:lnTo>
                    <a:pt x="910" y="266"/>
                  </a:lnTo>
                  <a:lnTo>
                    <a:pt x="910" y="266"/>
                  </a:lnTo>
                  <a:lnTo>
                    <a:pt x="921" y="254"/>
                  </a:lnTo>
                  <a:lnTo>
                    <a:pt x="931" y="242"/>
                  </a:lnTo>
                  <a:lnTo>
                    <a:pt x="931" y="242"/>
                  </a:lnTo>
                  <a:lnTo>
                    <a:pt x="937" y="239"/>
                  </a:lnTo>
                  <a:lnTo>
                    <a:pt x="943" y="237"/>
                  </a:lnTo>
                  <a:lnTo>
                    <a:pt x="955" y="236"/>
                  </a:lnTo>
                  <a:lnTo>
                    <a:pt x="955" y="236"/>
                  </a:lnTo>
                  <a:lnTo>
                    <a:pt x="958" y="234"/>
                  </a:lnTo>
                  <a:lnTo>
                    <a:pt x="962" y="233"/>
                  </a:lnTo>
                  <a:lnTo>
                    <a:pt x="968" y="227"/>
                  </a:lnTo>
                  <a:lnTo>
                    <a:pt x="974" y="221"/>
                  </a:lnTo>
                  <a:lnTo>
                    <a:pt x="976" y="215"/>
                  </a:lnTo>
                  <a:lnTo>
                    <a:pt x="976" y="215"/>
                  </a:lnTo>
                  <a:lnTo>
                    <a:pt x="977" y="214"/>
                  </a:lnTo>
                  <a:lnTo>
                    <a:pt x="976" y="211"/>
                  </a:lnTo>
                  <a:lnTo>
                    <a:pt x="971" y="208"/>
                  </a:lnTo>
                  <a:lnTo>
                    <a:pt x="971" y="208"/>
                  </a:lnTo>
                  <a:lnTo>
                    <a:pt x="959" y="200"/>
                  </a:lnTo>
                  <a:lnTo>
                    <a:pt x="955" y="196"/>
                  </a:lnTo>
                  <a:lnTo>
                    <a:pt x="952" y="192"/>
                  </a:lnTo>
                  <a:lnTo>
                    <a:pt x="952" y="192"/>
                  </a:lnTo>
                  <a:lnTo>
                    <a:pt x="952" y="190"/>
                  </a:lnTo>
                  <a:lnTo>
                    <a:pt x="955" y="190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8" y="190"/>
                  </a:lnTo>
                  <a:lnTo>
                    <a:pt x="974" y="193"/>
                  </a:lnTo>
                  <a:lnTo>
                    <a:pt x="983" y="199"/>
                  </a:lnTo>
                  <a:lnTo>
                    <a:pt x="983" y="199"/>
                  </a:lnTo>
                  <a:lnTo>
                    <a:pt x="986" y="199"/>
                  </a:lnTo>
                  <a:lnTo>
                    <a:pt x="987" y="196"/>
                  </a:lnTo>
                  <a:lnTo>
                    <a:pt x="993" y="189"/>
                  </a:lnTo>
                  <a:lnTo>
                    <a:pt x="993" y="189"/>
                  </a:lnTo>
                  <a:lnTo>
                    <a:pt x="993" y="187"/>
                  </a:lnTo>
                  <a:lnTo>
                    <a:pt x="993" y="186"/>
                  </a:lnTo>
                  <a:lnTo>
                    <a:pt x="989" y="183"/>
                  </a:lnTo>
                  <a:lnTo>
                    <a:pt x="979" y="177"/>
                  </a:lnTo>
                  <a:lnTo>
                    <a:pt x="979" y="177"/>
                  </a:lnTo>
                  <a:lnTo>
                    <a:pt x="976" y="174"/>
                  </a:lnTo>
                  <a:lnTo>
                    <a:pt x="977" y="172"/>
                  </a:lnTo>
                  <a:lnTo>
                    <a:pt x="981" y="166"/>
                  </a:lnTo>
                  <a:lnTo>
                    <a:pt x="981" y="166"/>
                  </a:lnTo>
                  <a:lnTo>
                    <a:pt x="984" y="163"/>
                  </a:lnTo>
                  <a:lnTo>
                    <a:pt x="986" y="160"/>
                  </a:lnTo>
                  <a:lnTo>
                    <a:pt x="986" y="155"/>
                  </a:lnTo>
                  <a:lnTo>
                    <a:pt x="986" y="150"/>
                  </a:lnTo>
                  <a:lnTo>
                    <a:pt x="986" y="150"/>
                  </a:lnTo>
                  <a:lnTo>
                    <a:pt x="983" y="146"/>
                  </a:lnTo>
                  <a:lnTo>
                    <a:pt x="980" y="146"/>
                  </a:lnTo>
                  <a:lnTo>
                    <a:pt x="970" y="150"/>
                  </a:lnTo>
                  <a:lnTo>
                    <a:pt x="970" y="150"/>
                  </a:lnTo>
                  <a:lnTo>
                    <a:pt x="952" y="160"/>
                  </a:lnTo>
                  <a:lnTo>
                    <a:pt x="941" y="165"/>
                  </a:lnTo>
                  <a:lnTo>
                    <a:pt x="933" y="168"/>
                  </a:lnTo>
                  <a:lnTo>
                    <a:pt x="933" y="168"/>
                  </a:lnTo>
                  <a:lnTo>
                    <a:pt x="930" y="168"/>
                  </a:lnTo>
                  <a:lnTo>
                    <a:pt x="928" y="166"/>
                  </a:lnTo>
                  <a:lnTo>
                    <a:pt x="927" y="163"/>
                  </a:lnTo>
                  <a:lnTo>
                    <a:pt x="925" y="156"/>
                  </a:lnTo>
                  <a:lnTo>
                    <a:pt x="924" y="147"/>
                  </a:lnTo>
                  <a:lnTo>
                    <a:pt x="924" y="147"/>
                  </a:lnTo>
                  <a:lnTo>
                    <a:pt x="922" y="143"/>
                  </a:lnTo>
                  <a:lnTo>
                    <a:pt x="919" y="140"/>
                  </a:lnTo>
                  <a:lnTo>
                    <a:pt x="913" y="134"/>
                  </a:lnTo>
                  <a:lnTo>
                    <a:pt x="907" y="131"/>
                  </a:lnTo>
                  <a:lnTo>
                    <a:pt x="903" y="129"/>
                  </a:lnTo>
                  <a:lnTo>
                    <a:pt x="903" y="129"/>
                  </a:lnTo>
                  <a:lnTo>
                    <a:pt x="890" y="129"/>
                  </a:lnTo>
                  <a:lnTo>
                    <a:pt x="875" y="129"/>
                  </a:lnTo>
                  <a:lnTo>
                    <a:pt x="875" y="129"/>
                  </a:lnTo>
                  <a:lnTo>
                    <a:pt x="859" y="131"/>
                  </a:lnTo>
                  <a:lnTo>
                    <a:pt x="845" y="129"/>
                  </a:lnTo>
                  <a:lnTo>
                    <a:pt x="845" y="129"/>
                  </a:lnTo>
                  <a:lnTo>
                    <a:pt x="844" y="129"/>
                  </a:lnTo>
                  <a:lnTo>
                    <a:pt x="845" y="128"/>
                  </a:lnTo>
                  <a:lnTo>
                    <a:pt x="848" y="125"/>
                  </a:lnTo>
                  <a:lnTo>
                    <a:pt x="848" y="125"/>
                  </a:lnTo>
                  <a:lnTo>
                    <a:pt x="857" y="112"/>
                  </a:lnTo>
                  <a:lnTo>
                    <a:pt x="869" y="97"/>
                  </a:lnTo>
                  <a:lnTo>
                    <a:pt x="869" y="97"/>
                  </a:lnTo>
                  <a:lnTo>
                    <a:pt x="872" y="92"/>
                  </a:lnTo>
                  <a:lnTo>
                    <a:pt x="873" y="86"/>
                  </a:lnTo>
                  <a:lnTo>
                    <a:pt x="873" y="76"/>
                  </a:lnTo>
                  <a:lnTo>
                    <a:pt x="873" y="76"/>
                  </a:lnTo>
                  <a:lnTo>
                    <a:pt x="873" y="73"/>
                  </a:lnTo>
                  <a:lnTo>
                    <a:pt x="870" y="72"/>
                  </a:lnTo>
                  <a:lnTo>
                    <a:pt x="867" y="70"/>
                  </a:lnTo>
                  <a:lnTo>
                    <a:pt x="866" y="70"/>
                  </a:lnTo>
                  <a:lnTo>
                    <a:pt x="866" y="70"/>
                  </a:lnTo>
                  <a:lnTo>
                    <a:pt x="863" y="72"/>
                  </a:lnTo>
                  <a:lnTo>
                    <a:pt x="860" y="76"/>
                  </a:lnTo>
                  <a:lnTo>
                    <a:pt x="854" y="83"/>
                  </a:lnTo>
                  <a:lnTo>
                    <a:pt x="854" y="83"/>
                  </a:lnTo>
                  <a:lnTo>
                    <a:pt x="847" y="88"/>
                  </a:lnTo>
                  <a:lnTo>
                    <a:pt x="842" y="89"/>
                  </a:lnTo>
                  <a:lnTo>
                    <a:pt x="839" y="89"/>
                  </a:lnTo>
                  <a:lnTo>
                    <a:pt x="839" y="89"/>
                  </a:lnTo>
                  <a:lnTo>
                    <a:pt x="836" y="86"/>
                  </a:lnTo>
                  <a:lnTo>
                    <a:pt x="833" y="83"/>
                  </a:lnTo>
                  <a:lnTo>
                    <a:pt x="832" y="79"/>
                  </a:lnTo>
                  <a:lnTo>
                    <a:pt x="832" y="76"/>
                  </a:lnTo>
                  <a:lnTo>
                    <a:pt x="832" y="76"/>
                  </a:lnTo>
                  <a:lnTo>
                    <a:pt x="835" y="73"/>
                  </a:lnTo>
                  <a:lnTo>
                    <a:pt x="838" y="72"/>
                  </a:lnTo>
                  <a:lnTo>
                    <a:pt x="847" y="70"/>
                  </a:lnTo>
                  <a:lnTo>
                    <a:pt x="847" y="70"/>
                  </a:lnTo>
                  <a:lnTo>
                    <a:pt x="851" y="69"/>
                  </a:lnTo>
                  <a:lnTo>
                    <a:pt x="856" y="64"/>
                  </a:lnTo>
                  <a:lnTo>
                    <a:pt x="863" y="55"/>
                  </a:lnTo>
                  <a:lnTo>
                    <a:pt x="863" y="55"/>
                  </a:lnTo>
                  <a:lnTo>
                    <a:pt x="864" y="52"/>
                  </a:lnTo>
                  <a:lnTo>
                    <a:pt x="863" y="48"/>
                  </a:lnTo>
                  <a:lnTo>
                    <a:pt x="862" y="45"/>
                  </a:lnTo>
                  <a:lnTo>
                    <a:pt x="859" y="42"/>
                  </a:lnTo>
                  <a:lnTo>
                    <a:pt x="859" y="42"/>
                  </a:lnTo>
                  <a:lnTo>
                    <a:pt x="856" y="40"/>
                  </a:lnTo>
                  <a:lnTo>
                    <a:pt x="853" y="40"/>
                  </a:lnTo>
                  <a:lnTo>
                    <a:pt x="845" y="40"/>
                  </a:lnTo>
                  <a:lnTo>
                    <a:pt x="845" y="40"/>
                  </a:lnTo>
                  <a:lnTo>
                    <a:pt x="842" y="40"/>
                  </a:lnTo>
                  <a:lnTo>
                    <a:pt x="839" y="38"/>
                  </a:lnTo>
                  <a:lnTo>
                    <a:pt x="835" y="33"/>
                  </a:lnTo>
                  <a:lnTo>
                    <a:pt x="835" y="33"/>
                  </a:lnTo>
                  <a:lnTo>
                    <a:pt x="832" y="27"/>
                  </a:lnTo>
                  <a:lnTo>
                    <a:pt x="830" y="18"/>
                  </a:lnTo>
                  <a:lnTo>
                    <a:pt x="826" y="3"/>
                  </a:lnTo>
                  <a:lnTo>
                    <a:pt x="826" y="3"/>
                  </a:lnTo>
                  <a:lnTo>
                    <a:pt x="825" y="2"/>
                  </a:lnTo>
                  <a:lnTo>
                    <a:pt x="822" y="0"/>
                  </a:lnTo>
                  <a:lnTo>
                    <a:pt x="820" y="0"/>
                  </a:lnTo>
                  <a:lnTo>
                    <a:pt x="817" y="0"/>
                  </a:lnTo>
                  <a:lnTo>
                    <a:pt x="817" y="0"/>
                  </a:lnTo>
                  <a:lnTo>
                    <a:pt x="805" y="11"/>
                  </a:lnTo>
                  <a:lnTo>
                    <a:pt x="798" y="18"/>
                  </a:lnTo>
                  <a:lnTo>
                    <a:pt x="793" y="24"/>
                  </a:lnTo>
                  <a:lnTo>
                    <a:pt x="793" y="24"/>
                  </a:lnTo>
                  <a:lnTo>
                    <a:pt x="790" y="27"/>
                  </a:lnTo>
                  <a:lnTo>
                    <a:pt x="783" y="33"/>
                  </a:lnTo>
                  <a:lnTo>
                    <a:pt x="764" y="43"/>
                  </a:lnTo>
                  <a:lnTo>
                    <a:pt x="745" y="54"/>
                  </a:lnTo>
                  <a:lnTo>
                    <a:pt x="731" y="60"/>
                  </a:lnTo>
                  <a:lnTo>
                    <a:pt x="731" y="60"/>
                  </a:lnTo>
                  <a:lnTo>
                    <a:pt x="725" y="61"/>
                  </a:lnTo>
                  <a:lnTo>
                    <a:pt x="721" y="63"/>
                  </a:lnTo>
                  <a:lnTo>
                    <a:pt x="712" y="70"/>
                  </a:lnTo>
                  <a:lnTo>
                    <a:pt x="712" y="70"/>
                  </a:lnTo>
                  <a:lnTo>
                    <a:pt x="706" y="77"/>
                  </a:lnTo>
                  <a:lnTo>
                    <a:pt x="700" y="88"/>
                  </a:lnTo>
                  <a:lnTo>
                    <a:pt x="696" y="100"/>
                  </a:lnTo>
                  <a:lnTo>
                    <a:pt x="694" y="107"/>
                  </a:lnTo>
                  <a:lnTo>
                    <a:pt x="694" y="107"/>
                  </a:lnTo>
                  <a:lnTo>
                    <a:pt x="694" y="112"/>
                  </a:lnTo>
                  <a:lnTo>
                    <a:pt x="697" y="117"/>
                  </a:lnTo>
                  <a:lnTo>
                    <a:pt x="703" y="126"/>
                  </a:lnTo>
                  <a:lnTo>
                    <a:pt x="703" y="126"/>
                  </a:lnTo>
                  <a:lnTo>
                    <a:pt x="705" y="129"/>
                  </a:lnTo>
                  <a:lnTo>
                    <a:pt x="705" y="132"/>
                  </a:lnTo>
                  <a:lnTo>
                    <a:pt x="702" y="134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88" y="138"/>
                  </a:lnTo>
                  <a:lnTo>
                    <a:pt x="679" y="146"/>
                  </a:lnTo>
                  <a:lnTo>
                    <a:pt x="679" y="146"/>
                  </a:lnTo>
                  <a:lnTo>
                    <a:pt x="676" y="149"/>
                  </a:lnTo>
                  <a:lnTo>
                    <a:pt x="675" y="153"/>
                  </a:lnTo>
                  <a:lnTo>
                    <a:pt x="673" y="162"/>
                  </a:lnTo>
                  <a:lnTo>
                    <a:pt x="675" y="171"/>
                  </a:lnTo>
                  <a:lnTo>
                    <a:pt x="678" y="177"/>
                  </a:lnTo>
                  <a:lnTo>
                    <a:pt x="678" y="177"/>
                  </a:lnTo>
                  <a:lnTo>
                    <a:pt x="681" y="178"/>
                  </a:lnTo>
                  <a:lnTo>
                    <a:pt x="685" y="177"/>
                  </a:lnTo>
                  <a:lnTo>
                    <a:pt x="694" y="172"/>
                  </a:lnTo>
                  <a:lnTo>
                    <a:pt x="694" y="172"/>
                  </a:lnTo>
                  <a:lnTo>
                    <a:pt x="700" y="171"/>
                  </a:lnTo>
                  <a:lnTo>
                    <a:pt x="709" y="171"/>
                  </a:lnTo>
                  <a:lnTo>
                    <a:pt x="724" y="171"/>
                  </a:lnTo>
                  <a:lnTo>
                    <a:pt x="724" y="171"/>
                  </a:lnTo>
                  <a:lnTo>
                    <a:pt x="734" y="166"/>
                  </a:lnTo>
                  <a:lnTo>
                    <a:pt x="740" y="163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50" y="163"/>
                  </a:lnTo>
                  <a:lnTo>
                    <a:pt x="752" y="165"/>
                  </a:lnTo>
                  <a:lnTo>
                    <a:pt x="755" y="169"/>
                  </a:lnTo>
                  <a:lnTo>
                    <a:pt x="756" y="177"/>
                  </a:lnTo>
                  <a:lnTo>
                    <a:pt x="756" y="183"/>
                  </a:lnTo>
                  <a:lnTo>
                    <a:pt x="756" y="183"/>
                  </a:lnTo>
                  <a:lnTo>
                    <a:pt x="755" y="187"/>
                  </a:lnTo>
                  <a:lnTo>
                    <a:pt x="752" y="192"/>
                  </a:lnTo>
                  <a:lnTo>
                    <a:pt x="749" y="194"/>
                  </a:lnTo>
                  <a:lnTo>
                    <a:pt x="745" y="196"/>
                  </a:lnTo>
                  <a:lnTo>
                    <a:pt x="745" y="196"/>
                  </a:lnTo>
                  <a:lnTo>
                    <a:pt x="736" y="197"/>
                  </a:lnTo>
                  <a:lnTo>
                    <a:pt x="724" y="199"/>
                  </a:lnTo>
                  <a:lnTo>
                    <a:pt x="724" y="199"/>
                  </a:lnTo>
                  <a:lnTo>
                    <a:pt x="710" y="202"/>
                  </a:lnTo>
                  <a:lnTo>
                    <a:pt x="702" y="203"/>
                  </a:lnTo>
                  <a:lnTo>
                    <a:pt x="691" y="202"/>
                  </a:lnTo>
                  <a:lnTo>
                    <a:pt x="691" y="202"/>
                  </a:lnTo>
                  <a:lnTo>
                    <a:pt x="682" y="199"/>
                  </a:lnTo>
                  <a:lnTo>
                    <a:pt x="676" y="196"/>
                  </a:lnTo>
                  <a:lnTo>
                    <a:pt x="669" y="192"/>
                  </a:lnTo>
                  <a:lnTo>
                    <a:pt x="659" y="189"/>
                  </a:lnTo>
                  <a:lnTo>
                    <a:pt x="659" y="189"/>
                  </a:lnTo>
                  <a:lnTo>
                    <a:pt x="650" y="189"/>
                  </a:lnTo>
                  <a:lnTo>
                    <a:pt x="642" y="189"/>
                  </a:lnTo>
                  <a:lnTo>
                    <a:pt x="625" y="189"/>
                  </a:lnTo>
                  <a:lnTo>
                    <a:pt x="601" y="193"/>
                  </a:lnTo>
                  <a:lnTo>
                    <a:pt x="601" y="193"/>
                  </a:lnTo>
                  <a:lnTo>
                    <a:pt x="592" y="196"/>
                  </a:lnTo>
                  <a:lnTo>
                    <a:pt x="580" y="202"/>
                  </a:lnTo>
                  <a:lnTo>
                    <a:pt x="580" y="202"/>
                  </a:lnTo>
                  <a:lnTo>
                    <a:pt x="576" y="205"/>
                  </a:lnTo>
                  <a:lnTo>
                    <a:pt x="573" y="208"/>
                  </a:lnTo>
                  <a:lnTo>
                    <a:pt x="573" y="211"/>
                  </a:lnTo>
                  <a:lnTo>
                    <a:pt x="574" y="214"/>
                  </a:lnTo>
                  <a:lnTo>
                    <a:pt x="574" y="214"/>
                  </a:lnTo>
                  <a:lnTo>
                    <a:pt x="577" y="214"/>
                  </a:lnTo>
                  <a:lnTo>
                    <a:pt x="582" y="215"/>
                  </a:lnTo>
                  <a:lnTo>
                    <a:pt x="591" y="217"/>
                  </a:lnTo>
                  <a:lnTo>
                    <a:pt x="591" y="217"/>
                  </a:lnTo>
                  <a:lnTo>
                    <a:pt x="592" y="217"/>
                  </a:lnTo>
                  <a:lnTo>
                    <a:pt x="594" y="218"/>
                  </a:lnTo>
                  <a:lnTo>
                    <a:pt x="592" y="221"/>
                  </a:lnTo>
                  <a:lnTo>
                    <a:pt x="589" y="224"/>
                  </a:lnTo>
                  <a:lnTo>
                    <a:pt x="585" y="226"/>
                  </a:lnTo>
                  <a:lnTo>
                    <a:pt x="585" y="226"/>
                  </a:lnTo>
                  <a:lnTo>
                    <a:pt x="579" y="229"/>
                  </a:lnTo>
                  <a:lnTo>
                    <a:pt x="574" y="227"/>
                  </a:lnTo>
                  <a:lnTo>
                    <a:pt x="568" y="226"/>
                  </a:lnTo>
                  <a:lnTo>
                    <a:pt x="568" y="226"/>
                  </a:lnTo>
                  <a:lnTo>
                    <a:pt x="564" y="224"/>
                  </a:lnTo>
                  <a:lnTo>
                    <a:pt x="561" y="221"/>
                  </a:lnTo>
                  <a:lnTo>
                    <a:pt x="559" y="220"/>
                  </a:lnTo>
                  <a:lnTo>
                    <a:pt x="556" y="218"/>
                  </a:lnTo>
                  <a:lnTo>
                    <a:pt x="556" y="218"/>
                  </a:lnTo>
                  <a:lnTo>
                    <a:pt x="554" y="218"/>
                  </a:lnTo>
                  <a:lnTo>
                    <a:pt x="552" y="220"/>
                  </a:lnTo>
                  <a:lnTo>
                    <a:pt x="546" y="224"/>
                  </a:lnTo>
                  <a:lnTo>
                    <a:pt x="536" y="236"/>
                  </a:lnTo>
                  <a:lnTo>
                    <a:pt x="536" y="236"/>
                  </a:lnTo>
                  <a:lnTo>
                    <a:pt x="533" y="239"/>
                  </a:lnTo>
                  <a:lnTo>
                    <a:pt x="527" y="242"/>
                  </a:lnTo>
                  <a:lnTo>
                    <a:pt x="514" y="246"/>
                  </a:lnTo>
                  <a:lnTo>
                    <a:pt x="514" y="246"/>
                  </a:lnTo>
                  <a:lnTo>
                    <a:pt x="509" y="248"/>
                  </a:lnTo>
                  <a:lnTo>
                    <a:pt x="506" y="249"/>
                  </a:lnTo>
                  <a:lnTo>
                    <a:pt x="503" y="254"/>
                  </a:lnTo>
                  <a:lnTo>
                    <a:pt x="502" y="260"/>
                  </a:lnTo>
                  <a:lnTo>
                    <a:pt x="500" y="266"/>
                  </a:lnTo>
                  <a:lnTo>
                    <a:pt x="500" y="266"/>
                  </a:lnTo>
                  <a:lnTo>
                    <a:pt x="497" y="272"/>
                  </a:lnTo>
                  <a:lnTo>
                    <a:pt x="494" y="276"/>
                  </a:lnTo>
                  <a:lnTo>
                    <a:pt x="490" y="280"/>
                  </a:lnTo>
                  <a:lnTo>
                    <a:pt x="485" y="283"/>
                  </a:lnTo>
                  <a:lnTo>
                    <a:pt x="485" y="283"/>
                  </a:lnTo>
                  <a:lnTo>
                    <a:pt x="477" y="285"/>
                  </a:lnTo>
                  <a:lnTo>
                    <a:pt x="465" y="286"/>
                  </a:lnTo>
                  <a:lnTo>
                    <a:pt x="465" y="286"/>
                  </a:lnTo>
                  <a:lnTo>
                    <a:pt x="459" y="288"/>
                  </a:lnTo>
                  <a:lnTo>
                    <a:pt x="453" y="291"/>
                  </a:lnTo>
                  <a:lnTo>
                    <a:pt x="444" y="298"/>
                  </a:lnTo>
                  <a:lnTo>
                    <a:pt x="444" y="298"/>
                  </a:lnTo>
                  <a:lnTo>
                    <a:pt x="437" y="303"/>
                  </a:lnTo>
                  <a:lnTo>
                    <a:pt x="428" y="306"/>
                  </a:lnTo>
                  <a:lnTo>
                    <a:pt x="411" y="311"/>
                  </a:lnTo>
                  <a:lnTo>
                    <a:pt x="411" y="311"/>
                  </a:lnTo>
                  <a:lnTo>
                    <a:pt x="405" y="313"/>
                  </a:lnTo>
                  <a:lnTo>
                    <a:pt x="400" y="316"/>
                  </a:lnTo>
                  <a:lnTo>
                    <a:pt x="397" y="320"/>
                  </a:lnTo>
                  <a:lnTo>
                    <a:pt x="395" y="323"/>
                  </a:lnTo>
                  <a:lnTo>
                    <a:pt x="395" y="323"/>
                  </a:lnTo>
                  <a:lnTo>
                    <a:pt x="389" y="332"/>
                  </a:lnTo>
                  <a:lnTo>
                    <a:pt x="385" y="338"/>
                  </a:lnTo>
                  <a:lnTo>
                    <a:pt x="380" y="343"/>
                  </a:lnTo>
                  <a:lnTo>
                    <a:pt x="380" y="343"/>
                  </a:lnTo>
                  <a:lnTo>
                    <a:pt x="365" y="347"/>
                  </a:lnTo>
                  <a:lnTo>
                    <a:pt x="351" y="351"/>
                  </a:lnTo>
                  <a:lnTo>
                    <a:pt x="351" y="351"/>
                  </a:lnTo>
                  <a:lnTo>
                    <a:pt x="327" y="365"/>
                  </a:lnTo>
                  <a:lnTo>
                    <a:pt x="327" y="365"/>
                  </a:lnTo>
                  <a:lnTo>
                    <a:pt x="314" y="372"/>
                  </a:lnTo>
                  <a:lnTo>
                    <a:pt x="303" y="378"/>
                  </a:lnTo>
                  <a:lnTo>
                    <a:pt x="296" y="384"/>
                  </a:lnTo>
                  <a:lnTo>
                    <a:pt x="296" y="384"/>
                  </a:lnTo>
                  <a:lnTo>
                    <a:pt x="271" y="412"/>
                  </a:lnTo>
                  <a:lnTo>
                    <a:pt x="256" y="428"/>
                  </a:lnTo>
                  <a:lnTo>
                    <a:pt x="250" y="434"/>
                  </a:lnTo>
                  <a:lnTo>
                    <a:pt x="246" y="437"/>
                  </a:lnTo>
                  <a:lnTo>
                    <a:pt x="246" y="437"/>
                  </a:lnTo>
                  <a:lnTo>
                    <a:pt x="240" y="439"/>
                  </a:lnTo>
                  <a:lnTo>
                    <a:pt x="232" y="443"/>
                  </a:lnTo>
                  <a:lnTo>
                    <a:pt x="219" y="454"/>
                  </a:lnTo>
                  <a:lnTo>
                    <a:pt x="219" y="454"/>
                  </a:lnTo>
                  <a:lnTo>
                    <a:pt x="216" y="457"/>
                  </a:lnTo>
                  <a:lnTo>
                    <a:pt x="214" y="461"/>
                  </a:lnTo>
                  <a:lnTo>
                    <a:pt x="210" y="473"/>
                  </a:lnTo>
                  <a:lnTo>
                    <a:pt x="206" y="489"/>
                  </a:lnTo>
                  <a:lnTo>
                    <a:pt x="206" y="489"/>
                  </a:lnTo>
                  <a:lnTo>
                    <a:pt x="204" y="497"/>
                  </a:lnTo>
                  <a:lnTo>
                    <a:pt x="200" y="506"/>
                  </a:lnTo>
                  <a:lnTo>
                    <a:pt x="200" y="506"/>
                  </a:lnTo>
                  <a:lnTo>
                    <a:pt x="194" y="516"/>
                  </a:lnTo>
                  <a:lnTo>
                    <a:pt x="189" y="523"/>
                  </a:lnTo>
                  <a:lnTo>
                    <a:pt x="189" y="523"/>
                  </a:lnTo>
                  <a:lnTo>
                    <a:pt x="188" y="525"/>
                  </a:lnTo>
                  <a:lnTo>
                    <a:pt x="188" y="529"/>
                  </a:lnTo>
                  <a:lnTo>
                    <a:pt x="188" y="535"/>
                  </a:lnTo>
                  <a:lnTo>
                    <a:pt x="189" y="540"/>
                  </a:lnTo>
                  <a:lnTo>
                    <a:pt x="189" y="540"/>
                  </a:lnTo>
                  <a:lnTo>
                    <a:pt x="191" y="545"/>
                  </a:lnTo>
                  <a:lnTo>
                    <a:pt x="191" y="548"/>
                  </a:lnTo>
                  <a:lnTo>
                    <a:pt x="191" y="551"/>
                  </a:lnTo>
                  <a:lnTo>
                    <a:pt x="191" y="551"/>
                  </a:lnTo>
                  <a:lnTo>
                    <a:pt x="188" y="553"/>
                  </a:lnTo>
                  <a:lnTo>
                    <a:pt x="185" y="554"/>
                  </a:lnTo>
                  <a:lnTo>
                    <a:pt x="174" y="557"/>
                  </a:lnTo>
                  <a:lnTo>
                    <a:pt x="174" y="557"/>
                  </a:lnTo>
                  <a:lnTo>
                    <a:pt x="167" y="562"/>
                  </a:lnTo>
                  <a:lnTo>
                    <a:pt x="158" y="571"/>
                  </a:lnTo>
                  <a:lnTo>
                    <a:pt x="148" y="583"/>
                  </a:lnTo>
                  <a:lnTo>
                    <a:pt x="148" y="583"/>
                  </a:lnTo>
                  <a:lnTo>
                    <a:pt x="132" y="597"/>
                  </a:lnTo>
                  <a:lnTo>
                    <a:pt x="132" y="597"/>
                  </a:lnTo>
                  <a:lnTo>
                    <a:pt x="120" y="608"/>
                  </a:lnTo>
                  <a:lnTo>
                    <a:pt x="114" y="615"/>
                  </a:lnTo>
                  <a:lnTo>
                    <a:pt x="112" y="618"/>
                  </a:lnTo>
                  <a:lnTo>
                    <a:pt x="112" y="621"/>
                  </a:lnTo>
                  <a:lnTo>
                    <a:pt x="112" y="621"/>
                  </a:lnTo>
                  <a:lnTo>
                    <a:pt x="114" y="623"/>
                  </a:lnTo>
                  <a:lnTo>
                    <a:pt x="117" y="624"/>
                  </a:lnTo>
                  <a:lnTo>
                    <a:pt x="123" y="627"/>
                  </a:lnTo>
                  <a:lnTo>
                    <a:pt x="137" y="630"/>
                  </a:lnTo>
                  <a:lnTo>
                    <a:pt x="137" y="630"/>
                  </a:lnTo>
                  <a:lnTo>
                    <a:pt x="142" y="631"/>
                  </a:lnTo>
                  <a:lnTo>
                    <a:pt x="143" y="634"/>
                  </a:lnTo>
                  <a:lnTo>
                    <a:pt x="143" y="639"/>
                  </a:lnTo>
                  <a:lnTo>
                    <a:pt x="143" y="645"/>
                  </a:lnTo>
                  <a:lnTo>
                    <a:pt x="143" y="645"/>
                  </a:lnTo>
                  <a:lnTo>
                    <a:pt x="142" y="649"/>
                  </a:lnTo>
                  <a:lnTo>
                    <a:pt x="142" y="654"/>
                  </a:lnTo>
                  <a:lnTo>
                    <a:pt x="145" y="660"/>
                  </a:lnTo>
                  <a:lnTo>
                    <a:pt x="145" y="660"/>
                  </a:lnTo>
                  <a:lnTo>
                    <a:pt x="146" y="662"/>
                  </a:lnTo>
                  <a:lnTo>
                    <a:pt x="151" y="664"/>
                  </a:lnTo>
                  <a:lnTo>
                    <a:pt x="154" y="665"/>
                  </a:lnTo>
                  <a:lnTo>
                    <a:pt x="158" y="665"/>
                  </a:lnTo>
                  <a:lnTo>
                    <a:pt x="158" y="665"/>
                  </a:lnTo>
                  <a:lnTo>
                    <a:pt x="161" y="664"/>
                  </a:lnTo>
                  <a:lnTo>
                    <a:pt x="163" y="660"/>
                  </a:lnTo>
                  <a:lnTo>
                    <a:pt x="166" y="657"/>
                  </a:lnTo>
                  <a:lnTo>
                    <a:pt x="169" y="652"/>
                  </a:lnTo>
                  <a:lnTo>
                    <a:pt x="169" y="652"/>
                  </a:lnTo>
                  <a:lnTo>
                    <a:pt x="173" y="649"/>
                  </a:lnTo>
                  <a:lnTo>
                    <a:pt x="177" y="648"/>
                  </a:lnTo>
                  <a:lnTo>
                    <a:pt x="182" y="646"/>
                  </a:lnTo>
                  <a:lnTo>
                    <a:pt x="186" y="646"/>
                  </a:lnTo>
                  <a:lnTo>
                    <a:pt x="186" y="646"/>
                  </a:lnTo>
                  <a:lnTo>
                    <a:pt x="203" y="652"/>
                  </a:lnTo>
                  <a:lnTo>
                    <a:pt x="220" y="660"/>
                  </a:lnTo>
                  <a:lnTo>
                    <a:pt x="220" y="660"/>
                  </a:lnTo>
                  <a:lnTo>
                    <a:pt x="232" y="668"/>
                  </a:lnTo>
                  <a:lnTo>
                    <a:pt x="244" y="680"/>
                  </a:lnTo>
                  <a:lnTo>
                    <a:pt x="244" y="680"/>
                  </a:lnTo>
                  <a:lnTo>
                    <a:pt x="246" y="683"/>
                  </a:lnTo>
                  <a:lnTo>
                    <a:pt x="244" y="689"/>
                  </a:lnTo>
                  <a:lnTo>
                    <a:pt x="238" y="698"/>
                  </a:lnTo>
                  <a:lnTo>
                    <a:pt x="238" y="698"/>
                  </a:lnTo>
                  <a:lnTo>
                    <a:pt x="235" y="707"/>
                  </a:lnTo>
                  <a:lnTo>
                    <a:pt x="232" y="719"/>
                  </a:lnTo>
                  <a:lnTo>
                    <a:pt x="232" y="719"/>
                  </a:lnTo>
                  <a:lnTo>
                    <a:pt x="229" y="722"/>
                  </a:lnTo>
                  <a:lnTo>
                    <a:pt x="225" y="725"/>
                  </a:lnTo>
                  <a:lnTo>
                    <a:pt x="219" y="725"/>
                  </a:lnTo>
                  <a:lnTo>
                    <a:pt x="213" y="723"/>
                  </a:lnTo>
                  <a:lnTo>
                    <a:pt x="213" y="723"/>
                  </a:lnTo>
                  <a:lnTo>
                    <a:pt x="204" y="719"/>
                  </a:lnTo>
                  <a:lnTo>
                    <a:pt x="200" y="717"/>
                  </a:lnTo>
                  <a:lnTo>
                    <a:pt x="194" y="716"/>
                  </a:lnTo>
                  <a:lnTo>
                    <a:pt x="194" y="716"/>
                  </a:lnTo>
                  <a:lnTo>
                    <a:pt x="191" y="716"/>
                  </a:lnTo>
                  <a:lnTo>
                    <a:pt x="188" y="717"/>
                  </a:lnTo>
                  <a:lnTo>
                    <a:pt x="183" y="723"/>
                  </a:lnTo>
                  <a:lnTo>
                    <a:pt x="174" y="735"/>
                  </a:lnTo>
                  <a:lnTo>
                    <a:pt x="174" y="735"/>
                  </a:lnTo>
                  <a:lnTo>
                    <a:pt x="171" y="740"/>
                  </a:lnTo>
                  <a:lnTo>
                    <a:pt x="166" y="744"/>
                  </a:lnTo>
                  <a:lnTo>
                    <a:pt x="157" y="748"/>
                  </a:lnTo>
                  <a:lnTo>
                    <a:pt x="157" y="748"/>
                  </a:lnTo>
                  <a:lnTo>
                    <a:pt x="151" y="748"/>
                  </a:lnTo>
                  <a:lnTo>
                    <a:pt x="140" y="744"/>
                  </a:lnTo>
                  <a:lnTo>
                    <a:pt x="124" y="737"/>
                  </a:lnTo>
                  <a:lnTo>
                    <a:pt x="124" y="737"/>
                  </a:lnTo>
                  <a:lnTo>
                    <a:pt x="120" y="737"/>
                  </a:lnTo>
                  <a:lnTo>
                    <a:pt x="114" y="737"/>
                  </a:lnTo>
                  <a:lnTo>
                    <a:pt x="108" y="738"/>
                  </a:lnTo>
                  <a:lnTo>
                    <a:pt x="102" y="740"/>
                  </a:lnTo>
                  <a:lnTo>
                    <a:pt x="102" y="740"/>
                  </a:lnTo>
                  <a:lnTo>
                    <a:pt x="100" y="741"/>
                  </a:lnTo>
                  <a:lnTo>
                    <a:pt x="100" y="745"/>
                  </a:lnTo>
                  <a:lnTo>
                    <a:pt x="102" y="753"/>
                  </a:lnTo>
                  <a:lnTo>
                    <a:pt x="105" y="768"/>
                  </a:lnTo>
                  <a:lnTo>
                    <a:pt x="105" y="768"/>
                  </a:lnTo>
                  <a:lnTo>
                    <a:pt x="105" y="778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81" y="814"/>
                  </a:lnTo>
                  <a:lnTo>
                    <a:pt x="56" y="842"/>
                  </a:lnTo>
                  <a:lnTo>
                    <a:pt x="56" y="842"/>
                  </a:lnTo>
                  <a:close/>
                  <a:moveTo>
                    <a:pt x="137" y="306"/>
                  </a:moveTo>
                  <a:lnTo>
                    <a:pt x="137" y="306"/>
                  </a:lnTo>
                  <a:lnTo>
                    <a:pt x="140" y="313"/>
                  </a:lnTo>
                  <a:lnTo>
                    <a:pt x="145" y="317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9" y="317"/>
                  </a:lnTo>
                  <a:lnTo>
                    <a:pt x="176" y="314"/>
                  </a:lnTo>
                  <a:lnTo>
                    <a:pt x="176" y="314"/>
                  </a:lnTo>
                  <a:lnTo>
                    <a:pt x="177" y="314"/>
                  </a:lnTo>
                  <a:lnTo>
                    <a:pt x="179" y="313"/>
                  </a:lnTo>
                  <a:lnTo>
                    <a:pt x="177" y="310"/>
                  </a:lnTo>
                  <a:lnTo>
                    <a:pt x="176" y="306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9" y="289"/>
                  </a:lnTo>
                  <a:lnTo>
                    <a:pt x="179" y="283"/>
                  </a:lnTo>
                  <a:lnTo>
                    <a:pt x="179" y="277"/>
                  </a:lnTo>
                  <a:lnTo>
                    <a:pt x="179" y="277"/>
                  </a:lnTo>
                  <a:lnTo>
                    <a:pt x="174" y="266"/>
                  </a:lnTo>
                  <a:lnTo>
                    <a:pt x="176" y="260"/>
                  </a:lnTo>
                  <a:lnTo>
                    <a:pt x="179" y="251"/>
                  </a:lnTo>
                  <a:lnTo>
                    <a:pt x="179" y="251"/>
                  </a:lnTo>
                  <a:lnTo>
                    <a:pt x="182" y="248"/>
                  </a:lnTo>
                  <a:lnTo>
                    <a:pt x="185" y="245"/>
                  </a:lnTo>
                  <a:lnTo>
                    <a:pt x="191" y="243"/>
                  </a:lnTo>
                  <a:lnTo>
                    <a:pt x="194" y="243"/>
                  </a:lnTo>
                  <a:lnTo>
                    <a:pt x="194" y="24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89" y="220"/>
                  </a:lnTo>
                  <a:lnTo>
                    <a:pt x="186" y="192"/>
                  </a:lnTo>
                  <a:lnTo>
                    <a:pt x="186" y="192"/>
                  </a:lnTo>
                  <a:lnTo>
                    <a:pt x="185" y="181"/>
                  </a:lnTo>
                  <a:lnTo>
                    <a:pt x="182" y="174"/>
                  </a:lnTo>
                  <a:lnTo>
                    <a:pt x="177" y="169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69" y="165"/>
                  </a:lnTo>
                  <a:lnTo>
                    <a:pt x="164" y="165"/>
                  </a:lnTo>
                  <a:lnTo>
                    <a:pt x="152" y="171"/>
                  </a:lnTo>
                  <a:lnTo>
                    <a:pt x="140" y="178"/>
                  </a:lnTo>
                  <a:lnTo>
                    <a:pt x="129" y="186"/>
                  </a:lnTo>
                  <a:lnTo>
                    <a:pt x="129" y="186"/>
                  </a:lnTo>
                  <a:lnTo>
                    <a:pt x="127" y="192"/>
                  </a:lnTo>
                  <a:lnTo>
                    <a:pt x="126" y="197"/>
                  </a:lnTo>
                  <a:lnTo>
                    <a:pt x="124" y="205"/>
                  </a:lnTo>
                  <a:lnTo>
                    <a:pt x="124" y="205"/>
                  </a:lnTo>
                  <a:lnTo>
                    <a:pt x="124" y="211"/>
                  </a:lnTo>
                  <a:lnTo>
                    <a:pt x="123" y="214"/>
                  </a:lnTo>
                  <a:lnTo>
                    <a:pt x="118" y="218"/>
                  </a:lnTo>
                  <a:lnTo>
                    <a:pt x="118" y="218"/>
                  </a:lnTo>
                  <a:lnTo>
                    <a:pt x="111" y="226"/>
                  </a:lnTo>
                  <a:lnTo>
                    <a:pt x="108" y="229"/>
                  </a:lnTo>
                  <a:lnTo>
                    <a:pt x="108" y="233"/>
                  </a:lnTo>
                  <a:lnTo>
                    <a:pt x="108" y="233"/>
                  </a:lnTo>
                  <a:lnTo>
                    <a:pt x="108" y="239"/>
                  </a:lnTo>
                  <a:lnTo>
                    <a:pt x="112" y="245"/>
                  </a:lnTo>
                  <a:lnTo>
                    <a:pt x="121" y="260"/>
                  </a:lnTo>
                  <a:lnTo>
                    <a:pt x="121" y="260"/>
                  </a:lnTo>
                  <a:lnTo>
                    <a:pt x="130" y="277"/>
                  </a:lnTo>
                  <a:lnTo>
                    <a:pt x="134" y="289"/>
                  </a:lnTo>
                  <a:lnTo>
                    <a:pt x="137" y="306"/>
                  </a:lnTo>
                  <a:lnTo>
                    <a:pt x="137" y="306"/>
                  </a:lnTo>
                  <a:close/>
                  <a:moveTo>
                    <a:pt x="118" y="685"/>
                  </a:moveTo>
                  <a:lnTo>
                    <a:pt x="118" y="685"/>
                  </a:lnTo>
                  <a:lnTo>
                    <a:pt x="100" y="698"/>
                  </a:lnTo>
                  <a:lnTo>
                    <a:pt x="96" y="707"/>
                  </a:lnTo>
                  <a:lnTo>
                    <a:pt x="96" y="707"/>
                  </a:lnTo>
                  <a:lnTo>
                    <a:pt x="94" y="711"/>
                  </a:lnTo>
                  <a:lnTo>
                    <a:pt x="94" y="716"/>
                  </a:lnTo>
                  <a:lnTo>
                    <a:pt x="96" y="719"/>
                  </a:lnTo>
                  <a:lnTo>
                    <a:pt x="96" y="726"/>
                  </a:lnTo>
                  <a:lnTo>
                    <a:pt x="96" y="726"/>
                  </a:lnTo>
                  <a:lnTo>
                    <a:pt x="96" y="729"/>
                  </a:lnTo>
                  <a:lnTo>
                    <a:pt x="97" y="731"/>
                  </a:lnTo>
                  <a:lnTo>
                    <a:pt x="99" y="732"/>
                  </a:lnTo>
                  <a:lnTo>
                    <a:pt x="100" y="732"/>
                  </a:lnTo>
                  <a:lnTo>
                    <a:pt x="106" y="729"/>
                  </a:lnTo>
                  <a:lnTo>
                    <a:pt x="114" y="728"/>
                  </a:lnTo>
                  <a:lnTo>
                    <a:pt x="114" y="728"/>
                  </a:lnTo>
                  <a:lnTo>
                    <a:pt x="117" y="728"/>
                  </a:lnTo>
                  <a:lnTo>
                    <a:pt x="121" y="726"/>
                  </a:lnTo>
                  <a:lnTo>
                    <a:pt x="130" y="720"/>
                  </a:lnTo>
                  <a:lnTo>
                    <a:pt x="146" y="708"/>
                  </a:lnTo>
                  <a:lnTo>
                    <a:pt x="146" y="708"/>
                  </a:lnTo>
                  <a:lnTo>
                    <a:pt x="151" y="704"/>
                  </a:lnTo>
                  <a:lnTo>
                    <a:pt x="151" y="701"/>
                  </a:lnTo>
                  <a:lnTo>
                    <a:pt x="149" y="697"/>
                  </a:lnTo>
                  <a:lnTo>
                    <a:pt x="145" y="692"/>
                  </a:lnTo>
                  <a:lnTo>
                    <a:pt x="145" y="692"/>
                  </a:lnTo>
                  <a:lnTo>
                    <a:pt x="140" y="689"/>
                  </a:lnTo>
                  <a:lnTo>
                    <a:pt x="137" y="689"/>
                  </a:lnTo>
                  <a:lnTo>
                    <a:pt x="134" y="689"/>
                  </a:lnTo>
                  <a:lnTo>
                    <a:pt x="133" y="688"/>
                  </a:lnTo>
                  <a:lnTo>
                    <a:pt x="133" y="688"/>
                  </a:lnTo>
                  <a:lnTo>
                    <a:pt x="132" y="685"/>
                  </a:lnTo>
                  <a:lnTo>
                    <a:pt x="127" y="683"/>
                  </a:lnTo>
                  <a:lnTo>
                    <a:pt x="123" y="683"/>
                  </a:lnTo>
                  <a:lnTo>
                    <a:pt x="118" y="685"/>
                  </a:lnTo>
                  <a:lnTo>
                    <a:pt x="118" y="68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29" name="Freeform 8">
              <a:extLst>
                <a:ext uri="{FF2B5EF4-FFF2-40B4-BE49-F238E27FC236}">
                  <a16:creationId xmlns:a16="http://schemas.microsoft.com/office/drawing/2014/main" id="{44F2378C-AAD0-674C-A077-E19F12B89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63" y="5270500"/>
              <a:ext cx="271463" cy="254000"/>
            </a:xfrm>
            <a:custGeom>
              <a:avLst/>
              <a:gdLst>
                <a:gd name="T0" fmla="*/ 47 w 171"/>
                <a:gd name="T1" fmla="*/ 50 h 160"/>
                <a:gd name="T2" fmla="*/ 45 w 171"/>
                <a:gd name="T3" fmla="*/ 58 h 160"/>
                <a:gd name="T4" fmla="*/ 23 w 171"/>
                <a:gd name="T5" fmla="*/ 62 h 160"/>
                <a:gd name="T6" fmla="*/ 4 w 171"/>
                <a:gd name="T7" fmla="*/ 68 h 160"/>
                <a:gd name="T8" fmla="*/ 11 w 171"/>
                <a:gd name="T9" fmla="*/ 83 h 160"/>
                <a:gd name="T10" fmla="*/ 8 w 171"/>
                <a:gd name="T11" fmla="*/ 92 h 160"/>
                <a:gd name="T12" fmla="*/ 5 w 171"/>
                <a:gd name="T13" fmla="*/ 107 h 160"/>
                <a:gd name="T14" fmla="*/ 0 w 171"/>
                <a:gd name="T15" fmla="*/ 118 h 160"/>
                <a:gd name="T16" fmla="*/ 4 w 171"/>
                <a:gd name="T17" fmla="*/ 139 h 160"/>
                <a:gd name="T18" fmla="*/ 20 w 171"/>
                <a:gd name="T19" fmla="*/ 154 h 160"/>
                <a:gd name="T20" fmla="*/ 32 w 171"/>
                <a:gd name="T21" fmla="*/ 160 h 160"/>
                <a:gd name="T22" fmla="*/ 40 w 171"/>
                <a:gd name="T23" fmla="*/ 154 h 160"/>
                <a:gd name="T24" fmla="*/ 48 w 171"/>
                <a:gd name="T25" fmla="*/ 144 h 160"/>
                <a:gd name="T26" fmla="*/ 56 w 171"/>
                <a:gd name="T27" fmla="*/ 145 h 160"/>
                <a:gd name="T28" fmla="*/ 65 w 171"/>
                <a:gd name="T29" fmla="*/ 155 h 160"/>
                <a:gd name="T30" fmla="*/ 74 w 171"/>
                <a:gd name="T31" fmla="*/ 157 h 160"/>
                <a:gd name="T32" fmla="*/ 88 w 171"/>
                <a:gd name="T33" fmla="*/ 154 h 160"/>
                <a:gd name="T34" fmla="*/ 102 w 171"/>
                <a:gd name="T35" fmla="*/ 157 h 160"/>
                <a:gd name="T36" fmla="*/ 111 w 171"/>
                <a:gd name="T37" fmla="*/ 155 h 160"/>
                <a:gd name="T38" fmla="*/ 114 w 171"/>
                <a:gd name="T39" fmla="*/ 146 h 160"/>
                <a:gd name="T40" fmla="*/ 108 w 171"/>
                <a:gd name="T41" fmla="*/ 142 h 160"/>
                <a:gd name="T42" fmla="*/ 91 w 171"/>
                <a:gd name="T43" fmla="*/ 136 h 160"/>
                <a:gd name="T44" fmla="*/ 91 w 171"/>
                <a:gd name="T45" fmla="*/ 133 h 160"/>
                <a:gd name="T46" fmla="*/ 103 w 171"/>
                <a:gd name="T47" fmla="*/ 126 h 160"/>
                <a:gd name="T48" fmla="*/ 108 w 171"/>
                <a:gd name="T49" fmla="*/ 126 h 160"/>
                <a:gd name="T50" fmla="*/ 119 w 171"/>
                <a:gd name="T51" fmla="*/ 124 h 160"/>
                <a:gd name="T52" fmla="*/ 131 w 171"/>
                <a:gd name="T53" fmla="*/ 120 h 160"/>
                <a:gd name="T54" fmla="*/ 155 w 171"/>
                <a:gd name="T55" fmla="*/ 118 h 160"/>
                <a:gd name="T56" fmla="*/ 164 w 171"/>
                <a:gd name="T57" fmla="*/ 114 h 160"/>
                <a:gd name="T58" fmla="*/ 171 w 171"/>
                <a:gd name="T59" fmla="*/ 108 h 160"/>
                <a:gd name="T60" fmla="*/ 171 w 171"/>
                <a:gd name="T61" fmla="*/ 98 h 160"/>
                <a:gd name="T62" fmla="*/ 168 w 171"/>
                <a:gd name="T63" fmla="*/ 75 h 160"/>
                <a:gd name="T64" fmla="*/ 155 w 171"/>
                <a:gd name="T65" fmla="*/ 46 h 160"/>
                <a:gd name="T66" fmla="*/ 143 w 171"/>
                <a:gd name="T67" fmla="*/ 35 h 160"/>
                <a:gd name="T68" fmla="*/ 125 w 171"/>
                <a:gd name="T69" fmla="*/ 24 h 160"/>
                <a:gd name="T70" fmla="*/ 111 w 171"/>
                <a:gd name="T71" fmla="*/ 7 h 160"/>
                <a:gd name="T72" fmla="*/ 99 w 171"/>
                <a:gd name="T73" fmla="*/ 1 h 160"/>
                <a:gd name="T74" fmla="*/ 90 w 171"/>
                <a:gd name="T75" fmla="*/ 0 h 160"/>
                <a:gd name="T76" fmla="*/ 80 w 171"/>
                <a:gd name="T77" fmla="*/ 6 h 160"/>
                <a:gd name="T78" fmla="*/ 69 w 171"/>
                <a:gd name="T79" fmla="*/ 10 h 160"/>
                <a:gd name="T80" fmla="*/ 57 w 171"/>
                <a:gd name="T81" fmla="*/ 12 h 160"/>
                <a:gd name="T82" fmla="*/ 50 w 171"/>
                <a:gd name="T83" fmla="*/ 15 h 160"/>
                <a:gd name="T84" fmla="*/ 45 w 171"/>
                <a:gd name="T85" fmla="*/ 32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1" h="160">
                  <a:moveTo>
                    <a:pt x="47" y="40"/>
                  </a:moveTo>
                  <a:lnTo>
                    <a:pt x="47" y="40"/>
                  </a:lnTo>
                  <a:lnTo>
                    <a:pt x="47" y="50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5" y="58"/>
                  </a:lnTo>
                  <a:lnTo>
                    <a:pt x="42" y="59"/>
                  </a:lnTo>
                  <a:lnTo>
                    <a:pt x="34" y="61"/>
                  </a:lnTo>
                  <a:lnTo>
                    <a:pt x="23" y="62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3" y="86"/>
                  </a:lnTo>
                  <a:lnTo>
                    <a:pt x="10" y="89"/>
                  </a:lnTo>
                  <a:lnTo>
                    <a:pt x="8" y="92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107"/>
                  </a:lnTo>
                  <a:lnTo>
                    <a:pt x="4" y="11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29"/>
                  </a:lnTo>
                  <a:lnTo>
                    <a:pt x="3" y="136"/>
                  </a:lnTo>
                  <a:lnTo>
                    <a:pt x="4" y="139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20" y="154"/>
                  </a:lnTo>
                  <a:lnTo>
                    <a:pt x="26" y="158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40" y="154"/>
                  </a:lnTo>
                  <a:lnTo>
                    <a:pt x="44" y="148"/>
                  </a:lnTo>
                  <a:lnTo>
                    <a:pt x="45" y="145"/>
                  </a:lnTo>
                  <a:lnTo>
                    <a:pt x="48" y="144"/>
                  </a:lnTo>
                  <a:lnTo>
                    <a:pt x="51" y="144"/>
                  </a:lnTo>
                  <a:lnTo>
                    <a:pt x="56" y="145"/>
                  </a:lnTo>
                  <a:lnTo>
                    <a:pt x="56" y="145"/>
                  </a:lnTo>
                  <a:lnTo>
                    <a:pt x="62" y="149"/>
                  </a:lnTo>
                  <a:lnTo>
                    <a:pt x="63" y="154"/>
                  </a:lnTo>
                  <a:lnTo>
                    <a:pt x="65" y="155"/>
                  </a:lnTo>
                  <a:lnTo>
                    <a:pt x="69" y="157"/>
                  </a:lnTo>
                  <a:lnTo>
                    <a:pt x="69" y="157"/>
                  </a:lnTo>
                  <a:lnTo>
                    <a:pt x="74" y="157"/>
                  </a:lnTo>
                  <a:lnTo>
                    <a:pt x="77" y="155"/>
                  </a:lnTo>
                  <a:lnTo>
                    <a:pt x="81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96" y="155"/>
                  </a:lnTo>
                  <a:lnTo>
                    <a:pt x="102" y="157"/>
                  </a:lnTo>
                  <a:lnTo>
                    <a:pt x="108" y="158"/>
                  </a:lnTo>
                  <a:lnTo>
                    <a:pt x="109" y="157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2" y="151"/>
                  </a:lnTo>
                  <a:lnTo>
                    <a:pt x="114" y="146"/>
                  </a:lnTo>
                  <a:lnTo>
                    <a:pt x="114" y="145"/>
                  </a:lnTo>
                  <a:lnTo>
                    <a:pt x="114" y="145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94" y="138"/>
                  </a:lnTo>
                  <a:lnTo>
                    <a:pt x="91" y="136"/>
                  </a:lnTo>
                  <a:lnTo>
                    <a:pt x="90" y="135"/>
                  </a:lnTo>
                  <a:lnTo>
                    <a:pt x="91" y="133"/>
                  </a:lnTo>
                  <a:lnTo>
                    <a:pt x="91" y="133"/>
                  </a:lnTo>
                  <a:lnTo>
                    <a:pt x="94" y="130"/>
                  </a:lnTo>
                  <a:lnTo>
                    <a:pt x="99" y="127"/>
                  </a:lnTo>
                  <a:lnTo>
                    <a:pt x="103" y="126"/>
                  </a:lnTo>
                  <a:lnTo>
                    <a:pt x="105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9" y="127"/>
                  </a:lnTo>
                  <a:lnTo>
                    <a:pt x="112" y="127"/>
                  </a:lnTo>
                  <a:lnTo>
                    <a:pt x="119" y="124"/>
                  </a:lnTo>
                  <a:lnTo>
                    <a:pt x="127" y="121"/>
                  </a:lnTo>
                  <a:lnTo>
                    <a:pt x="131" y="120"/>
                  </a:lnTo>
                  <a:lnTo>
                    <a:pt x="131" y="120"/>
                  </a:lnTo>
                  <a:lnTo>
                    <a:pt x="134" y="118"/>
                  </a:lnTo>
                  <a:lnTo>
                    <a:pt x="140" y="118"/>
                  </a:lnTo>
                  <a:lnTo>
                    <a:pt x="155" y="118"/>
                  </a:lnTo>
                  <a:lnTo>
                    <a:pt x="155" y="118"/>
                  </a:lnTo>
                  <a:lnTo>
                    <a:pt x="159" y="117"/>
                  </a:lnTo>
                  <a:lnTo>
                    <a:pt x="164" y="114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1" y="108"/>
                  </a:lnTo>
                  <a:lnTo>
                    <a:pt x="170" y="107"/>
                  </a:lnTo>
                  <a:lnTo>
                    <a:pt x="170" y="107"/>
                  </a:lnTo>
                  <a:lnTo>
                    <a:pt x="171" y="98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68" y="75"/>
                  </a:lnTo>
                  <a:lnTo>
                    <a:pt x="165" y="64"/>
                  </a:lnTo>
                  <a:lnTo>
                    <a:pt x="165" y="64"/>
                  </a:lnTo>
                  <a:lnTo>
                    <a:pt x="155" y="46"/>
                  </a:lnTo>
                  <a:lnTo>
                    <a:pt x="155" y="46"/>
                  </a:lnTo>
                  <a:lnTo>
                    <a:pt x="149" y="40"/>
                  </a:lnTo>
                  <a:lnTo>
                    <a:pt x="143" y="35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5" y="24"/>
                  </a:lnTo>
                  <a:lnTo>
                    <a:pt x="121" y="18"/>
                  </a:lnTo>
                  <a:lnTo>
                    <a:pt x="117" y="12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03" y="4"/>
                  </a:lnTo>
                  <a:lnTo>
                    <a:pt x="99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0" y="0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0" y="6"/>
                  </a:lnTo>
                  <a:lnTo>
                    <a:pt x="75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5" y="12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0" y="15"/>
                  </a:lnTo>
                  <a:lnTo>
                    <a:pt x="47" y="18"/>
                  </a:lnTo>
                  <a:lnTo>
                    <a:pt x="45" y="25"/>
                  </a:lnTo>
                  <a:lnTo>
                    <a:pt x="45" y="32"/>
                  </a:lnTo>
                  <a:lnTo>
                    <a:pt x="47" y="40"/>
                  </a:lnTo>
                  <a:lnTo>
                    <a:pt x="47" y="4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0" name="Freeform 9">
              <a:extLst>
                <a:ext uri="{FF2B5EF4-FFF2-40B4-BE49-F238E27FC236}">
                  <a16:creationId xmlns:a16="http://schemas.microsoft.com/office/drawing/2014/main" id="{13637BD9-32E6-B242-96E1-372B5DD07D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888" y="6653213"/>
              <a:ext cx="293688" cy="230187"/>
            </a:xfrm>
            <a:custGeom>
              <a:avLst/>
              <a:gdLst>
                <a:gd name="T0" fmla="*/ 83 w 185"/>
                <a:gd name="T1" fmla="*/ 129 h 145"/>
                <a:gd name="T2" fmla="*/ 91 w 185"/>
                <a:gd name="T3" fmla="*/ 127 h 145"/>
                <a:gd name="T4" fmla="*/ 104 w 185"/>
                <a:gd name="T5" fmla="*/ 134 h 145"/>
                <a:gd name="T6" fmla="*/ 113 w 185"/>
                <a:gd name="T7" fmla="*/ 134 h 145"/>
                <a:gd name="T8" fmla="*/ 119 w 185"/>
                <a:gd name="T9" fmla="*/ 134 h 145"/>
                <a:gd name="T10" fmla="*/ 126 w 185"/>
                <a:gd name="T11" fmla="*/ 127 h 145"/>
                <a:gd name="T12" fmla="*/ 131 w 185"/>
                <a:gd name="T13" fmla="*/ 112 h 145"/>
                <a:gd name="T14" fmla="*/ 131 w 185"/>
                <a:gd name="T15" fmla="*/ 103 h 145"/>
                <a:gd name="T16" fmla="*/ 138 w 185"/>
                <a:gd name="T17" fmla="*/ 92 h 145"/>
                <a:gd name="T18" fmla="*/ 150 w 185"/>
                <a:gd name="T19" fmla="*/ 84 h 145"/>
                <a:gd name="T20" fmla="*/ 156 w 185"/>
                <a:gd name="T21" fmla="*/ 83 h 145"/>
                <a:gd name="T22" fmla="*/ 179 w 185"/>
                <a:gd name="T23" fmla="*/ 80 h 145"/>
                <a:gd name="T24" fmla="*/ 184 w 185"/>
                <a:gd name="T25" fmla="*/ 78 h 145"/>
                <a:gd name="T26" fmla="*/ 185 w 185"/>
                <a:gd name="T27" fmla="*/ 72 h 145"/>
                <a:gd name="T28" fmla="*/ 181 w 185"/>
                <a:gd name="T29" fmla="*/ 60 h 145"/>
                <a:gd name="T30" fmla="*/ 178 w 185"/>
                <a:gd name="T31" fmla="*/ 56 h 145"/>
                <a:gd name="T32" fmla="*/ 169 w 185"/>
                <a:gd name="T33" fmla="*/ 55 h 145"/>
                <a:gd name="T34" fmla="*/ 157 w 185"/>
                <a:gd name="T35" fmla="*/ 50 h 145"/>
                <a:gd name="T36" fmla="*/ 154 w 185"/>
                <a:gd name="T37" fmla="*/ 47 h 145"/>
                <a:gd name="T38" fmla="*/ 154 w 185"/>
                <a:gd name="T39" fmla="*/ 41 h 145"/>
                <a:gd name="T40" fmla="*/ 154 w 185"/>
                <a:gd name="T41" fmla="*/ 31 h 145"/>
                <a:gd name="T42" fmla="*/ 150 w 185"/>
                <a:gd name="T43" fmla="*/ 22 h 145"/>
                <a:gd name="T44" fmla="*/ 134 w 185"/>
                <a:gd name="T45" fmla="*/ 0 h 145"/>
                <a:gd name="T46" fmla="*/ 114 w 185"/>
                <a:gd name="T47" fmla="*/ 6 h 145"/>
                <a:gd name="T48" fmla="*/ 111 w 185"/>
                <a:gd name="T49" fmla="*/ 10 h 145"/>
                <a:gd name="T50" fmla="*/ 101 w 185"/>
                <a:gd name="T51" fmla="*/ 17 h 145"/>
                <a:gd name="T52" fmla="*/ 95 w 185"/>
                <a:gd name="T53" fmla="*/ 22 h 145"/>
                <a:gd name="T54" fmla="*/ 79 w 185"/>
                <a:gd name="T55" fmla="*/ 41 h 145"/>
                <a:gd name="T56" fmla="*/ 74 w 185"/>
                <a:gd name="T57" fmla="*/ 46 h 145"/>
                <a:gd name="T58" fmla="*/ 67 w 185"/>
                <a:gd name="T59" fmla="*/ 55 h 145"/>
                <a:gd name="T60" fmla="*/ 58 w 185"/>
                <a:gd name="T61" fmla="*/ 65 h 145"/>
                <a:gd name="T62" fmla="*/ 51 w 185"/>
                <a:gd name="T63" fmla="*/ 69 h 145"/>
                <a:gd name="T64" fmla="*/ 39 w 185"/>
                <a:gd name="T65" fmla="*/ 71 h 145"/>
                <a:gd name="T66" fmla="*/ 33 w 185"/>
                <a:gd name="T67" fmla="*/ 74 h 145"/>
                <a:gd name="T68" fmla="*/ 11 w 185"/>
                <a:gd name="T69" fmla="*/ 92 h 145"/>
                <a:gd name="T70" fmla="*/ 9 w 185"/>
                <a:gd name="T71" fmla="*/ 96 h 145"/>
                <a:gd name="T72" fmla="*/ 6 w 185"/>
                <a:gd name="T73" fmla="*/ 115 h 145"/>
                <a:gd name="T74" fmla="*/ 6 w 185"/>
                <a:gd name="T75" fmla="*/ 127 h 145"/>
                <a:gd name="T76" fmla="*/ 6 w 185"/>
                <a:gd name="T77" fmla="*/ 130 h 145"/>
                <a:gd name="T78" fmla="*/ 0 w 185"/>
                <a:gd name="T79" fmla="*/ 139 h 145"/>
                <a:gd name="T80" fmla="*/ 20 w 185"/>
                <a:gd name="T81" fmla="*/ 145 h 145"/>
                <a:gd name="T82" fmla="*/ 46 w 185"/>
                <a:gd name="T83" fmla="*/ 143 h 145"/>
                <a:gd name="T84" fmla="*/ 58 w 185"/>
                <a:gd name="T85" fmla="*/ 142 h 145"/>
                <a:gd name="T86" fmla="*/ 71 w 185"/>
                <a:gd name="T87" fmla="*/ 134 h 145"/>
                <a:gd name="T88" fmla="*/ 83 w 185"/>
                <a:gd name="T89" fmla="*/ 12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5" h="145">
                  <a:moveTo>
                    <a:pt x="83" y="129"/>
                  </a:moveTo>
                  <a:lnTo>
                    <a:pt x="83" y="129"/>
                  </a:lnTo>
                  <a:lnTo>
                    <a:pt x="86" y="127"/>
                  </a:lnTo>
                  <a:lnTo>
                    <a:pt x="91" y="127"/>
                  </a:lnTo>
                  <a:lnTo>
                    <a:pt x="97" y="130"/>
                  </a:lnTo>
                  <a:lnTo>
                    <a:pt x="104" y="134"/>
                  </a:lnTo>
                  <a:lnTo>
                    <a:pt x="108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9" y="134"/>
                  </a:lnTo>
                  <a:lnTo>
                    <a:pt x="123" y="132"/>
                  </a:lnTo>
                  <a:lnTo>
                    <a:pt x="126" y="127"/>
                  </a:lnTo>
                  <a:lnTo>
                    <a:pt x="128" y="123"/>
                  </a:lnTo>
                  <a:lnTo>
                    <a:pt x="131" y="112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4" y="97"/>
                  </a:lnTo>
                  <a:lnTo>
                    <a:pt x="138" y="92"/>
                  </a:lnTo>
                  <a:lnTo>
                    <a:pt x="144" y="87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56" y="83"/>
                  </a:lnTo>
                  <a:lnTo>
                    <a:pt x="163" y="81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84" y="78"/>
                  </a:lnTo>
                  <a:lnTo>
                    <a:pt x="185" y="75"/>
                  </a:lnTo>
                  <a:lnTo>
                    <a:pt x="185" y="72"/>
                  </a:lnTo>
                  <a:lnTo>
                    <a:pt x="185" y="68"/>
                  </a:lnTo>
                  <a:lnTo>
                    <a:pt x="181" y="60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4" y="55"/>
                  </a:lnTo>
                  <a:lnTo>
                    <a:pt x="169" y="55"/>
                  </a:lnTo>
                  <a:lnTo>
                    <a:pt x="163" y="53"/>
                  </a:lnTo>
                  <a:lnTo>
                    <a:pt x="157" y="50"/>
                  </a:lnTo>
                  <a:lnTo>
                    <a:pt x="157" y="50"/>
                  </a:lnTo>
                  <a:lnTo>
                    <a:pt x="154" y="47"/>
                  </a:lnTo>
                  <a:lnTo>
                    <a:pt x="153" y="46"/>
                  </a:lnTo>
                  <a:lnTo>
                    <a:pt x="154" y="41"/>
                  </a:lnTo>
                  <a:lnTo>
                    <a:pt x="154" y="37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0" y="22"/>
                  </a:lnTo>
                  <a:lnTo>
                    <a:pt x="144" y="1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1" y="10"/>
                  </a:lnTo>
                  <a:lnTo>
                    <a:pt x="107" y="13"/>
                  </a:lnTo>
                  <a:lnTo>
                    <a:pt x="101" y="17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83" y="35"/>
                  </a:lnTo>
                  <a:lnTo>
                    <a:pt x="79" y="41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0" y="49"/>
                  </a:lnTo>
                  <a:lnTo>
                    <a:pt x="67" y="55"/>
                  </a:lnTo>
                  <a:lnTo>
                    <a:pt x="62" y="60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1" y="69"/>
                  </a:lnTo>
                  <a:lnTo>
                    <a:pt x="45" y="71"/>
                  </a:lnTo>
                  <a:lnTo>
                    <a:pt x="39" y="71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20" y="84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6" y="115"/>
                  </a:lnTo>
                  <a:lnTo>
                    <a:pt x="6" y="123"/>
                  </a:lnTo>
                  <a:lnTo>
                    <a:pt x="6" y="127"/>
                  </a:lnTo>
                  <a:lnTo>
                    <a:pt x="6" y="127"/>
                  </a:lnTo>
                  <a:lnTo>
                    <a:pt x="6" y="130"/>
                  </a:lnTo>
                  <a:lnTo>
                    <a:pt x="5" y="133"/>
                  </a:lnTo>
                  <a:lnTo>
                    <a:pt x="0" y="139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34" y="145"/>
                  </a:lnTo>
                  <a:lnTo>
                    <a:pt x="46" y="143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65" y="139"/>
                  </a:lnTo>
                  <a:lnTo>
                    <a:pt x="71" y="134"/>
                  </a:lnTo>
                  <a:lnTo>
                    <a:pt x="76" y="132"/>
                  </a:lnTo>
                  <a:lnTo>
                    <a:pt x="83" y="129"/>
                  </a:lnTo>
                  <a:lnTo>
                    <a:pt x="83" y="12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1" name="Freeform 10">
              <a:extLst>
                <a:ext uri="{FF2B5EF4-FFF2-40B4-BE49-F238E27FC236}">
                  <a16:creationId xmlns:a16="http://schemas.microsoft.com/office/drawing/2014/main" id="{5356B547-2AE6-384A-B54E-F53A014C9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8325" y="6092825"/>
              <a:ext cx="673100" cy="703262"/>
            </a:xfrm>
            <a:custGeom>
              <a:avLst/>
              <a:gdLst>
                <a:gd name="T0" fmla="*/ 20 w 424"/>
                <a:gd name="T1" fmla="*/ 363 h 443"/>
                <a:gd name="T2" fmla="*/ 38 w 424"/>
                <a:gd name="T3" fmla="*/ 357 h 443"/>
                <a:gd name="T4" fmla="*/ 64 w 424"/>
                <a:gd name="T5" fmla="*/ 375 h 443"/>
                <a:gd name="T6" fmla="*/ 72 w 424"/>
                <a:gd name="T7" fmla="*/ 390 h 443"/>
                <a:gd name="T8" fmla="*/ 63 w 424"/>
                <a:gd name="T9" fmla="*/ 408 h 443"/>
                <a:gd name="T10" fmla="*/ 66 w 424"/>
                <a:gd name="T11" fmla="*/ 440 h 443"/>
                <a:gd name="T12" fmla="*/ 135 w 424"/>
                <a:gd name="T13" fmla="*/ 434 h 443"/>
                <a:gd name="T14" fmla="*/ 140 w 424"/>
                <a:gd name="T15" fmla="*/ 390 h 443"/>
                <a:gd name="T16" fmla="*/ 160 w 424"/>
                <a:gd name="T17" fmla="*/ 378 h 443"/>
                <a:gd name="T18" fmla="*/ 199 w 424"/>
                <a:gd name="T19" fmla="*/ 403 h 443"/>
                <a:gd name="T20" fmla="*/ 226 w 424"/>
                <a:gd name="T21" fmla="*/ 427 h 443"/>
                <a:gd name="T22" fmla="*/ 208 w 424"/>
                <a:gd name="T23" fmla="*/ 347 h 443"/>
                <a:gd name="T24" fmla="*/ 236 w 424"/>
                <a:gd name="T25" fmla="*/ 333 h 443"/>
                <a:gd name="T26" fmla="*/ 227 w 424"/>
                <a:gd name="T27" fmla="*/ 304 h 443"/>
                <a:gd name="T28" fmla="*/ 258 w 424"/>
                <a:gd name="T29" fmla="*/ 330 h 443"/>
                <a:gd name="T30" fmla="*/ 340 w 424"/>
                <a:gd name="T31" fmla="*/ 353 h 443"/>
                <a:gd name="T32" fmla="*/ 385 w 424"/>
                <a:gd name="T33" fmla="*/ 286 h 443"/>
                <a:gd name="T34" fmla="*/ 357 w 424"/>
                <a:gd name="T35" fmla="*/ 274 h 443"/>
                <a:gd name="T36" fmla="*/ 338 w 424"/>
                <a:gd name="T37" fmla="*/ 261 h 443"/>
                <a:gd name="T38" fmla="*/ 347 w 424"/>
                <a:gd name="T39" fmla="*/ 224 h 443"/>
                <a:gd name="T40" fmla="*/ 369 w 424"/>
                <a:gd name="T41" fmla="*/ 225 h 443"/>
                <a:gd name="T42" fmla="*/ 390 w 424"/>
                <a:gd name="T43" fmla="*/ 191 h 443"/>
                <a:gd name="T44" fmla="*/ 417 w 424"/>
                <a:gd name="T45" fmla="*/ 188 h 443"/>
                <a:gd name="T46" fmla="*/ 418 w 424"/>
                <a:gd name="T47" fmla="*/ 156 h 443"/>
                <a:gd name="T48" fmla="*/ 405 w 424"/>
                <a:gd name="T49" fmla="*/ 114 h 443"/>
                <a:gd name="T50" fmla="*/ 385 w 424"/>
                <a:gd name="T51" fmla="*/ 70 h 443"/>
                <a:gd name="T52" fmla="*/ 381 w 424"/>
                <a:gd name="T53" fmla="*/ 85 h 443"/>
                <a:gd name="T54" fmla="*/ 340 w 424"/>
                <a:gd name="T55" fmla="*/ 54 h 443"/>
                <a:gd name="T56" fmla="*/ 319 w 424"/>
                <a:gd name="T57" fmla="*/ 36 h 443"/>
                <a:gd name="T58" fmla="*/ 297 w 424"/>
                <a:gd name="T59" fmla="*/ 6 h 443"/>
                <a:gd name="T60" fmla="*/ 283 w 424"/>
                <a:gd name="T61" fmla="*/ 6 h 443"/>
                <a:gd name="T62" fmla="*/ 270 w 424"/>
                <a:gd name="T63" fmla="*/ 30 h 443"/>
                <a:gd name="T64" fmla="*/ 246 w 424"/>
                <a:gd name="T65" fmla="*/ 37 h 443"/>
                <a:gd name="T66" fmla="*/ 246 w 424"/>
                <a:gd name="T67" fmla="*/ 59 h 443"/>
                <a:gd name="T68" fmla="*/ 251 w 424"/>
                <a:gd name="T69" fmla="*/ 79 h 443"/>
                <a:gd name="T70" fmla="*/ 240 w 424"/>
                <a:gd name="T71" fmla="*/ 88 h 443"/>
                <a:gd name="T72" fmla="*/ 223 w 424"/>
                <a:gd name="T73" fmla="*/ 85 h 443"/>
                <a:gd name="T74" fmla="*/ 203 w 424"/>
                <a:gd name="T75" fmla="*/ 77 h 443"/>
                <a:gd name="T76" fmla="*/ 180 w 424"/>
                <a:gd name="T77" fmla="*/ 86 h 443"/>
                <a:gd name="T78" fmla="*/ 169 w 424"/>
                <a:gd name="T79" fmla="*/ 116 h 443"/>
                <a:gd name="T80" fmla="*/ 163 w 424"/>
                <a:gd name="T81" fmla="*/ 99 h 443"/>
                <a:gd name="T82" fmla="*/ 146 w 424"/>
                <a:gd name="T83" fmla="*/ 94 h 443"/>
                <a:gd name="T84" fmla="*/ 140 w 424"/>
                <a:gd name="T85" fmla="*/ 74 h 443"/>
                <a:gd name="T86" fmla="*/ 150 w 424"/>
                <a:gd name="T87" fmla="*/ 39 h 443"/>
                <a:gd name="T88" fmla="*/ 123 w 424"/>
                <a:gd name="T89" fmla="*/ 19 h 443"/>
                <a:gd name="T90" fmla="*/ 101 w 424"/>
                <a:gd name="T91" fmla="*/ 30 h 443"/>
                <a:gd name="T92" fmla="*/ 91 w 424"/>
                <a:gd name="T93" fmla="*/ 55 h 443"/>
                <a:gd name="T94" fmla="*/ 88 w 424"/>
                <a:gd name="T95" fmla="*/ 79 h 443"/>
                <a:gd name="T96" fmla="*/ 91 w 424"/>
                <a:gd name="T97" fmla="*/ 116 h 443"/>
                <a:gd name="T98" fmla="*/ 98 w 424"/>
                <a:gd name="T99" fmla="*/ 132 h 443"/>
                <a:gd name="T100" fmla="*/ 131 w 424"/>
                <a:gd name="T101" fmla="*/ 139 h 443"/>
                <a:gd name="T102" fmla="*/ 159 w 424"/>
                <a:gd name="T103" fmla="*/ 150 h 443"/>
                <a:gd name="T104" fmla="*/ 211 w 424"/>
                <a:gd name="T105" fmla="*/ 156 h 443"/>
                <a:gd name="T106" fmla="*/ 229 w 424"/>
                <a:gd name="T107" fmla="*/ 168 h 443"/>
                <a:gd name="T108" fmla="*/ 193 w 424"/>
                <a:gd name="T109" fmla="*/ 187 h 443"/>
                <a:gd name="T110" fmla="*/ 187 w 424"/>
                <a:gd name="T111" fmla="*/ 208 h 443"/>
                <a:gd name="T112" fmla="*/ 153 w 424"/>
                <a:gd name="T113" fmla="*/ 213 h 443"/>
                <a:gd name="T114" fmla="*/ 120 w 424"/>
                <a:gd name="T115" fmla="*/ 215 h 443"/>
                <a:gd name="T116" fmla="*/ 97 w 424"/>
                <a:gd name="T117" fmla="*/ 216 h 443"/>
                <a:gd name="T118" fmla="*/ 77 w 424"/>
                <a:gd name="T119" fmla="*/ 249 h 443"/>
                <a:gd name="T120" fmla="*/ 43 w 424"/>
                <a:gd name="T121" fmla="*/ 285 h 443"/>
                <a:gd name="T122" fmla="*/ 24 w 424"/>
                <a:gd name="T123" fmla="*/ 328 h 443"/>
                <a:gd name="T124" fmla="*/ 0 w 424"/>
                <a:gd name="T125" fmla="*/ 34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4" h="443">
                  <a:moveTo>
                    <a:pt x="2" y="350"/>
                  </a:moveTo>
                  <a:lnTo>
                    <a:pt x="2" y="350"/>
                  </a:lnTo>
                  <a:lnTo>
                    <a:pt x="11" y="350"/>
                  </a:lnTo>
                  <a:lnTo>
                    <a:pt x="17" y="350"/>
                  </a:lnTo>
                  <a:lnTo>
                    <a:pt x="18" y="351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20" y="363"/>
                  </a:lnTo>
                  <a:lnTo>
                    <a:pt x="21" y="365"/>
                  </a:lnTo>
                  <a:lnTo>
                    <a:pt x="24" y="365"/>
                  </a:lnTo>
                  <a:lnTo>
                    <a:pt x="24" y="365"/>
                  </a:lnTo>
                  <a:lnTo>
                    <a:pt x="27" y="362"/>
                  </a:lnTo>
                  <a:lnTo>
                    <a:pt x="29" y="359"/>
                  </a:lnTo>
                  <a:lnTo>
                    <a:pt x="32" y="357"/>
                  </a:lnTo>
                  <a:lnTo>
                    <a:pt x="38" y="357"/>
                  </a:lnTo>
                  <a:lnTo>
                    <a:pt x="38" y="357"/>
                  </a:lnTo>
                  <a:lnTo>
                    <a:pt x="42" y="360"/>
                  </a:lnTo>
                  <a:lnTo>
                    <a:pt x="43" y="363"/>
                  </a:lnTo>
                  <a:lnTo>
                    <a:pt x="45" y="366"/>
                  </a:lnTo>
                  <a:lnTo>
                    <a:pt x="49" y="370"/>
                  </a:lnTo>
                  <a:lnTo>
                    <a:pt x="49" y="370"/>
                  </a:lnTo>
                  <a:lnTo>
                    <a:pt x="55" y="373"/>
                  </a:lnTo>
                  <a:lnTo>
                    <a:pt x="60" y="373"/>
                  </a:lnTo>
                  <a:lnTo>
                    <a:pt x="64" y="375"/>
                  </a:lnTo>
                  <a:lnTo>
                    <a:pt x="66" y="376"/>
                  </a:lnTo>
                  <a:lnTo>
                    <a:pt x="66" y="376"/>
                  </a:lnTo>
                  <a:lnTo>
                    <a:pt x="67" y="379"/>
                  </a:lnTo>
                  <a:lnTo>
                    <a:pt x="66" y="381"/>
                  </a:lnTo>
                  <a:lnTo>
                    <a:pt x="66" y="384"/>
                  </a:lnTo>
                  <a:lnTo>
                    <a:pt x="67" y="387"/>
                  </a:lnTo>
                  <a:lnTo>
                    <a:pt x="67" y="387"/>
                  </a:lnTo>
                  <a:lnTo>
                    <a:pt x="72" y="390"/>
                  </a:lnTo>
                  <a:lnTo>
                    <a:pt x="76" y="390"/>
                  </a:lnTo>
                  <a:lnTo>
                    <a:pt x="77" y="391"/>
                  </a:lnTo>
                  <a:lnTo>
                    <a:pt x="79" y="396"/>
                  </a:lnTo>
                  <a:lnTo>
                    <a:pt x="79" y="396"/>
                  </a:lnTo>
                  <a:lnTo>
                    <a:pt x="77" y="399"/>
                  </a:lnTo>
                  <a:lnTo>
                    <a:pt x="76" y="400"/>
                  </a:lnTo>
                  <a:lnTo>
                    <a:pt x="70" y="405"/>
                  </a:lnTo>
                  <a:lnTo>
                    <a:pt x="63" y="408"/>
                  </a:lnTo>
                  <a:lnTo>
                    <a:pt x="58" y="410"/>
                  </a:lnTo>
                  <a:lnTo>
                    <a:pt x="58" y="410"/>
                  </a:lnTo>
                  <a:lnTo>
                    <a:pt x="55" y="413"/>
                  </a:lnTo>
                  <a:lnTo>
                    <a:pt x="55" y="416"/>
                  </a:lnTo>
                  <a:lnTo>
                    <a:pt x="54" y="424"/>
                  </a:lnTo>
                  <a:lnTo>
                    <a:pt x="57" y="440"/>
                  </a:lnTo>
                  <a:lnTo>
                    <a:pt x="57" y="440"/>
                  </a:lnTo>
                  <a:lnTo>
                    <a:pt x="66" y="440"/>
                  </a:lnTo>
                  <a:lnTo>
                    <a:pt x="82" y="442"/>
                  </a:lnTo>
                  <a:lnTo>
                    <a:pt x="101" y="443"/>
                  </a:lnTo>
                  <a:lnTo>
                    <a:pt x="110" y="443"/>
                  </a:lnTo>
                  <a:lnTo>
                    <a:pt x="117" y="442"/>
                  </a:lnTo>
                  <a:lnTo>
                    <a:pt x="117" y="442"/>
                  </a:lnTo>
                  <a:lnTo>
                    <a:pt x="125" y="440"/>
                  </a:lnTo>
                  <a:lnTo>
                    <a:pt x="131" y="437"/>
                  </a:lnTo>
                  <a:lnTo>
                    <a:pt x="135" y="434"/>
                  </a:lnTo>
                  <a:lnTo>
                    <a:pt x="138" y="431"/>
                  </a:lnTo>
                  <a:lnTo>
                    <a:pt x="140" y="427"/>
                  </a:lnTo>
                  <a:lnTo>
                    <a:pt x="141" y="422"/>
                  </a:lnTo>
                  <a:lnTo>
                    <a:pt x="143" y="412"/>
                  </a:lnTo>
                  <a:lnTo>
                    <a:pt x="143" y="412"/>
                  </a:lnTo>
                  <a:lnTo>
                    <a:pt x="141" y="402"/>
                  </a:lnTo>
                  <a:lnTo>
                    <a:pt x="140" y="393"/>
                  </a:lnTo>
                  <a:lnTo>
                    <a:pt x="140" y="390"/>
                  </a:lnTo>
                  <a:lnTo>
                    <a:pt x="141" y="388"/>
                  </a:lnTo>
                  <a:lnTo>
                    <a:pt x="143" y="387"/>
                  </a:lnTo>
                  <a:lnTo>
                    <a:pt x="147" y="385"/>
                  </a:lnTo>
                  <a:lnTo>
                    <a:pt x="147" y="385"/>
                  </a:lnTo>
                  <a:lnTo>
                    <a:pt x="152" y="385"/>
                  </a:lnTo>
                  <a:lnTo>
                    <a:pt x="154" y="384"/>
                  </a:lnTo>
                  <a:lnTo>
                    <a:pt x="159" y="379"/>
                  </a:lnTo>
                  <a:lnTo>
                    <a:pt x="160" y="378"/>
                  </a:lnTo>
                  <a:lnTo>
                    <a:pt x="163" y="378"/>
                  </a:lnTo>
                  <a:lnTo>
                    <a:pt x="168" y="378"/>
                  </a:lnTo>
                  <a:lnTo>
                    <a:pt x="174" y="379"/>
                  </a:lnTo>
                  <a:lnTo>
                    <a:pt x="174" y="379"/>
                  </a:lnTo>
                  <a:lnTo>
                    <a:pt x="184" y="385"/>
                  </a:lnTo>
                  <a:lnTo>
                    <a:pt x="192" y="390"/>
                  </a:lnTo>
                  <a:lnTo>
                    <a:pt x="194" y="394"/>
                  </a:lnTo>
                  <a:lnTo>
                    <a:pt x="199" y="403"/>
                  </a:lnTo>
                  <a:lnTo>
                    <a:pt x="199" y="403"/>
                  </a:lnTo>
                  <a:lnTo>
                    <a:pt x="203" y="413"/>
                  </a:lnTo>
                  <a:lnTo>
                    <a:pt x="211" y="424"/>
                  </a:lnTo>
                  <a:lnTo>
                    <a:pt x="214" y="427"/>
                  </a:lnTo>
                  <a:lnTo>
                    <a:pt x="218" y="428"/>
                  </a:lnTo>
                  <a:lnTo>
                    <a:pt x="221" y="428"/>
                  </a:lnTo>
                  <a:lnTo>
                    <a:pt x="226" y="427"/>
                  </a:lnTo>
                  <a:lnTo>
                    <a:pt x="226" y="427"/>
                  </a:lnTo>
                  <a:lnTo>
                    <a:pt x="229" y="424"/>
                  </a:lnTo>
                  <a:lnTo>
                    <a:pt x="230" y="419"/>
                  </a:lnTo>
                  <a:lnTo>
                    <a:pt x="234" y="409"/>
                  </a:lnTo>
                  <a:lnTo>
                    <a:pt x="236" y="399"/>
                  </a:lnTo>
                  <a:lnTo>
                    <a:pt x="236" y="394"/>
                  </a:lnTo>
                  <a:lnTo>
                    <a:pt x="234" y="391"/>
                  </a:lnTo>
                  <a:lnTo>
                    <a:pt x="234" y="391"/>
                  </a:lnTo>
                  <a:lnTo>
                    <a:pt x="208" y="347"/>
                  </a:lnTo>
                  <a:lnTo>
                    <a:pt x="208" y="347"/>
                  </a:lnTo>
                  <a:lnTo>
                    <a:pt x="223" y="354"/>
                  </a:lnTo>
                  <a:lnTo>
                    <a:pt x="233" y="357"/>
                  </a:lnTo>
                  <a:lnTo>
                    <a:pt x="236" y="356"/>
                  </a:lnTo>
                  <a:lnTo>
                    <a:pt x="239" y="354"/>
                  </a:lnTo>
                  <a:lnTo>
                    <a:pt x="239" y="354"/>
                  </a:lnTo>
                  <a:lnTo>
                    <a:pt x="239" y="345"/>
                  </a:lnTo>
                  <a:lnTo>
                    <a:pt x="236" y="333"/>
                  </a:lnTo>
                  <a:lnTo>
                    <a:pt x="233" y="323"/>
                  </a:lnTo>
                  <a:lnTo>
                    <a:pt x="230" y="320"/>
                  </a:lnTo>
                  <a:lnTo>
                    <a:pt x="227" y="317"/>
                  </a:lnTo>
                  <a:lnTo>
                    <a:pt x="227" y="317"/>
                  </a:lnTo>
                  <a:lnTo>
                    <a:pt x="224" y="316"/>
                  </a:lnTo>
                  <a:lnTo>
                    <a:pt x="224" y="314"/>
                  </a:lnTo>
                  <a:lnTo>
                    <a:pt x="224" y="308"/>
                  </a:lnTo>
                  <a:lnTo>
                    <a:pt x="227" y="304"/>
                  </a:lnTo>
                  <a:lnTo>
                    <a:pt x="233" y="299"/>
                  </a:lnTo>
                  <a:lnTo>
                    <a:pt x="233" y="299"/>
                  </a:lnTo>
                  <a:lnTo>
                    <a:pt x="236" y="299"/>
                  </a:lnTo>
                  <a:lnTo>
                    <a:pt x="239" y="302"/>
                  </a:lnTo>
                  <a:lnTo>
                    <a:pt x="243" y="311"/>
                  </a:lnTo>
                  <a:lnTo>
                    <a:pt x="249" y="323"/>
                  </a:lnTo>
                  <a:lnTo>
                    <a:pt x="254" y="328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79" y="342"/>
                  </a:lnTo>
                  <a:lnTo>
                    <a:pt x="289" y="347"/>
                  </a:lnTo>
                  <a:lnTo>
                    <a:pt x="298" y="350"/>
                  </a:lnTo>
                  <a:lnTo>
                    <a:pt x="298" y="350"/>
                  </a:lnTo>
                  <a:lnTo>
                    <a:pt x="317" y="350"/>
                  </a:lnTo>
                  <a:lnTo>
                    <a:pt x="329" y="351"/>
                  </a:lnTo>
                  <a:lnTo>
                    <a:pt x="340" y="353"/>
                  </a:lnTo>
                  <a:lnTo>
                    <a:pt x="340" y="353"/>
                  </a:lnTo>
                  <a:lnTo>
                    <a:pt x="362" y="359"/>
                  </a:lnTo>
                  <a:lnTo>
                    <a:pt x="374" y="325"/>
                  </a:lnTo>
                  <a:lnTo>
                    <a:pt x="374" y="325"/>
                  </a:lnTo>
                  <a:lnTo>
                    <a:pt x="381" y="304"/>
                  </a:lnTo>
                  <a:lnTo>
                    <a:pt x="385" y="293"/>
                  </a:lnTo>
                  <a:lnTo>
                    <a:pt x="385" y="289"/>
                  </a:lnTo>
                  <a:lnTo>
                    <a:pt x="385" y="286"/>
                  </a:lnTo>
                  <a:lnTo>
                    <a:pt x="385" y="286"/>
                  </a:lnTo>
                  <a:lnTo>
                    <a:pt x="383" y="283"/>
                  </a:lnTo>
                  <a:lnTo>
                    <a:pt x="380" y="282"/>
                  </a:lnTo>
                  <a:lnTo>
                    <a:pt x="369" y="282"/>
                  </a:lnTo>
                  <a:lnTo>
                    <a:pt x="369" y="282"/>
                  </a:lnTo>
                  <a:lnTo>
                    <a:pt x="363" y="280"/>
                  </a:lnTo>
                  <a:lnTo>
                    <a:pt x="359" y="279"/>
                  </a:lnTo>
                  <a:lnTo>
                    <a:pt x="357" y="274"/>
                  </a:lnTo>
                  <a:lnTo>
                    <a:pt x="356" y="267"/>
                  </a:lnTo>
                  <a:lnTo>
                    <a:pt x="356" y="267"/>
                  </a:lnTo>
                  <a:lnTo>
                    <a:pt x="353" y="262"/>
                  </a:lnTo>
                  <a:lnTo>
                    <a:pt x="351" y="261"/>
                  </a:lnTo>
                  <a:lnTo>
                    <a:pt x="350" y="261"/>
                  </a:lnTo>
                  <a:lnTo>
                    <a:pt x="341" y="262"/>
                  </a:lnTo>
                  <a:lnTo>
                    <a:pt x="341" y="262"/>
                  </a:lnTo>
                  <a:lnTo>
                    <a:pt x="338" y="261"/>
                  </a:lnTo>
                  <a:lnTo>
                    <a:pt x="337" y="258"/>
                  </a:lnTo>
                  <a:lnTo>
                    <a:pt x="337" y="246"/>
                  </a:lnTo>
                  <a:lnTo>
                    <a:pt x="337" y="246"/>
                  </a:lnTo>
                  <a:lnTo>
                    <a:pt x="338" y="239"/>
                  </a:lnTo>
                  <a:lnTo>
                    <a:pt x="340" y="231"/>
                  </a:lnTo>
                  <a:lnTo>
                    <a:pt x="344" y="227"/>
                  </a:lnTo>
                  <a:lnTo>
                    <a:pt x="347" y="224"/>
                  </a:lnTo>
                  <a:lnTo>
                    <a:pt x="347" y="224"/>
                  </a:lnTo>
                  <a:lnTo>
                    <a:pt x="350" y="222"/>
                  </a:lnTo>
                  <a:lnTo>
                    <a:pt x="351" y="224"/>
                  </a:lnTo>
                  <a:lnTo>
                    <a:pt x="354" y="225"/>
                  </a:lnTo>
                  <a:lnTo>
                    <a:pt x="357" y="228"/>
                  </a:lnTo>
                  <a:lnTo>
                    <a:pt x="363" y="230"/>
                  </a:lnTo>
                  <a:lnTo>
                    <a:pt x="363" y="230"/>
                  </a:lnTo>
                  <a:lnTo>
                    <a:pt x="366" y="228"/>
                  </a:lnTo>
                  <a:lnTo>
                    <a:pt x="369" y="225"/>
                  </a:lnTo>
                  <a:lnTo>
                    <a:pt x="374" y="215"/>
                  </a:lnTo>
                  <a:lnTo>
                    <a:pt x="375" y="205"/>
                  </a:lnTo>
                  <a:lnTo>
                    <a:pt x="375" y="196"/>
                  </a:lnTo>
                  <a:lnTo>
                    <a:pt x="375" y="196"/>
                  </a:lnTo>
                  <a:lnTo>
                    <a:pt x="377" y="193"/>
                  </a:lnTo>
                  <a:lnTo>
                    <a:pt x="378" y="191"/>
                  </a:lnTo>
                  <a:lnTo>
                    <a:pt x="383" y="190"/>
                  </a:lnTo>
                  <a:lnTo>
                    <a:pt x="390" y="191"/>
                  </a:lnTo>
                  <a:lnTo>
                    <a:pt x="397" y="196"/>
                  </a:lnTo>
                  <a:lnTo>
                    <a:pt x="397" y="196"/>
                  </a:lnTo>
                  <a:lnTo>
                    <a:pt x="405" y="199"/>
                  </a:lnTo>
                  <a:lnTo>
                    <a:pt x="406" y="199"/>
                  </a:lnTo>
                  <a:lnTo>
                    <a:pt x="408" y="197"/>
                  </a:lnTo>
                  <a:lnTo>
                    <a:pt x="412" y="193"/>
                  </a:lnTo>
                  <a:lnTo>
                    <a:pt x="417" y="188"/>
                  </a:lnTo>
                  <a:lnTo>
                    <a:pt x="417" y="188"/>
                  </a:lnTo>
                  <a:lnTo>
                    <a:pt x="421" y="184"/>
                  </a:lnTo>
                  <a:lnTo>
                    <a:pt x="424" y="178"/>
                  </a:lnTo>
                  <a:lnTo>
                    <a:pt x="424" y="172"/>
                  </a:lnTo>
                  <a:lnTo>
                    <a:pt x="424" y="168"/>
                  </a:lnTo>
                  <a:lnTo>
                    <a:pt x="424" y="168"/>
                  </a:lnTo>
                  <a:lnTo>
                    <a:pt x="423" y="165"/>
                  </a:lnTo>
                  <a:lnTo>
                    <a:pt x="420" y="160"/>
                  </a:lnTo>
                  <a:lnTo>
                    <a:pt x="418" y="156"/>
                  </a:lnTo>
                  <a:lnTo>
                    <a:pt x="417" y="150"/>
                  </a:lnTo>
                  <a:lnTo>
                    <a:pt x="417" y="150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5" y="123"/>
                  </a:lnTo>
                  <a:lnTo>
                    <a:pt x="409" y="117"/>
                  </a:lnTo>
                  <a:lnTo>
                    <a:pt x="409" y="117"/>
                  </a:lnTo>
                  <a:lnTo>
                    <a:pt x="405" y="114"/>
                  </a:lnTo>
                  <a:lnTo>
                    <a:pt x="403" y="110"/>
                  </a:lnTo>
                  <a:lnTo>
                    <a:pt x="403" y="101"/>
                  </a:lnTo>
                  <a:lnTo>
                    <a:pt x="403" y="101"/>
                  </a:lnTo>
                  <a:lnTo>
                    <a:pt x="402" y="95"/>
                  </a:lnTo>
                  <a:lnTo>
                    <a:pt x="400" y="91"/>
                  </a:lnTo>
                  <a:lnTo>
                    <a:pt x="394" y="82"/>
                  </a:lnTo>
                  <a:lnTo>
                    <a:pt x="394" y="82"/>
                  </a:lnTo>
                  <a:lnTo>
                    <a:pt x="385" y="70"/>
                  </a:lnTo>
                  <a:lnTo>
                    <a:pt x="383" y="65"/>
                  </a:lnTo>
                  <a:lnTo>
                    <a:pt x="383" y="65"/>
                  </a:lnTo>
                  <a:lnTo>
                    <a:pt x="383" y="73"/>
                  </a:lnTo>
                  <a:lnTo>
                    <a:pt x="383" y="79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3" y="83"/>
                  </a:lnTo>
                  <a:lnTo>
                    <a:pt x="381" y="85"/>
                  </a:lnTo>
                  <a:lnTo>
                    <a:pt x="377" y="83"/>
                  </a:lnTo>
                  <a:lnTo>
                    <a:pt x="363" y="79"/>
                  </a:lnTo>
                  <a:lnTo>
                    <a:pt x="363" y="79"/>
                  </a:lnTo>
                  <a:lnTo>
                    <a:pt x="357" y="74"/>
                  </a:lnTo>
                  <a:lnTo>
                    <a:pt x="353" y="70"/>
                  </a:lnTo>
                  <a:lnTo>
                    <a:pt x="344" y="58"/>
                  </a:lnTo>
                  <a:lnTo>
                    <a:pt x="344" y="58"/>
                  </a:lnTo>
                  <a:lnTo>
                    <a:pt x="340" y="54"/>
                  </a:lnTo>
                  <a:lnTo>
                    <a:pt x="335" y="51"/>
                  </a:lnTo>
                  <a:lnTo>
                    <a:pt x="323" y="48"/>
                  </a:lnTo>
                  <a:lnTo>
                    <a:pt x="323" y="48"/>
                  </a:lnTo>
                  <a:lnTo>
                    <a:pt x="320" y="46"/>
                  </a:lnTo>
                  <a:lnTo>
                    <a:pt x="320" y="45"/>
                  </a:lnTo>
                  <a:lnTo>
                    <a:pt x="320" y="40"/>
                  </a:lnTo>
                  <a:lnTo>
                    <a:pt x="320" y="37"/>
                  </a:lnTo>
                  <a:lnTo>
                    <a:pt x="319" y="36"/>
                  </a:lnTo>
                  <a:lnTo>
                    <a:pt x="316" y="33"/>
                  </a:lnTo>
                  <a:lnTo>
                    <a:pt x="316" y="33"/>
                  </a:lnTo>
                  <a:lnTo>
                    <a:pt x="307" y="28"/>
                  </a:lnTo>
                  <a:lnTo>
                    <a:pt x="306" y="27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3" y="15"/>
                  </a:lnTo>
                  <a:lnTo>
                    <a:pt x="297" y="6"/>
                  </a:lnTo>
                  <a:lnTo>
                    <a:pt x="297" y="6"/>
                  </a:lnTo>
                  <a:lnTo>
                    <a:pt x="292" y="2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3" y="3"/>
                  </a:lnTo>
                  <a:lnTo>
                    <a:pt x="283" y="6"/>
                  </a:lnTo>
                  <a:lnTo>
                    <a:pt x="280" y="14"/>
                  </a:lnTo>
                  <a:lnTo>
                    <a:pt x="280" y="14"/>
                  </a:lnTo>
                  <a:lnTo>
                    <a:pt x="277" y="18"/>
                  </a:lnTo>
                  <a:lnTo>
                    <a:pt x="274" y="19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5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69" y="33"/>
                  </a:lnTo>
                  <a:lnTo>
                    <a:pt x="266" y="34"/>
                  </a:lnTo>
                  <a:lnTo>
                    <a:pt x="255" y="33"/>
                  </a:lnTo>
                  <a:lnTo>
                    <a:pt x="255" y="33"/>
                  </a:lnTo>
                  <a:lnTo>
                    <a:pt x="254" y="33"/>
                  </a:lnTo>
                  <a:lnTo>
                    <a:pt x="251" y="33"/>
                  </a:lnTo>
                  <a:lnTo>
                    <a:pt x="246" y="37"/>
                  </a:lnTo>
                  <a:lnTo>
                    <a:pt x="243" y="42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5" y="49"/>
                  </a:lnTo>
                  <a:lnTo>
                    <a:pt x="249" y="55"/>
                  </a:lnTo>
                  <a:lnTo>
                    <a:pt x="249" y="55"/>
                  </a:lnTo>
                  <a:lnTo>
                    <a:pt x="249" y="58"/>
                  </a:lnTo>
                  <a:lnTo>
                    <a:pt x="246" y="59"/>
                  </a:lnTo>
                  <a:lnTo>
                    <a:pt x="237" y="67"/>
                  </a:lnTo>
                  <a:lnTo>
                    <a:pt x="237" y="67"/>
                  </a:lnTo>
                  <a:lnTo>
                    <a:pt x="236" y="68"/>
                  </a:lnTo>
                  <a:lnTo>
                    <a:pt x="237" y="71"/>
                  </a:lnTo>
                  <a:lnTo>
                    <a:pt x="242" y="73"/>
                  </a:lnTo>
                  <a:lnTo>
                    <a:pt x="246" y="76"/>
                  </a:lnTo>
                  <a:lnTo>
                    <a:pt x="246" y="76"/>
                  </a:lnTo>
                  <a:lnTo>
                    <a:pt x="251" y="79"/>
                  </a:lnTo>
                  <a:lnTo>
                    <a:pt x="255" y="80"/>
                  </a:lnTo>
                  <a:lnTo>
                    <a:pt x="260" y="82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1" y="86"/>
                  </a:lnTo>
                  <a:lnTo>
                    <a:pt x="261" y="88"/>
                  </a:lnTo>
                  <a:lnTo>
                    <a:pt x="257" y="88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34" y="86"/>
                  </a:lnTo>
                  <a:lnTo>
                    <a:pt x="230" y="85"/>
                  </a:lnTo>
                  <a:lnTo>
                    <a:pt x="227" y="83"/>
                  </a:lnTo>
                  <a:lnTo>
                    <a:pt x="226" y="82"/>
                  </a:lnTo>
                  <a:lnTo>
                    <a:pt x="226" y="82"/>
                  </a:lnTo>
                  <a:lnTo>
                    <a:pt x="223" y="83"/>
                  </a:lnTo>
                  <a:lnTo>
                    <a:pt x="223" y="85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15" y="89"/>
                  </a:lnTo>
                  <a:lnTo>
                    <a:pt x="212" y="88"/>
                  </a:lnTo>
                  <a:lnTo>
                    <a:pt x="208" y="83"/>
                  </a:lnTo>
                  <a:lnTo>
                    <a:pt x="205" y="79"/>
                  </a:lnTo>
                  <a:lnTo>
                    <a:pt x="205" y="79"/>
                  </a:lnTo>
                  <a:lnTo>
                    <a:pt x="203" y="77"/>
                  </a:lnTo>
                  <a:lnTo>
                    <a:pt x="200" y="76"/>
                  </a:lnTo>
                  <a:lnTo>
                    <a:pt x="193" y="73"/>
                  </a:lnTo>
                  <a:lnTo>
                    <a:pt x="180" y="73"/>
                  </a:lnTo>
                  <a:lnTo>
                    <a:pt x="180" y="73"/>
                  </a:lnTo>
                  <a:lnTo>
                    <a:pt x="177" y="73"/>
                  </a:lnTo>
                  <a:lnTo>
                    <a:pt x="177" y="73"/>
                  </a:lnTo>
                  <a:lnTo>
                    <a:pt x="177" y="77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1" y="91"/>
                  </a:lnTo>
                  <a:lnTo>
                    <a:pt x="181" y="96"/>
                  </a:lnTo>
                  <a:lnTo>
                    <a:pt x="178" y="108"/>
                  </a:lnTo>
                  <a:lnTo>
                    <a:pt x="178" y="108"/>
                  </a:lnTo>
                  <a:lnTo>
                    <a:pt x="177" y="113"/>
                  </a:lnTo>
                  <a:lnTo>
                    <a:pt x="174" y="116"/>
                  </a:lnTo>
                  <a:lnTo>
                    <a:pt x="169" y="116"/>
                  </a:lnTo>
                  <a:lnTo>
                    <a:pt x="165" y="116"/>
                  </a:lnTo>
                  <a:lnTo>
                    <a:pt x="165" y="116"/>
                  </a:lnTo>
                  <a:lnTo>
                    <a:pt x="163" y="114"/>
                  </a:lnTo>
                  <a:lnTo>
                    <a:pt x="162" y="113"/>
                  </a:lnTo>
                  <a:lnTo>
                    <a:pt x="162" y="108"/>
                  </a:lnTo>
                  <a:lnTo>
                    <a:pt x="163" y="102"/>
                  </a:lnTo>
                  <a:lnTo>
                    <a:pt x="163" y="99"/>
                  </a:lnTo>
                  <a:lnTo>
                    <a:pt x="163" y="99"/>
                  </a:lnTo>
                  <a:lnTo>
                    <a:pt x="163" y="98"/>
                  </a:lnTo>
                  <a:lnTo>
                    <a:pt x="162" y="98"/>
                  </a:lnTo>
                  <a:lnTo>
                    <a:pt x="157" y="98"/>
                  </a:lnTo>
                  <a:lnTo>
                    <a:pt x="152" y="98"/>
                  </a:lnTo>
                  <a:lnTo>
                    <a:pt x="150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6" y="94"/>
                  </a:lnTo>
                  <a:lnTo>
                    <a:pt x="143" y="94"/>
                  </a:lnTo>
                  <a:lnTo>
                    <a:pt x="140" y="94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4" y="92"/>
                  </a:lnTo>
                  <a:lnTo>
                    <a:pt x="132" y="91"/>
                  </a:lnTo>
                  <a:lnTo>
                    <a:pt x="134" y="86"/>
                  </a:lnTo>
                  <a:lnTo>
                    <a:pt x="140" y="74"/>
                  </a:lnTo>
                  <a:lnTo>
                    <a:pt x="140" y="74"/>
                  </a:lnTo>
                  <a:lnTo>
                    <a:pt x="144" y="62"/>
                  </a:lnTo>
                  <a:lnTo>
                    <a:pt x="147" y="57"/>
                  </a:lnTo>
                  <a:lnTo>
                    <a:pt x="152" y="51"/>
                  </a:lnTo>
                  <a:lnTo>
                    <a:pt x="152" y="51"/>
                  </a:lnTo>
                  <a:lnTo>
                    <a:pt x="154" y="46"/>
                  </a:lnTo>
                  <a:lnTo>
                    <a:pt x="154" y="43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47" y="33"/>
                  </a:lnTo>
                  <a:lnTo>
                    <a:pt x="144" y="30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34" y="21"/>
                  </a:lnTo>
                  <a:lnTo>
                    <a:pt x="131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0" y="21"/>
                  </a:lnTo>
                  <a:lnTo>
                    <a:pt x="117" y="24"/>
                  </a:lnTo>
                  <a:lnTo>
                    <a:pt x="115" y="27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04" y="30"/>
                  </a:lnTo>
                  <a:lnTo>
                    <a:pt x="101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1"/>
                  </a:lnTo>
                  <a:lnTo>
                    <a:pt x="94" y="33"/>
                  </a:lnTo>
                  <a:lnTo>
                    <a:pt x="94" y="40"/>
                  </a:lnTo>
                  <a:lnTo>
                    <a:pt x="92" y="49"/>
                  </a:lnTo>
                  <a:lnTo>
                    <a:pt x="92" y="5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86" y="58"/>
                  </a:lnTo>
                  <a:lnTo>
                    <a:pt x="85" y="64"/>
                  </a:lnTo>
                  <a:lnTo>
                    <a:pt x="85" y="64"/>
                  </a:lnTo>
                  <a:lnTo>
                    <a:pt x="85" y="67"/>
                  </a:lnTo>
                  <a:lnTo>
                    <a:pt x="85" y="71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88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91" y="102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2" y="114"/>
                  </a:lnTo>
                  <a:lnTo>
                    <a:pt x="91" y="116"/>
                  </a:lnTo>
                  <a:lnTo>
                    <a:pt x="89" y="117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5"/>
                  </a:lnTo>
                  <a:lnTo>
                    <a:pt x="88" y="126"/>
                  </a:lnTo>
                  <a:lnTo>
                    <a:pt x="91" y="129"/>
                  </a:lnTo>
                  <a:lnTo>
                    <a:pt x="94" y="131"/>
                  </a:lnTo>
                  <a:lnTo>
                    <a:pt x="98" y="132"/>
                  </a:lnTo>
                  <a:lnTo>
                    <a:pt x="106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29" y="135"/>
                  </a:lnTo>
                  <a:lnTo>
                    <a:pt x="131" y="136"/>
                  </a:lnTo>
                  <a:lnTo>
                    <a:pt x="132" y="138"/>
                  </a:lnTo>
                  <a:lnTo>
                    <a:pt x="131" y="139"/>
                  </a:lnTo>
                  <a:lnTo>
                    <a:pt x="131" y="144"/>
                  </a:lnTo>
                  <a:lnTo>
                    <a:pt x="131" y="144"/>
                  </a:lnTo>
                  <a:lnTo>
                    <a:pt x="131" y="145"/>
                  </a:lnTo>
                  <a:lnTo>
                    <a:pt x="132" y="147"/>
                  </a:lnTo>
                  <a:lnTo>
                    <a:pt x="141" y="148"/>
                  </a:lnTo>
                  <a:lnTo>
                    <a:pt x="152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66" y="150"/>
                  </a:lnTo>
                  <a:lnTo>
                    <a:pt x="174" y="151"/>
                  </a:lnTo>
                  <a:lnTo>
                    <a:pt x="190" y="159"/>
                  </a:lnTo>
                  <a:lnTo>
                    <a:pt x="190" y="159"/>
                  </a:lnTo>
                  <a:lnTo>
                    <a:pt x="194" y="160"/>
                  </a:lnTo>
                  <a:lnTo>
                    <a:pt x="199" y="160"/>
                  </a:lnTo>
                  <a:lnTo>
                    <a:pt x="206" y="159"/>
                  </a:lnTo>
                  <a:lnTo>
                    <a:pt x="211" y="156"/>
                  </a:lnTo>
                  <a:lnTo>
                    <a:pt x="215" y="154"/>
                  </a:lnTo>
                  <a:lnTo>
                    <a:pt x="215" y="154"/>
                  </a:lnTo>
                  <a:lnTo>
                    <a:pt x="220" y="156"/>
                  </a:lnTo>
                  <a:lnTo>
                    <a:pt x="224" y="159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3" y="174"/>
                  </a:lnTo>
                  <a:lnTo>
                    <a:pt x="214" y="181"/>
                  </a:lnTo>
                  <a:lnTo>
                    <a:pt x="214" y="181"/>
                  </a:lnTo>
                  <a:lnTo>
                    <a:pt x="211" y="185"/>
                  </a:lnTo>
                  <a:lnTo>
                    <a:pt x="208" y="185"/>
                  </a:lnTo>
                  <a:lnTo>
                    <a:pt x="197" y="185"/>
                  </a:lnTo>
                  <a:lnTo>
                    <a:pt x="197" y="185"/>
                  </a:lnTo>
                  <a:lnTo>
                    <a:pt x="193" y="187"/>
                  </a:lnTo>
                  <a:lnTo>
                    <a:pt x="190" y="188"/>
                  </a:lnTo>
                  <a:lnTo>
                    <a:pt x="190" y="191"/>
                  </a:lnTo>
                  <a:lnTo>
                    <a:pt x="192" y="196"/>
                  </a:lnTo>
                  <a:lnTo>
                    <a:pt x="192" y="196"/>
                  </a:lnTo>
                  <a:lnTo>
                    <a:pt x="192" y="200"/>
                  </a:lnTo>
                  <a:lnTo>
                    <a:pt x="190" y="203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3" y="213"/>
                  </a:lnTo>
                  <a:lnTo>
                    <a:pt x="178" y="216"/>
                  </a:lnTo>
                  <a:lnTo>
                    <a:pt x="174" y="221"/>
                  </a:lnTo>
                  <a:lnTo>
                    <a:pt x="174" y="221"/>
                  </a:lnTo>
                  <a:lnTo>
                    <a:pt x="171" y="221"/>
                  </a:lnTo>
                  <a:lnTo>
                    <a:pt x="166" y="221"/>
                  </a:lnTo>
                  <a:lnTo>
                    <a:pt x="160" y="218"/>
                  </a:lnTo>
                  <a:lnTo>
                    <a:pt x="153" y="213"/>
                  </a:lnTo>
                  <a:lnTo>
                    <a:pt x="147" y="209"/>
                  </a:lnTo>
                  <a:lnTo>
                    <a:pt x="147" y="209"/>
                  </a:lnTo>
                  <a:lnTo>
                    <a:pt x="141" y="209"/>
                  </a:lnTo>
                  <a:lnTo>
                    <a:pt x="137" y="211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5" y="216"/>
                  </a:lnTo>
                  <a:lnTo>
                    <a:pt x="120" y="215"/>
                  </a:lnTo>
                  <a:lnTo>
                    <a:pt x="113" y="212"/>
                  </a:lnTo>
                  <a:lnTo>
                    <a:pt x="113" y="212"/>
                  </a:lnTo>
                  <a:lnTo>
                    <a:pt x="110" y="212"/>
                  </a:lnTo>
                  <a:lnTo>
                    <a:pt x="107" y="213"/>
                  </a:lnTo>
                  <a:lnTo>
                    <a:pt x="104" y="215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97" y="216"/>
                  </a:lnTo>
                  <a:lnTo>
                    <a:pt x="94" y="219"/>
                  </a:lnTo>
                  <a:lnTo>
                    <a:pt x="86" y="227"/>
                  </a:lnTo>
                  <a:lnTo>
                    <a:pt x="86" y="227"/>
                  </a:lnTo>
                  <a:lnTo>
                    <a:pt x="80" y="234"/>
                  </a:lnTo>
                  <a:lnTo>
                    <a:pt x="79" y="239"/>
                  </a:lnTo>
                  <a:lnTo>
                    <a:pt x="79" y="243"/>
                  </a:lnTo>
                  <a:lnTo>
                    <a:pt x="79" y="243"/>
                  </a:lnTo>
                  <a:lnTo>
                    <a:pt x="77" y="249"/>
                  </a:lnTo>
                  <a:lnTo>
                    <a:pt x="73" y="258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6"/>
                  </a:lnTo>
                  <a:lnTo>
                    <a:pt x="60" y="279"/>
                  </a:lnTo>
                  <a:lnTo>
                    <a:pt x="52" y="282"/>
                  </a:lnTo>
                  <a:lnTo>
                    <a:pt x="43" y="285"/>
                  </a:lnTo>
                  <a:lnTo>
                    <a:pt x="43" y="285"/>
                  </a:lnTo>
                  <a:lnTo>
                    <a:pt x="32" y="299"/>
                  </a:lnTo>
                  <a:lnTo>
                    <a:pt x="24" y="310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20"/>
                  </a:lnTo>
                  <a:lnTo>
                    <a:pt x="21" y="322"/>
                  </a:lnTo>
                  <a:lnTo>
                    <a:pt x="24" y="328"/>
                  </a:lnTo>
                  <a:lnTo>
                    <a:pt x="24" y="328"/>
                  </a:lnTo>
                  <a:lnTo>
                    <a:pt x="24" y="330"/>
                  </a:lnTo>
                  <a:lnTo>
                    <a:pt x="20" y="333"/>
                  </a:lnTo>
                  <a:lnTo>
                    <a:pt x="11" y="335"/>
                  </a:lnTo>
                  <a:lnTo>
                    <a:pt x="11" y="335"/>
                  </a:lnTo>
                  <a:lnTo>
                    <a:pt x="3" y="338"/>
                  </a:lnTo>
                  <a:lnTo>
                    <a:pt x="2" y="339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2" y="350"/>
                  </a:lnTo>
                  <a:lnTo>
                    <a:pt x="2" y="35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2" name="Freeform 11">
              <a:extLst>
                <a:ext uri="{FF2B5EF4-FFF2-40B4-BE49-F238E27FC236}">
                  <a16:creationId xmlns:a16="http://schemas.microsoft.com/office/drawing/2014/main" id="{F1F2C255-7C07-0942-918B-71096532E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7663" y="4875213"/>
              <a:ext cx="1960563" cy="1603375"/>
            </a:xfrm>
            <a:custGeom>
              <a:avLst/>
              <a:gdLst>
                <a:gd name="T0" fmla="*/ 256 w 1235"/>
                <a:gd name="T1" fmla="*/ 770 h 1010"/>
                <a:gd name="T2" fmla="*/ 330 w 1235"/>
                <a:gd name="T3" fmla="*/ 741 h 1010"/>
                <a:gd name="T4" fmla="*/ 395 w 1235"/>
                <a:gd name="T5" fmla="*/ 778 h 1010"/>
                <a:gd name="T6" fmla="*/ 425 w 1235"/>
                <a:gd name="T7" fmla="*/ 812 h 1010"/>
                <a:gd name="T8" fmla="*/ 462 w 1235"/>
                <a:gd name="T9" fmla="*/ 875 h 1010"/>
                <a:gd name="T10" fmla="*/ 477 w 1235"/>
                <a:gd name="T11" fmla="*/ 908 h 1010"/>
                <a:gd name="T12" fmla="*/ 474 w 1235"/>
                <a:gd name="T13" fmla="*/ 942 h 1010"/>
                <a:gd name="T14" fmla="*/ 523 w 1235"/>
                <a:gd name="T15" fmla="*/ 970 h 1010"/>
                <a:gd name="T16" fmla="*/ 573 w 1235"/>
                <a:gd name="T17" fmla="*/ 1010 h 1010"/>
                <a:gd name="T18" fmla="*/ 622 w 1235"/>
                <a:gd name="T19" fmla="*/ 954 h 1010"/>
                <a:gd name="T20" fmla="*/ 665 w 1235"/>
                <a:gd name="T21" fmla="*/ 936 h 1010"/>
                <a:gd name="T22" fmla="*/ 700 w 1235"/>
                <a:gd name="T23" fmla="*/ 923 h 1010"/>
                <a:gd name="T24" fmla="*/ 715 w 1235"/>
                <a:gd name="T25" fmla="*/ 880 h 1010"/>
                <a:gd name="T26" fmla="*/ 745 w 1235"/>
                <a:gd name="T27" fmla="*/ 844 h 1010"/>
                <a:gd name="T28" fmla="*/ 805 w 1235"/>
                <a:gd name="T29" fmla="*/ 840 h 1010"/>
                <a:gd name="T30" fmla="*/ 862 w 1235"/>
                <a:gd name="T31" fmla="*/ 853 h 1010"/>
                <a:gd name="T32" fmla="*/ 919 w 1235"/>
                <a:gd name="T33" fmla="*/ 884 h 1010"/>
                <a:gd name="T34" fmla="*/ 993 w 1235"/>
                <a:gd name="T35" fmla="*/ 920 h 1010"/>
                <a:gd name="T36" fmla="*/ 1076 w 1235"/>
                <a:gd name="T37" fmla="*/ 905 h 1010"/>
                <a:gd name="T38" fmla="*/ 1149 w 1235"/>
                <a:gd name="T39" fmla="*/ 930 h 1010"/>
                <a:gd name="T40" fmla="*/ 1233 w 1235"/>
                <a:gd name="T41" fmla="*/ 878 h 1010"/>
                <a:gd name="T42" fmla="*/ 1193 w 1235"/>
                <a:gd name="T43" fmla="*/ 841 h 1010"/>
                <a:gd name="T44" fmla="*/ 1176 w 1235"/>
                <a:gd name="T45" fmla="*/ 794 h 1010"/>
                <a:gd name="T46" fmla="*/ 1155 w 1235"/>
                <a:gd name="T47" fmla="*/ 755 h 1010"/>
                <a:gd name="T48" fmla="*/ 1113 w 1235"/>
                <a:gd name="T49" fmla="*/ 733 h 1010"/>
                <a:gd name="T50" fmla="*/ 1085 w 1235"/>
                <a:gd name="T51" fmla="*/ 692 h 1010"/>
                <a:gd name="T52" fmla="*/ 1036 w 1235"/>
                <a:gd name="T53" fmla="*/ 675 h 1010"/>
                <a:gd name="T54" fmla="*/ 1004 w 1235"/>
                <a:gd name="T55" fmla="*/ 652 h 1010"/>
                <a:gd name="T56" fmla="*/ 939 w 1235"/>
                <a:gd name="T57" fmla="*/ 677 h 1010"/>
                <a:gd name="T58" fmla="*/ 860 w 1235"/>
                <a:gd name="T59" fmla="*/ 649 h 1010"/>
                <a:gd name="T60" fmla="*/ 832 w 1235"/>
                <a:gd name="T61" fmla="*/ 582 h 1010"/>
                <a:gd name="T62" fmla="*/ 751 w 1235"/>
                <a:gd name="T63" fmla="*/ 550 h 1010"/>
                <a:gd name="T64" fmla="*/ 688 w 1235"/>
                <a:gd name="T65" fmla="*/ 507 h 1010"/>
                <a:gd name="T66" fmla="*/ 611 w 1235"/>
                <a:gd name="T67" fmla="*/ 462 h 1010"/>
                <a:gd name="T68" fmla="*/ 604 w 1235"/>
                <a:gd name="T69" fmla="*/ 412 h 1010"/>
                <a:gd name="T70" fmla="*/ 608 w 1235"/>
                <a:gd name="T71" fmla="*/ 342 h 1010"/>
                <a:gd name="T72" fmla="*/ 576 w 1235"/>
                <a:gd name="T73" fmla="*/ 310 h 1010"/>
                <a:gd name="T74" fmla="*/ 542 w 1235"/>
                <a:gd name="T75" fmla="*/ 287 h 1010"/>
                <a:gd name="T76" fmla="*/ 499 w 1235"/>
                <a:gd name="T77" fmla="*/ 287 h 1010"/>
                <a:gd name="T78" fmla="*/ 453 w 1235"/>
                <a:gd name="T79" fmla="*/ 267 h 1010"/>
                <a:gd name="T80" fmla="*/ 447 w 1235"/>
                <a:gd name="T81" fmla="*/ 237 h 1010"/>
                <a:gd name="T82" fmla="*/ 444 w 1235"/>
                <a:gd name="T83" fmla="*/ 213 h 1010"/>
                <a:gd name="T84" fmla="*/ 394 w 1235"/>
                <a:gd name="T85" fmla="*/ 184 h 1010"/>
                <a:gd name="T86" fmla="*/ 321 w 1235"/>
                <a:gd name="T87" fmla="*/ 178 h 1010"/>
                <a:gd name="T88" fmla="*/ 295 w 1235"/>
                <a:gd name="T89" fmla="*/ 122 h 1010"/>
                <a:gd name="T90" fmla="*/ 318 w 1235"/>
                <a:gd name="T91" fmla="*/ 90 h 1010"/>
                <a:gd name="T92" fmla="*/ 336 w 1235"/>
                <a:gd name="T93" fmla="*/ 28 h 1010"/>
                <a:gd name="T94" fmla="*/ 275 w 1235"/>
                <a:gd name="T95" fmla="*/ 30 h 1010"/>
                <a:gd name="T96" fmla="*/ 232 w 1235"/>
                <a:gd name="T97" fmla="*/ 15 h 1010"/>
                <a:gd name="T98" fmla="*/ 173 w 1235"/>
                <a:gd name="T99" fmla="*/ 36 h 1010"/>
                <a:gd name="T100" fmla="*/ 118 w 1235"/>
                <a:gd name="T101" fmla="*/ 108 h 1010"/>
                <a:gd name="T102" fmla="*/ 56 w 1235"/>
                <a:gd name="T103" fmla="*/ 160 h 1010"/>
                <a:gd name="T104" fmla="*/ 41 w 1235"/>
                <a:gd name="T105" fmla="*/ 227 h 1010"/>
                <a:gd name="T106" fmla="*/ 6 w 1235"/>
                <a:gd name="T107" fmla="*/ 270 h 1010"/>
                <a:gd name="T108" fmla="*/ 55 w 1235"/>
                <a:gd name="T109" fmla="*/ 332 h 1010"/>
                <a:gd name="T110" fmla="*/ 92 w 1235"/>
                <a:gd name="T111" fmla="*/ 428 h 1010"/>
                <a:gd name="T112" fmla="*/ 68 w 1235"/>
                <a:gd name="T113" fmla="*/ 530 h 1010"/>
                <a:gd name="T114" fmla="*/ 61 w 1235"/>
                <a:gd name="T115" fmla="*/ 581 h 1010"/>
                <a:gd name="T116" fmla="*/ 89 w 1235"/>
                <a:gd name="T117" fmla="*/ 680 h 1010"/>
                <a:gd name="T118" fmla="*/ 89 w 1235"/>
                <a:gd name="T119" fmla="*/ 764 h 1010"/>
                <a:gd name="T120" fmla="*/ 144 w 1235"/>
                <a:gd name="T121" fmla="*/ 788 h 1010"/>
                <a:gd name="T122" fmla="*/ 179 w 1235"/>
                <a:gd name="T123" fmla="*/ 779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5" h="1010">
                  <a:moveTo>
                    <a:pt x="213" y="767"/>
                  </a:moveTo>
                  <a:lnTo>
                    <a:pt x="213" y="767"/>
                  </a:lnTo>
                  <a:lnTo>
                    <a:pt x="221" y="764"/>
                  </a:lnTo>
                  <a:lnTo>
                    <a:pt x="222" y="764"/>
                  </a:lnTo>
                  <a:lnTo>
                    <a:pt x="222" y="766"/>
                  </a:lnTo>
                  <a:lnTo>
                    <a:pt x="222" y="769"/>
                  </a:lnTo>
                  <a:lnTo>
                    <a:pt x="222" y="773"/>
                  </a:lnTo>
                  <a:lnTo>
                    <a:pt x="222" y="773"/>
                  </a:lnTo>
                  <a:lnTo>
                    <a:pt x="226" y="775"/>
                  </a:lnTo>
                  <a:lnTo>
                    <a:pt x="234" y="776"/>
                  </a:lnTo>
                  <a:lnTo>
                    <a:pt x="244" y="775"/>
                  </a:lnTo>
                  <a:lnTo>
                    <a:pt x="256" y="770"/>
                  </a:lnTo>
                  <a:lnTo>
                    <a:pt x="256" y="770"/>
                  </a:lnTo>
                  <a:lnTo>
                    <a:pt x="265" y="766"/>
                  </a:lnTo>
                  <a:lnTo>
                    <a:pt x="271" y="763"/>
                  </a:lnTo>
                  <a:lnTo>
                    <a:pt x="274" y="760"/>
                  </a:lnTo>
                  <a:lnTo>
                    <a:pt x="278" y="758"/>
                  </a:lnTo>
                  <a:lnTo>
                    <a:pt x="278" y="758"/>
                  </a:lnTo>
                  <a:lnTo>
                    <a:pt x="286" y="758"/>
                  </a:lnTo>
                  <a:lnTo>
                    <a:pt x="296" y="757"/>
                  </a:lnTo>
                  <a:lnTo>
                    <a:pt x="318" y="752"/>
                  </a:lnTo>
                  <a:lnTo>
                    <a:pt x="318" y="752"/>
                  </a:lnTo>
                  <a:lnTo>
                    <a:pt x="323" y="751"/>
                  </a:lnTo>
                  <a:lnTo>
                    <a:pt x="326" y="749"/>
                  </a:lnTo>
                  <a:lnTo>
                    <a:pt x="329" y="745"/>
                  </a:lnTo>
                  <a:lnTo>
                    <a:pt x="330" y="741"/>
                  </a:lnTo>
                  <a:lnTo>
                    <a:pt x="333" y="739"/>
                  </a:lnTo>
                  <a:lnTo>
                    <a:pt x="333" y="739"/>
                  </a:lnTo>
                  <a:lnTo>
                    <a:pt x="335" y="739"/>
                  </a:lnTo>
                  <a:lnTo>
                    <a:pt x="338" y="741"/>
                  </a:lnTo>
                  <a:lnTo>
                    <a:pt x="346" y="746"/>
                  </a:lnTo>
                  <a:lnTo>
                    <a:pt x="355" y="752"/>
                  </a:lnTo>
                  <a:lnTo>
                    <a:pt x="364" y="757"/>
                  </a:lnTo>
                  <a:lnTo>
                    <a:pt x="364" y="757"/>
                  </a:lnTo>
                  <a:lnTo>
                    <a:pt x="373" y="761"/>
                  </a:lnTo>
                  <a:lnTo>
                    <a:pt x="382" y="766"/>
                  </a:lnTo>
                  <a:lnTo>
                    <a:pt x="391" y="775"/>
                  </a:lnTo>
                  <a:lnTo>
                    <a:pt x="391" y="775"/>
                  </a:lnTo>
                  <a:lnTo>
                    <a:pt x="395" y="778"/>
                  </a:lnTo>
                  <a:lnTo>
                    <a:pt x="401" y="781"/>
                  </a:lnTo>
                  <a:lnTo>
                    <a:pt x="409" y="782"/>
                  </a:lnTo>
                  <a:lnTo>
                    <a:pt x="417" y="781"/>
                  </a:lnTo>
                  <a:lnTo>
                    <a:pt x="417" y="781"/>
                  </a:lnTo>
                  <a:lnTo>
                    <a:pt x="422" y="781"/>
                  </a:lnTo>
                  <a:lnTo>
                    <a:pt x="423" y="781"/>
                  </a:lnTo>
                  <a:lnTo>
                    <a:pt x="423" y="782"/>
                  </a:lnTo>
                  <a:lnTo>
                    <a:pt x="423" y="785"/>
                  </a:lnTo>
                  <a:lnTo>
                    <a:pt x="422" y="792"/>
                  </a:lnTo>
                  <a:lnTo>
                    <a:pt x="422" y="803"/>
                  </a:lnTo>
                  <a:lnTo>
                    <a:pt x="422" y="803"/>
                  </a:lnTo>
                  <a:lnTo>
                    <a:pt x="422" y="807"/>
                  </a:lnTo>
                  <a:lnTo>
                    <a:pt x="425" y="812"/>
                  </a:lnTo>
                  <a:lnTo>
                    <a:pt x="429" y="818"/>
                  </a:lnTo>
                  <a:lnTo>
                    <a:pt x="435" y="825"/>
                  </a:lnTo>
                  <a:lnTo>
                    <a:pt x="437" y="828"/>
                  </a:lnTo>
                  <a:lnTo>
                    <a:pt x="438" y="832"/>
                  </a:lnTo>
                  <a:lnTo>
                    <a:pt x="438" y="832"/>
                  </a:lnTo>
                  <a:lnTo>
                    <a:pt x="441" y="838"/>
                  </a:lnTo>
                  <a:lnTo>
                    <a:pt x="447" y="844"/>
                  </a:lnTo>
                  <a:lnTo>
                    <a:pt x="452" y="850"/>
                  </a:lnTo>
                  <a:lnTo>
                    <a:pt x="459" y="858"/>
                  </a:lnTo>
                  <a:lnTo>
                    <a:pt x="459" y="858"/>
                  </a:lnTo>
                  <a:lnTo>
                    <a:pt x="460" y="862"/>
                  </a:lnTo>
                  <a:lnTo>
                    <a:pt x="462" y="866"/>
                  </a:lnTo>
                  <a:lnTo>
                    <a:pt x="462" y="875"/>
                  </a:lnTo>
                  <a:lnTo>
                    <a:pt x="460" y="883"/>
                  </a:lnTo>
                  <a:lnTo>
                    <a:pt x="462" y="890"/>
                  </a:lnTo>
                  <a:lnTo>
                    <a:pt x="462" y="890"/>
                  </a:lnTo>
                  <a:lnTo>
                    <a:pt x="463" y="893"/>
                  </a:lnTo>
                  <a:lnTo>
                    <a:pt x="465" y="895"/>
                  </a:lnTo>
                  <a:lnTo>
                    <a:pt x="469" y="896"/>
                  </a:lnTo>
                  <a:lnTo>
                    <a:pt x="475" y="898"/>
                  </a:lnTo>
                  <a:lnTo>
                    <a:pt x="477" y="899"/>
                  </a:lnTo>
                  <a:lnTo>
                    <a:pt x="478" y="902"/>
                  </a:lnTo>
                  <a:lnTo>
                    <a:pt x="478" y="902"/>
                  </a:lnTo>
                  <a:lnTo>
                    <a:pt x="480" y="905"/>
                  </a:lnTo>
                  <a:lnTo>
                    <a:pt x="480" y="906"/>
                  </a:lnTo>
                  <a:lnTo>
                    <a:pt x="477" y="908"/>
                  </a:lnTo>
                  <a:lnTo>
                    <a:pt x="474" y="909"/>
                  </a:lnTo>
                  <a:lnTo>
                    <a:pt x="472" y="911"/>
                  </a:lnTo>
                  <a:lnTo>
                    <a:pt x="472" y="912"/>
                  </a:lnTo>
                  <a:lnTo>
                    <a:pt x="472" y="912"/>
                  </a:lnTo>
                  <a:lnTo>
                    <a:pt x="475" y="917"/>
                  </a:lnTo>
                  <a:lnTo>
                    <a:pt x="477" y="921"/>
                  </a:lnTo>
                  <a:lnTo>
                    <a:pt x="477" y="927"/>
                  </a:lnTo>
                  <a:lnTo>
                    <a:pt x="474" y="933"/>
                  </a:lnTo>
                  <a:lnTo>
                    <a:pt x="474" y="933"/>
                  </a:lnTo>
                  <a:lnTo>
                    <a:pt x="471" y="936"/>
                  </a:lnTo>
                  <a:lnTo>
                    <a:pt x="471" y="939"/>
                  </a:lnTo>
                  <a:lnTo>
                    <a:pt x="472" y="941"/>
                  </a:lnTo>
                  <a:lnTo>
                    <a:pt x="474" y="942"/>
                  </a:lnTo>
                  <a:lnTo>
                    <a:pt x="480" y="946"/>
                  </a:lnTo>
                  <a:lnTo>
                    <a:pt x="486" y="951"/>
                  </a:lnTo>
                  <a:lnTo>
                    <a:pt x="486" y="951"/>
                  </a:lnTo>
                  <a:lnTo>
                    <a:pt x="489" y="954"/>
                  </a:lnTo>
                  <a:lnTo>
                    <a:pt x="493" y="955"/>
                  </a:lnTo>
                  <a:lnTo>
                    <a:pt x="499" y="955"/>
                  </a:lnTo>
                  <a:lnTo>
                    <a:pt x="506" y="954"/>
                  </a:lnTo>
                  <a:lnTo>
                    <a:pt x="511" y="954"/>
                  </a:lnTo>
                  <a:lnTo>
                    <a:pt x="511" y="954"/>
                  </a:lnTo>
                  <a:lnTo>
                    <a:pt x="514" y="955"/>
                  </a:lnTo>
                  <a:lnTo>
                    <a:pt x="515" y="960"/>
                  </a:lnTo>
                  <a:lnTo>
                    <a:pt x="518" y="964"/>
                  </a:lnTo>
                  <a:lnTo>
                    <a:pt x="523" y="970"/>
                  </a:lnTo>
                  <a:lnTo>
                    <a:pt x="523" y="970"/>
                  </a:lnTo>
                  <a:lnTo>
                    <a:pt x="530" y="976"/>
                  </a:lnTo>
                  <a:lnTo>
                    <a:pt x="536" y="979"/>
                  </a:lnTo>
                  <a:lnTo>
                    <a:pt x="549" y="980"/>
                  </a:lnTo>
                  <a:lnTo>
                    <a:pt x="549" y="980"/>
                  </a:lnTo>
                  <a:lnTo>
                    <a:pt x="554" y="983"/>
                  </a:lnTo>
                  <a:lnTo>
                    <a:pt x="555" y="985"/>
                  </a:lnTo>
                  <a:lnTo>
                    <a:pt x="554" y="988"/>
                  </a:lnTo>
                  <a:lnTo>
                    <a:pt x="554" y="991"/>
                  </a:lnTo>
                  <a:lnTo>
                    <a:pt x="554" y="991"/>
                  </a:lnTo>
                  <a:lnTo>
                    <a:pt x="563" y="1000"/>
                  </a:lnTo>
                  <a:lnTo>
                    <a:pt x="573" y="1010"/>
                  </a:lnTo>
                  <a:lnTo>
                    <a:pt x="573" y="1010"/>
                  </a:lnTo>
                  <a:lnTo>
                    <a:pt x="576" y="1009"/>
                  </a:lnTo>
                  <a:lnTo>
                    <a:pt x="580" y="1003"/>
                  </a:lnTo>
                  <a:lnTo>
                    <a:pt x="580" y="1003"/>
                  </a:lnTo>
                  <a:lnTo>
                    <a:pt x="583" y="1000"/>
                  </a:lnTo>
                  <a:lnTo>
                    <a:pt x="588" y="998"/>
                  </a:lnTo>
                  <a:lnTo>
                    <a:pt x="600" y="997"/>
                  </a:lnTo>
                  <a:lnTo>
                    <a:pt x="600" y="997"/>
                  </a:lnTo>
                  <a:lnTo>
                    <a:pt x="604" y="995"/>
                  </a:lnTo>
                  <a:lnTo>
                    <a:pt x="606" y="994"/>
                  </a:lnTo>
                  <a:lnTo>
                    <a:pt x="610" y="989"/>
                  </a:lnTo>
                  <a:lnTo>
                    <a:pt x="613" y="980"/>
                  </a:lnTo>
                  <a:lnTo>
                    <a:pt x="613" y="980"/>
                  </a:lnTo>
                  <a:lnTo>
                    <a:pt x="622" y="954"/>
                  </a:lnTo>
                  <a:lnTo>
                    <a:pt x="622" y="954"/>
                  </a:lnTo>
                  <a:lnTo>
                    <a:pt x="623" y="952"/>
                  </a:lnTo>
                  <a:lnTo>
                    <a:pt x="626" y="951"/>
                  </a:lnTo>
                  <a:lnTo>
                    <a:pt x="631" y="949"/>
                  </a:lnTo>
                  <a:lnTo>
                    <a:pt x="634" y="946"/>
                  </a:lnTo>
                  <a:lnTo>
                    <a:pt x="634" y="946"/>
                  </a:lnTo>
                  <a:lnTo>
                    <a:pt x="637" y="945"/>
                  </a:lnTo>
                  <a:lnTo>
                    <a:pt x="640" y="943"/>
                  </a:lnTo>
                  <a:lnTo>
                    <a:pt x="646" y="943"/>
                  </a:lnTo>
                  <a:lnTo>
                    <a:pt x="646" y="943"/>
                  </a:lnTo>
                  <a:lnTo>
                    <a:pt x="648" y="943"/>
                  </a:lnTo>
                  <a:lnTo>
                    <a:pt x="653" y="942"/>
                  </a:lnTo>
                  <a:lnTo>
                    <a:pt x="665" y="936"/>
                  </a:lnTo>
                  <a:lnTo>
                    <a:pt x="665" y="936"/>
                  </a:lnTo>
                  <a:lnTo>
                    <a:pt x="669" y="933"/>
                  </a:lnTo>
                  <a:lnTo>
                    <a:pt x="674" y="935"/>
                  </a:lnTo>
                  <a:lnTo>
                    <a:pt x="683" y="938"/>
                  </a:lnTo>
                  <a:lnTo>
                    <a:pt x="683" y="938"/>
                  </a:lnTo>
                  <a:lnTo>
                    <a:pt x="685" y="938"/>
                  </a:lnTo>
                  <a:lnTo>
                    <a:pt x="687" y="938"/>
                  </a:lnTo>
                  <a:lnTo>
                    <a:pt x="690" y="933"/>
                  </a:lnTo>
                  <a:lnTo>
                    <a:pt x="693" y="927"/>
                  </a:lnTo>
                  <a:lnTo>
                    <a:pt x="694" y="926"/>
                  </a:lnTo>
                  <a:lnTo>
                    <a:pt x="697" y="924"/>
                  </a:lnTo>
                  <a:lnTo>
                    <a:pt x="697" y="924"/>
                  </a:lnTo>
                  <a:lnTo>
                    <a:pt x="700" y="923"/>
                  </a:lnTo>
                  <a:lnTo>
                    <a:pt x="703" y="921"/>
                  </a:lnTo>
                  <a:lnTo>
                    <a:pt x="708" y="915"/>
                  </a:lnTo>
                  <a:lnTo>
                    <a:pt x="711" y="908"/>
                  </a:lnTo>
                  <a:lnTo>
                    <a:pt x="712" y="901"/>
                  </a:lnTo>
                  <a:lnTo>
                    <a:pt x="712" y="901"/>
                  </a:lnTo>
                  <a:lnTo>
                    <a:pt x="712" y="896"/>
                  </a:lnTo>
                  <a:lnTo>
                    <a:pt x="712" y="893"/>
                  </a:lnTo>
                  <a:lnTo>
                    <a:pt x="706" y="887"/>
                  </a:lnTo>
                  <a:lnTo>
                    <a:pt x="706" y="887"/>
                  </a:lnTo>
                  <a:lnTo>
                    <a:pt x="705" y="884"/>
                  </a:lnTo>
                  <a:lnTo>
                    <a:pt x="706" y="883"/>
                  </a:lnTo>
                  <a:lnTo>
                    <a:pt x="709" y="881"/>
                  </a:lnTo>
                  <a:lnTo>
                    <a:pt x="715" y="880"/>
                  </a:lnTo>
                  <a:lnTo>
                    <a:pt x="718" y="877"/>
                  </a:lnTo>
                  <a:lnTo>
                    <a:pt x="718" y="877"/>
                  </a:lnTo>
                  <a:lnTo>
                    <a:pt x="720" y="872"/>
                  </a:lnTo>
                  <a:lnTo>
                    <a:pt x="720" y="866"/>
                  </a:lnTo>
                  <a:lnTo>
                    <a:pt x="721" y="859"/>
                  </a:lnTo>
                  <a:lnTo>
                    <a:pt x="723" y="852"/>
                  </a:lnTo>
                  <a:lnTo>
                    <a:pt x="723" y="852"/>
                  </a:lnTo>
                  <a:lnTo>
                    <a:pt x="724" y="847"/>
                  </a:lnTo>
                  <a:lnTo>
                    <a:pt x="727" y="846"/>
                  </a:lnTo>
                  <a:lnTo>
                    <a:pt x="734" y="844"/>
                  </a:lnTo>
                  <a:lnTo>
                    <a:pt x="742" y="844"/>
                  </a:lnTo>
                  <a:lnTo>
                    <a:pt x="745" y="844"/>
                  </a:lnTo>
                  <a:lnTo>
                    <a:pt x="745" y="844"/>
                  </a:lnTo>
                  <a:lnTo>
                    <a:pt x="746" y="835"/>
                  </a:lnTo>
                  <a:lnTo>
                    <a:pt x="749" y="829"/>
                  </a:lnTo>
                  <a:lnTo>
                    <a:pt x="754" y="822"/>
                  </a:lnTo>
                  <a:lnTo>
                    <a:pt x="754" y="822"/>
                  </a:lnTo>
                  <a:lnTo>
                    <a:pt x="758" y="819"/>
                  </a:lnTo>
                  <a:lnTo>
                    <a:pt x="764" y="819"/>
                  </a:lnTo>
                  <a:lnTo>
                    <a:pt x="770" y="819"/>
                  </a:lnTo>
                  <a:lnTo>
                    <a:pt x="776" y="821"/>
                  </a:lnTo>
                  <a:lnTo>
                    <a:pt x="789" y="826"/>
                  </a:lnTo>
                  <a:lnTo>
                    <a:pt x="798" y="835"/>
                  </a:lnTo>
                  <a:lnTo>
                    <a:pt x="798" y="835"/>
                  </a:lnTo>
                  <a:lnTo>
                    <a:pt x="802" y="838"/>
                  </a:lnTo>
                  <a:lnTo>
                    <a:pt x="805" y="840"/>
                  </a:lnTo>
                  <a:lnTo>
                    <a:pt x="813" y="841"/>
                  </a:lnTo>
                  <a:lnTo>
                    <a:pt x="819" y="843"/>
                  </a:lnTo>
                  <a:lnTo>
                    <a:pt x="822" y="843"/>
                  </a:lnTo>
                  <a:lnTo>
                    <a:pt x="825" y="846"/>
                  </a:lnTo>
                  <a:lnTo>
                    <a:pt x="825" y="846"/>
                  </a:lnTo>
                  <a:lnTo>
                    <a:pt x="831" y="849"/>
                  </a:lnTo>
                  <a:lnTo>
                    <a:pt x="837" y="850"/>
                  </a:lnTo>
                  <a:lnTo>
                    <a:pt x="842" y="852"/>
                  </a:lnTo>
                  <a:lnTo>
                    <a:pt x="847" y="853"/>
                  </a:lnTo>
                  <a:lnTo>
                    <a:pt x="847" y="853"/>
                  </a:lnTo>
                  <a:lnTo>
                    <a:pt x="851" y="853"/>
                  </a:lnTo>
                  <a:lnTo>
                    <a:pt x="856" y="853"/>
                  </a:lnTo>
                  <a:lnTo>
                    <a:pt x="862" y="853"/>
                  </a:lnTo>
                  <a:lnTo>
                    <a:pt x="866" y="855"/>
                  </a:lnTo>
                  <a:lnTo>
                    <a:pt x="866" y="855"/>
                  </a:lnTo>
                  <a:lnTo>
                    <a:pt x="869" y="856"/>
                  </a:lnTo>
                  <a:lnTo>
                    <a:pt x="871" y="859"/>
                  </a:lnTo>
                  <a:lnTo>
                    <a:pt x="869" y="865"/>
                  </a:lnTo>
                  <a:lnTo>
                    <a:pt x="868" y="869"/>
                  </a:lnTo>
                  <a:lnTo>
                    <a:pt x="866" y="874"/>
                  </a:lnTo>
                  <a:lnTo>
                    <a:pt x="866" y="874"/>
                  </a:lnTo>
                  <a:lnTo>
                    <a:pt x="868" y="875"/>
                  </a:lnTo>
                  <a:lnTo>
                    <a:pt x="872" y="877"/>
                  </a:lnTo>
                  <a:lnTo>
                    <a:pt x="885" y="881"/>
                  </a:lnTo>
                  <a:lnTo>
                    <a:pt x="903" y="883"/>
                  </a:lnTo>
                  <a:lnTo>
                    <a:pt x="919" y="884"/>
                  </a:lnTo>
                  <a:lnTo>
                    <a:pt x="919" y="884"/>
                  </a:lnTo>
                  <a:lnTo>
                    <a:pt x="934" y="886"/>
                  </a:lnTo>
                  <a:lnTo>
                    <a:pt x="945" y="889"/>
                  </a:lnTo>
                  <a:lnTo>
                    <a:pt x="951" y="892"/>
                  </a:lnTo>
                  <a:lnTo>
                    <a:pt x="955" y="898"/>
                  </a:lnTo>
                  <a:lnTo>
                    <a:pt x="955" y="898"/>
                  </a:lnTo>
                  <a:lnTo>
                    <a:pt x="961" y="908"/>
                  </a:lnTo>
                  <a:lnTo>
                    <a:pt x="965" y="914"/>
                  </a:lnTo>
                  <a:lnTo>
                    <a:pt x="965" y="914"/>
                  </a:lnTo>
                  <a:lnTo>
                    <a:pt x="967" y="915"/>
                  </a:lnTo>
                  <a:lnTo>
                    <a:pt x="971" y="915"/>
                  </a:lnTo>
                  <a:lnTo>
                    <a:pt x="982" y="917"/>
                  </a:lnTo>
                  <a:lnTo>
                    <a:pt x="993" y="920"/>
                  </a:lnTo>
                  <a:lnTo>
                    <a:pt x="998" y="921"/>
                  </a:lnTo>
                  <a:lnTo>
                    <a:pt x="1001" y="923"/>
                  </a:lnTo>
                  <a:lnTo>
                    <a:pt x="1001" y="923"/>
                  </a:lnTo>
                  <a:lnTo>
                    <a:pt x="1010" y="930"/>
                  </a:lnTo>
                  <a:lnTo>
                    <a:pt x="1014" y="933"/>
                  </a:lnTo>
                  <a:lnTo>
                    <a:pt x="1019" y="935"/>
                  </a:lnTo>
                  <a:lnTo>
                    <a:pt x="1019" y="935"/>
                  </a:lnTo>
                  <a:lnTo>
                    <a:pt x="1023" y="932"/>
                  </a:lnTo>
                  <a:lnTo>
                    <a:pt x="1029" y="927"/>
                  </a:lnTo>
                  <a:lnTo>
                    <a:pt x="1038" y="923"/>
                  </a:lnTo>
                  <a:lnTo>
                    <a:pt x="1048" y="917"/>
                  </a:lnTo>
                  <a:lnTo>
                    <a:pt x="1048" y="917"/>
                  </a:lnTo>
                  <a:lnTo>
                    <a:pt x="1076" y="905"/>
                  </a:lnTo>
                  <a:lnTo>
                    <a:pt x="1088" y="902"/>
                  </a:lnTo>
                  <a:lnTo>
                    <a:pt x="1093" y="902"/>
                  </a:lnTo>
                  <a:lnTo>
                    <a:pt x="1096" y="903"/>
                  </a:lnTo>
                  <a:lnTo>
                    <a:pt x="1096" y="903"/>
                  </a:lnTo>
                  <a:lnTo>
                    <a:pt x="1100" y="906"/>
                  </a:lnTo>
                  <a:lnTo>
                    <a:pt x="1103" y="909"/>
                  </a:lnTo>
                  <a:lnTo>
                    <a:pt x="1109" y="920"/>
                  </a:lnTo>
                  <a:lnTo>
                    <a:pt x="1118" y="935"/>
                  </a:lnTo>
                  <a:lnTo>
                    <a:pt x="1118" y="935"/>
                  </a:lnTo>
                  <a:lnTo>
                    <a:pt x="1121" y="938"/>
                  </a:lnTo>
                  <a:lnTo>
                    <a:pt x="1128" y="939"/>
                  </a:lnTo>
                  <a:lnTo>
                    <a:pt x="1128" y="939"/>
                  </a:lnTo>
                  <a:lnTo>
                    <a:pt x="1149" y="930"/>
                  </a:lnTo>
                  <a:lnTo>
                    <a:pt x="1183" y="917"/>
                  </a:lnTo>
                  <a:lnTo>
                    <a:pt x="1183" y="917"/>
                  </a:lnTo>
                  <a:lnTo>
                    <a:pt x="1193" y="911"/>
                  </a:lnTo>
                  <a:lnTo>
                    <a:pt x="1201" y="903"/>
                  </a:lnTo>
                  <a:lnTo>
                    <a:pt x="1205" y="896"/>
                  </a:lnTo>
                  <a:lnTo>
                    <a:pt x="1207" y="890"/>
                  </a:lnTo>
                  <a:lnTo>
                    <a:pt x="1207" y="890"/>
                  </a:lnTo>
                  <a:lnTo>
                    <a:pt x="1207" y="887"/>
                  </a:lnTo>
                  <a:lnTo>
                    <a:pt x="1208" y="886"/>
                  </a:lnTo>
                  <a:lnTo>
                    <a:pt x="1214" y="883"/>
                  </a:lnTo>
                  <a:lnTo>
                    <a:pt x="1230" y="880"/>
                  </a:lnTo>
                  <a:lnTo>
                    <a:pt x="1230" y="880"/>
                  </a:lnTo>
                  <a:lnTo>
                    <a:pt x="1233" y="878"/>
                  </a:lnTo>
                  <a:lnTo>
                    <a:pt x="1235" y="877"/>
                  </a:lnTo>
                  <a:lnTo>
                    <a:pt x="1235" y="875"/>
                  </a:lnTo>
                  <a:lnTo>
                    <a:pt x="1235" y="874"/>
                  </a:lnTo>
                  <a:lnTo>
                    <a:pt x="1229" y="869"/>
                  </a:lnTo>
                  <a:lnTo>
                    <a:pt x="1222" y="866"/>
                  </a:lnTo>
                  <a:lnTo>
                    <a:pt x="1222" y="866"/>
                  </a:lnTo>
                  <a:lnTo>
                    <a:pt x="1208" y="863"/>
                  </a:lnTo>
                  <a:lnTo>
                    <a:pt x="1204" y="861"/>
                  </a:lnTo>
                  <a:lnTo>
                    <a:pt x="1201" y="853"/>
                  </a:lnTo>
                  <a:lnTo>
                    <a:pt x="1201" y="853"/>
                  </a:lnTo>
                  <a:lnTo>
                    <a:pt x="1199" y="847"/>
                  </a:lnTo>
                  <a:lnTo>
                    <a:pt x="1196" y="844"/>
                  </a:lnTo>
                  <a:lnTo>
                    <a:pt x="1193" y="841"/>
                  </a:lnTo>
                  <a:lnTo>
                    <a:pt x="1185" y="838"/>
                  </a:lnTo>
                  <a:lnTo>
                    <a:pt x="1185" y="838"/>
                  </a:lnTo>
                  <a:lnTo>
                    <a:pt x="1182" y="837"/>
                  </a:lnTo>
                  <a:lnTo>
                    <a:pt x="1179" y="834"/>
                  </a:lnTo>
                  <a:lnTo>
                    <a:pt x="1176" y="831"/>
                  </a:lnTo>
                  <a:lnTo>
                    <a:pt x="1176" y="828"/>
                  </a:lnTo>
                  <a:lnTo>
                    <a:pt x="1177" y="821"/>
                  </a:lnTo>
                  <a:lnTo>
                    <a:pt x="1182" y="812"/>
                  </a:lnTo>
                  <a:lnTo>
                    <a:pt x="1182" y="812"/>
                  </a:lnTo>
                  <a:lnTo>
                    <a:pt x="1182" y="809"/>
                  </a:lnTo>
                  <a:lnTo>
                    <a:pt x="1182" y="804"/>
                  </a:lnTo>
                  <a:lnTo>
                    <a:pt x="1180" y="798"/>
                  </a:lnTo>
                  <a:lnTo>
                    <a:pt x="1176" y="794"/>
                  </a:lnTo>
                  <a:lnTo>
                    <a:pt x="1173" y="791"/>
                  </a:lnTo>
                  <a:lnTo>
                    <a:pt x="1173" y="791"/>
                  </a:lnTo>
                  <a:lnTo>
                    <a:pt x="1171" y="791"/>
                  </a:lnTo>
                  <a:lnTo>
                    <a:pt x="1171" y="791"/>
                  </a:lnTo>
                  <a:lnTo>
                    <a:pt x="1170" y="786"/>
                  </a:lnTo>
                  <a:lnTo>
                    <a:pt x="1167" y="776"/>
                  </a:lnTo>
                  <a:lnTo>
                    <a:pt x="1167" y="776"/>
                  </a:lnTo>
                  <a:lnTo>
                    <a:pt x="1167" y="766"/>
                  </a:lnTo>
                  <a:lnTo>
                    <a:pt x="1165" y="763"/>
                  </a:lnTo>
                  <a:lnTo>
                    <a:pt x="1162" y="761"/>
                  </a:lnTo>
                  <a:lnTo>
                    <a:pt x="1162" y="761"/>
                  </a:lnTo>
                  <a:lnTo>
                    <a:pt x="1158" y="760"/>
                  </a:lnTo>
                  <a:lnTo>
                    <a:pt x="1155" y="755"/>
                  </a:lnTo>
                  <a:lnTo>
                    <a:pt x="1149" y="746"/>
                  </a:lnTo>
                  <a:lnTo>
                    <a:pt x="1149" y="746"/>
                  </a:lnTo>
                  <a:lnTo>
                    <a:pt x="1147" y="745"/>
                  </a:lnTo>
                  <a:lnTo>
                    <a:pt x="1146" y="745"/>
                  </a:lnTo>
                  <a:lnTo>
                    <a:pt x="1140" y="745"/>
                  </a:lnTo>
                  <a:lnTo>
                    <a:pt x="1128" y="748"/>
                  </a:lnTo>
                  <a:lnTo>
                    <a:pt x="1128" y="748"/>
                  </a:lnTo>
                  <a:lnTo>
                    <a:pt x="1125" y="748"/>
                  </a:lnTo>
                  <a:lnTo>
                    <a:pt x="1122" y="746"/>
                  </a:lnTo>
                  <a:lnTo>
                    <a:pt x="1119" y="739"/>
                  </a:lnTo>
                  <a:lnTo>
                    <a:pt x="1119" y="739"/>
                  </a:lnTo>
                  <a:lnTo>
                    <a:pt x="1116" y="735"/>
                  </a:lnTo>
                  <a:lnTo>
                    <a:pt x="1113" y="733"/>
                  </a:lnTo>
                  <a:lnTo>
                    <a:pt x="1112" y="732"/>
                  </a:lnTo>
                  <a:lnTo>
                    <a:pt x="1112" y="730"/>
                  </a:lnTo>
                  <a:lnTo>
                    <a:pt x="1112" y="730"/>
                  </a:lnTo>
                  <a:lnTo>
                    <a:pt x="1112" y="724"/>
                  </a:lnTo>
                  <a:lnTo>
                    <a:pt x="1112" y="720"/>
                  </a:lnTo>
                  <a:lnTo>
                    <a:pt x="1110" y="718"/>
                  </a:lnTo>
                  <a:lnTo>
                    <a:pt x="1110" y="718"/>
                  </a:lnTo>
                  <a:lnTo>
                    <a:pt x="1103" y="711"/>
                  </a:lnTo>
                  <a:lnTo>
                    <a:pt x="1093" y="696"/>
                  </a:lnTo>
                  <a:lnTo>
                    <a:pt x="1093" y="696"/>
                  </a:lnTo>
                  <a:lnTo>
                    <a:pt x="1090" y="693"/>
                  </a:lnTo>
                  <a:lnTo>
                    <a:pt x="1087" y="692"/>
                  </a:lnTo>
                  <a:lnTo>
                    <a:pt x="1085" y="692"/>
                  </a:lnTo>
                  <a:lnTo>
                    <a:pt x="1082" y="693"/>
                  </a:lnTo>
                  <a:lnTo>
                    <a:pt x="1079" y="696"/>
                  </a:lnTo>
                  <a:lnTo>
                    <a:pt x="1078" y="699"/>
                  </a:lnTo>
                  <a:lnTo>
                    <a:pt x="1078" y="699"/>
                  </a:lnTo>
                  <a:lnTo>
                    <a:pt x="1075" y="701"/>
                  </a:lnTo>
                  <a:lnTo>
                    <a:pt x="1070" y="699"/>
                  </a:lnTo>
                  <a:lnTo>
                    <a:pt x="1065" y="698"/>
                  </a:lnTo>
                  <a:lnTo>
                    <a:pt x="1060" y="693"/>
                  </a:lnTo>
                  <a:lnTo>
                    <a:pt x="1060" y="693"/>
                  </a:lnTo>
                  <a:lnTo>
                    <a:pt x="1056" y="690"/>
                  </a:lnTo>
                  <a:lnTo>
                    <a:pt x="1050" y="686"/>
                  </a:lnTo>
                  <a:lnTo>
                    <a:pt x="1044" y="681"/>
                  </a:lnTo>
                  <a:lnTo>
                    <a:pt x="1036" y="675"/>
                  </a:lnTo>
                  <a:lnTo>
                    <a:pt x="1036" y="675"/>
                  </a:lnTo>
                  <a:lnTo>
                    <a:pt x="1033" y="667"/>
                  </a:lnTo>
                  <a:lnTo>
                    <a:pt x="1032" y="659"/>
                  </a:lnTo>
                  <a:lnTo>
                    <a:pt x="1031" y="652"/>
                  </a:lnTo>
                  <a:lnTo>
                    <a:pt x="1029" y="647"/>
                  </a:lnTo>
                  <a:lnTo>
                    <a:pt x="1029" y="647"/>
                  </a:lnTo>
                  <a:lnTo>
                    <a:pt x="1028" y="644"/>
                  </a:lnTo>
                  <a:lnTo>
                    <a:pt x="1025" y="644"/>
                  </a:lnTo>
                  <a:lnTo>
                    <a:pt x="1022" y="644"/>
                  </a:lnTo>
                  <a:lnTo>
                    <a:pt x="1014" y="649"/>
                  </a:lnTo>
                  <a:lnTo>
                    <a:pt x="1014" y="649"/>
                  </a:lnTo>
                  <a:lnTo>
                    <a:pt x="1008" y="650"/>
                  </a:lnTo>
                  <a:lnTo>
                    <a:pt x="1004" y="652"/>
                  </a:lnTo>
                  <a:lnTo>
                    <a:pt x="1004" y="652"/>
                  </a:lnTo>
                  <a:lnTo>
                    <a:pt x="999" y="655"/>
                  </a:lnTo>
                  <a:lnTo>
                    <a:pt x="992" y="659"/>
                  </a:lnTo>
                  <a:lnTo>
                    <a:pt x="983" y="662"/>
                  </a:lnTo>
                  <a:lnTo>
                    <a:pt x="977" y="664"/>
                  </a:lnTo>
                  <a:lnTo>
                    <a:pt x="971" y="664"/>
                  </a:lnTo>
                  <a:lnTo>
                    <a:pt x="971" y="664"/>
                  </a:lnTo>
                  <a:lnTo>
                    <a:pt x="965" y="665"/>
                  </a:lnTo>
                  <a:lnTo>
                    <a:pt x="961" y="667"/>
                  </a:lnTo>
                  <a:lnTo>
                    <a:pt x="954" y="672"/>
                  </a:lnTo>
                  <a:lnTo>
                    <a:pt x="948" y="677"/>
                  </a:lnTo>
                  <a:lnTo>
                    <a:pt x="943" y="678"/>
                  </a:lnTo>
                  <a:lnTo>
                    <a:pt x="939" y="677"/>
                  </a:lnTo>
                  <a:lnTo>
                    <a:pt x="939" y="677"/>
                  </a:lnTo>
                  <a:lnTo>
                    <a:pt x="918" y="672"/>
                  </a:lnTo>
                  <a:lnTo>
                    <a:pt x="908" y="671"/>
                  </a:lnTo>
                  <a:lnTo>
                    <a:pt x="899" y="669"/>
                  </a:lnTo>
                  <a:lnTo>
                    <a:pt x="899" y="669"/>
                  </a:lnTo>
                  <a:lnTo>
                    <a:pt x="890" y="671"/>
                  </a:lnTo>
                  <a:lnTo>
                    <a:pt x="882" y="671"/>
                  </a:lnTo>
                  <a:lnTo>
                    <a:pt x="875" y="669"/>
                  </a:lnTo>
                  <a:lnTo>
                    <a:pt x="872" y="668"/>
                  </a:lnTo>
                  <a:lnTo>
                    <a:pt x="871" y="665"/>
                  </a:lnTo>
                  <a:lnTo>
                    <a:pt x="871" y="665"/>
                  </a:lnTo>
                  <a:lnTo>
                    <a:pt x="865" y="658"/>
                  </a:lnTo>
                  <a:lnTo>
                    <a:pt x="860" y="649"/>
                  </a:lnTo>
                  <a:lnTo>
                    <a:pt x="856" y="640"/>
                  </a:lnTo>
                  <a:lnTo>
                    <a:pt x="850" y="634"/>
                  </a:lnTo>
                  <a:lnTo>
                    <a:pt x="850" y="634"/>
                  </a:lnTo>
                  <a:lnTo>
                    <a:pt x="848" y="631"/>
                  </a:lnTo>
                  <a:lnTo>
                    <a:pt x="845" y="628"/>
                  </a:lnTo>
                  <a:lnTo>
                    <a:pt x="845" y="618"/>
                  </a:lnTo>
                  <a:lnTo>
                    <a:pt x="844" y="595"/>
                  </a:lnTo>
                  <a:lnTo>
                    <a:pt x="844" y="595"/>
                  </a:lnTo>
                  <a:lnTo>
                    <a:pt x="844" y="591"/>
                  </a:lnTo>
                  <a:lnTo>
                    <a:pt x="842" y="588"/>
                  </a:lnTo>
                  <a:lnTo>
                    <a:pt x="841" y="585"/>
                  </a:lnTo>
                  <a:lnTo>
                    <a:pt x="838" y="584"/>
                  </a:lnTo>
                  <a:lnTo>
                    <a:pt x="832" y="582"/>
                  </a:lnTo>
                  <a:lnTo>
                    <a:pt x="825" y="582"/>
                  </a:lnTo>
                  <a:lnTo>
                    <a:pt x="825" y="582"/>
                  </a:lnTo>
                  <a:lnTo>
                    <a:pt x="813" y="584"/>
                  </a:lnTo>
                  <a:lnTo>
                    <a:pt x="808" y="582"/>
                  </a:lnTo>
                  <a:lnTo>
                    <a:pt x="804" y="579"/>
                  </a:lnTo>
                  <a:lnTo>
                    <a:pt x="804" y="579"/>
                  </a:lnTo>
                  <a:lnTo>
                    <a:pt x="791" y="558"/>
                  </a:lnTo>
                  <a:lnTo>
                    <a:pt x="791" y="558"/>
                  </a:lnTo>
                  <a:lnTo>
                    <a:pt x="788" y="555"/>
                  </a:lnTo>
                  <a:lnTo>
                    <a:pt x="785" y="554"/>
                  </a:lnTo>
                  <a:lnTo>
                    <a:pt x="776" y="551"/>
                  </a:lnTo>
                  <a:lnTo>
                    <a:pt x="764" y="551"/>
                  </a:lnTo>
                  <a:lnTo>
                    <a:pt x="751" y="550"/>
                  </a:lnTo>
                  <a:lnTo>
                    <a:pt x="751" y="550"/>
                  </a:lnTo>
                  <a:lnTo>
                    <a:pt x="743" y="550"/>
                  </a:lnTo>
                  <a:lnTo>
                    <a:pt x="739" y="548"/>
                  </a:lnTo>
                  <a:lnTo>
                    <a:pt x="734" y="545"/>
                  </a:lnTo>
                  <a:lnTo>
                    <a:pt x="731" y="544"/>
                  </a:lnTo>
                  <a:lnTo>
                    <a:pt x="727" y="536"/>
                  </a:lnTo>
                  <a:lnTo>
                    <a:pt x="723" y="529"/>
                  </a:lnTo>
                  <a:lnTo>
                    <a:pt x="723" y="529"/>
                  </a:lnTo>
                  <a:lnTo>
                    <a:pt x="717" y="523"/>
                  </a:lnTo>
                  <a:lnTo>
                    <a:pt x="708" y="517"/>
                  </a:lnTo>
                  <a:lnTo>
                    <a:pt x="699" y="512"/>
                  </a:lnTo>
                  <a:lnTo>
                    <a:pt x="688" y="507"/>
                  </a:lnTo>
                  <a:lnTo>
                    <a:pt x="688" y="507"/>
                  </a:lnTo>
                  <a:lnTo>
                    <a:pt x="684" y="504"/>
                  </a:lnTo>
                  <a:lnTo>
                    <a:pt x="681" y="498"/>
                  </a:lnTo>
                  <a:lnTo>
                    <a:pt x="677" y="487"/>
                  </a:lnTo>
                  <a:lnTo>
                    <a:pt x="675" y="477"/>
                  </a:lnTo>
                  <a:lnTo>
                    <a:pt x="675" y="473"/>
                  </a:lnTo>
                  <a:lnTo>
                    <a:pt x="675" y="473"/>
                  </a:lnTo>
                  <a:lnTo>
                    <a:pt x="656" y="474"/>
                  </a:lnTo>
                  <a:lnTo>
                    <a:pt x="656" y="474"/>
                  </a:lnTo>
                  <a:lnTo>
                    <a:pt x="640" y="473"/>
                  </a:lnTo>
                  <a:lnTo>
                    <a:pt x="625" y="468"/>
                  </a:lnTo>
                  <a:lnTo>
                    <a:pt x="625" y="468"/>
                  </a:lnTo>
                  <a:lnTo>
                    <a:pt x="619" y="467"/>
                  </a:lnTo>
                  <a:lnTo>
                    <a:pt x="611" y="462"/>
                  </a:lnTo>
                  <a:lnTo>
                    <a:pt x="607" y="458"/>
                  </a:lnTo>
                  <a:lnTo>
                    <a:pt x="606" y="455"/>
                  </a:lnTo>
                  <a:lnTo>
                    <a:pt x="606" y="452"/>
                  </a:lnTo>
                  <a:lnTo>
                    <a:pt x="606" y="452"/>
                  </a:lnTo>
                  <a:lnTo>
                    <a:pt x="608" y="444"/>
                  </a:lnTo>
                  <a:lnTo>
                    <a:pt x="611" y="435"/>
                  </a:lnTo>
                  <a:lnTo>
                    <a:pt x="614" y="428"/>
                  </a:lnTo>
                  <a:lnTo>
                    <a:pt x="614" y="421"/>
                  </a:lnTo>
                  <a:lnTo>
                    <a:pt x="614" y="421"/>
                  </a:lnTo>
                  <a:lnTo>
                    <a:pt x="614" y="419"/>
                  </a:lnTo>
                  <a:lnTo>
                    <a:pt x="613" y="418"/>
                  </a:lnTo>
                  <a:lnTo>
                    <a:pt x="608" y="415"/>
                  </a:lnTo>
                  <a:lnTo>
                    <a:pt x="604" y="412"/>
                  </a:lnTo>
                  <a:lnTo>
                    <a:pt x="598" y="409"/>
                  </a:lnTo>
                  <a:lnTo>
                    <a:pt x="598" y="409"/>
                  </a:lnTo>
                  <a:lnTo>
                    <a:pt x="597" y="406"/>
                  </a:lnTo>
                  <a:lnTo>
                    <a:pt x="595" y="401"/>
                  </a:lnTo>
                  <a:lnTo>
                    <a:pt x="594" y="388"/>
                  </a:lnTo>
                  <a:lnTo>
                    <a:pt x="592" y="364"/>
                  </a:lnTo>
                  <a:lnTo>
                    <a:pt x="592" y="364"/>
                  </a:lnTo>
                  <a:lnTo>
                    <a:pt x="594" y="360"/>
                  </a:lnTo>
                  <a:lnTo>
                    <a:pt x="595" y="357"/>
                  </a:lnTo>
                  <a:lnTo>
                    <a:pt x="601" y="353"/>
                  </a:lnTo>
                  <a:lnTo>
                    <a:pt x="606" y="348"/>
                  </a:lnTo>
                  <a:lnTo>
                    <a:pt x="608" y="345"/>
                  </a:lnTo>
                  <a:lnTo>
                    <a:pt x="608" y="342"/>
                  </a:lnTo>
                  <a:lnTo>
                    <a:pt x="608" y="342"/>
                  </a:lnTo>
                  <a:lnTo>
                    <a:pt x="608" y="338"/>
                  </a:lnTo>
                  <a:lnTo>
                    <a:pt x="606" y="335"/>
                  </a:lnTo>
                  <a:lnTo>
                    <a:pt x="603" y="333"/>
                  </a:lnTo>
                  <a:lnTo>
                    <a:pt x="603" y="333"/>
                  </a:lnTo>
                  <a:lnTo>
                    <a:pt x="601" y="326"/>
                  </a:lnTo>
                  <a:lnTo>
                    <a:pt x="600" y="321"/>
                  </a:lnTo>
                  <a:lnTo>
                    <a:pt x="597" y="318"/>
                  </a:lnTo>
                  <a:lnTo>
                    <a:pt x="597" y="318"/>
                  </a:lnTo>
                  <a:lnTo>
                    <a:pt x="588" y="317"/>
                  </a:lnTo>
                  <a:lnTo>
                    <a:pt x="580" y="314"/>
                  </a:lnTo>
                  <a:lnTo>
                    <a:pt x="576" y="310"/>
                  </a:lnTo>
                  <a:lnTo>
                    <a:pt x="576" y="310"/>
                  </a:lnTo>
                  <a:lnTo>
                    <a:pt x="571" y="305"/>
                  </a:lnTo>
                  <a:lnTo>
                    <a:pt x="569" y="304"/>
                  </a:lnTo>
                  <a:lnTo>
                    <a:pt x="564" y="301"/>
                  </a:lnTo>
                  <a:lnTo>
                    <a:pt x="563" y="295"/>
                  </a:lnTo>
                  <a:lnTo>
                    <a:pt x="563" y="295"/>
                  </a:lnTo>
                  <a:lnTo>
                    <a:pt x="558" y="284"/>
                  </a:lnTo>
                  <a:lnTo>
                    <a:pt x="557" y="281"/>
                  </a:lnTo>
                  <a:lnTo>
                    <a:pt x="554" y="280"/>
                  </a:lnTo>
                  <a:lnTo>
                    <a:pt x="554" y="280"/>
                  </a:lnTo>
                  <a:lnTo>
                    <a:pt x="551" y="280"/>
                  </a:lnTo>
                  <a:lnTo>
                    <a:pt x="546" y="281"/>
                  </a:lnTo>
                  <a:lnTo>
                    <a:pt x="542" y="284"/>
                  </a:lnTo>
                  <a:lnTo>
                    <a:pt x="542" y="287"/>
                  </a:lnTo>
                  <a:lnTo>
                    <a:pt x="542" y="287"/>
                  </a:lnTo>
                  <a:lnTo>
                    <a:pt x="542" y="290"/>
                  </a:lnTo>
                  <a:lnTo>
                    <a:pt x="540" y="293"/>
                  </a:lnTo>
                  <a:lnTo>
                    <a:pt x="539" y="295"/>
                  </a:lnTo>
                  <a:lnTo>
                    <a:pt x="537" y="295"/>
                  </a:lnTo>
                  <a:lnTo>
                    <a:pt x="537" y="295"/>
                  </a:lnTo>
                  <a:lnTo>
                    <a:pt x="530" y="292"/>
                  </a:lnTo>
                  <a:lnTo>
                    <a:pt x="518" y="284"/>
                  </a:lnTo>
                  <a:lnTo>
                    <a:pt x="518" y="284"/>
                  </a:lnTo>
                  <a:lnTo>
                    <a:pt x="515" y="283"/>
                  </a:lnTo>
                  <a:lnTo>
                    <a:pt x="512" y="283"/>
                  </a:lnTo>
                  <a:lnTo>
                    <a:pt x="505" y="284"/>
                  </a:lnTo>
                  <a:lnTo>
                    <a:pt x="499" y="287"/>
                  </a:lnTo>
                  <a:lnTo>
                    <a:pt x="493" y="290"/>
                  </a:lnTo>
                  <a:lnTo>
                    <a:pt x="493" y="290"/>
                  </a:lnTo>
                  <a:lnTo>
                    <a:pt x="487" y="290"/>
                  </a:lnTo>
                  <a:lnTo>
                    <a:pt x="478" y="290"/>
                  </a:lnTo>
                  <a:lnTo>
                    <a:pt x="460" y="289"/>
                  </a:lnTo>
                  <a:lnTo>
                    <a:pt x="460" y="289"/>
                  </a:lnTo>
                  <a:lnTo>
                    <a:pt x="457" y="287"/>
                  </a:lnTo>
                  <a:lnTo>
                    <a:pt x="456" y="287"/>
                  </a:lnTo>
                  <a:lnTo>
                    <a:pt x="454" y="283"/>
                  </a:lnTo>
                  <a:lnTo>
                    <a:pt x="454" y="277"/>
                  </a:lnTo>
                  <a:lnTo>
                    <a:pt x="453" y="270"/>
                  </a:lnTo>
                  <a:lnTo>
                    <a:pt x="453" y="270"/>
                  </a:lnTo>
                  <a:lnTo>
                    <a:pt x="453" y="267"/>
                  </a:lnTo>
                  <a:lnTo>
                    <a:pt x="452" y="265"/>
                  </a:lnTo>
                  <a:lnTo>
                    <a:pt x="449" y="264"/>
                  </a:lnTo>
                  <a:lnTo>
                    <a:pt x="440" y="267"/>
                  </a:lnTo>
                  <a:lnTo>
                    <a:pt x="440" y="267"/>
                  </a:lnTo>
                  <a:lnTo>
                    <a:pt x="438" y="265"/>
                  </a:lnTo>
                  <a:lnTo>
                    <a:pt x="438" y="265"/>
                  </a:lnTo>
                  <a:lnTo>
                    <a:pt x="438" y="261"/>
                  </a:lnTo>
                  <a:lnTo>
                    <a:pt x="440" y="253"/>
                  </a:lnTo>
                  <a:lnTo>
                    <a:pt x="440" y="246"/>
                  </a:lnTo>
                  <a:lnTo>
                    <a:pt x="440" y="246"/>
                  </a:lnTo>
                  <a:lnTo>
                    <a:pt x="441" y="243"/>
                  </a:lnTo>
                  <a:lnTo>
                    <a:pt x="443" y="241"/>
                  </a:lnTo>
                  <a:lnTo>
                    <a:pt x="447" y="237"/>
                  </a:lnTo>
                  <a:lnTo>
                    <a:pt x="453" y="234"/>
                  </a:lnTo>
                  <a:lnTo>
                    <a:pt x="456" y="233"/>
                  </a:lnTo>
                  <a:lnTo>
                    <a:pt x="459" y="230"/>
                  </a:lnTo>
                  <a:lnTo>
                    <a:pt x="459" y="230"/>
                  </a:lnTo>
                  <a:lnTo>
                    <a:pt x="460" y="225"/>
                  </a:lnTo>
                  <a:lnTo>
                    <a:pt x="460" y="222"/>
                  </a:lnTo>
                  <a:lnTo>
                    <a:pt x="459" y="221"/>
                  </a:lnTo>
                  <a:lnTo>
                    <a:pt x="457" y="218"/>
                  </a:lnTo>
                  <a:lnTo>
                    <a:pt x="453" y="215"/>
                  </a:lnTo>
                  <a:lnTo>
                    <a:pt x="449" y="213"/>
                  </a:lnTo>
                  <a:lnTo>
                    <a:pt x="449" y="213"/>
                  </a:lnTo>
                  <a:lnTo>
                    <a:pt x="446" y="213"/>
                  </a:lnTo>
                  <a:lnTo>
                    <a:pt x="444" y="213"/>
                  </a:lnTo>
                  <a:lnTo>
                    <a:pt x="441" y="207"/>
                  </a:lnTo>
                  <a:lnTo>
                    <a:pt x="441" y="207"/>
                  </a:lnTo>
                  <a:lnTo>
                    <a:pt x="438" y="204"/>
                  </a:lnTo>
                  <a:lnTo>
                    <a:pt x="435" y="203"/>
                  </a:lnTo>
                  <a:lnTo>
                    <a:pt x="431" y="201"/>
                  </a:lnTo>
                  <a:lnTo>
                    <a:pt x="426" y="199"/>
                  </a:lnTo>
                  <a:lnTo>
                    <a:pt x="426" y="199"/>
                  </a:lnTo>
                  <a:lnTo>
                    <a:pt x="420" y="194"/>
                  </a:lnTo>
                  <a:lnTo>
                    <a:pt x="413" y="188"/>
                  </a:lnTo>
                  <a:lnTo>
                    <a:pt x="406" y="184"/>
                  </a:lnTo>
                  <a:lnTo>
                    <a:pt x="398" y="182"/>
                  </a:lnTo>
                  <a:lnTo>
                    <a:pt x="398" y="182"/>
                  </a:lnTo>
                  <a:lnTo>
                    <a:pt x="394" y="184"/>
                  </a:lnTo>
                  <a:lnTo>
                    <a:pt x="389" y="185"/>
                  </a:lnTo>
                  <a:lnTo>
                    <a:pt x="385" y="188"/>
                  </a:lnTo>
                  <a:lnTo>
                    <a:pt x="380" y="190"/>
                  </a:lnTo>
                  <a:lnTo>
                    <a:pt x="380" y="190"/>
                  </a:lnTo>
                  <a:lnTo>
                    <a:pt x="375" y="190"/>
                  </a:lnTo>
                  <a:lnTo>
                    <a:pt x="369" y="188"/>
                  </a:lnTo>
                  <a:lnTo>
                    <a:pt x="358" y="182"/>
                  </a:lnTo>
                  <a:lnTo>
                    <a:pt x="358" y="182"/>
                  </a:lnTo>
                  <a:lnTo>
                    <a:pt x="352" y="179"/>
                  </a:lnTo>
                  <a:lnTo>
                    <a:pt x="345" y="178"/>
                  </a:lnTo>
                  <a:lnTo>
                    <a:pt x="329" y="178"/>
                  </a:lnTo>
                  <a:lnTo>
                    <a:pt x="329" y="178"/>
                  </a:lnTo>
                  <a:lnTo>
                    <a:pt x="321" y="178"/>
                  </a:lnTo>
                  <a:lnTo>
                    <a:pt x="317" y="176"/>
                  </a:lnTo>
                  <a:lnTo>
                    <a:pt x="315" y="173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7" y="161"/>
                  </a:lnTo>
                  <a:lnTo>
                    <a:pt x="317" y="153"/>
                  </a:lnTo>
                  <a:lnTo>
                    <a:pt x="317" y="145"/>
                  </a:lnTo>
                  <a:lnTo>
                    <a:pt x="312" y="139"/>
                  </a:lnTo>
                  <a:lnTo>
                    <a:pt x="312" y="139"/>
                  </a:lnTo>
                  <a:lnTo>
                    <a:pt x="309" y="135"/>
                  </a:lnTo>
                  <a:lnTo>
                    <a:pt x="305" y="132"/>
                  </a:lnTo>
                  <a:lnTo>
                    <a:pt x="299" y="129"/>
                  </a:lnTo>
                  <a:lnTo>
                    <a:pt x="295" y="122"/>
                  </a:lnTo>
                  <a:lnTo>
                    <a:pt x="295" y="122"/>
                  </a:lnTo>
                  <a:lnTo>
                    <a:pt x="293" y="119"/>
                  </a:lnTo>
                  <a:lnTo>
                    <a:pt x="293" y="116"/>
                  </a:lnTo>
                  <a:lnTo>
                    <a:pt x="295" y="114"/>
                  </a:lnTo>
                  <a:lnTo>
                    <a:pt x="298" y="113"/>
                  </a:lnTo>
                  <a:lnTo>
                    <a:pt x="312" y="110"/>
                  </a:lnTo>
                  <a:lnTo>
                    <a:pt x="312" y="110"/>
                  </a:lnTo>
                  <a:lnTo>
                    <a:pt x="317" y="108"/>
                  </a:lnTo>
                  <a:lnTo>
                    <a:pt x="318" y="107"/>
                  </a:lnTo>
                  <a:lnTo>
                    <a:pt x="320" y="104"/>
                  </a:lnTo>
                  <a:lnTo>
                    <a:pt x="320" y="101"/>
                  </a:lnTo>
                  <a:lnTo>
                    <a:pt x="318" y="90"/>
                  </a:lnTo>
                  <a:lnTo>
                    <a:pt x="318" y="90"/>
                  </a:lnTo>
                  <a:lnTo>
                    <a:pt x="320" y="87"/>
                  </a:lnTo>
                  <a:lnTo>
                    <a:pt x="323" y="83"/>
                  </a:lnTo>
                  <a:lnTo>
                    <a:pt x="332" y="76"/>
                  </a:lnTo>
                  <a:lnTo>
                    <a:pt x="339" y="67"/>
                  </a:lnTo>
                  <a:lnTo>
                    <a:pt x="342" y="64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2" y="56"/>
                  </a:lnTo>
                  <a:lnTo>
                    <a:pt x="342" y="53"/>
                  </a:lnTo>
                  <a:lnTo>
                    <a:pt x="338" y="40"/>
                  </a:lnTo>
                  <a:lnTo>
                    <a:pt x="338" y="40"/>
                  </a:lnTo>
                  <a:lnTo>
                    <a:pt x="336" y="34"/>
                  </a:lnTo>
                  <a:lnTo>
                    <a:pt x="336" y="28"/>
                  </a:lnTo>
                  <a:lnTo>
                    <a:pt x="338" y="15"/>
                  </a:lnTo>
                  <a:lnTo>
                    <a:pt x="339" y="0"/>
                  </a:lnTo>
                  <a:lnTo>
                    <a:pt x="339" y="0"/>
                  </a:lnTo>
                  <a:lnTo>
                    <a:pt x="311" y="5"/>
                  </a:lnTo>
                  <a:lnTo>
                    <a:pt x="311" y="5"/>
                  </a:lnTo>
                  <a:lnTo>
                    <a:pt x="298" y="5"/>
                  </a:lnTo>
                  <a:lnTo>
                    <a:pt x="292" y="6"/>
                  </a:lnTo>
                  <a:lnTo>
                    <a:pt x="290" y="7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6" y="16"/>
                  </a:lnTo>
                  <a:lnTo>
                    <a:pt x="280" y="24"/>
                  </a:lnTo>
                  <a:lnTo>
                    <a:pt x="275" y="30"/>
                  </a:lnTo>
                  <a:lnTo>
                    <a:pt x="271" y="31"/>
                  </a:lnTo>
                  <a:lnTo>
                    <a:pt x="271" y="31"/>
                  </a:lnTo>
                  <a:lnTo>
                    <a:pt x="256" y="39"/>
                  </a:lnTo>
                  <a:lnTo>
                    <a:pt x="246" y="43"/>
                  </a:lnTo>
                  <a:lnTo>
                    <a:pt x="243" y="43"/>
                  </a:lnTo>
                  <a:lnTo>
                    <a:pt x="240" y="43"/>
                  </a:lnTo>
                  <a:lnTo>
                    <a:pt x="240" y="43"/>
                  </a:lnTo>
                  <a:lnTo>
                    <a:pt x="237" y="39"/>
                  </a:lnTo>
                  <a:lnTo>
                    <a:pt x="235" y="3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4" y="18"/>
                  </a:lnTo>
                  <a:lnTo>
                    <a:pt x="232" y="15"/>
                  </a:lnTo>
                  <a:lnTo>
                    <a:pt x="229" y="12"/>
                  </a:lnTo>
                  <a:lnTo>
                    <a:pt x="226" y="12"/>
                  </a:lnTo>
                  <a:lnTo>
                    <a:pt x="226" y="12"/>
                  </a:lnTo>
                  <a:lnTo>
                    <a:pt x="209" y="13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88" y="18"/>
                  </a:lnTo>
                  <a:lnTo>
                    <a:pt x="185" y="22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2" y="33"/>
                  </a:lnTo>
                  <a:lnTo>
                    <a:pt x="178" y="34"/>
                  </a:lnTo>
                  <a:lnTo>
                    <a:pt x="173" y="36"/>
                  </a:lnTo>
                  <a:lnTo>
                    <a:pt x="169" y="39"/>
                  </a:lnTo>
                  <a:lnTo>
                    <a:pt x="169" y="39"/>
                  </a:lnTo>
                  <a:lnTo>
                    <a:pt x="161" y="52"/>
                  </a:lnTo>
                  <a:lnTo>
                    <a:pt x="158" y="61"/>
                  </a:lnTo>
                  <a:lnTo>
                    <a:pt x="155" y="68"/>
                  </a:lnTo>
                  <a:lnTo>
                    <a:pt x="155" y="68"/>
                  </a:lnTo>
                  <a:lnTo>
                    <a:pt x="155" y="74"/>
                  </a:lnTo>
                  <a:lnTo>
                    <a:pt x="152" y="80"/>
                  </a:lnTo>
                  <a:lnTo>
                    <a:pt x="149" y="86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33" y="98"/>
                  </a:lnTo>
                  <a:lnTo>
                    <a:pt x="118" y="108"/>
                  </a:lnTo>
                  <a:lnTo>
                    <a:pt x="105" y="12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87" y="145"/>
                  </a:lnTo>
                  <a:lnTo>
                    <a:pt x="83" y="150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2" y="153"/>
                  </a:lnTo>
                  <a:lnTo>
                    <a:pt x="65" y="153"/>
                  </a:lnTo>
                  <a:lnTo>
                    <a:pt x="59" y="154"/>
                  </a:lnTo>
                  <a:lnTo>
                    <a:pt x="58" y="157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8" y="172"/>
                  </a:lnTo>
                  <a:lnTo>
                    <a:pt x="56" y="178"/>
                  </a:lnTo>
                  <a:lnTo>
                    <a:pt x="53" y="188"/>
                  </a:lnTo>
                  <a:lnTo>
                    <a:pt x="53" y="188"/>
                  </a:lnTo>
                  <a:lnTo>
                    <a:pt x="50" y="197"/>
                  </a:lnTo>
                  <a:lnTo>
                    <a:pt x="49" y="204"/>
                  </a:lnTo>
                  <a:lnTo>
                    <a:pt x="49" y="210"/>
                  </a:lnTo>
                  <a:lnTo>
                    <a:pt x="49" y="215"/>
                  </a:lnTo>
                  <a:lnTo>
                    <a:pt x="49" y="215"/>
                  </a:lnTo>
                  <a:lnTo>
                    <a:pt x="49" y="218"/>
                  </a:lnTo>
                  <a:lnTo>
                    <a:pt x="47" y="221"/>
                  </a:lnTo>
                  <a:lnTo>
                    <a:pt x="46" y="224"/>
                  </a:lnTo>
                  <a:lnTo>
                    <a:pt x="41" y="227"/>
                  </a:lnTo>
                  <a:lnTo>
                    <a:pt x="41" y="227"/>
                  </a:lnTo>
                  <a:lnTo>
                    <a:pt x="38" y="228"/>
                  </a:lnTo>
                  <a:lnTo>
                    <a:pt x="35" y="231"/>
                  </a:lnTo>
                  <a:lnTo>
                    <a:pt x="28" y="240"/>
                  </a:lnTo>
                  <a:lnTo>
                    <a:pt x="28" y="240"/>
                  </a:lnTo>
                  <a:lnTo>
                    <a:pt x="24" y="244"/>
                  </a:lnTo>
                  <a:lnTo>
                    <a:pt x="21" y="249"/>
                  </a:lnTo>
                  <a:lnTo>
                    <a:pt x="18" y="253"/>
                  </a:lnTo>
                  <a:lnTo>
                    <a:pt x="13" y="258"/>
                  </a:lnTo>
                  <a:lnTo>
                    <a:pt x="13" y="25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6" y="270"/>
                  </a:lnTo>
                  <a:lnTo>
                    <a:pt x="10" y="273"/>
                  </a:lnTo>
                  <a:lnTo>
                    <a:pt x="15" y="277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8" y="287"/>
                  </a:lnTo>
                  <a:lnTo>
                    <a:pt x="18" y="295"/>
                  </a:lnTo>
                  <a:lnTo>
                    <a:pt x="19" y="302"/>
                  </a:lnTo>
                  <a:lnTo>
                    <a:pt x="22" y="310"/>
                  </a:lnTo>
                  <a:lnTo>
                    <a:pt x="22" y="310"/>
                  </a:lnTo>
                  <a:lnTo>
                    <a:pt x="25" y="313"/>
                  </a:lnTo>
                  <a:lnTo>
                    <a:pt x="30" y="316"/>
                  </a:lnTo>
                  <a:lnTo>
                    <a:pt x="41" y="323"/>
                  </a:lnTo>
                  <a:lnTo>
                    <a:pt x="55" y="332"/>
                  </a:lnTo>
                  <a:lnTo>
                    <a:pt x="65" y="339"/>
                  </a:lnTo>
                  <a:lnTo>
                    <a:pt x="65" y="339"/>
                  </a:lnTo>
                  <a:lnTo>
                    <a:pt x="68" y="345"/>
                  </a:lnTo>
                  <a:lnTo>
                    <a:pt x="70" y="353"/>
                  </a:lnTo>
                  <a:lnTo>
                    <a:pt x="72" y="369"/>
                  </a:lnTo>
                  <a:lnTo>
                    <a:pt x="75" y="387"/>
                  </a:lnTo>
                  <a:lnTo>
                    <a:pt x="77" y="398"/>
                  </a:lnTo>
                  <a:lnTo>
                    <a:pt x="77" y="398"/>
                  </a:lnTo>
                  <a:lnTo>
                    <a:pt x="80" y="406"/>
                  </a:lnTo>
                  <a:lnTo>
                    <a:pt x="84" y="413"/>
                  </a:lnTo>
                  <a:lnTo>
                    <a:pt x="89" y="421"/>
                  </a:lnTo>
                  <a:lnTo>
                    <a:pt x="92" y="428"/>
                  </a:lnTo>
                  <a:lnTo>
                    <a:pt x="92" y="428"/>
                  </a:lnTo>
                  <a:lnTo>
                    <a:pt x="92" y="437"/>
                  </a:lnTo>
                  <a:lnTo>
                    <a:pt x="90" y="447"/>
                  </a:lnTo>
                  <a:lnTo>
                    <a:pt x="87" y="458"/>
                  </a:lnTo>
                  <a:lnTo>
                    <a:pt x="86" y="461"/>
                  </a:lnTo>
                  <a:lnTo>
                    <a:pt x="83" y="464"/>
                  </a:lnTo>
                  <a:lnTo>
                    <a:pt x="83" y="464"/>
                  </a:lnTo>
                  <a:lnTo>
                    <a:pt x="80" y="468"/>
                  </a:lnTo>
                  <a:lnTo>
                    <a:pt x="77" y="474"/>
                  </a:lnTo>
                  <a:lnTo>
                    <a:pt x="72" y="492"/>
                  </a:lnTo>
                  <a:lnTo>
                    <a:pt x="71" y="508"/>
                  </a:lnTo>
                  <a:lnTo>
                    <a:pt x="70" y="520"/>
                  </a:lnTo>
                  <a:lnTo>
                    <a:pt x="70" y="520"/>
                  </a:lnTo>
                  <a:lnTo>
                    <a:pt x="68" y="530"/>
                  </a:lnTo>
                  <a:lnTo>
                    <a:pt x="67" y="532"/>
                  </a:lnTo>
                  <a:lnTo>
                    <a:pt x="64" y="536"/>
                  </a:lnTo>
                  <a:lnTo>
                    <a:pt x="64" y="536"/>
                  </a:lnTo>
                  <a:lnTo>
                    <a:pt x="62" y="539"/>
                  </a:lnTo>
                  <a:lnTo>
                    <a:pt x="62" y="544"/>
                  </a:lnTo>
                  <a:lnTo>
                    <a:pt x="67" y="554"/>
                  </a:lnTo>
                  <a:lnTo>
                    <a:pt x="67" y="554"/>
                  </a:lnTo>
                  <a:lnTo>
                    <a:pt x="68" y="560"/>
                  </a:lnTo>
                  <a:lnTo>
                    <a:pt x="68" y="566"/>
                  </a:lnTo>
                  <a:lnTo>
                    <a:pt x="67" y="569"/>
                  </a:lnTo>
                  <a:lnTo>
                    <a:pt x="64" y="573"/>
                  </a:lnTo>
                  <a:lnTo>
                    <a:pt x="64" y="573"/>
                  </a:lnTo>
                  <a:lnTo>
                    <a:pt x="61" y="581"/>
                  </a:lnTo>
                  <a:lnTo>
                    <a:pt x="56" y="591"/>
                  </a:lnTo>
                  <a:lnTo>
                    <a:pt x="52" y="603"/>
                  </a:lnTo>
                  <a:lnTo>
                    <a:pt x="47" y="613"/>
                  </a:lnTo>
                  <a:lnTo>
                    <a:pt x="47" y="613"/>
                  </a:lnTo>
                  <a:lnTo>
                    <a:pt x="44" y="621"/>
                  </a:lnTo>
                  <a:lnTo>
                    <a:pt x="43" y="627"/>
                  </a:lnTo>
                  <a:lnTo>
                    <a:pt x="43" y="641"/>
                  </a:lnTo>
                  <a:lnTo>
                    <a:pt x="43" y="641"/>
                  </a:lnTo>
                  <a:lnTo>
                    <a:pt x="44" y="646"/>
                  </a:lnTo>
                  <a:lnTo>
                    <a:pt x="49" y="652"/>
                  </a:lnTo>
                  <a:lnTo>
                    <a:pt x="64" y="662"/>
                  </a:lnTo>
                  <a:lnTo>
                    <a:pt x="78" y="672"/>
                  </a:lnTo>
                  <a:lnTo>
                    <a:pt x="89" y="680"/>
                  </a:lnTo>
                  <a:lnTo>
                    <a:pt x="89" y="680"/>
                  </a:lnTo>
                  <a:lnTo>
                    <a:pt x="92" y="684"/>
                  </a:lnTo>
                  <a:lnTo>
                    <a:pt x="92" y="689"/>
                  </a:lnTo>
                  <a:lnTo>
                    <a:pt x="93" y="702"/>
                  </a:lnTo>
                  <a:lnTo>
                    <a:pt x="92" y="715"/>
                  </a:lnTo>
                  <a:lnTo>
                    <a:pt x="89" y="724"/>
                  </a:lnTo>
                  <a:lnTo>
                    <a:pt x="89" y="724"/>
                  </a:lnTo>
                  <a:lnTo>
                    <a:pt x="87" y="727"/>
                  </a:lnTo>
                  <a:lnTo>
                    <a:pt x="86" y="733"/>
                  </a:lnTo>
                  <a:lnTo>
                    <a:pt x="84" y="744"/>
                  </a:lnTo>
                  <a:lnTo>
                    <a:pt x="86" y="755"/>
                  </a:lnTo>
                  <a:lnTo>
                    <a:pt x="89" y="764"/>
                  </a:lnTo>
                  <a:lnTo>
                    <a:pt x="89" y="764"/>
                  </a:lnTo>
                  <a:lnTo>
                    <a:pt x="89" y="772"/>
                  </a:lnTo>
                  <a:lnTo>
                    <a:pt x="89" y="772"/>
                  </a:lnTo>
                  <a:lnTo>
                    <a:pt x="89" y="773"/>
                  </a:lnTo>
                  <a:lnTo>
                    <a:pt x="89" y="773"/>
                  </a:lnTo>
                  <a:lnTo>
                    <a:pt x="98" y="776"/>
                  </a:lnTo>
                  <a:lnTo>
                    <a:pt x="105" y="779"/>
                  </a:lnTo>
                  <a:lnTo>
                    <a:pt x="111" y="784"/>
                  </a:lnTo>
                  <a:lnTo>
                    <a:pt x="111" y="784"/>
                  </a:lnTo>
                  <a:lnTo>
                    <a:pt x="115" y="788"/>
                  </a:lnTo>
                  <a:lnTo>
                    <a:pt x="123" y="789"/>
                  </a:lnTo>
                  <a:lnTo>
                    <a:pt x="132" y="791"/>
                  </a:lnTo>
                  <a:lnTo>
                    <a:pt x="144" y="788"/>
                  </a:lnTo>
                  <a:lnTo>
                    <a:pt x="144" y="788"/>
                  </a:lnTo>
                  <a:lnTo>
                    <a:pt x="148" y="785"/>
                  </a:lnTo>
                  <a:lnTo>
                    <a:pt x="151" y="782"/>
                  </a:lnTo>
                  <a:lnTo>
                    <a:pt x="154" y="779"/>
                  </a:lnTo>
                  <a:lnTo>
                    <a:pt x="155" y="778"/>
                  </a:lnTo>
                  <a:lnTo>
                    <a:pt x="155" y="772"/>
                  </a:lnTo>
                  <a:lnTo>
                    <a:pt x="157" y="770"/>
                  </a:lnTo>
                  <a:lnTo>
                    <a:pt x="157" y="770"/>
                  </a:lnTo>
                  <a:lnTo>
                    <a:pt x="158" y="770"/>
                  </a:lnTo>
                  <a:lnTo>
                    <a:pt x="163" y="772"/>
                  </a:lnTo>
                  <a:lnTo>
                    <a:pt x="172" y="779"/>
                  </a:lnTo>
                  <a:lnTo>
                    <a:pt x="172" y="779"/>
                  </a:lnTo>
                  <a:lnTo>
                    <a:pt x="175" y="779"/>
                  </a:lnTo>
                  <a:lnTo>
                    <a:pt x="179" y="779"/>
                  </a:lnTo>
                  <a:lnTo>
                    <a:pt x="189" y="776"/>
                  </a:lnTo>
                  <a:lnTo>
                    <a:pt x="213" y="767"/>
                  </a:lnTo>
                  <a:lnTo>
                    <a:pt x="213" y="76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3" name="Freeform 12">
              <a:extLst>
                <a:ext uri="{FF2B5EF4-FFF2-40B4-BE49-F238E27FC236}">
                  <a16:creationId xmlns:a16="http://schemas.microsoft.com/office/drawing/2014/main" id="{B5C06016-5BCE-1C4C-A51D-FE913E8B8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8563" y="5006975"/>
              <a:ext cx="1668463" cy="2938462"/>
            </a:xfrm>
            <a:custGeom>
              <a:avLst/>
              <a:gdLst>
                <a:gd name="T0" fmla="*/ 441 w 1051"/>
                <a:gd name="T1" fmla="*/ 1171 h 1851"/>
                <a:gd name="T2" fmla="*/ 462 w 1051"/>
                <a:gd name="T3" fmla="*/ 1280 h 1851"/>
                <a:gd name="T4" fmla="*/ 412 w 1051"/>
                <a:gd name="T5" fmla="*/ 1342 h 1851"/>
                <a:gd name="T6" fmla="*/ 348 w 1051"/>
                <a:gd name="T7" fmla="*/ 1460 h 1851"/>
                <a:gd name="T8" fmla="*/ 340 w 1051"/>
                <a:gd name="T9" fmla="*/ 1562 h 1851"/>
                <a:gd name="T10" fmla="*/ 388 w 1051"/>
                <a:gd name="T11" fmla="*/ 1579 h 1851"/>
                <a:gd name="T12" fmla="*/ 446 w 1051"/>
                <a:gd name="T13" fmla="*/ 1648 h 1851"/>
                <a:gd name="T14" fmla="*/ 500 w 1051"/>
                <a:gd name="T15" fmla="*/ 1653 h 1851"/>
                <a:gd name="T16" fmla="*/ 568 w 1051"/>
                <a:gd name="T17" fmla="*/ 1629 h 1851"/>
                <a:gd name="T18" fmla="*/ 669 w 1051"/>
                <a:gd name="T19" fmla="*/ 1644 h 1851"/>
                <a:gd name="T20" fmla="*/ 742 w 1051"/>
                <a:gd name="T21" fmla="*/ 1614 h 1851"/>
                <a:gd name="T22" fmla="*/ 762 w 1051"/>
                <a:gd name="T23" fmla="*/ 1719 h 1851"/>
                <a:gd name="T24" fmla="*/ 807 w 1051"/>
                <a:gd name="T25" fmla="*/ 1825 h 1851"/>
                <a:gd name="T26" fmla="*/ 825 w 1051"/>
                <a:gd name="T27" fmla="*/ 1755 h 1851"/>
                <a:gd name="T28" fmla="*/ 881 w 1051"/>
                <a:gd name="T29" fmla="*/ 1751 h 1851"/>
                <a:gd name="T30" fmla="*/ 943 w 1051"/>
                <a:gd name="T31" fmla="*/ 1714 h 1851"/>
                <a:gd name="T32" fmla="*/ 955 w 1051"/>
                <a:gd name="T33" fmla="*/ 1645 h 1851"/>
                <a:gd name="T34" fmla="*/ 989 w 1051"/>
                <a:gd name="T35" fmla="*/ 1594 h 1851"/>
                <a:gd name="T36" fmla="*/ 936 w 1051"/>
                <a:gd name="T37" fmla="*/ 1588 h 1851"/>
                <a:gd name="T38" fmla="*/ 939 w 1051"/>
                <a:gd name="T39" fmla="*/ 1533 h 1851"/>
                <a:gd name="T40" fmla="*/ 995 w 1051"/>
                <a:gd name="T41" fmla="*/ 1509 h 1851"/>
                <a:gd name="T42" fmla="*/ 1025 w 1051"/>
                <a:gd name="T43" fmla="*/ 1561 h 1851"/>
                <a:gd name="T44" fmla="*/ 1047 w 1051"/>
                <a:gd name="T45" fmla="*/ 1426 h 1851"/>
                <a:gd name="T46" fmla="*/ 1005 w 1051"/>
                <a:gd name="T47" fmla="*/ 1337 h 1851"/>
                <a:gd name="T48" fmla="*/ 943 w 1051"/>
                <a:gd name="T49" fmla="*/ 1225 h 1851"/>
                <a:gd name="T50" fmla="*/ 854 w 1051"/>
                <a:gd name="T51" fmla="*/ 1022 h 1851"/>
                <a:gd name="T52" fmla="*/ 791 w 1051"/>
                <a:gd name="T53" fmla="*/ 929 h 1851"/>
                <a:gd name="T54" fmla="*/ 620 w 1051"/>
                <a:gd name="T55" fmla="*/ 932 h 1851"/>
                <a:gd name="T56" fmla="*/ 616 w 1051"/>
                <a:gd name="T57" fmla="*/ 982 h 1851"/>
                <a:gd name="T58" fmla="*/ 564 w 1051"/>
                <a:gd name="T59" fmla="*/ 1056 h 1851"/>
                <a:gd name="T60" fmla="*/ 539 w 1051"/>
                <a:gd name="T61" fmla="*/ 985 h 1851"/>
                <a:gd name="T62" fmla="*/ 518 w 1051"/>
                <a:gd name="T63" fmla="*/ 1050 h 1851"/>
                <a:gd name="T64" fmla="*/ 386 w 1051"/>
                <a:gd name="T65" fmla="*/ 1016 h 1851"/>
                <a:gd name="T66" fmla="*/ 428 w 1051"/>
                <a:gd name="T67" fmla="*/ 807 h 1851"/>
                <a:gd name="T68" fmla="*/ 462 w 1051"/>
                <a:gd name="T69" fmla="*/ 542 h 1851"/>
                <a:gd name="T70" fmla="*/ 489 w 1051"/>
                <a:gd name="T71" fmla="*/ 323 h 1851"/>
                <a:gd name="T72" fmla="*/ 605 w 1051"/>
                <a:gd name="T73" fmla="*/ 252 h 1851"/>
                <a:gd name="T74" fmla="*/ 659 w 1051"/>
                <a:gd name="T75" fmla="*/ 193 h 1851"/>
                <a:gd name="T76" fmla="*/ 586 w 1051"/>
                <a:gd name="T77" fmla="*/ 135 h 1851"/>
                <a:gd name="T78" fmla="*/ 505 w 1051"/>
                <a:gd name="T79" fmla="*/ 110 h 1851"/>
                <a:gd name="T80" fmla="*/ 480 w 1051"/>
                <a:gd name="T81" fmla="*/ 19 h 1851"/>
                <a:gd name="T82" fmla="*/ 366 w 1051"/>
                <a:gd name="T83" fmla="*/ 70 h 1851"/>
                <a:gd name="T84" fmla="*/ 333 w 1051"/>
                <a:gd name="T85" fmla="*/ 81 h 1851"/>
                <a:gd name="T86" fmla="*/ 292 w 1051"/>
                <a:gd name="T87" fmla="*/ 107 h 1851"/>
                <a:gd name="T88" fmla="*/ 201 w 1051"/>
                <a:gd name="T89" fmla="*/ 123 h 1851"/>
                <a:gd name="T90" fmla="*/ 183 w 1051"/>
                <a:gd name="T91" fmla="*/ 249 h 1851"/>
                <a:gd name="T92" fmla="*/ 164 w 1051"/>
                <a:gd name="T93" fmla="*/ 348 h 1851"/>
                <a:gd name="T94" fmla="*/ 247 w 1051"/>
                <a:gd name="T95" fmla="*/ 461 h 1851"/>
                <a:gd name="T96" fmla="*/ 213 w 1051"/>
                <a:gd name="T97" fmla="*/ 495 h 1851"/>
                <a:gd name="T98" fmla="*/ 126 w 1051"/>
                <a:gd name="T99" fmla="*/ 600 h 1851"/>
                <a:gd name="T100" fmla="*/ 29 w 1051"/>
                <a:gd name="T101" fmla="*/ 662 h 1851"/>
                <a:gd name="T102" fmla="*/ 22 w 1051"/>
                <a:gd name="T103" fmla="*/ 775 h 1851"/>
                <a:gd name="T104" fmla="*/ 13 w 1051"/>
                <a:gd name="T105" fmla="*/ 828 h 1851"/>
                <a:gd name="T106" fmla="*/ 27 w 1051"/>
                <a:gd name="T107" fmla="*/ 900 h 1851"/>
                <a:gd name="T108" fmla="*/ 95 w 1051"/>
                <a:gd name="T109" fmla="*/ 975 h 1851"/>
                <a:gd name="T110" fmla="*/ 99 w 1051"/>
                <a:gd name="T111" fmla="*/ 1077 h 1851"/>
                <a:gd name="T112" fmla="*/ 215 w 1051"/>
                <a:gd name="T113" fmla="*/ 1040 h 1851"/>
                <a:gd name="T114" fmla="*/ 200 w 1051"/>
                <a:gd name="T115" fmla="*/ 1108 h 1851"/>
                <a:gd name="T116" fmla="*/ 170 w 1051"/>
                <a:gd name="T117" fmla="*/ 1211 h 1851"/>
                <a:gd name="T118" fmla="*/ 213 w 1051"/>
                <a:gd name="T119" fmla="*/ 1257 h 1851"/>
                <a:gd name="T120" fmla="*/ 286 w 1051"/>
                <a:gd name="T121" fmla="*/ 1283 h 1851"/>
                <a:gd name="T122" fmla="*/ 340 w 1051"/>
                <a:gd name="T123" fmla="*/ 1246 h 1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1" h="1851">
                  <a:moveTo>
                    <a:pt x="380" y="1197"/>
                  </a:moveTo>
                  <a:lnTo>
                    <a:pt x="380" y="1197"/>
                  </a:lnTo>
                  <a:lnTo>
                    <a:pt x="394" y="1194"/>
                  </a:lnTo>
                  <a:lnTo>
                    <a:pt x="397" y="1194"/>
                  </a:lnTo>
                  <a:lnTo>
                    <a:pt x="398" y="1191"/>
                  </a:lnTo>
                  <a:lnTo>
                    <a:pt x="398" y="1191"/>
                  </a:lnTo>
                  <a:lnTo>
                    <a:pt x="404" y="1186"/>
                  </a:lnTo>
                  <a:lnTo>
                    <a:pt x="407" y="1182"/>
                  </a:lnTo>
                  <a:lnTo>
                    <a:pt x="409" y="1176"/>
                  </a:lnTo>
                  <a:lnTo>
                    <a:pt x="409" y="1176"/>
                  </a:lnTo>
                  <a:lnTo>
                    <a:pt x="412" y="1164"/>
                  </a:lnTo>
                  <a:lnTo>
                    <a:pt x="413" y="1160"/>
                  </a:lnTo>
                  <a:lnTo>
                    <a:pt x="416" y="1158"/>
                  </a:lnTo>
                  <a:lnTo>
                    <a:pt x="417" y="1158"/>
                  </a:lnTo>
                  <a:lnTo>
                    <a:pt x="417" y="1158"/>
                  </a:lnTo>
                  <a:lnTo>
                    <a:pt x="422" y="1158"/>
                  </a:lnTo>
                  <a:lnTo>
                    <a:pt x="425" y="1161"/>
                  </a:lnTo>
                  <a:lnTo>
                    <a:pt x="428" y="1163"/>
                  </a:lnTo>
                  <a:lnTo>
                    <a:pt x="432" y="1164"/>
                  </a:lnTo>
                  <a:lnTo>
                    <a:pt x="432" y="1164"/>
                  </a:lnTo>
                  <a:lnTo>
                    <a:pt x="438" y="1167"/>
                  </a:lnTo>
                  <a:lnTo>
                    <a:pt x="441" y="1171"/>
                  </a:lnTo>
                  <a:lnTo>
                    <a:pt x="450" y="1182"/>
                  </a:lnTo>
                  <a:lnTo>
                    <a:pt x="450" y="1182"/>
                  </a:lnTo>
                  <a:lnTo>
                    <a:pt x="453" y="1188"/>
                  </a:lnTo>
                  <a:lnTo>
                    <a:pt x="456" y="1194"/>
                  </a:lnTo>
                  <a:lnTo>
                    <a:pt x="457" y="1206"/>
                  </a:lnTo>
                  <a:lnTo>
                    <a:pt x="457" y="1206"/>
                  </a:lnTo>
                  <a:lnTo>
                    <a:pt x="457" y="1213"/>
                  </a:lnTo>
                  <a:lnTo>
                    <a:pt x="462" y="1222"/>
                  </a:lnTo>
                  <a:lnTo>
                    <a:pt x="462" y="1222"/>
                  </a:lnTo>
                  <a:lnTo>
                    <a:pt x="474" y="1238"/>
                  </a:lnTo>
                  <a:lnTo>
                    <a:pt x="489" y="1251"/>
                  </a:lnTo>
                  <a:lnTo>
                    <a:pt x="489" y="1251"/>
                  </a:lnTo>
                  <a:lnTo>
                    <a:pt x="494" y="1259"/>
                  </a:lnTo>
                  <a:lnTo>
                    <a:pt x="499" y="1265"/>
                  </a:lnTo>
                  <a:lnTo>
                    <a:pt x="500" y="1271"/>
                  </a:lnTo>
                  <a:lnTo>
                    <a:pt x="500" y="1272"/>
                  </a:lnTo>
                  <a:lnTo>
                    <a:pt x="499" y="1275"/>
                  </a:lnTo>
                  <a:lnTo>
                    <a:pt x="499" y="1275"/>
                  </a:lnTo>
                  <a:lnTo>
                    <a:pt x="496" y="1277"/>
                  </a:lnTo>
                  <a:lnTo>
                    <a:pt x="491" y="1277"/>
                  </a:lnTo>
                  <a:lnTo>
                    <a:pt x="477" y="1278"/>
                  </a:lnTo>
                  <a:lnTo>
                    <a:pt x="462" y="1280"/>
                  </a:lnTo>
                  <a:lnTo>
                    <a:pt x="450" y="1283"/>
                  </a:lnTo>
                  <a:lnTo>
                    <a:pt x="450" y="1283"/>
                  </a:lnTo>
                  <a:lnTo>
                    <a:pt x="443" y="1284"/>
                  </a:lnTo>
                  <a:lnTo>
                    <a:pt x="432" y="1286"/>
                  </a:lnTo>
                  <a:lnTo>
                    <a:pt x="416" y="1288"/>
                  </a:lnTo>
                  <a:lnTo>
                    <a:pt x="416" y="1288"/>
                  </a:lnTo>
                  <a:lnTo>
                    <a:pt x="409" y="1290"/>
                  </a:lnTo>
                  <a:lnTo>
                    <a:pt x="404" y="1293"/>
                  </a:lnTo>
                  <a:lnTo>
                    <a:pt x="401" y="1294"/>
                  </a:lnTo>
                  <a:lnTo>
                    <a:pt x="401" y="1297"/>
                  </a:lnTo>
                  <a:lnTo>
                    <a:pt x="403" y="1300"/>
                  </a:lnTo>
                  <a:lnTo>
                    <a:pt x="404" y="1303"/>
                  </a:lnTo>
                  <a:lnTo>
                    <a:pt x="404" y="1303"/>
                  </a:lnTo>
                  <a:lnTo>
                    <a:pt x="409" y="1308"/>
                  </a:lnTo>
                  <a:lnTo>
                    <a:pt x="412" y="1314"/>
                  </a:lnTo>
                  <a:lnTo>
                    <a:pt x="414" y="1320"/>
                  </a:lnTo>
                  <a:lnTo>
                    <a:pt x="417" y="1324"/>
                  </a:lnTo>
                  <a:lnTo>
                    <a:pt x="417" y="1324"/>
                  </a:lnTo>
                  <a:lnTo>
                    <a:pt x="422" y="1328"/>
                  </a:lnTo>
                  <a:lnTo>
                    <a:pt x="422" y="1333"/>
                  </a:lnTo>
                  <a:lnTo>
                    <a:pt x="417" y="1337"/>
                  </a:lnTo>
                  <a:lnTo>
                    <a:pt x="412" y="1342"/>
                  </a:lnTo>
                  <a:lnTo>
                    <a:pt x="412" y="1342"/>
                  </a:lnTo>
                  <a:lnTo>
                    <a:pt x="406" y="1346"/>
                  </a:lnTo>
                  <a:lnTo>
                    <a:pt x="398" y="1354"/>
                  </a:lnTo>
                  <a:lnTo>
                    <a:pt x="392" y="1363"/>
                  </a:lnTo>
                  <a:lnTo>
                    <a:pt x="391" y="1367"/>
                  </a:lnTo>
                  <a:lnTo>
                    <a:pt x="391" y="1370"/>
                  </a:lnTo>
                  <a:lnTo>
                    <a:pt x="391" y="1370"/>
                  </a:lnTo>
                  <a:lnTo>
                    <a:pt x="388" y="1383"/>
                  </a:lnTo>
                  <a:lnTo>
                    <a:pt x="386" y="1394"/>
                  </a:lnTo>
                  <a:lnTo>
                    <a:pt x="386" y="1394"/>
                  </a:lnTo>
                  <a:lnTo>
                    <a:pt x="385" y="1403"/>
                  </a:lnTo>
                  <a:lnTo>
                    <a:pt x="383" y="1408"/>
                  </a:lnTo>
                  <a:lnTo>
                    <a:pt x="379" y="1414"/>
                  </a:lnTo>
                  <a:lnTo>
                    <a:pt x="379" y="1414"/>
                  </a:lnTo>
                  <a:lnTo>
                    <a:pt x="358" y="1431"/>
                  </a:lnTo>
                  <a:lnTo>
                    <a:pt x="348" y="1440"/>
                  </a:lnTo>
                  <a:lnTo>
                    <a:pt x="342" y="1445"/>
                  </a:lnTo>
                  <a:lnTo>
                    <a:pt x="342" y="1445"/>
                  </a:lnTo>
                  <a:lnTo>
                    <a:pt x="342" y="1448"/>
                  </a:lnTo>
                  <a:lnTo>
                    <a:pt x="342" y="1451"/>
                  </a:lnTo>
                  <a:lnTo>
                    <a:pt x="345" y="1456"/>
                  </a:lnTo>
                  <a:lnTo>
                    <a:pt x="348" y="1460"/>
                  </a:lnTo>
                  <a:lnTo>
                    <a:pt x="348" y="1460"/>
                  </a:lnTo>
                  <a:lnTo>
                    <a:pt x="352" y="1466"/>
                  </a:lnTo>
                  <a:lnTo>
                    <a:pt x="354" y="1472"/>
                  </a:lnTo>
                  <a:lnTo>
                    <a:pt x="352" y="1478"/>
                  </a:lnTo>
                  <a:lnTo>
                    <a:pt x="351" y="1481"/>
                  </a:lnTo>
                  <a:lnTo>
                    <a:pt x="349" y="1481"/>
                  </a:lnTo>
                  <a:lnTo>
                    <a:pt x="349" y="1481"/>
                  </a:lnTo>
                  <a:lnTo>
                    <a:pt x="345" y="1483"/>
                  </a:lnTo>
                  <a:lnTo>
                    <a:pt x="343" y="1484"/>
                  </a:lnTo>
                  <a:lnTo>
                    <a:pt x="342" y="1488"/>
                  </a:lnTo>
                  <a:lnTo>
                    <a:pt x="343" y="1493"/>
                  </a:lnTo>
                  <a:lnTo>
                    <a:pt x="343" y="1493"/>
                  </a:lnTo>
                  <a:lnTo>
                    <a:pt x="343" y="1499"/>
                  </a:lnTo>
                  <a:lnTo>
                    <a:pt x="342" y="1505"/>
                  </a:lnTo>
                  <a:lnTo>
                    <a:pt x="339" y="1514"/>
                  </a:lnTo>
                  <a:lnTo>
                    <a:pt x="339" y="1514"/>
                  </a:lnTo>
                  <a:lnTo>
                    <a:pt x="339" y="1527"/>
                  </a:lnTo>
                  <a:lnTo>
                    <a:pt x="339" y="1543"/>
                  </a:lnTo>
                  <a:lnTo>
                    <a:pt x="339" y="1543"/>
                  </a:lnTo>
                  <a:lnTo>
                    <a:pt x="339" y="1552"/>
                  </a:lnTo>
                  <a:lnTo>
                    <a:pt x="340" y="1562"/>
                  </a:lnTo>
                  <a:lnTo>
                    <a:pt x="340" y="1562"/>
                  </a:lnTo>
                  <a:lnTo>
                    <a:pt x="342" y="1576"/>
                  </a:lnTo>
                  <a:lnTo>
                    <a:pt x="345" y="1579"/>
                  </a:lnTo>
                  <a:lnTo>
                    <a:pt x="346" y="1576"/>
                  </a:lnTo>
                  <a:lnTo>
                    <a:pt x="346" y="1576"/>
                  </a:lnTo>
                  <a:lnTo>
                    <a:pt x="352" y="1567"/>
                  </a:lnTo>
                  <a:lnTo>
                    <a:pt x="355" y="1564"/>
                  </a:lnTo>
                  <a:lnTo>
                    <a:pt x="358" y="1562"/>
                  </a:lnTo>
                  <a:lnTo>
                    <a:pt x="358" y="1562"/>
                  </a:lnTo>
                  <a:lnTo>
                    <a:pt x="363" y="1562"/>
                  </a:lnTo>
                  <a:lnTo>
                    <a:pt x="366" y="1564"/>
                  </a:lnTo>
                  <a:lnTo>
                    <a:pt x="369" y="1567"/>
                  </a:lnTo>
                  <a:lnTo>
                    <a:pt x="369" y="1571"/>
                  </a:lnTo>
                  <a:lnTo>
                    <a:pt x="369" y="1571"/>
                  </a:lnTo>
                  <a:lnTo>
                    <a:pt x="369" y="1580"/>
                  </a:lnTo>
                  <a:lnTo>
                    <a:pt x="369" y="1583"/>
                  </a:lnTo>
                  <a:lnTo>
                    <a:pt x="372" y="1586"/>
                  </a:lnTo>
                  <a:lnTo>
                    <a:pt x="372" y="1586"/>
                  </a:lnTo>
                  <a:lnTo>
                    <a:pt x="373" y="1588"/>
                  </a:lnTo>
                  <a:lnTo>
                    <a:pt x="374" y="1589"/>
                  </a:lnTo>
                  <a:lnTo>
                    <a:pt x="377" y="1588"/>
                  </a:lnTo>
                  <a:lnTo>
                    <a:pt x="388" y="1579"/>
                  </a:lnTo>
                  <a:lnTo>
                    <a:pt x="388" y="1579"/>
                  </a:lnTo>
                  <a:lnTo>
                    <a:pt x="392" y="1576"/>
                  </a:lnTo>
                  <a:lnTo>
                    <a:pt x="398" y="1576"/>
                  </a:lnTo>
                  <a:lnTo>
                    <a:pt x="404" y="1579"/>
                  </a:lnTo>
                  <a:lnTo>
                    <a:pt x="410" y="1585"/>
                  </a:lnTo>
                  <a:lnTo>
                    <a:pt x="410" y="1585"/>
                  </a:lnTo>
                  <a:lnTo>
                    <a:pt x="426" y="1605"/>
                  </a:lnTo>
                  <a:lnTo>
                    <a:pt x="435" y="1614"/>
                  </a:lnTo>
                  <a:lnTo>
                    <a:pt x="440" y="1623"/>
                  </a:lnTo>
                  <a:lnTo>
                    <a:pt x="440" y="1623"/>
                  </a:lnTo>
                  <a:lnTo>
                    <a:pt x="443" y="1628"/>
                  </a:lnTo>
                  <a:lnTo>
                    <a:pt x="443" y="1632"/>
                  </a:lnTo>
                  <a:lnTo>
                    <a:pt x="441" y="1635"/>
                  </a:lnTo>
                  <a:lnTo>
                    <a:pt x="438" y="1638"/>
                  </a:lnTo>
                  <a:lnTo>
                    <a:pt x="438" y="1638"/>
                  </a:lnTo>
                  <a:lnTo>
                    <a:pt x="435" y="1642"/>
                  </a:lnTo>
                  <a:lnTo>
                    <a:pt x="435" y="1647"/>
                  </a:lnTo>
                  <a:lnTo>
                    <a:pt x="435" y="1651"/>
                  </a:lnTo>
                  <a:lnTo>
                    <a:pt x="437" y="1653"/>
                  </a:lnTo>
                  <a:lnTo>
                    <a:pt x="438" y="1653"/>
                  </a:lnTo>
                  <a:lnTo>
                    <a:pt x="438" y="1653"/>
                  </a:lnTo>
                  <a:lnTo>
                    <a:pt x="443" y="1651"/>
                  </a:lnTo>
                  <a:lnTo>
                    <a:pt x="446" y="1648"/>
                  </a:lnTo>
                  <a:lnTo>
                    <a:pt x="447" y="1648"/>
                  </a:lnTo>
                  <a:lnTo>
                    <a:pt x="449" y="1648"/>
                  </a:lnTo>
                  <a:lnTo>
                    <a:pt x="450" y="1650"/>
                  </a:lnTo>
                  <a:lnTo>
                    <a:pt x="451" y="1653"/>
                  </a:lnTo>
                  <a:lnTo>
                    <a:pt x="451" y="1653"/>
                  </a:lnTo>
                  <a:lnTo>
                    <a:pt x="459" y="1668"/>
                  </a:lnTo>
                  <a:lnTo>
                    <a:pt x="465" y="1678"/>
                  </a:lnTo>
                  <a:lnTo>
                    <a:pt x="465" y="1678"/>
                  </a:lnTo>
                  <a:lnTo>
                    <a:pt x="469" y="1678"/>
                  </a:lnTo>
                  <a:lnTo>
                    <a:pt x="475" y="1678"/>
                  </a:lnTo>
                  <a:lnTo>
                    <a:pt x="481" y="1675"/>
                  </a:lnTo>
                  <a:lnTo>
                    <a:pt x="484" y="1672"/>
                  </a:lnTo>
                  <a:lnTo>
                    <a:pt x="484" y="1672"/>
                  </a:lnTo>
                  <a:lnTo>
                    <a:pt x="486" y="1666"/>
                  </a:lnTo>
                  <a:lnTo>
                    <a:pt x="487" y="1663"/>
                  </a:lnTo>
                  <a:lnTo>
                    <a:pt x="490" y="1662"/>
                  </a:lnTo>
                  <a:lnTo>
                    <a:pt x="490" y="1662"/>
                  </a:lnTo>
                  <a:lnTo>
                    <a:pt x="494" y="1660"/>
                  </a:lnTo>
                  <a:lnTo>
                    <a:pt x="497" y="1659"/>
                  </a:lnTo>
                  <a:lnTo>
                    <a:pt x="500" y="1657"/>
                  </a:lnTo>
                  <a:lnTo>
                    <a:pt x="500" y="1653"/>
                  </a:lnTo>
                  <a:lnTo>
                    <a:pt x="500" y="1653"/>
                  </a:lnTo>
                  <a:lnTo>
                    <a:pt x="497" y="1641"/>
                  </a:lnTo>
                  <a:lnTo>
                    <a:pt x="499" y="1637"/>
                  </a:lnTo>
                  <a:lnTo>
                    <a:pt x="500" y="1635"/>
                  </a:lnTo>
                  <a:lnTo>
                    <a:pt x="502" y="1634"/>
                  </a:lnTo>
                  <a:lnTo>
                    <a:pt x="502" y="1634"/>
                  </a:lnTo>
                  <a:lnTo>
                    <a:pt x="508" y="1635"/>
                  </a:lnTo>
                  <a:lnTo>
                    <a:pt x="514" y="1637"/>
                  </a:lnTo>
                  <a:lnTo>
                    <a:pt x="521" y="1641"/>
                  </a:lnTo>
                  <a:lnTo>
                    <a:pt x="521" y="1641"/>
                  </a:lnTo>
                  <a:lnTo>
                    <a:pt x="526" y="1642"/>
                  </a:lnTo>
                  <a:lnTo>
                    <a:pt x="531" y="1644"/>
                  </a:lnTo>
                  <a:lnTo>
                    <a:pt x="539" y="1642"/>
                  </a:lnTo>
                  <a:lnTo>
                    <a:pt x="542" y="1641"/>
                  </a:lnTo>
                  <a:lnTo>
                    <a:pt x="543" y="1639"/>
                  </a:lnTo>
                  <a:lnTo>
                    <a:pt x="543" y="1639"/>
                  </a:lnTo>
                  <a:lnTo>
                    <a:pt x="545" y="1634"/>
                  </a:lnTo>
                  <a:lnTo>
                    <a:pt x="549" y="1632"/>
                  </a:lnTo>
                  <a:lnTo>
                    <a:pt x="552" y="1631"/>
                  </a:lnTo>
                  <a:lnTo>
                    <a:pt x="557" y="1632"/>
                  </a:lnTo>
                  <a:lnTo>
                    <a:pt x="557" y="1632"/>
                  </a:lnTo>
                  <a:lnTo>
                    <a:pt x="563" y="1632"/>
                  </a:lnTo>
                  <a:lnTo>
                    <a:pt x="568" y="1629"/>
                  </a:lnTo>
                  <a:lnTo>
                    <a:pt x="580" y="1625"/>
                  </a:lnTo>
                  <a:lnTo>
                    <a:pt x="580" y="1625"/>
                  </a:lnTo>
                  <a:lnTo>
                    <a:pt x="585" y="1625"/>
                  </a:lnTo>
                  <a:lnTo>
                    <a:pt x="591" y="1625"/>
                  </a:lnTo>
                  <a:lnTo>
                    <a:pt x="595" y="1626"/>
                  </a:lnTo>
                  <a:lnTo>
                    <a:pt x="597" y="1628"/>
                  </a:lnTo>
                  <a:lnTo>
                    <a:pt x="598" y="1632"/>
                  </a:lnTo>
                  <a:lnTo>
                    <a:pt x="598" y="1632"/>
                  </a:lnTo>
                  <a:lnTo>
                    <a:pt x="601" y="1639"/>
                  </a:lnTo>
                  <a:lnTo>
                    <a:pt x="605" y="1648"/>
                  </a:lnTo>
                  <a:lnTo>
                    <a:pt x="610" y="1653"/>
                  </a:lnTo>
                  <a:lnTo>
                    <a:pt x="613" y="1656"/>
                  </a:lnTo>
                  <a:lnTo>
                    <a:pt x="617" y="1657"/>
                  </a:lnTo>
                  <a:lnTo>
                    <a:pt x="620" y="1657"/>
                  </a:lnTo>
                  <a:lnTo>
                    <a:pt x="620" y="1657"/>
                  </a:lnTo>
                  <a:lnTo>
                    <a:pt x="629" y="1656"/>
                  </a:lnTo>
                  <a:lnTo>
                    <a:pt x="638" y="1656"/>
                  </a:lnTo>
                  <a:lnTo>
                    <a:pt x="647" y="1656"/>
                  </a:lnTo>
                  <a:lnTo>
                    <a:pt x="654" y="1654"/>
                  </a:lnTo>
                  <a:lnTo>
                    <a:pt x="654" y="1654"/>
                  </a:lnTo>
                  <a:lnTo>
                    <a:pt x="662" y="1650"/>
                  </a:lnTo>
                  <a:lnTo>
                    <a:pt x="669" y="1644"/>
                  </a:lnTo>
                  <a:lnTo>
                    <a:pt x="677" y="1638"/>
                  </a:lnTo>
                  <a:lnTo>
                    <a:pt x="681" y="1634"/>
                  </a:lnTo>
                  <a:lnTo>
                    <a:pt x="681" y="1634"/>
                  </a:lnTo>
                  <a:lnTo>
                    <a:pt x="684" y="1629"/>
                  </a:lnTo>
                  <a:lnTo>
                    <a:pt x="688" y="1628"/>
                  </a:lnTo>
                  <a:lnTo>
                    <a:pt x="694" y="1626"/>
                  </a:lnTo>
                  <a:lnTo>
                    <a:pt x="697" y="1628"/>
                  </a:lnTo>
                  <a:lnTo>
                    <a:pt x="697" y="1628"/>
                  </a:lnTo>
                  <a:lnTo>
                    <a:pt x="702" y="1629"/>
                  </a:lnTo>
                  <a:lnTo>
                    <a:pt x="706" y="1631"/>
                  </a:lnTo>
                  <a:lnTo>
                    <a:pt x="712" y="1631"/>
                  </a:lnTo>
                  <a:lnTo>
                    <a:pt x="714" y="1629"/>
                  </a:lnTo>
                  <a:lnTo>
                    <a:pt x="715" y="1628"/>
                  </a:lnTo>
                  <a:lnTo>
                    <a:pt x="715" y="1628"/>
                  </a:lnTo>
                  <a:lnTo>
                    <a:pt x="721" y="1617"/>
                  </a:lnTo>
                  <a:lnTo>
                    <a:pt x="724" y="1611"/>
                  </a:lnTo>
                  <a:lnTo>
                    <a:pt x="725" y="1610"/>
                  </a:lnTo>
                  <a:lnTo>
                    <a:pt x="728" y="1610"/>
                  </a:lnTo>
                  <a:lnTo>
                    <a:pt x="728" y="1610"/>
                  </a:lnTo>
                  <a:lnTo>
                    <a:pt x="733" y="1608"/>
                  </a:lnTo>
                  <a:lnTo>
                    <a:pt x="736" y="1610"/>
                  </a:lnTo>
                  <a:lnTo>
                    <a:pt x="742" y="1614"/>
                  </a:lnTo>
                  <a:lnTo>
                    <a:pt x="742" y="1614"/>
                  </a:lnTo>
                  <a:lnTo>
                    <a:pt x="746" y="1619"/>
                  </a:lnTo>
                  <a:lnTo>
                    <a:pt x="748" y="1625"/>
                  </a:lnTo>
                  <a:lnTo>
                    <a:pt x="749" y="1631"/>
                  </a:lnTo>
                  <a:lnTo>
                    <a:pt x="749" y="1635"/>
                  </a:lnTo>
                  <a:lnTo>
                    <a:pt x="749" y="1635"/>
                  </a:lnTo>
                  <a:lnTo>
                    <a:pt x="742" y="1647"/>
                  </a:lnTo>
                  <a:lnTo>
                    <a:pt x="733" y="1659"/>
                  </a:lnTo>
                  <a:lnTo>
                    <a:pt x="725" y="1671"/>
                  </a:lnTo>
                  <a:lnTo>
                    <a:pt x="725" y="1671"/>
                  </a:lnTo>
                  <a:lnTo>
                    <a:pt x="731" y="1677"/>
                  </a:lnTo>
                  <a:lnTo>
                    <a:pt x="736" y="1685"/>
                  </a:lnTo>
                  <a:lnTo>
                    <a:pt x="743" y="1700"/>
                  </a:lnTo>
                  <a:lnTo>
                    <a:pt x="743" y="1700"/>
                  </a:lnTo>
                  <a:lnTo>
                    <a:pt x="746" y="1705"/>
                  </a:lnTo>
                  <a:lnTo>
                    <a:pt x="748" y="1706"/>
                  </a:lnTo>
                  <a:lnTo>
                    <a:pt x="754" y="1709"/>
                  </a:lnTo>
                  <a:lnTo>
                    <a:pt x="759" y="1709"/>
                  </a:lnTo>
                  <a:lnTo>
                    <a:pt x="762" y="1711"/>
                  </a:lnTo>
                  <a:lnTo>
                    <a:pt x="762" y="1711"/>
                  </a:lnTo>
                  <a:lnTo>
                    <a:pt x="764" y="1714"/>
                  </a:lnTo>
                  <a:lnTo>
                    <a:pt x="762" y="1719"/>
                  </a:lnTo>
                  <a:lnTo>
                    <a:pt x="752" y="1740"/>
                  </a:lnTo>
                  <a:lnTo>
                    <a:pt x="752" y="1740"/>
                  </a:lnTo>
                  <a:lnTo>
                    <a:pt x="748" y="1752"/>
                  </a:lnTo>
                  <a:lnTo>
                    <a:pt x="746" y="1762"/>
                  </a:lnTo>
                  <a:lnTo>
                    <a:pt x="748" y="1771"/>
                  </a:lnTo>
                  <a:lnTo>
                    <a:pt x="752" y="1783"/>
                  </a:lnTo>
                  <a:lnTo>
                    <a:pt x="752" y="1783"/>
                  </a:lnTo>
                  <a:lnTo>
                    <a:pt x="759" y="1798"/>
                  </a:lnTo>
                  <a:lnTo>
                    <a:pt x="762" y="1811"/>
                  </a:lnTo>
                  <a:lnTo>
                    <a:pt x="762" y="1811"/>
                  </a:lnTo>
                  <a:lnTo>
                    <a:pt x="765" y="1822"/>
                  </a:lnTo>
                  <a:lnTo>
                    <a:pt x="768" y="1826"/>
                  </a:lnTo>
                  <a:lnTo>
                    <a:pt x="771" y="1829"/>
                  </a:lnTo>
                  <a:lnTo>
                    <a:pt x="771" y="1835"/>
                  </a:lnTo>
                  <a:lnTo>
                    <a:pt x="771" y="1835"/>
                  </a:lnTo>
                  <a:lnTo>
                    <a:pt x="771" y="1842"/>
                  </a:lnTo>
                  <a:lnTo>
                    <a:pt x="770" y="1851"/>
                  </a:lnTo>
                  <a:lnTo>
                    <a:pt x="770" y="1851"/>
                  </a:lnTo>
                  <a:lnTo>
                    <a:pt x="782" y="1844"/>
                  </a:lnTo>
                  <a:lnTo>
                    <a:pt x="795" y="1835"/>
                  </a:lnTo>
                  <a:lnTo>
                    <a:pt x="795" y="1835"/>
                  </a:lnTo>
                  <a:lnTo>
                    <a:pt x="807" y="1825"/>
                  </a:lnTo>
                  <a:lnTo>
                    <a:pt x="813" y="1819"/>
                  </a:lnTo>
                  <a:lnTo>
                    <a:pt x="816" y="1813"/>
                  </a:lnTo>
                  <a:lnTo>
                    <a:pt x="816" y="1813"/>
                  </a:lnTo>
                  <a:lnTo>
                    <a:pt x="816" y="1811"/>
                  </a:lnTo>
                  <a:lnTo>
                    <a:pt x="816" y="1808"/>
                  </a:lnTo>
                  <a:lnTo>
                    <a:pt x="811" y="1801"/>
                  </a:lnTo>
                  <a:lnTo>
                    <a:pt x="808" y="1795"/>
                  </a:lnTo>
                  <a:lnTo>
                    <a:pt x="807" y="1792"/>
                  </a:lnTo>
                  <a:lnTo>
                    <a:pt x="807" y="1791"/>
                  </a:lnTo>
                  <a:lnTo>
                    <a:pt x="807" y="1791"/>
                  </a:lnTo>
                  <a:lnTo>
                    <a:pt x="807" y="1785"/>
                  </a:lnTo>
                  <a:lnTo>
                    <a:pt x="805" y="1777"/>
                  </a:lnTo>
                  <a:lnTo>
                    <a:pt x="805" y="1777"/>
                  </a:lnTo>
                  <a:lnTo>
                    <a:pt x="804" y="1771"/>
                  </a:lnTo>
                  <a:lnTo>
                    <a:pt x="804" y="1765"/>
                  </a:lnTo>
                  <a:lnTo>
                    <a:pt x="805" y="1759"/>
                  </a:lnTo>
                  <a:lnTo>
                    <a:pt x="807" y="1758"/>
                  </a:lnTo>
                  <a:lnTo>
                    <a:pt x="808" y="1758"/>
                  </a:lnTo>
                  <a:lnTo>
                    <a:pt x="808" y="1758"/>
                  </a:lnTo>
                  <a:lnTo>
                    <a:pt x="819" y="1759"/>
                  </a:lnTo>
                  <a:lnTo>
                    <a:pt x="823" y="1758"/>
                  </a:lnTo>
                  <a:lnTo>
                    <a:pt x="825" y="1755"/>
                  </a:lnTo>
                  <a:lnTo>
                    <a:pt x="825" y="1755"/>
                  </a:lnTo>
                  <a:lnTo>
                    <a:pt x="831" y="1742"/>
                  </a:lnTo>
                  <a:lnTo>
                    <a:pt x="834" y="1737"/>
                  </a:lnTo>
                  <a:lnTo>
                    <a:pt x="836" y="1737"/>
                  </a:lnTo>
                  <a:lnTo>
                    <a:pt x="838" y="1737"/>
                  </a:lnTo>
                  <a:lnTo>
                    <a:pt x="838" y="1737"/>
                  </a:lnTo>
                  <a:lnTo>
                    <a:pt x="848" y="1742"/>
                  </a:lnTo>
                  <a:lnTo>
                    <a:pt x="853" y="1745"/>
                  </a:lnTo>
                  <a:lnTo>
                    <a:pt x="854" y="1749"/>
                  </a:lnTo>
                  <a:lnTo>
                    <a:pt x="854" y="1749"/>
                  </a:lnTo>
                  <a:lnTo>
                    <a:pt x="856" y="1759"/>
                  </a:lnTo>
                  <a:lnTo>
                    <a:pt x="857" y="1762"/>
                  </a:lnTo>
                  <a:lnTo>
                    <a:pt x="859" y="1762"/>
                  </a:lnTo>
                  <a:lnTo>
                    <a:pt x="860" y="1762"/>
                  </a:lnTo>
                  <a:lnTo>
                    <a:pt x="860" y="1762"/>
                  </a:lnTo>
                  <a:lnTo>
                    <a:pt x="863" y="1761"/>
                  </a:lnTo>
                  <a:lnTo>
                    <a:pt x="866" y="1756"/>
                  </a:lnTo>
                  <a:lnTo>
                    <a:pt x="868" y="1754"/>
                  </a:lnTo>
                  <a:lnTo>
                    <a:pt x="872" y="1751"/>
                  </a:lnTo>
                  <a:lnTo>
                    <a:pt x="872" y="1751"/>
                  </a:lnTo>
                  <a:lnTo>
                    <a:pt x="876" y="1749"/>
                  </a:lnTo>
                  <a:lnTo>
                    <a:pt x="881" y="1751"/>
                  </a:lnTo>
                  <a:lnTo>
                    <a:pt x="885" y="1751"/>
                  </a:lnTo>
                  <a:lnTo>
                    <a:pt x="893" y="1748"/>
                  </a:lnTo>
                  <a:lnTo>
                    <a:pt x="893" y="1748"/>
                  </a:lnTo>
                  <a:lnTo>
                    <a:pt x="896" y="1746"/>
                  </a:lnTo>
                  <a:lnTo>
                    <a:pt x="897" y="1743"/>
                  </a:lnTo>
                  <a:lnTo>
                    <a:pt x="900" y="1740"/>
                  </a:lnTo>
                  <a:lnTo>
                    <a:pt x="903" y="1736"/>
                  </a:lnTo>
                  <a:lnTo>
                    <a:pt x="906" y="1736"/>
                  </a:lnTo>
                  <a:lnTo>
                    <a:pt x="911" y="1736"/>
                  </a:lnTo>
                  <a:lnTo>
                    <a:pt x="911" y="1736"/>
                  </a:lnTo>
                  <a:lnTo>
                    <a:pt x="927" y="1734"/>
                  </a:lnTo>
                  <a:lnTo>
                    <a:pt x="931" y="1733"/>
                  </a:lnTo>
                  <a:lnTo>
                    <a:pt x="934" y="1731"/>
                  </a:lnTo>
                  <a:lnTo>
                    <a:pt x="934" y="1731"/>
                  </a:lnTo>
                  <a:lnTo>
                    <a:pt x="933" y="1728"/>
                  </a:lnTo>
                  <a:lnTo>
                    <a:pt x="931" y="1724"/>
                  </a:lnTo>
                  <a:lnTo>
                    <a:pt x="930" y="1721"/>
                  </a:lnTo>
                  <a:lnTo>
                    <a:pt x="931" y="1719"/>
                  </a:lnTo>
                  <a:lnTo>
                    <a:pt x="933" y="1718"/>
                  </a:lnTo>
                  <a:lnTo>
                    <a:pt x="933" y="1718"/>
                  </a:lnTo>
                  <a:lnTo>
                    <a:pt x="942" y="1715"/>
                  </a:lnTo>
                  <a:lnTo>
                    <a:pt x="943" y="1714"/>
                  </a:lnTo>
                  <a:lnTo>
                    <a:pt x="945" y="1708"/>
                  </a:lnTo>
                  <a:lnTo>
                    <a:pt x="945" y="1708"/>
                  </a:lnTo>
                  <a:lnTo>
                    <a:pt x="946" y="1696"/>
                  </a:lnTo>
                  <a:lnTo>
                    <a:pt x="946" y="1693"/>
                  </a:lnTo>
                  <a:lnTo>
                    <a:pt x="945" y="1688"/>
                  </a:lnTo>
                  <a:lnTo>
                    <a:pt x="945" y="1688"/>
                  </a:lnTo>
                  <a:lnTo>
                    <a:pt x="940" y="1687"/>
                  </a:lnTo>
                  <a:lnTo>
                    <a:pt x="937" y="1685"/>
                  </a:lnTo>
                  <a:lnTo>
                    <a:pt x="936" y="1682"/>
                  </a:lnTo>
                  <a:lnTo>
                    <a:pt x="936" y="1679"/>
                  </a:lnTo>
                  <a:lnTo>
                    <a:pt x="936" y="1679"/>
                  </a:lnTo>
                  <a:lnTo>
                    <a:pt x="937" y="1674"/>
                  </a:lnTo>
                  <a:lnTo>
                    <a:pt x="936" y="1669"/>
                  </a:lnTo>
                  <a:lnTo>
                    <a:pt x="934" y="1665"/>
                  </a:lnTo>
                  <a:lnTo>
                    <a:pt x="934" y="1662"/>
                  </a:lnTo>
                  <a:lnTo>
                    <a:pt x="936" y="1660"/>
                  </a:lnTo>
                  <a:lnTo>
                    <a:pt x="936" y="1660"/>
                  </a:lnTo>
                  <a:lnTo>
                    <a:pt x="945" y="1651"/>
                  </a:lnTo>
                  <a:lnTo>
                    <a:pt x="949" y="1647"/>
                  </a:lnTo>
                  <a:lnTo>
                    <a:pt x="952" y="1645"/>
                  </a:lnTo>
                  <a:lnTo>
                    <a:pt x="955" y="1645"/>
                  </a:lnTo>
                  <a:lnTo>
                    <a:pt x="955" y="1645"/>
                  </a:lnTo>
                  <a:lnTo>
                    <a:pt x="965" y="1645"/>
                  </a:lnTo>
                  <a:lnTo>
                    <a:pt x="968" y="1644"/>
                  </a:lnTo>
                  <a:lnTo>
                    <a:pt x="970" y="1641"/>
                  </a:lnTo>
                  <a:lnTo>
                    <a:pt x="970" y="1641"/>
                  </a:lnTo>
                  <a:lnTo>
                    <a:pt x="973" y="1628"/>
                  </a:lnTo>
                  <a:lnTo>
                    <a:pt x="976" y="1622"/>
                  </a:lnTo>
                  <a:lnTo>
                    <a:pt x="977" y="1619"/>
                  </a:lnTo>
                  <a:lnTo>
                    <a:pt x="979" y="1619"/>
                  </a:lnTo>
                  <a:lnTo>
                    <a:pt x="979" y="1619"/>
                  </a:lnTo>
                  <a:lnTo>
                    <a:pt x="983" y="1617"/>
                  </a:lnTo>
                  <a:lnTo>
                    <a:pt x="988" y="1616"/>
                  </a:lnTo>
                  <a:lnTo>
                    <a:pt x="990" y="1613"/>
                  </a:lnTo>
                  <a:lnTo>
                    <a:pt x="993" y="1608"/>
                  </a:lnTo>
                  <a:lnTo>
                    <a:pt x="993" y="1608"/>
                  </a:lnTo>
                  <a:lnTo>
                    <a:pt x="995" y="1605"/>
                  </a:lnTo>
                  <a:lnTo>
                    <a:pt x="996" y="1602"/>
                  </a:lnTo>
                  <a:lnTo>
                    <a:pt x="998" y="1600"/>
                  </a:lnTo>
                  <a:lnTo>
                    <a:pt x="998" y="1597"/>
                  </a:lnTo>
                  <a:lnTo>
                    <a:pt x="998" y="1597"/>
                  </a:lnTo>
                  <a:lnTo>
                    <a:pt x="995" y="1595"/>
                  </a:lnTo>
                  <a:lnTo>
                    <a:pt x="992" y="1594"/>
                  </a:lnTo>
                  <a:lnTo>
                    <a:pt x="989" y="1594"/>
                  </a:lnTo>
                  <a:lnTo>
                    <a:pt x="988" y="1591"/>
                  </a:lnTo>
                  <a:lnTo>
                    <a:pt x="988" y="1591"/>
                  </a:lnTo>
                  <a:lnTo>
                    <a:pt x="986" y="1580"/>
                  </a:lnTo>
                  <a:lnTo>
                    <a:pt x="985" y="1576"/>
                  </a:lnTo>
                  <a:lnTo>
                    <a:pt x="983" y="1576"/>
                  </a:lnTo>
                  <a:lnTo>
                    <a:pt x="980" y="1576"/>
                  </a:lnTo>
                  <a:lnTo>
                    <a:pt x="980" y="1576"/>
                  </a:lnTo>
                  <a:lnTo>
                    <a:pt x="977" y="1579"/>
                  </a:lnTo>
                  <a:lnTo>
                    <a:pt x="976" y="1582"/>
                  </a:lnTo>
                  <a:lnTo>
                    <a:pt x="974" y="1585"/>
                  </a:lnTo>
                  <a:lnTo>
                    <a:pt x="970" y="1586"/>
                  </a:lnTo>
                  <a:lnTo>
                    <a:pt x="970" y="1586"/>
                  </a:lnTo>
                  <a:lnTo>
                    <a:pt x="959" y="1586"/>
                  </a:lnTo>
                  <a:lnTo>
                    <a:pt x="956" y="1586"/>
                  </a:lnTo>
                  <a:lnTo>
                    <a:pt x="953" y="1588"/>
                  </a:lnTo>
                  <a:lnTo>
                    <a:pt x="953" y="1588"/>
                  </a:lnTo>
                  <a:lnTo>
                    <a:pt x="942" y="1592"/>
                  </a:lnTo>
                  <a:lnTo>
                    <a:pt x="936" y="1594"/>
                  </a:lnTo>
                  <a:lnTo>
                    <a:pt x="934" y="1592"/>
                  </a:lnTo>
                  <a:lnTo>
                    <a:pt x="934" y="1592"/>
                  </a:lnTo>
                  <a:lnTo>
                    <a:pt x="934" y="1592"/>
                  </a:lnTo>
                  <a:lnTo>
                    <a:pt x="936" y="1588"/>
                  </a:lnTo>
                  <a:lnTo>
                    <a:pt x="939" y="1585"/>
                  </a:lnTo>
                  <a:lnTo>
                    <a:pt x="940" y="1582"/>
                  </a:lnTo>
                  <a:lnTo>
                    <a:pt x="940" y="1580"/>
                  </a:lnTo>
                  <a:lnTo>
                    <a:pt x="939" y="1580"/>
                  </a:lnTo>
                  <a:lnTo>
                    <a:pt x="939" y="1580"/>
                  </a:lnTo>
                  <a:lnTo>
                    <a:pt x="931" y="1580"/>
                  </a:lnTo>
                  <a:lnTo>
                    <a:pt x="924" y="1582"/>
                  </a:lnTo>
                  <a:lnTo>
                    <a:pt x="915" y="1582"/>
                  </a:lnTo>
                  <a:lnTo>
                    <a:pt x="913" y="1580"/>
                  </a:lnTo>
                  <a:lnTo>
                    <a:pt x="911" y="1579"/>
                  </a:lnTo>
                  <a:lnTo>
                    <a:pt x="911" y="1579"/>
                  </a:lnTo>
                  <a:lnTo>
                    <a:pt x="909" y="1570"/>
                  </a:lnTo>
                  <a:lnTo>
                    <a:pt x="909" y="1560"/>
                  </a:lnTo>
                  <a:lnTo>
                    <a:pt x="911" y="1551"/>
                  </a:lnTo>
                  <a:lnTo>
                    <a:pt x="912" y="1548"/>
                  </a:lnTo>
                  <a:lnTo>
                    <a:pt x="913" y="1546"/>
                  </a:lnTo>
                  <a:lnTo>
                    <a:pt x="913" y="1546"/>
                  </a:lnTo>
                  <a:lnTo>
                    <a:pt x="919" y="1545"/>
                  </a:lnTo>
                  <a:lnTo>
                    <a:pt x="927" y="1542"/>
                  </a:lnTo>
                  <a:lnTo>
                    <a:pt x="933" y="1539"/>
                  </a:lnTo>
                  <a:lnTo>
                    <a:pt x="939" y="1533"/>
                  </a:lnTo>
                  <a:lnTo>
                    <a:pt x="939" y="1533"/>
                  </a:lnTo>
                  <a:lnTo>
                    <a:pt x="948" y="1521"/>
                  </a:lnTo>
                  <a:lnTo>
                    <a:pt x="951" y="1517"/>
                  </a:lnTo>
                  <a:lnTo>
                    <a:pt x="951" y="1512"/>
                  </a:lnTo>
                  <a:lnTo>
                    <a:pt x="951" y="1512"/>
                  </a:lnTo>
                  <a:lnTo>
                    <a:pt x="946" y="1499"/>
                  </a:lnTo>
                  <a:lnTo>
                    <a:pt x="946" y="1493"/>
                  </a:lnTo>
                  <a:lnTo>
                    <a:pt x="948" y="1491"/>
                  </a:lnTo>
                  <a:lnTo>
                    <a:pt x="949" y="1491"/>
                  </a:lnTo>
                  <a:lnTo>
                    <a:pt x="949" y="1491"/>
                  </a:lnTo>
                  <a:lnTo>
                    <a:pt x="953" y="1494"/>
                  </a:lnTo>
                  <a:lnTo>
                    <a:pt x="958" y="1499"/>
                  </a:lnTo>
                  <a:lnTo>
                    <a:pt x="961" y="1502"/>
                  </a:lnTo>
                  <a:lnTo>
                    <a:pt x="965" y="1503"/>
                  </a:lnTo>
                  <a:lnTo>
                    <a:pt x="965" y="1503"/>
                  </a:lnTo>
                  <a:lnTo>
                    <a:pt x="970" y="1503"/>
                  </a:lnTo>
                  <a:lnTo>
                    <a:pt x="974" y="1502"/>
                  </a:lnTo>
                  <a:lnTo>
                    <a:pt x="979" y="1500"/>
                  </a:lnTo>
                  <a:lnTo>
                    <a:pt x="985" y="1500"/>
                  </a:lnTo>
                  <a:lnTo>
                    <a:pt x="985" y="1500"/>
                  </a:lnTo>
                  <a:lnTo>
                    <a:pt x="990" y="1503"/>
                  </a:lnTo>
                  <a:lnTo>
                    <a:pt x="993" y="1506"/>
                  </a:lnTo>
                  <a:lnTo>
                    <a:pt x="995" y="1509"/>
                  </a:lnTo>
                  <a:lnTo>
                    <a:pt x="995" y="1514"/>
                  </a:lnTo>
                  <a:lnTo>
                    <a:pt x="995" y="1514"/>
                  </a:lnTo>
                  <a:lnTo>
                    <a:pt x="993" y="1518"/>
                  </a:lnTo>
                  <a:lnTo>
                    <a:pt x="993" y="1522"/>
                  </a:lnTo>
                  <a:lnTo>
                    <a:pt x="995" y="1524"/>
                  </a:lnTo>
                  <a:lnTo>
                    <a:pt x="999" y="1525"/>
                  </a:lnTo>
                  <a:lnTo>
                    <a:pt x="999" y="1525"/>
                  </a:lnTo>
                  <a:lnTo>
                    <a:pt x="1013" y="1525"/>
                  </a:lnTo>
                  <a:lnTo>
                    <a:pt x="1019" y="1527"/>
                  </a:lnTo>
                  <a:lnTo>
                    <a:pt x="1020" y="1527"/>
                  </a:lnTo>
                  <a:lnTo>
                    <a:pt x="1022" y="1530"/>
                  </a:lnTo>
                  <a:lnTo>
                    <a:pt x="1022" y="1530"/>
                  </a:lnTo>
                  <a:lnTo>
                    <a:pt x="1023" y="1539"/>
                  </a:lnTo>
                  <a:lnTo>
                    <a:pt x="1022" y="1543"/>
                  </a:lnTo>
                  <a:lnTo>
                    <a:pt x="1020" y="1549"/>
                  </a:lnTo>
                  <a:lnTo>
                    <a:pt x="1020" y="1549"/>
                  </a:lnTo>
                  <a:lnTo>
                    <a:pt x="1016" y="1557"/>
                  </a:lnTo>
                  <a:lnTo>
                    <a:pt x="1016" y="1558"/>
                  </a:lnTo>
                  <a:lnTo>
                    <a:pt x="1017" y="1561"/>
                  </a:lnTo>
                  <a:lnTo>
                    <a:pt x="1017" y="1561"/>
                  </a:lnTo>
                  <a:lnTo>
                    <a:pt x="1022" y="1561"/>
                  </a:lnTo>
                  <a:lnTo>
                    <a:pt x="1025" y="1561"/>
                  </a:lnTo>
                  <a:lnTo>
                    <a:pt x="1026" y="1561"/>
                  </a:lnTo>
                  <a:lnTo>
                    <a:pt x="1029" y="1564"/>
                  </a:lnTo>
                  <a:lnTo>
                    <a:pt x="1029" y="1564"/>
                  </a:lnTo>
                  <a:lnTo>
                    <a:pt x="1030" y="1567"/>
                  </a:lnTo>
                  <a:lnTo>
                    <a:pt x="1033" y="1568"/>
                  </a:lnTo>
                  <a:lnTo>
                    <a:pt x="1036" y="1568"/>
                  </a:lnTo>
                  <a:lnTo>
                    <a:pt x="1038" y="1565"/>
                  </a:lnTo>
                  <a:lnTo>
                    <a:pt x="1038" y="1565"/>
                  </a:lnTo>
                  <a:lnTo>
                    <a:pt x="1042" y="1560"/>
                  </a:lnTo>
                  <a:lnTo>
                    <a:pt x="1044" y="1557"/>
                  </a:lnTo>
                  <a:lnTo>
                    <a:pt x="1047" y="1555"/>
                  </a:lnTo>
                  <a:lnTo>
                    <a:pt x="1050" y="1555"/>
                  </a:lnTo>
                  <a:lnTo>
                    <a:pt x="1050" y="1555"/>
                  </a:lnTo>
                  <a:lnTo>
                    <a:pt x="1050" y="1540"/>
                  </a:lnTo>
                  <a:lnTo>
                    <a:pt x="1050" y="1540"/>
                  </a:lnTo>
                  <a:lnTo>
                    <a:pt x="1047" y="1506"/>
                  </a:lnTo>
                  <a:lnTo>
                    <a:pt x="1042" y="1454"/>
                  </a:lnTo>
                  <a:lnTo>
                    <a:pt x="1042" y="1454"/>
                  </a:lnTo>
                  <a:lnTo>
                    <a:pt x="1041" y="1438"/>
                  </a:lnTo>
                  <a:lnTo>
                    <a:pt x="1042" y="1434"/>
                  </a:lnTo>
                  <a:lnTo>
                    <a:pt x="1042" y="1431"/>
                  </a:lnTo>
                  <a:lnTo>
                    <a:pt x="1047" y="1426"/>
                  </a:lnTo>
                  <a:lnTo>
                    <a:pt x="1048" y="1423"/>
                  </a:lnTo>
                  <a:lnTo>
                    <a:pt x="1050" y="1420"/>
                  </a:lnTo>
                  <a:lnTo>
                    <a:pt x="1050" y="1420"/>
                  </a:lnTo>
                  <a:lnTo>
                    <a:pt x="1051" y="1414"/>
                  </a:lnTo>
                  <a:lnTo>
                    <a:pt x="1051" y="1410"/>
                  </a:lnTo>
                  <a:lnTo>
                    <a:pt x="1048" y="1403"/>
                  </a:lnTo>
                  <a:lnTo>
                    <a:pt x="1041" y="1391"/>
                  </a:lnTo>
                  <a:lnTo>
                    <a:pt x="1041" y="1391"/>
                  </a:lnTo>
                  <a:lnTo>
                    <a:pt x="1039" y="1385"/>
                  </a:lnTo>
                  <a:lnTo>
                    <a:pt x="1038" y="1379"/>
                  </a:lnTo>
                  <a:lnTo>
                    <a:pt x="1035" y="1371"/>
                  </a:lnTo>
                  <a:lnTo>
                    <a:pt x="1032" y="1366"/>
                  </a:lnTo>
                  <a:lnTo>
                    <a:pt x="1032" y="1366"/>
                  </a:lnTo>
                  <a:lnTo>
                    <a:pt x="1028" y="1363"/>
                  </a:lnTo>
                  <a:lnTo>
                    <a:pt x="1023" y="1361"/>
                  </a:lnTo>
                  <a:lnTo>
                    <a:pt x="1017" y="1360"/>
                  </a:lnTo>
                  <a:lnTo>
                    <a:pt x="1010" y="1357"/>
                  </a:lnTo>
                  <a:lnTo>
                    <a:pt x="1010" y="1357"/>
                  </a:lnTo>
                  <a:lnTo>
                    <a:pt x="1007" y="1352"/>
                  </a:lnTo>
                  <a:lnTo>
                    <a:pt x="1005" y="1348"/>
                  </a:lnTo>
                  <a:lnTo>
                    <a:pt x="1005" y="1343"/>
                  </a:lnTo>
                  <a:lnTo>
                    <a:pt x="1005" y="1337"/>
                  </a:lnTo>
                  <a:lnTo>
                    <a:pt x="1007" y="1326"/>
                  </a:lnTo>
                  <a:lnTo>
                    <a:pt x="1007" y="1320"/>
                  </a:lnTo>
                  <a:lnTo>
                    <a:pt x="1007" y="1315"/>
                  </a:lnTo>
                  <a:lnTo>
                    <a:pt x="1007" y="1315"/>
                  </a:lnTo>
                  <a:lnTo>
                    <a:pt x="1004" y="1308"/>
                  </a:lnTo>
                  <a:lnTo>
                    <a:pt x="1002" y="1302"/>
                  </a:lnTo>
                  <a:lnTo>
                    <a:pt x="998" y="1296"/>
                  </a:lnTo>
                  <a:lnTo>
                    <a:pt x="992" y="1291"/>
                  </a:lnTo>
                  <a:lnTo>
                    <a:pt x="992" y="1291"/>
                  </a:lnTo>
                  <a:lnTo>
                    <a:pt x="988" y="1290"/>
                  </a:lnTo>
                  <a:lnTo>
                    <a:pt x="985" y="1287"/>
                  </a:lnTo>
                  <a:lnTo>
                    <a:pt x="980" y="1278"/>
                  </a:lnTo>
                  <a:lnTo>
                    <a:pt x="977" y="1269"/>
                  </a:lnTo>
                  <a:lnTo>
                    <a:pt x="977" y="1260"/>
                  </a:lnTo>
                  <a:lnTo>
                    <a:pt x="977" y="1260"/>
                  </a:lnTo>
                  <a:lnTo>
                    <a:pt x="976" y="1256"/>
                  </a:lnTo>
                  <a:lnTo>
                    <a:pt x="974" y="1253"/>
                  </a:lnTo>
                  <a:lnTo>
                    <a:pt x="970" y="1246"/>
                  </a:lnTo>
                  <a:lnTo>
                    <a:pt x="964" y="1241"/>
                  </a:lnTo>
                  <a:lnTo>
                    <a:pt x="958" y="1237"/>
                  </a:lnTo>
                  <a:lnTo>
                    <a:pt x="958" y="1237"/>
                  </a:lnTo>
                  <a:lnTo>
                    <a:pt x="943" y="1225"/>
                  </a:lnTo>
                  <a:lnTo>
                    <a:pt x="930" y="1213"/>
                  </a:lnTo>
                  <a:lnTo>
                    <a:pt x="930" y="1213"/>
                  </a:lnTo>
                  <a:lnTo>
                    <a:pt x="925" y="1207"/>
                  </a:lnTo>
                  <a:lnTo>
                    <a:pt x="921" y="1198"/>
                  </a:lnTo>
                  <a:lnTo>
                    <a:pt x="911" y="1177"/>
                  </a:lnTo>
                  <a:lnTo>
                    <a:pt x="911" y="1177"/>
                  </a:lnTo>
                  <a:lnTo>
                    <a:pt x="908" y="1171"/>
                  </a:lnTo>
                  <a:lnTo>
                    <a:pt x="905" y="1163"/>
                  </a:lnTo>
                  <a:lnTo>
                    <a:pt x="900" y="1143"/>
                  </a:lnTo>
                  <a:lnTo>
                    <a:pt x="893" y="1111"/>
                  </a:lnTo>
                  <a:lnTo>
                    <a:pt x="893" y="1111"/>
                  </a:lnTo>
                  <a:lnTo>
                    <a:pt x="888" y="1075"/>
                  </a:lnTo>
                  <a:lnTo>
                    <a:pt x="885" y="1053"/>
                  </a:lnTo>
                  <a:lnTo>
                    <a:pt x="884" y="1046"/>
                  </a:lnTo>
                  <a:lnTo>
                    <a:pt x="882" y="1040"/>
                  </a:lnTo>
                  <a:lnTo>
                    <a:pt x="882" y="1040"/>
                  </a:lnTo>
                  <a:lnTo>
                    <a:pt x="879" y="1037"/>
                  </a:lnTo>
                  <a:lnTo>
                    <a:pt x="876" y="1034"/>
                  </a:lnTo>
                  <a:lnTo>
                    <a:pt x="868" y="1029"/>
                  </a:lnTo>
                  <a:lnTo>
                    <a:pt x="860" y="1025"/>
                  </a:lnTo>
                  <a:lnTo>
                    <a:pt x="854" y="1022"/>
                  </a:lnTo>
                  <a:lnTo>
                    <a:pt x="854" y="1022"/>
                  </a:lnTo>
                  <a:lnTo>
                    <a:pt x="851" y="1016"/>
                  </a:lnTo>
                  <a:lnTo>
                    <a:pt x="847" y="1009"/>
                  </a:lnTo>
                  <a:lnTo>
                    <a:pt x="842" y="1000"/>
                  </a:lnTo>
                  <a:lnTo>
                    <a:pt x="839" y="994"/>
                  </a:lnTo>
                  <a:lnTo>
                    <a:pt x="839" y="994"/>
                  </a:lnTo>
                  <a:lnTo>
                    <a:pt x="834" y="989"/>
                  </a:lnTo>
                  <a:lnTo>
                    <a:pt x="828" y="986"/>
                  </a:lnTo>
                  <a:lnTo>
                    <a:pt x="814" y="983"/>
                  </a:lnTo>
                  <a:lnTo>
                    <a:pt x="814" y="983"/>
                  </a:lnTo>
                  <a:lnTo>
                    <a:pt x="813" y="982"/>
                  </a:lnTo>
                  <a:lnTo>
                    <a:pt x="811" y="980"/>
                  </a:lnTo>
                  <a:lnTo>
                    <a:pt x="813" y="976"/>
                  </a:lnTo>
                  <a:lnTo>
                    <a:pt x="816" y="970"/>
                  </a:lnTo>
                  <a:lnTo>
                    <a:pt x="817" y="963"/>
                  </a:lnTo>
                  <a:lnTo>
                    <a:pt x="817" y="963"/>
                  </a:lnTo>
                  <a:lnTo>
                    <a:pt x="817" y="960"/>
                  </a:lnTo>
                  <a:lnTo>
                    <a:pt x="816" y="955"/>
                  </a:lnTo>
                  <a:lnTo>
                    <a:pt x="810" y="946"/>
                  </a:lnTo>
                  <a:lnTo>
                    <a:pt x="802" y="937"/>
                  </a:lnTo>
                  <a:lnTo>
                    <a:pt x="797" y="930"/>
                  </a:lnTo>
                  <a:lnTo>
                    <a:pt x="797" y="930"/>
                  </a:lnTo>
                  <a:lnTo>
                    <a:pt x="791" y="929"/>
                  </a:lnTo>
                  <a:lnTo>
                    <a:pt x="783" y="927"/>
                  </a:lnTo>
                  <a:lnTo>
                    <a:pt x="762" y="927"/>
                  </a:lnTo>
                  <a:lnTo>
                    <a:pt x="740" y="929"/>
                  </a:lnTo>
                  <a:lnTo>
                    <a:pt x="724" y="927"/>
                  </a:lnTo>
                  <a:lnTo>
                    <a:pt x="724" y="927"/>
                  </a:lnTo>
                  <a:lnTo>
                    <a:pt x="714" y="923"/>
                  </a:lnTo>
                  <a:lnTo>
                    <a:pt x="702" y="918"/>
                  </a:lnTo>
                  <a:lnTo>
                    <a:pt x="688" y="912"/>
                  </a:lnTo>
                  <a:lnTo>
                    <a:pt x="677" y="906"/>
                  </a:lnTo>
                  <a:lnTo>
                    <a:pt x="677" y="906"/>
                  </a:lnTo>
                  <a:lnTo>
                    <a:pt x="666" y="905"/>
                  </a:lnTo>
                  <a:lnTo>
                    <a:pt x="656" y="905"/>
                  </a:lnTo>
                  <a:lnTo>
                    <a:pt x="647" y="906"/>
                  </a:lnTo>
                  <a:lnTo>
                    <a:pt x="641" y="908"/>
                  </a:lnTo>
                  <a:lnTo>
                    <a:pt x="641" y="908"/>
                  </a:lnTo>
                  <a:lnTo>
                    <a:pt x="640" y="909"/>
                  </a:lnTo>
                  <a:lnTo>
                    <a:pt x="637" y="911"/>
                  </a:lnTo>
                  <a:lnTo>
                    <a:pt x="632" y="920"/>
                  </a:lnTo>
                  <a:lnTo>
                    <a:pt x="628" y="927"/>
                  </a:lnTo>
                  <a:lnTo>
                    <a:pt x="625" y="930"/>
                  </a:lnTo>
                  <a:lnTo>
                    <a:pt x="620" y="932"/>
                  </a:lnTo>
                  <a:lnTo>
                    <a:pt x="620" y="932"/>
                  </a:lnTo>
                  <a:lnTo>
                    <a:pt x="605" y="933"/>
                  </a:lnTo>
                  <a:lnTo>
                    <a:pt x="601" y="936"/>
                  </a:lnTo>
                  <a:lnTo>
                    <a:pt x="600" y="937"/>
                  </a:lnTo>
                  <a:lnTo>
                    <a:pt x="600" y="940"/>
                  </a:lnTo>
                  <a:lnTo>
                    <a:pt x="600" y="940"/>
                  </a:lnTo>
                  <a:lnTo>
                    <a:pt x="600" y="943"/>
                  </a:lnTo>
                  <a:lnTo>
                    <a:pt x="603" y="948"/>
                  </a:lnTo>
                  <a:lnTo>
                    <a:pt x="610" y="960"/>
                  </a:lnTo>
                  <a:lnTo>
                    <a:pt x="628" y="980"/>
                  </a:lnTo>
                  <a:lnTo>
                    <a:pt x="628" y="980"/>
                  </a:lnTo>
                  <a:lnTo>
                    <a:pt x="629" y="985"/>
                  </a:lnTo>
                  <a:lnTo>
                    <a:pt x="631" y="989"/>
                  </a:lnTo>
                  <a:lnTo>
                    <a:pt x="632" y="1001"/>
                  </a:lnTo>
                  <a:lnTo>
                    <a:pt x="631" y="1013"/>
                  </a:lnTo>
                  <a:lnTo>
                    <a:pt x="629" y="1023"/>
                  </a:lnTo>
                  <a:lnTo>
                    <a:pt x="629" y="1023"/>
                  </a:lnTo>
                  <a:lnTo>
                    <a:pt x="628" y="1025"/>
                  </a:lnTo>
                  <a:lnTo>
                    <a:pt x="626" y="1023"/>
                  </a:lnTo>
                  <a:lnTo>
                    <a:pt x="623" y="1014"/>
                  </a:lnTo>
                  <a:lnTo>
                    <a:pt x="617" y="991"/>
                  </a:lnTo>
                  <a:lnTo>
                    <a:pt x="617" y="991"/>
                  </a:lnTo>
                  <a:lnTo>
                    <a:pt x="616" y="982"/>
                  </a:lnTo>
                  <a:lnTo>
                    <a:pt x="613" y="979"/>
                  </a:lnTo>
                  <a:lnTo>
                    <a:pt x="610" y="977"/>
                  </a:lnTo>
                  <a:lnTo>
                    <a:pt x="607" y="979"/>
                  </a:lnTo>
                  <a:lnTo>
                    <a:pt x="607" y="979"/>
                  </a:lnTo>
                  <a:lnTo>
                    <a:pt x="605" y="980"/>
                  </a:lnTo>
                  <a:lnTo>
                    <a:pt x="605" y="985"/>
                  </a:lnTo>
                  <a:lnTo>
                    <a:pt x="605" y="997"/>
                  </a:lnTo>
                  <a:lnTo>
                    <a:pt x="605" y="1010"/>
                  </a:lnTo>
                  <a:lnTo>
                    <a:pt x="605" y="1022"/>
                  </a:lnTo>
                  <a:lnTo>
                    <a:pt x="605" y="1022"/>
                  </a:lnTo>
                  <a:lnTo>
                    <a:pt x="604" y="1026"/>
                  </a:lnTo>
                  <a:lnTo>
                    <a:pt x="601" y="1032"/>
                  </a:lnTo>
                  <a:lnTo>
                    <a:pt x="594" y="1041"/>
                  </a:lnTo>
                  <a:lnTo>
                    <a:pt x="586" y="1050"/>
                  </a:lnTo>
                  <a:lnTo>
                    <a:pt x="580" y="1056"/>
                  </a:lnTo>
                  <a:lnTo>
                    <a:pt x="580" y="1056"/>
                  </a:lnTo>
                  <a:lnTo>
                    <a:pt x="577" y="1059"/>
                  </a:lnTo>
                  <a:lnTo>
                    <a:pt x="574" y="1060"/>
                  </a:lnTo>
                  <a:lnTo>
                    <a:pt x="570" y="1060"/>
                  </a:lnTo>
                  <a:lnTo>
                    <a:pt x="566" y="1059"/>
                  </a:lnTo>
                  <a:lnTo>
                    <a:pt x="564" y="1057"/>
                  </a:lnTo>
                  <a:lnTo>
                    <a:pt x="564" y="1056"/>
                  </a:lnTo>
                  <a:lnTo>
                    <a:pt x="564" y="1056"/>
                  </a:lnTo>
                  <a:lnTo>
                    <a:pt x="567" y="1049"/>
                  </a:lnTo>
                  <a:lnTo>
                    <a:pt x="568" y="1043"/>
                  </a:lnTo>
                  <a:lnTo>
                    <a:pt x="567" y="1038"/>
                  </a:lnTo>
                  <a:lnTo>
                    <a:pt x="567" y="1038"/>
                  </a:lnTo>
                  <a:lnTo>
                    <a:pt x="567" y="1034"/>
                  </a:lnTo>
                  <a:lnTo>
                    <a:pt x="567" y="1029"/>
                  </a:lnTo>
                  <a:lnTo>
                    <a:pt x="571" y="1017"/>
                  </a:lnTo>
                  <a:lnTo>
                    <a:pt x="571" y="1017"/>
                  </a:lnTo>
                  <a:lnTo>
                    <a:pt x="573" y="1010"/>
                  </a:lnTo>
                  <a:lnTo>
                    <a:pt x="571" y="1009"/>
                  </a:lnTo>
                  <a:lnTo>
                    <a:pt x="570" y="1006"/>
                  </a:lnTo>
                  <a:lnTo>
                    <a:pt x="566" y="1004"/>
                  </a:lnTo>
                  <a:lnTo>
                    <a:pt x="558" y="1006"/>
                  </a:lnTo>
                  <a:lnTo>
                    <a:pt x="558" y="1006"/>
                  </a:lnTo>
                  <a:lnTo>
                    <a:pt x="551" y="1007"/>
                  </a:lnTo>
                  <a:lnTo>
                    <a:pt x="546" y="1006"/>
                  </a:lnTo>
                  <a:lnTo>
                    <a:pt x="543" y="1003"/>
                  </a:lnTo>
                  <a:lnTo>
                    <a:pt x="542" y="995"/>
                  </a:lnTo>
                  <a:lnTo>
                    <a:pt x="542" y="995"/>
                  </a:lnTo>
                  <a:lnTo>
                    <a:pt x="540" y="988"/>
                  </a:lnTo>
                  <a:lnTo>
                    <a:pt x="539" y="985"/>
                  </a:lnTo>
                  <a:lnTo>
                    <a:pt x="534" y="985"/>
                  </a:lnTo>
                  <a:lnTo>
                    <a:pt x="526" y="989"/>
                  </a:lnTo>
                  <a:lnTo>
                    <a:pt x="526" y="989"/>
                  </a:lnTo>
                  <a:lnTo>
                    <a:pt x="521" y="992"/>
                  </a:lnTo>
                  <a:lnTo>
                    <a:pt x="520" y="995"/>
                  </a:lnTo>
                  <a:lnTo>
                    <a:pt x="518" y="998"/>
                  </a:lnTo>
                  <a:lnTo>
                    <a:pt x="517" y="1003"/>
                  </a:lnTo>
                  <a:lnTo>
                    <a:pt x="518" y="1009"/>
                  </a:lnTo>
                  <a:lnTo>
                    <a:pt x="520" y="1014"/>
                  </a:lnTo>
                  <a:lnTo>
                    <a:pt x="520" y="1014"/>
                  </a:lnTo>
                  <a:lnTo>
                    <a:pt x="523" y="1020"/>
                  </a:lnTo>
                  <a:lnTo>
                    <a:pt x="527" y="1025"/>
                  </a:lnTo>
                  <a:lnTo>
                    <a:pt x="531" y="1031"/>
                  </a:lnTo>
                  <a:lnTo>
                    <a:pt x="533" y="1034"/>
                  </a:lnTo>
                  <a:lnTo>
                    <a:pt x="533" y="1038"/>
                  </a:lnTo>
                  <a:lnTo>
                    <a:pt x="533" y="1038"/>
                  </a:lnTo>
                  <a:lnTo>
                    <a:pt x="531" y="1043"/>
                  </a:lnTo>
                  <a:lnTo>
                    <a:pt x="528" y="1046"/>
                  </a:lnTo>
                  <a:lnTo>
                    <a:pt x="524" y="1049"/>
                  </a:lnTo>
                  <a:lnTo>
                    <a:pt x="520" y="1050"/>
                  </a:lnTo>
                  <a:lnTo>
                    <a:pt x="520" y="1050"/>
                  </a:lnTo>
                  <a:lnTo>
                    <a:pt x="518" y="1050"/>
                  </a:lnTo>
                  <a:lnTo>
                    <a:pt x="517" y="1049"/>
                  </a:lnTo>
                  <a:lnTo>
                    <a:pt x="512" y="1043"/>
                  </a:lnTo>
                  <a:lnTo>
                    <a:pt x="503" y="1025"/>
                  </a:lnTo>
                  <a:lnTo>
                    <a:pt x="494" y="1003"/>
                  </a:lnTo>
                  <a:lnTo>
                    <a:pt x="487" y="985"/>
                  </a:lnTo>
                  <a:lnTo>
                    <a:pt x="487" y="985"/>
                  </a:lnTo>
                  <a:lnTo>
                    <a:pt x="484" y="980"/>
                  </a:lnTo>
                  <a:lnTo>
                    <a:pt x="481" y="977"/>
                  </a:lnTo>
                  <a:lnTo>
                    <a:pt x="478" y="977"/>
                  </a:lnTo>
                  <a:lnTo>
                    <a:pt x="474" y="979"/>
                  </a:lnTo>
                  <a:lnTo>
                    <a:pt x="466" y="985"/>
                  </a:lnTo>
                  <a:lnTo>
                    <a:pt x="456" y="995"/>
                  </a:lnTo>
                  <a:lnTo>
                    <a:pt x="456" y="995"/>
                  </a:lnTo>
                  <a:lnTo>
                    <a:pt x="450" y="1001"/>
                  </a:lnTo>
                  <a:lnTo>
                    <a:pt x="443" y="1006"/>
                  </a:lnTo>
                  <a:lnTo>
                    <a:pt x="426" y="1014"/>
                  </a:lnTo>
                  <a:lnTo>
                    <a:pt x="410" y="1019"/>
                  </a:lnTo>
                  <a:lnTo>
                    <a:pt x="403" y="1020"/>
                  </a:lnTo>
                  <a:lnTo>
                    <a:pt x="397" y="1020"/>
                  </a:lnTo>
                  <a:lnTo>
                    <a:pt x="397" y="1020"/>
                  </a:lnTo>
                  <a:lnTo>
                    <a:pt x="391" y="1019"/>
                  </a:lnTo>
                  <a:lnTo>
                    <a:pt x="386" y="1016"/>
                  </a:lnTo>
                  <a:lnTo>
                    <a:pt x="383" y="1013"/>
                  </a:lnTo>
                  <a:lnTo>
                    <a:pt x="380" y="1010"/>
                  </a:lnTo>
                  <a:lnTo>
                    <a:pt x="379" y="1003"/>
                  </a:lnTo>
                  <a:lnTo>
                    <a:pt x="377" y="997"/>
                  </a:lnTo>
                  <a:lnTo>
                    <a:pt x="377" y="997"/>
                  </a:lnTo>
                  <a:lnTo>
                    <a:pt x="382" y="982"/>
                  </a:lnTo>
                  <a:lnTo>
                    <a:pt x="391" y="958"/>
                  </a:lnTo>
                  <a:lnTo>
                    <a:pt x="404" y="918"/>
                  </a:lnTo>
                  <a:lnTo>
                    <a:pt x="404" y="918"/>
                  </a:lnTo>
                  <a:lnTo>
                    <a:pt x="409" y="903"/>
                  </a:lnTo>
                  <a:lnTo>
                    <a:pt x="410" y="883"/>
                  </a:lnTo>
                  <a:lnTo>
                    <a:pt x="410" y="883"/>
                  </a:lnTo>
                  <a:lnTo>
                    <a:pt x="412" y="869"/>
                  </a:lnTo>
                  <a:lnTo>
                    <a:pt x="414" y="860"/>
                  </a:lnTo>
                  <a:lnTo>
                    <a:pt x="420" y="846"/>
                  </a:lnTo>
                  <a:lnTo>
                    <a:pt x="420" y="846"/>
                  </a:lnTo>
                  <a:lnTo>
                    <a:pt x="428" y="829"/>
                  </a:lnTo>
                  <a:lnTo>
                    <a:pt x="429" y="820"/>
                  </a:lnTo>
                  <a:lnTo>
                    <a:pt x="429" y="816"/>
                  </a:lnTo>
                  <a:lnTo>
                    <a:pt x="429" y="813"/>
                  </a:lnTo>
                  <a:lnTo>
                    <a:pt x="429" y="813"/>
                  </a:lnTo>
                  <a:lnTo>
                    <a:pt x="428" y="807"/>
                  </a:lnTo>
                  <a:lnTo>
                    <a:pt x="428" y="800"/>
                  </a:lnTo>
                  <a:lnTo>
                    <a:pt x="428" y="778"/>
                  </a:lnTo>
                  <a:lnTo>
                    <a:pt x="429" y="754"/>
                  </a:lnTo>
                  <a:lnTo>
                    <a:pt x="429" y="739"/>
                  </a:lnTo>
                  <a:lnTo>
                    <a:pt x="429" y="739"/>
                  </a:lnTo>
                  <a:lnTo>
                    <a:pt x="428" y="712"/>
                  </a:lnTo>
                  <a:lnTo>
                    <a:pt x="429" y="699"/>
                  </a:lnTo>
                  <a:lnTo>
                    <a:pt x="429" y="690"/>
                  </a:lnTo>
                  <a:lnTo>
                    <a:pt x="429" y="690"/>
                  </a:lnTo>
                  <a:lnTo>
                    <a:pt x="443" y="659"/>
                  </a:lnTo>
                  <a:lnTo>
                    <a:pt x="443" y="659"/>
                  </a:lnTo>
                  <a:lnTo>
                    <a:pt x="444" y="650"/>
                  </a:lnTo>
                  <a:lnTo>
                    <a:pt x="446" y="634"/>
                  </a:lnTo>
                  <a:lnTo>
                    <a:pt x="449" y="604"/>
                  </a:lnTo>
                  <a:lnTo>
                    <a:pt x="449" y="604"/>
                  </a:lnTo>
                  <a:lnTo>
                    <a:pt x="451" y="589"/>
                  </a:lnTo>
                  <a:lnTo>
                    <a:pt x="459" y="573"/>
                  </a:lnTo>
                  <a:lnTo>
                    <a:pt x="459" y="573"/>
                  </a:lnTo>
                  <a:lnTo>
                    <a:pt x="463" y="564"/>
                  </a:lnTo>
                  <a:lnTo>
                    <a:pt x="465" y="557"/>
                  </a:lnTo>
                  <a:lnTo>
                    <a:pt x="463" y="551"/>
                  </a:lnTo>
                  <a:lnTo>
                    <a:pt x="462" y="542"/>
                  </a:lnTo>
                  <a:lnTo>
                    <a:pt x="462" y="542"/>
                  </a:lnTo>
                  <a:lnTo>
                    <a:pt x="457" y="527"/>
                  </a:lnTo>
                  <a:lnTo>
                    <a:pt x="451" y="509"/>
                  </a:lnTo>
                  <a:lnTo>
                    <a:pt x="451" y="509"/>
                  </a:lnTo>
                  <a:lnTo>
                    <a:pt x="450" y="505"/>
                  </a:lnTo>
                  <a:lnTo>
                    <a:pt x="450" y="499"/>
                  </a:lnTo>
                  <a:lnTo>
                    <a:pt x="450" y="492"/>
                  </a:lnTo>
                  <a:lnTo>
                    <a:pt x="457" y="477"/>
                  </a:lnTo>
                  <a:lnTo>
                    <a:pt x="457" y="477"/>
                  </a:lnTo>
                  <a:lnTo>
                    <a:pt x="459" y="468"/>
                  </a:lnTo>
                  <a:lnTo>
                    <a:pt x="460" y="459"/>
                  </a:lnTo>
                  <a:lnTo>
                    <a:pt x="460" y="441"/>
                  </a:lnTo>
                  <a:lnTo>
                    <a:pt x="460" y="441"/>
                  </a:lnTo>
                  <a:lnTo>
                    <a:pt x="459" y="398"/>
                  </a:lnTo>
                  <a:lnTo>
                    <a:pt x="459" y="398"/>
                  </a:lnTo>
                  <a:lnTo>
                    <a:pt x="462" y="378"/>
                  </a:lnTo>
                  <a:lnTo>
                    <a:pt x="466" y="357"/>
                  </a:lnTo>
                  <a:lnTo>
                    <a:pt x="466" y="357"/>
                  </a:lnTo>
                  <a:lnTo>
                    <a:pt x="471" y="350"/>
                  </a:lnTo>
                  <a:lnTo>
                    <a:pt x="478" y="339"/>
                  </a:lnTo>
                  <a:lnTo>
                    <a:pt x="489" y="323"/>
                  </a:lnTo>
                  <a:lnTo>
                    <a:pt x="489" y="323"/>
                  </a:lnTo>
                  <a:lnTo>
                    <a:pt x="496" y="315"/>
                  </a:lnTo>
                  <a:lnTo>
                    <a:pt x="509" y="305"/>
                  </a:lnTo>
                  <a:lnTo>
                    <a:pt x="533" y="287"/>
                  </a:lnTo>
                  <a:lnTo>
                    <a:pt x="533" y="287"/>
                  </a:lnTo>
                  <a:lnTo>
                    <a:pt x="548" y="277"/>
                  </a:lnTo>
                  <a:lnTo>
                    <a:pt x="557" y="270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4" y="259"/>
                  </a:lnTo>
                  <a:lnTo>
                    <a:pt x="564" y="255"/>
                  </a:lnTo>
                  <a:lnTo>
                    <a:pt x="564" y="255"/>
                  </a:lnTo>
                  <a:lnTo>
                    <a:pt x="571" y="247"/>
                  </a:lnTo>
                  <a:lnTo>
                    <a:pt x="580" y="240"/>
                  </a:lnTo>
                  <a:lnTo>
                    <a:pt x="580" y="240"/>
                  </a:lnTo>
                  <a:lnTo>
                    <a:pt x="583" y="237"/>
                  </a:lnTo>
                  <a:lnTo>
                    <a:pt x="586" y="237"/>
                  </a:lnTo>
                  <a:lnTo>
                    <a:pt x="591" y="237"/>
                  </a:lnTo>
                  <a:lnTo>
                    <a:pt x="597" y="238"/>
                  </a:lnTo>
                  <a:lnTo>
                    <a:pt x="597" y="238"/>
                  </a:lnTo>
                  <a:lnTo>
                    <a:pt x="601" y="243"/>
                  </a:lnTo>
                  <a:lnTo>
                    <a:pt x="603" y="247"/>
                  </a:lnTo>
                  <a:lnTo>
                    <a:pt x="605" y="252"/>
                  </a:lnTo>
                  <a:lnTo>
                    <a:pt x="605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16" y="247"/>
                  </a:lnTo>
                  <a:lnTo>
                    <a:pt x="622" y="243"/>
                  </a:lnTo>
                  <a:lnTo>
                    <a:pt x="626" y="238"/>
                  </a:lnTo>
                  <a:lnTo>
                    <a:pt x="626" y="238"/>
                  </a:lnTo>
                  <a:lnTo>
                    <a:pt x="628" y="235"/>
                  </a:lnTo>
                  <a:lnTo>
                    <a:pt x="628" y="234"/>
                  </a:lnTo>
                  <a:lnTo>
                    <a:pt x="626" y="230"/>
                  </a:lnTo>
                  <a:lnTo>
                    <a:pt x="619" y="222"/>
                  </a:lnTo>
                  <a:lnTo>
                    <a:pt x="619" y="222"/>
                  </a:lnTo>
                  <a:lnTo>
                    <a:pt x="617" y="218"/>
                  </a:lnTo>
                  <a:lnTo>
                    <a:pt x="617" y="213"/>
                  </a:lnTo>
                  <a:lnTo>
                    <a:pt x="619" y="204"/>
                  </a:lnTo>
                  <a:lnTo>
                    <a:pt x="619" y="204"/>
                  </a:lnTo>
                  <a:lnTo>
                    <a:pt x="622" y="201"/>
                  </a:lnTo>
                  <a:lnTo>
                    <a:pt x="629" y="198"/>
                  </a:lnTo>
                  <a:lnTo>
                    <a:pt x="637" y="195"/>
                  </a:lnTo>
                  <a:lnTo>
                    <a:pt x="643" y="194"/>
                  </a:lnTo>
                  <a:lnTo>
                    <a:pt x="643" y="194"/>
                  </a:lnTo>
                  <a:lnTo>
                    <a:pt x="659" y="193"/>
                  </a:lnTo>
                  <a:lnTo>
                    <a:pt x="659" y="193"/>
                  </a:lnTo>
                  <a:lnTo>
                    <a:pt x="654" y="184"/>
                  </a:lnTo>
                  <a:lnTo>
                    <a:pt x="651" y="178"/>
                  </a:lnTo>
                  <a:lnTo>
                    <a:pt x="647" y="173"/>
                  </a:lnTo>
                  <a:lnTo>
                    <a:pt x="647" y="173"/>
                  </a:lnTo>
                  <a:lnTo>
                    <a:pt x="643" y="170"/>
                  </a:lnTo>
                  <a:lnTo>
                    <a:pt x="640" y="166"/>
                  </a:lnTo>
                  <a:lnTo>
                    <a:pt x="635" y="157"/>
                  </a:lnTo>
                  <a:lnTo>
                    <a:pt x="635" y="157"/>
                  </a:lnTo>
                  <a:lnTo>
                    <a:pt x="632" y="151"/>
                  </a:lnTo>
                  <a:lnTo>
                    <a:pt x="628" y="147"/>
                  </a:lnTo>
                  <a:lnTo>
                    <a:pt x="625" y="144"/>
                  </a:lnTo>
                  <a:lnTo>
                    <a:pt x="620" y="142"/>
                  </a:lnTo>
                  <a:lnTo>
                    <a:pt x="620" y="142"/>
                  </a:lnTo>
                  <a:lnTo>
                    <a:pt x="617" y="142"/>
                  </a:lnTo>
                  <a:lnTo>
                    <a:pt x="616" y="144"/>
                  </a:lnTo>
                  <a:lnTo>
                    <a:pt x="614" y="145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04" y="145"/>
                  </a:lnTo>
                  <a:lnTo>
                    <a:pt x="598" y="142"/>
                  </a:lnTo>
                  <a:lnTo>
                    <a:pt x="586" y="135"/>
                  </a:lnTo>
                  <a:lnTo>
                    <a:pt x="586" y="135"/>
                  </a:lnTo>
                  <a:lnTo>
                    <a:pt x="579" y="132"/>
                  </a:lnTo>
                  <a:lnTo>
                    <a:pt x="573" y="133"/>
                  </a:lnTo>
                  <a:lnTo>
                    <a:pt x="566" y="135"/>
                  </a:lnTo>
                  <a:lnTo>
                    <a:pt x="561" y="138"/>
                  </a:lnTo>
                  <a:lnTo>
                    <a:pt x="561" y="138"/>
                  </a:lnTo>
                  <a:lnTo>
                    <a:pt x="555" y="141"/>
                  </a:lnTo>
                  <a:lnTo>
                    <a:pt x="551" y="145"/>
                  </a:lnTo>
                  <a:lnTo>
                    <a:pt x="543" y="154"/>
                  </a:lnTo>
                  <a:lnTo>
                    <a:pt x="543" y="154"/>
                  </a:lnTo>
                  <a:lnTo>
                    <a:pt x="537" y="156"/>
                  </a:lnTo>
                  <a:lnTo>
                    <a:pt x="530" y="156"/>
                  </a:lnTo>
                  <a:lnTo>
                    <a:pt x="523" y="154"/>
                  </a:lnTo>
                  <a:lnTo>
                    <a:pt x="517" y="151"/>
                  </a:lnTo>
                  <a:lnTo>
                    <a:pt x="517" y="151"/>
                  </a:lnTo>
                  <a:lnTo>
                    <a:pt x="506" y="145"/>
                  </a:lnTo>
                  <a:lnTo>
                    <a:pt x="505" y="142"/>
                  </a:lnTo>
                  <a:lnTo>
                    <a:pt x="503" y="141"/>
                  </a:lnTo>
                  <a:lnTo>
                    <a:pt x="503" y="141"/>
                  </a:lnTo>
                  <a:lnTo>
                    <a:pt x="503" y="126"/>
                  </a:lnTo>
                  <a:lnTo>
                    <a:pt x="503" y="117"/>
                  </a:lnTo>
                  <a:lnTo>
                    <a:pt x="505" y="110"/>
                  </a:lnTo>
                  <a:lnTo>
                    <a:pt x="505" y="110"/>
                  </a:lnTo>
                  <a:lnTo>
                    <a:pt x="509" y="105"/>
                  </a:lnTo>
                  <a:lnTo>
                    <a:pt x="515" y="99"/>
                  </a:lnTo>
                  <a:lnTo>
                    <a:pt x="526" y="93"/>
                  </a:lnTo>
                  <a:lnTo>
                    <a:pt x="526" y="93"/>
                  </a:lnTo>
                  <a:lnTo>
                    <a:pt x="527" y="92"/>
                  </a:lnTo>
                  <a:lnTo>
                    <a:pt x="527" y="90"/>
                  </a:lnTo>
                  <a:lnTo>
                    <a:pt x="523" y="83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4" y="67"/>
                  </a:lnTo>
                  <a:lnTo>
                    <a:pt x="514" y="61"/>
                  </a:lnTo>
                  <a:lnTo>
                    <a:pt x="515" y="55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47"/>
                  </a:lnTo>
                  <a:lnTo>
                    <a:pt x="512" y="44"/>
                  </a:lnTo>
                  <a:lnTo>
                    <a:pt x="506" y="37"/>
                  </a:lnTo>
                  <a:lnTo>
                    <a:pt x="497" y="31"/>
                  </a:lnTo>
                  <a:lnTo>
                    <a:pt x="487" y="25"/>
                  </a:lnTo>
                  <a:lnTo>
                    <a:pt x="487" y="25"/>
                  </a:lnTo>
                  <a:lnTo>
                    <a:pt x="480" y="19"/>
                  </a:lnTo>
                  <a:lnTo>
                    <a:pt x="472" y="13"/>
                  </a:lnTo>
                  <a:lnTo>
                    <a:pt x="465" y="7"/>
                  </a:lnTo>
                  <a:lnTo>
                    <a:pt x="459" y="6"/>
                  </a:lnTo>
                  <a:lnTo>
                    <a:pt x="453" y="4"/>
                  </a:lnTo>
                  <a:lnTo>
                    <a:pt x="453" y="4"/>
                  </a:lnTo>
                  <a:lnTo>
                    <a:pt x="429" y="0"/>
                  </a:lnTo>
                  <a:lnTo>
                    <a:pt x="420" y="0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10" y="3"/>
                  </a:lnTo>
                  <a:lnTo>
                    <a:pt x="406" y="7"/>
                  </a:lnTo>
                  <a:lnTo>
                    <a:pt x="398" y="18"/>
                  </a:lnTo>
                  <a:lnTo>
                    <a:pt x="398" y="18"/>
                  </a:lnTo>
                  <a:lnTo>
                    <a:pt x="395" y="21"/>
                  </a:lnTo>
                  <a:lnTo>
                    <a:pt x="392" y="22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74" y="27"/>
                  </a:lnTo>
                  <a:lnTo>
                    <a:pt x="364" y="27"/>
                  </a:lnTo>
                  <a:lnTo>
                    <a:pt x="364" y="27"/>
                  </a:lnTo>
                  <a:lnTo>
                    <a:pt x="366" y="47"/>
                  </a:lnTo>
                  <a:lnTo>
                    <a:pt x="366" y="70"/>
                  </a:lnTo>
                  <a:lnTo>
                    <a:pt x="366" y="70"/>
                  </a:lnTo>
                  <a:lnTo>
                    <a:pt x="364" y="76"/>
                  </a:lnTo>
                  <a:lnTo>
                    <a:pt x="364" y="83"/>
                  </a:lnTo>
                  <a:lnTo>
                    <a:pt x="364" y="83"/>
                  </a:lnTo>
                  <a:lnTo>
                    <a:pt x="363" y="87"/>
                  </a:lnTo>
                  <a:lnTo>
                    <a:pt x="361" y="87"/>
                  </a:lnTo>
                  <a:lnTo>
                    <a:pt x="357" y="87"/>
                  </a:lnTo>
                  <a:lnTo>
                    <a:pt x="352" y="87"/>
                  </a:lnTo>
                  <a:lnTo>
                    <a:pt x="352" y="87"/>
                  </a:lnTo>
                  <a:lnTo>
                    <a:pt x="351" y="87"/>
                  </a:lnTo>
                  <a:lnTo>
                    <a:pt x="349" y="87"/>
                  </a:lnTo>
                  <a:lnTo>
                    <a:pt x="349" y="83"/>
                  </a:lnTo>
                  <a:lnTo>
                    <a:pt x="351" y="78"/>
                  </a:lnTo>
                  <a:lnTo>
                    <a:pt x="349" y="74"/>
                  </a:lnTo>
                  <a:lnTo>
                    <a:pt x="349" y="74"/>
                  </a:lnTo>
                  <a:lnTo>
                    <a:pt x="348" y="73"/>
                  </a:lnTo>
                  <a:lnTo>
                    <a:pt x="346" y="73"/>
                  </a:lnTo>
                  <a:lnTo>
                    <a:pt x="342" y="73"/>
                  </a:lnTo>
                  <a:lnTo>
                    <a:pt x="337" y="76"/>
                  </a:lnTo>
                  <a:lnTo>
                    <a:pt x="335" y="78"/>
                  </a:lnTo>
                  <a:lnTo>
                    <a:pt x="335" y="78"/>
                  </a:lnTo>
                  <a:lnTo>
                    <a:pt x="333" y="81"/>
                  </a:lnTo>
                  <a:lnTo>
                    <a:pt x="333" y="84"/>
                  </a:lnTo>
                  <a:lnTo>
                    <a:pt x="333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26" y="83"/>
                  </a:lnTo>
                  <a:lnTo>
                    <a:pt x="321" y="81"/>
                  </a:lnTo>
                  <a:lnTo>
                    <a:pt x="317" y="80"/>
                  </a:lnTo>
                  <a:lnTo>
                    <a:pt x="317" y="80"/>
                  </a:lnTo>
                  <a:lnTo>
                    <a:pt x="314" y="81"/>
                  </a:lnTo>
                  <a:lnTo>
                    <a:pt x="312" y="83"/>
                  </a:lnTo>
                  <a:lnTo>
                    <a:pt x="311" y="84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06" y="83"/>
                  </a:lnTo>
                  <a:lnTo>
                    <a:pt x="303" y="86"/>
                  </a:lnTo>
                  <a:lnTo>
                    <a:pt x="300" y="89"/>
                  </a:lnTo>
                  <a:lnTo>
                    <a:pt x="300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9" y="102"/>
                  </a:lnTo>
                  <a:lnTo>
                    <a:pt x="296" y="105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87" y="111"/>
                  </a:lnTo>
                  <a:lnTo>
                    <a:pt x="284" y="116"/>
                  </a:lnTo>
                  <a:lnTo>
                    <a:pt x="283" y="121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78" y="124"/>
                  </a:lnTo>
                  <a:lnTo>
                    <a:pt x="275" y="124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62" y="118"/>
                  </a:lnTo>
                  <a:lnTo>
                    <a:pt x="259" y="118"/>
                  </a:lnTo>
                  <a:lnTo>
                    <a:pt x="256" y="120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41" y="129"/>
                  </a:lnTo>
                  <a:lnTo>
                    <a:pt x="241" y="129"/>
                  </a:lnTo>
                  <a:lnTo>
                    <a:pt x="234" y="129"/>
                  </a:lnTo>
                  <a:lnTo>
                    <a:pt x="222" y="127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182" y="120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66" y="121"/>
                  </a:lnTo>
                  <a:lnTo>
                    <a:pt x="166" y="124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72" y="156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8" y="172"/>
                  </a:lnTo>
                  <a:lnTo>
                    <a:pt x="179" y="179"/>
                  </a:lnTo>
                  <a:lnTo>
                    <a:pt x="179" y="187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204"/>
                  </a:lnTo>
                  <a:lnTo>
                    <a:pt x="178" y="215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81" y="243"/>
                  </a:lnTo>
                  <a:lnTo>
                    <a:pt x="183" y="249"/>
                  </a:lnTo>
                  <a:lnTo>
                    <a:pt x="183" y="249"/>
                  </a:lnTo>
                  <a:lnTo>
                    <a:pt x="183" y="253"/>
                  </a:lnTo>
                  <a:lnTo>
                    <a:pt x="183" y="255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3" y="271"/>
                  </a:lnTo>
                  <a:lnTo>
                    <a:pt x="172" y="275"/>
                  </a:lnTo>
                  <a:lnTo>
                    <a:pt x="172" y="278"/>
                  </a:lnTo>
                  <a:lnTo>
                    <a:pt x="172" y="281"/>
                  </a:lnTo>
                  <a:lnTo>
                    <a:pt x="172" y="281"/>
                  </a:lnTo>
                  <a:lnTo>
                    <a:pt x="169" y="295"/>
                  </a:lnTo>
                  <a:lnTo>
                    <a:pt x="167" y="304"/>
                  </a:lnTo>
                  <a:lnTo>
                    <a:pt x="167" y="310"/>
                  </a:lnTo>
                  <a:lnTo>
                    <a:pt x="167" y="310"/>
                  </a:lnTo>
                  <a:lnTo>
                    <a:pt x="167" y="314"/>
                  </a:lnTo>
                  <a:lnTo>
                    <a:pt x="166" y="318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0" y="333"/>
                  </a:lnTo>
                  <a:lnTo>
                    <a:pt x="160" y="338"/>
                  </a:lnTo>
                  <a:lnTo>
                    <a:pt x="161" y="344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70" y="358"/>
                  </a:lnTo>
                  <a:lnTo>
                    <a:pt x="173" y="361"/>
                  </a:lnTo>
                  <a:lnTo>
                    <a:pt x="179" y="364"/>
                  </a:lnTo>
                  <a:lnTo>
                    <a:pt x="179" y="364"/>
                  </a:lnTo>
                  <a:lnTo>
                    <a:pt x="185" y="366"/>
                  </a:lnTo>
                  <a:lnTo>
                    <a:pt x="192" y="370"/>
                  </a:lnTo>
                  <a:lnTo>
                    <a:pt x="197" y="375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206" y="387"/>
                  </a:lnTo>
                  <a:lnTo>
                    <a:pt x="207" y="397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10" y="422"/>
                  </a:lnTo>
                  <a:lnTo>
                    <a:pt x="215" y="428"/>
                  </a:lnTo>
                  <a:lnTo>
                    <a:pt x="219" y="434"/>
                  </a:lnTo>
                  <a:lnTo>
                    <a:pt x="225" y="441"/>
                  </a:lnTo>
                  <a:lnTo>
                    <a:pt x="225" y="441"/>
                  </a:lnTo>
                  <a:lnTo>
                    <a:pt x="231" y="449"/>
                  </a:lnTo>
                  <a:lnTo>
                    <a:pt x="240" y="456"/>
                  </a:lnTo>
                  <a:lnTo>
                    <a:pt x="247" y="461"/>
                  </a:lnTo>
                  <a:lnTo>
                    <a:pt x="252" y="465"/>
                  </a:lnTo>
                  <a:lnTo>
                    <a:pt x="252" y="465"/>
                  </a:lnTo>
                  <a:lnTo>
                    <a:pt x="252" y="468"/>
                  </a:lnTo>
                  <a:lnTo>
                    <a:pt x="252" y="469"/>
                  </a:lnTo>
                  <a:lnTo>
                    <a:pt x="244" y="472"/>
                  </a:lnTo>
                  <a:lnTo>
                    <a:pt x="244" y="472"/>
                  </a:lnTo>
                  <a:lnTo>
                    <a:pt x="241" y="471"/>
                  </a:lnTo>
                  <a:lnTo>
                    <a:pt x="238" y="469"/>
                  </a:lnTo>
                  <a:lnTo>
                    <a:pt x="234" y="462"/>
                  </a:lnTo>
                  <a:lnTo>
                    <a:pt x="234" y="462"/>
                  </a:lnTo>
                  <a:lnTo>
                    <a:pt x="232" y="461"/>
                  </a:lnTo>
                  <a:lnTo>
                    <a:pt x="228" y="461"/>
                  </a:lnTo>
                  <a:lnTo>
                    <a:pt x="225" y="462"/>
                  </a:lnTo>
                  <a:lnTo>
                    <a:pt x="223" y="465"/>
                  </a:lnTo>
                  <a:lnTo>
                    <a:pt x="223" y="465"/>
                  </a:lnTo>
                  <a:lnTo>
                    <a:pt x="220" y="471"/>
                  </a:lnTo>
                  <a:lnTo>
                    <a:pt x="218" y="480"/>
                  </a:lnTo>
                  <a:lnTo>
                    <a:pt x="218" y="480"/>
                  </a:lnTo>
                  <a:lnTo>
                    <a:pt x="215" y="484"/>
                  </a:lnTo>
                  <a:lnTo>
                    <a:pt x="213" y="487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09" y="517"/>
                  </a:lnTo>
                  <a:lnTo>
                    <a:pt x="209" y="517"/>
                  </a:lnTo>
                  <a:lnTo>
                    <a:pt x="207" y="526"/>
                  </a:lnTo>
                  <a:lnTo>
                    <a:pt x="203" y="530"/>
                  </a:lnTo>
                  <a:lnTo>
                    <a:pt x="197" y="533"/>
                  </a:lnTo>
                  <a:lnTo>
                    <a:pt x="191" y="539"/>
                  </a:lnTo>
                  <a:lnTo>
                    <a:pt x="191" y="539"/>
                  </a:lnTo>
                  <a:lnTo>
                    <a:pt x="188" y="544"/>
                  </a:lnTo>
                  <a:lnTo>
                    <a:pt x="185" y="545"/>
                  </a:lnTo>
                  <a:lnTo>
                    <a:pt x="179" y="546"/>
                  </a:lnTo>
                  <a:lnTo>
                    <a:pt x="172" y="548"/>
                  </a:lnTo>
                  <a:lnTo>
                    <a:pt x="163" y="551"/>
                  </a:lnTo>
                  <a:lnTo>
                    <a:pt x="163" y="551"/>
                  </a:lnTo>
                  <a:lnTo>
                    <a:pt x="154" y="554"/>
                  </a:lnTo>
                  <a:lnTo>
                    <a:pt x="145" y="555"/>
                  </a:lnTo>
                  <a:lnTo>
                    <a:pt x="139" y="557"/>
                  </a:lnTo>
                  <a:lnTo>
                    <a:pt x="136" y="558"/>
                  </a:lnTo>
                  <a:lnTo>
                    <a:pt x="136" y="558"/>
                  </a:lnTo>
                  <a:lnTo>
                    <a:pt x="133" y="567"/>
                  </a:lnTo>
                  <a:lnTo>
                    <a:pt x="130" y="579"/>
                  </a:lnTo>
                  <a:lnTo>
                    <a:pt x="126" y="600"/>
                  </a:lnTo>
                  <a:lnTo>
                    <a:pt x="126" y="600"/>
                  </a:lnTo>
                  <a:lnTo>
                    <a:pt x="126" y="606"/>
                  </a:lnTo>
                  <a:lnTo>
                    <a:pt x="124" y="609"/>
                  </a:lnTo>
                  <a:lnTo>
                    <a:pt x="121" y="613"/>
                  </a:lnTo>
                  <a:lnTo>
                    <a:pt x="121" y="613"/>
                  </a:lnTo>
                  <a:lnTo>
                    <a:pt x="118" y="616"/>
                  </a:lnTo>
                  <a:lnTo>
                    <a:pt x="112" y="618"/>
                  </a:lnTo>
                  <a:lnTo>
                    <a:pt x="102" y="622"/>
                  </a:lnTo>
                  <a:lnTo>
                    <a:pt x="102" y="622"/>
                  </a:lnTo>
                  <a:lnTo>
                    <a:pt x="98" y="625"/>
                  </a:lnTo>
                  <a:lnTo>
                    <a:pt x="95" y="628"/>
                  </a:lnTo>
                  <a:lnTo>
                    <a:pt x="92" y="631"/>
                  </a:lnTo>
                  <a:lnTo>
                    <a:pt x="89" y="634"/>
                  </a:lnTo>
                  <a:lnTo>
                    <a:pt x="89" y="634"/>
                  </a:lnTo>
                  <a:lnTo>
                    <a:pt x="83" y="635"/>
                  </a:lnTo>
                  <a:lnTo>
                    <a:pt x="77" y="635"/>
                  </a:lnTo>
                  <a:lnTo>
                    <a:pt x="71" y="637"/>
                  </a:lnTo>
                  <a:lnTo>
                    <a:pt x="62" y="640"/>
                  </a:lnTo>
                  <a:lnTo>
                    <a:pt x="62" y="640"/>
                  </a:lnTo>
                  <a:lnTo>
                    <a:pt x="52" y="644"/>
                  </a:lnTo>
                  <a:lnTo>
                    <a:pt x="41" y="652"/>
                  </a:lnTo>
                  <a:lnTo>
                    <a:pt x="32" y="659"/>
                  </a:lnTo>
                  <a:lnTo>
                    <a:pt x="29" y="662"/>
                  </a:lnTo>
                  <a:lnTo>
                    <a:pt x="28" y="665"/>
                  </a:lnTo>
                  <a:lnTo>
                    <a:pt x="28" y="665"/>
                  </a:lnTo>
                  <a:lnTo>
                    <a:pt x="24" y="677"/>
                  </a:lnTo>
                  <a:lnTo>
                    <a:pt x="21" y="683"/>
                  </a:lnTo>
                  <a:lnTo>
                    <a:pt x="19" y="692"/>
                  </a:lnTo>
                  <a:lnTo>
                    <a:pt x="19" y="692"/>
                  </a:lnTo>
                  <a:lnTo>
                    <a:pt x="18" y="706"/>
                  </a:lnTo>
                  <a:lnTo>
                    <a:pt x="18" y="718"/>
                  </a:lnTo>
                  <a:lnTo>
                    <a:pt x="18" y="718"/>
                  </a:lnTo>
                  <a:lnTo>
                    <a:pt x="19" y="724"/>
                  </a:lnTo>
                  <a:lnTo>
                    <a:pt x="22" y="732"/>
                  </a:lnTo>
                  <a:lnTo>
                    <a:pt x="25" y="743"/>
                  </a:lnTo>
                  <a:lnTo>
                    <a:pt x="25" y="743"/>
                  </a:lnTo>
                  <a:lnTo>
                    <a:pt x="25" y="748"/>
                  </a:lnTo>
                  <a:lnTo>
                    <a:pt x="24" y="752"/>
                  </a:lnTo>
                  <a:lnTo>
                    <a:pt x="21" y="758"/>
                  </a:lnTo>
                  <a:lnTo>
                    <a:pt x="18" y="764"/>
                  </a:lnTo>
                  <a:lnTo>
                    <a:pt x="18" y="764"/>
                  </a:lnTo>
                  <a:lnTo>
                    <a:pt x="16" y="766"/>
                  </a:lnTo>
                  <a:lnTo>
                    <a:pt x="16" y="769"/>
                  </a:lnTo>
                  <a:lnTo>
                    <a:pt x="18" y="772"/>
                  </a:lnTo>
                  <a:lnTo>
                    <a:pt x="22" y="775"/>
                  </a:lnTo>
                  <a:lnTo>
                    <a:pt x="25" y="780"/>
                  </a:lnTo>
                  <a:lnTo>
                    <a:pt x="25" y="780"/>
                  </a:lnTo>
                  <a:lnTo>
                    <a:pt x="27" y="785"/>
                  </a:lnTo>
                  <a:lnTo>
                    <a:pt x="27" y="789"/>
                  </a:lnTo>
                  <a:lnTo>
                    <a:pt x="27" y="792"/>
                  </a:lnTo>
                  <a:lnTo>
                    <a:pt x="27" y="795"/>
                  </a:lnTo>
                  <a:lnTo>
                    <a:pt x="27" y="795"/>
                  </a:lnTo>
                  <a:lnTo>
                    <a:pt x="27" y="803"/>
                  </a:lnTo>
                  <a:lnTo>
                    <a:pt x="27" y="806"/>
                  </a:lnTo>
                  <a:lnTo>
                    <a:pt x="25" y="810"/>
                  </a:lnTo>
                  <a:lnTo>
                    <a:pt x="25" y="810"/>
                  </a:lnTo>
                  <a:lnTo>
                    <a:pt x="24" y="812"/>
                  </a:lnTo>
                  <a:lnTo>
                    <a:pt x="21" y="812"/>
                  </a:lnTo>
                  <a:lnTo>
                    <a:pt x="15" y="812"/>
                  </a:lnTo>
                  <a:lnTo>
                    <a:pt x="7" y="810"/>
                  </a:lnTo>
                  <a:lnTo>
                    <a:pt x="1" y="809"/>
                  </a:lnTo>
                  <a:lnTo>
                    <a:pt x="1" y="809"/>
                  </a:lnTo>
                  <a:lnTo>
                    <a:pt x="0" y="810"/>
                  </a:lnTo>
                  <a:lnTo>
                    <a:pt x="0" y="812"/>
                  </a:lnTo>
                  <a:lnTo>
                    <a:pt x="3" y="818"/>
                  </a:lnTo>
                  <a:lnTo>
                    <a:pt x="9" y="823"/>
                  </a:lnTo>
                  <a:lnTo>
                    <a:pt x="13" y="828"/>
                  </a:lnTo>
                  <a:lnTo>
                    <a:pt x="13" y="828"/>
                  </a:lnTo>
                  <a:lnTo>
                    <a:pt x="31" y="835"/>
                  </a:lnTo>
                  <a:lnTo>
                    <a:pt x="47" y="844"/>
                  </a:lnTo>
                  <a:lnTo>
                    <a:pt x="47" y="844"/>
                  </a:lnTo>
                  <a:lnTo>
                    <a:pt x="50" y="846"/>
                  </a:lnTo>
                  <a:lnTo>
                    <a:pt x="50" y="847"/>
                  </a:lnTo>
                  <a:lnTo>
                    <a:pt x="49" y="850"/>
                  </a:lnTo>
                  <a:lnTo>
                    <a:pt x="46" y="853"/>
                  </a:lnTo>
                  <a:lnTo>
                    <a:pt x="41" y="855"/>
                  </a:lnTo>
                  <a:lnTo>
                    <a:pt x="41" y="855"/>
                  </a:lnTo>
                  <a:lnTo>
                    <a:pt x="38" y="858"/>
                  </a:lnTo>
                  <a:lnTo>
                    <a:pt x="38" y="862"/>
                  </a:lnTo>
                  <a:lnTo>
                    <a:pt x="40" y="872"/>
                  </a:lnTo>
                  <a:lnTo>
                    <a:pt x="40" y="872"/>
                  </a:lnTo>
                  <a:lnTo>
                    <a:pt x="40" y="883"/>
                  </a:lnTo>
                  <a:lnTo>
                    <a:pt x="38" y="887"/>
                  </a:lnTo>
                  <a:lnTo>
                    <a:pt x="37" y="890"/>
                  </a:lnTo>
                  <a:lnTo>
                    <a:pt x="37" y="890"/>
                  </a:lnTo>
                  <a:lnTo>
                    <a:pt x="32" y="893"/>
                  </a:lnTo>
                  <a:lnTo>
                    <a:pt x="27" y="899"/>
                  </a:lnTo>
                  <a:lnTo>
                    <a:pt x="27" y="899"/>
                  </a:lnTo>
                  <a:lnTo>
                    <a:pt x="27" y="900"/>
                  </a:lnTo>
                  <a:lnTo>
                    <a:pt x="28" y="902"/>
                  </a:lnTo>
                  <a:lnTo>
                    <a:pt x="34" y="906"/>
                  </a:lnTo>
                  <a:lnTo>
                    <a:pt x="47" y="912"/>
                  </a:lnTo>
                  <a:lnTo>
                    <a:pt x="68" y="917"/>
                  </a:lnTo>
                  <a:lnTo>
                    <a:pt x="68" y="917"/>
                  </a:lnTo>
                  <a:lnTo>
                    <a:pt x="78" y="920"/>
                  </a:lnTo>
                  <a:lnTo>
                    <a:pt x="86" y="924"/>
                  </a:lnTo>
                  <a:lnTo>
                    <a:pt x="90" y="929"/>
                  </a:lnTo>
                  <a:lnTo>
                    <a:pt x="93" y="933"/>
                  </a:lnTo>
                  <a:lnTo>
                    <a:pt x="95" y="937"/>
                  </a:lnTo>
                  <a:lnTo>
                    <a:pt x="96" y="942"/>
                  </a:lnTo>
                  <a:lnTo>
                    <a:pt x="96" y="949"/>
                  </a:lnTo>
                  <a:lnTo>
                    <a:pt x="96" y="949"/>
                  </a:lnTo>
                  <a:lnTo>
                    <a:pt x="99" y="952"/>
                  </a:lnTo>
                  <a:lnTo>
                    <a:pt x="101" y="954"/>
                  </a:lnTo>
                  <a:lnTo>
                    <a:pt x="104" y="957"/>
                  </a:lnTo>
                  <a:lnTo>
                    <a:pt x="106" y="960"/>
                  </a:lnTo>
                  <a:lnTo>
                    <a:pt x="106" y="960"/>
                  </a:lnTo>
                  <a:lnTo>
                    <a:pt x="106" y="964"/>
                  </a:lnTo>
                  <a:lnTo>
                    <a:pt x="105" y="967"/>
                  </a:lnTo>
                  <a:lnTo>
                    <a:pt x="95" y="975"/>
                  </a:lnTo>
                  <a:lnTo>
                    <a:pt x="95" y="975"/>
                  </a:lnTo>
                  <a:lnTo>
                    <a:pt x="90" y="980"/>
                  </a:lnTo>
                  <a:lnTo>
                    <a:pt x="86" y="986"/>
                  </a:lnTo>
                  <a:lnTo>
                    <a:pt x="84" y="992"/>
                  </a:lnTo>
                  <a:lnTo>
                    <a:pt x="83" y="998"/>
                  </a:lnTo>
                  <a:lnTo>
                    <a:pt x="83" y="998"/>
                  </a:lnTo>
                  <a:lnTo>
                    <a:pt x="83" y="1012"/>
                  </a:lnTo>
                  <a:lnTo>
                    <a:pt x="81" y="1016"/>
                  </a:lnTo>
                  <a:lnTo>
                    <a:pt x="78" y="1019"/>
                  </a:lnTo>
                  <a:lnTo>
                    <a:pt x="78" y="1019"/>
                  </a:lnTo>
                  <a:lnTo>
                    <a:pt x="77" y="1020"/>
                  </a:lnTo>
                  <a:lnTo>
                    <a:pt x="77" y="1023"/>
                  </a:lnTo>
                  <a:lnTo>
                    <a:pt x="78" y="1032"/>
                  </a:lnTo>
                  <a:lnTo>
                    <a:pt x="81" y="1040"/>
                  </a:lnTo>
                  <a:lnTo>
                    <a:pt x="86" y="1046"/>
                  </a:lnTo>
                  <a:lnTo>
                    <a:pt x="86" y="1046"/>
                  </a:lnTo>
                  <a:lnTo>
                    <a:pt x="87" y="1050"/>
                  </a:lnTo>
                  <a:lnTo>
                    <a:pt x="89" y="1053"/>
                  </a:lnTo>
                  <a:lnTo>
                    <a:pt x="90" y="1057"/>
                  </a:lnTo>
                  <a:lnTo>
                    <a:pt x="92" y="1062"/>
                  </a:lnTo>
                  <a:lnTo>
                    <a:pt x="92" y="1062"/>
                  </a:lnTo>
                  <a:lnTo>
                    <a:pt x="98" y="1072"/>
                  </a:lnTo>
                  <a:lnTo>
                    <a:pt x="99" y="1077"/>
                  </a:lnTo>
                  <a:lnTo>
                    <a:pt x="99" y="1077"/>
                  </a:lnTo>
                  <a:lnTo>
                    <a:pt x="104" y="1078"/>
                  </a:lnTo>
                  <a:lnTo>
                    <a:pt x="108" y="1077"/>
                  </a:lnTo>
                  <a:lnTo>
                    <a:pt x="114" y="1075"/>
                  </a:lnTo>
                  <a:lnTo>
                    <a:pt x="121" y="1071"/>
                  </a:lnTo>
                  <a:lnTo>
                    <a:pt x="121" y="1071"/>
                  </a:lnTo>
                  <a:lnTo>
                    <a:pt x="143" y="1056"/>
                  </a:lnTo>
                  <a:lnTo>
                    <a:pt x="160" y="1044"/>
                  </a:lnTo>
                  <a:lnTo>
                    <a:pt x="160" y="1044"/>
                  </a:lnTo>
                  <a:lnTo>
                    <a:pt x="166" y="1038"/>
                  </a:lnTo>
                  <a:lnTo>
                    <a:pt x="170" y="1032"/>
                  </a:lnTo>
                  <a:lnTo>
                    <a:pt x="175" y="1028"/>
                  </a:lnTo>
                  <a:lnTo>
                    <a:pt x="178" y="1026"/>
                  </a:lnTo>
                  <a:lnTo>
                    <a:pt x="181" y="1025"/>
                  </a:lnTo>
                  <a:lnTo>
                    <a:pt x="181" y="1025"/>
                  </a:lnTo>
                  <a:lnTo>
                    <a:pt x="186" y="1025"/>
                  </a:lnTo>
                  <a:lnTo>
                    <a:pt x="191" y="1025"/>
                  </a:lnTo>
                  <a:lnTo>
                    <a:pt x="194" y="1028"/>
                  </a:lnTo>
                  <a:lnTo>
                    <a:pt x="200" y="1031"/>
                  </a:lnTo>
                  <a:lnTo>
                    <a:pt x="200" y="1031"/>
                  </a:lnTo>
                  <a:lnTo>
                    <a:pt x="209" y="1038"/>
                  </a:lnTo>
                  <a:lnTo>
                    <a:pt x="215" y="1040"/>
                  </a:lnTo>
                  <a:lnTo>
                    <a:pt x="219" y="1038"/>
                  </a:lnTo>
                  <a:lnTo>
                    <a:pt x="219" y="1038"/>
                  </a:lnTo>
                  <a:lnTo>
                    <a:pt x="231" y="1038"/>
                  </a:lnTo>
                  <a:lnTo>
                    <a:pt x="235" y="1038"/>
                  </a:lnTo>
                  <a:lnTo>
                    <a:pt x="235" y="1038"/>
                  </a:lnTo>
                  <a:lnTo>
                    <a:pt x="220" y="1050"/>
                  </a:lnTo>
                  <a:lnTo>
                    <a:pt x="209" y="1060"/>
                  </a:lnTo>
                  <a:lnTo>
                    <a:pt x="204" y="1065"/>
                  </a:lnTo>
                  <a:lnTo>
                    <a:pt x="203" y="1066"/>
                  </a:lnTo>
                  <a:lnTo>
                    <a:pt x="203" y="1066"/>
                  </a:lnTo>
                  <a:lnTo>
                    <a:pt x="203" y="1071"/>
                  </a:lnTo>
                  <a:lnTo>
                    <a:pt x="206" y="1075"/>
                  </a:lnTo>
                  <a:lnTo>
                    <a:pt x="207" y="1080"/>
                  </a:lnTo>
                  <a:lnTo>
                    <a:pt x="210" y="1084"/>
                  </a:lnTo>
                  <a:lnTo>
                    <a:pt x="210" y="1084"/>
                  </a:lnTo>
                  <a:lnTo>
                    <a:pt x="209" y="1087"/>
                  </a:lnTo>
                  <a:lnTo>
                    <a:pt x="207" y="1090"/>
                  </a:lnTo>
                  <a:lnTo>
                    <a:pt x="203" y="1094"/>
                  </a:lnTo>
                  <a:lnTo>
                    <a:pt x="200" y="1099"/>
                  </a:lnTo>
                  <a:lnTo>
                    <a:pt x="200" y="1099"/>
                  </a:lnTo>
                  <a:lnTo>
                    <a:pt x="200" y="1103"/>
                  </a:lnTo>
                  <a:lnTo>
                    <a:pt x="200" y="1108"/>
                  </a:lnTo>
                  <a:lnTo>
                    <a:pt x="203" y="1112"/>
                  </a:lnTo>
                  <a:lnTo>
                    <a:pt x="203" y="1115"/>
                  </a:lnTo>
                  <a:lnTo>
                    <a:pt x="203" y="1115"/>
                  </a:lnTo>
                  <a:lnTo>
                    <a:pt x="197" y="1123"/>
                  </a:lnTo>
                  <a:lnTo>
                    <a:pt x="186" y="1137"/>
                  </a:lnTo>
                  <a:lnTo>
                    <a:pt x="181" y="1145"/>
                  </a:lnTo>
                  <a:lnTo>
                    <a:pt x="176" y="1152"/>
                  </a:lnTo>
                  <a:lnTo>
                    <a:pt x="175" y="1158"/>
                  </a:lnTo>
                  <a:lnTo>
                    <a:pt x="175" y="1164"/>
                  </a:lnTo>
                  <a:lnTo>
                    <a:pt x="175" y="1164"/>
                  </a:lnTo>
                  <a:lnTo>
                    <a:pt x="179" y="1173"/>
                  </a:lnTo>
                  <a:lnTo>
                    <a:pt x="183" y="1180"/>
                  </a:lnTo>
                  <a:lnTo>
                    <a:pt x="186" y="1186"/>
                  </a:lnTo>
                  <a:lnTo>
                    <a:pt x="188" y="1191"/>
                  </a:lnTo>
                  <a:lnTo>
                    <a:pt x="188" y="1191"/>
                  </a:lnTo>
                  <a:lnTo>
                    <a:pt x="188" y="1201"/>
                  </a:lnTo>
                  <a:lnTo>
                    <a:pt x="186" y="1206"/>
                  </a:lnTo>
                  <a:lnTo>
                    <a:pt x="185" y="1207"/>
                  </a:lnTo>
                  <a:lnTo>
                    <a:pt x="182" y="1209"/>
                  </a:lnTo>
                  <a:lnTo>
                    <a:pt x="182" y="1209"/>
                  </a:lnTo>
                  <a:lnTo>
                    <a:pt x="175" y="1210"/>
                  </a:lnTo>
                  <a:lnTo>
                    <a:pt x="170" y="1211"/>
                  </a:lnTo>
                  <a:lnTo>
                    <a:pt x="166" y="1216"/>
                  </a:lnTo>
                  <a:lnTo>
                    <a:pt x="164" y="1219"/>
                  </a:lnTo>
                  <a:lnTo>
                    <a:pt x="164" y="1222"/>
                  </a:lnTo>
                  <a:lnTo>
                    <a:pt x="164" y="1222"/>
                  </a:lnTo>
                  <a:lnTo>
                    <a:pt x="164" y="1229"/>
                  </a:lnTo>
                  <a:lnTo>
                    <a:pt x="164" y="1234"/>
                  </a:lnTo>
                  <a:lnTo>
                    <a:pt x="163" y="1240"/>
                  </a:lnTo>
                  <a:lnTo>
                    <a:pt x="164" y="1244"/>
                  </a:lnTo>
                  <a:lnTo>
                    <a:pt x="164" y="1244"/>
                  </a:lnTo>
                  <a:lnTo>
                    <a:pt x="164" y="1250"/>
                  </a:lnTo>
                  <a:lnTo>
                    <a:pt x="164" y="1256"/>
                  </a:lnTo>
                  <a:lnTo>
                    <a:pt x="164" y="1262"/>
                  </a:lnTo>
                  <a:lnTo>
                    <a:pt x="166" y="1263"/>
                  </a:lnTo>
                  <a:lnTo>
                    <a:pt x="167" y="1263"/>
                  </a:lnTo>
                  <a:lnTo>
                    <a:pt x="167" y="1263"/>
                  </a:lnTo>
                  <a:lnTo>
                    <a:pt x="181" y="1265"/>
                  </a:lnTo>
                  <a:lnTo>
                    <a:pt x="192" y="1263"/>
                  </a:lnTo>
                  <a:lnTo>
                    <a:pt x="192" y="1263"/>
                  </a:lnTo>
                  <a:lnTo>
                    <a:pt x="197" y="1263"/>
                  </a:lnTo>
                  <a:lnTo>
                    <a:pt x="201" y="1262"/>
                  </a:lnTo>
                  <a:lnTo>
                    <a:pt x="213" y="1257"/>
                  </a:lnTo>
                  <a:lnTo>
                    <a:pt x="213" y="1257"/>
                  </a:lnTo>
                  <a:lnTo>
                    <a:pt x="219" y="1256"/>
                  </a:lnTo>
                  <a:lnTo>
                    <a:pt x="223" y="1256"/>
                  </a:lnTo>
                  <a:lnTo>
                    <a:pt x="235" y="1257"/>
                  </a:lnTo>
                  <a:lnTo>
                    <a:pt x="240" y="1259"/>
                  </a:lnTo>
                  <a:lnTo>
                    <a:pt x="244" y="1262"/>
                  </a:lnTo>
                  <a:lnTo>
                    <a:pt x="247" y="1265"/>
                  </a:lnTo>
                  <a:lnTo>
                    <a:pt x="250" y="1269"/>
                  </a:lnTo>
                  <a:lnTo>
                    <a:pt x="250" y="1269"/>
                  </a:lnTo>
                  <a:lnTo>
                    <a:pt x="255" y="1283"/>
                  </a:lnTo>
                  <a:lnTo>
                    <a:pt x="258" y="1291"/>
                  </a:lnTo>
                  <a:lnTo>
                    <a:pt x="258" y="1291"/>
                  </a:lnTo>
                  <a:lnTo>
                    <a:pt x="260" y="1294"/>
                  </a:lnTo>
                  <a:lnTo>
                    <a:pt x="265" y="1296"/>
                  </a:lnTo>
                  <a:lnTo>
                    <a:pt x="269" y="1296"/>
                  </a:lnTo>
                  <a:lnTo>
                    <a:pt x="272" y="1296"/>
                  </a:lnTo>
                  <a:lnTo>
                    <a:pt x="274" y="1294"/>
                  </a:lnTo>
                  <a:lnTo>
                    <a:pt x="274" y="1294"/>
                  </a:lnTo>
                  <a:lnTo>
                    <a:pt x="280" y="1286"/>
                  </a:lnTo>
                  <a:lnTo>
                    <a:pt x="283" y="1283"/>
                  </a:lnTo>
                  <a:lnTo>
                    <a:pt x="284" y="1281"/>
                  </a:lnTo>
                  <a:lnTo>
                    <a:pt x="286" y="1283"/>
                  </a:lnTo>
                  <a:lnTo>
                    <a:pt x="286" y="1283"/>
                  </a:lnTo>
                  <a:lnTo>
                    <a:pt x="286" y="1286"/>
                  </a:lnTo>
                  <a:lnTo>
                    <a:pt x="286" y="1290"/>
                  </a:lnTo>
                  <a:lnTo>
                    <a:pt x="286" y="1293"/>
                  </a:lnTo>
                  <a:lnTo>
                    <a:pt x="286" y="1294"/>
                  </a:lnTo>
                  <a:lnTo>
                    <a:pt x="287" y="1294"/>
                  </a:lnTo>
                  <a:lnTo>
                    <a:pt x="287" y="1294"/>
                  </a:lnTo>
                  <a:lnTo>
                    <a:pt x="292" y="1294"/>
                  </a:lnTo>
                  <a:lnTo>
                    <a:pt x="296" y="1294"/>
                  </a:lnTo>
                  <a:lnTo>
                    <a:pt x="300" y="1291"/>
                  </a:lnTo>
                  <a:lnTo>
                    <a:pt x="302" y="1290"/>
                  </a:lnTo>
                  <a:lnTo>
                    <a:pt x="302" y="1288"/>
                  </a:lnTo>
                  <a:lnTo>
                    <a:pt x="302" y="1288"/>
                  </a:lnTo>
                  <a:lnTo>
                    <a:pt x="303" y="1280"/>
                  </a:lnTo>
                  <a:lnTo>
                    <a:pt x="305" y="1277"/>
                  </a:lnTo>
                  <a:lnTo>
                    <a:pt x="309" y="1274"/>
                  </a:lnTo>
                  <a:lnTo>
                    <a:pt x="309" y="1274"/>
                  </a:lnTo>
                  <a:lnTo>
                    <a:pt x="323" y="1266"/>
                  </a:lnTo>
                  <a:lnTo>
                    <a:pt x="333" y="1257"/>
                  </a:lnTo>
                  <a:lnTo>
                    <a:pt x="333" y="1257"/>
                  </a:lnTo>
                  <a:lnTo>
                    <a:pt x="337" y="1251"/>
                  </a:lnTo>
                  <a:lnTo>
                    <a:pt x="340" y="1246"/>
                  </a:lnTo>
                  <a:lnTo>
                    <a:pt x="340" y="1246"/>
                  </a:lnTo>
                  <a:lnTo>
                    <a:pt x="346" y="1241"/>
                  </a:lnTo>
                  <a:lnTo>
                    <a:pt x="354" y="1234"/>
                  </a:lnTo>
                  <a:lnTo>
                    <a:pt x="354" y="1234"/>
                  </a:lnTo>
                  <a:lnTo>
                    <a:pt x="355" y="1229"/>
                  </a:lnTo>
                  <a:lnTo>
                    <a:pt x="357" y="1222"/>
                  </a:lnTo>
                  <a:lnTo>
                    <a:pt x="358" y="1216"/>
                  </a:lnTo>
                  <a:lnTo>
                    <a:pt x="361" y="1210"/>
                  </a:lnTo>
                  <a:lnTo>
                    <a:pt x="361" y="1210"/>
                  </a:lnTo>
                  <a:lnTo>
                    <a:pt x="369" y="1201"/>
                  </a:lnTo>
                  <a:lnTo>
                    <a:pt x="374" y="1198"/>
                  </a:lnTo>
                  <a:lnTo>
                    <a:pt x="380" y="1197"/>
                  </a:lnTo>
                  <a:lnTo>
                    <a:pt x="380" y="119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4" name="Freeform 13">
              <a:extLst>
                <a:ext uri="{FF2B5EF4-FFF2-40B4-BE49-F238E27FC236}">
                  <a16:creationId xmlns:a16="http://schemas.microsoft.com/office/drawing/2014/main" id="{D1B196C3-8EE1-014C-B0AB-3C46C3423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5457825"/>
              <a:ext cx="473075" cy="365125"/>
            </a:xfrm>
            <a:custGeom>
              <a:avLst/>
              <a:gdLst>
                <a:gd name="T0" fmla="*/ 231 w 298"/>
                <a:gd name="T1" fmla="*/ 100 h 230"/>
                <a:gd name="T2" fmla="*/ 224 w 298"/>
                <a:gd name="T3" fmla="*/ 82 h 230"/>
                <a:gd name="T4" fmla="*/ 212 w 298"/>
                <a:gd name="T5" fmla="*/ 68 h 230"/>
                <a:gd name="T6" fmla="*/ 189 w 298"/>
                <a:gd name="T7" fmla="*/ 60 h 230"/>
                <a:gd name="T8" fmla="*/ 176 w 298"/>
                <a:gd name="T9" fmla="*/ 55 h 230"/>
                <a:gd name="T10" fmla="*/ 170 w 298"/>
                <a:gd name="T11" fmla="*/ 40 h 230"/>
                <a:gd name="T12" fmla="*/ 148 w 298"/>
                <a:gd name="T13" fmla="*/ 21 h 230"/>
                <a:gd name="T14" fmla="*/ 144 w 298"/>
                <a:gd name="T15" fmla="*/ 0 h 230"/>
                <a:gd name="T16" fmla="*/ 124 w 298"/>
                <a:gd name="T17" fmla="*/ 28 h 230"/>
                <a:gd name="T18" fmla="*/ 111 w 298"/>
                <a:gd name="T19" fmla="*/ 39 h 230"/>
                <a:gd name="T20" fmla="*/ 84 w 298"/>
                <a:gd name="T21" fmla="*/ 31 h 230"/>
                <a:gd name="T22" fmla="*/ 64 w 298"/>
                <a:gd name="T23" fmla="*/ 28 h 230"/>
                <a:gd name="T24" fmla="*/ 71 w 298"/>
                <a:gd name="T25" fmla="*/ 39 h 230"/>
                <a:gd name="T26" fmla="*/ 64 w 298"/>
                <a:gd name="T27" fmla="*/ 46 h 230"/>
                <a:gd name="T28" fmla="*/ 59 w 298"/>
                <a:gd name="T29" fmla="*/ 61 h 230"/>
                <a:gd name="T30" fmla="*/ 52 w 298"/>
                <a:gd name="T31" fmla="*/ 80 h 230"/>
                <a:gd name="T32" fmla="*/ 50 w 298"/>
                <a:gd name="T33" fmla="*/ 111 h 230"/>
                <a:gd name="T34" fmla="*/ 56 w 298"/>
                <a:gd name="T35" fmla="*/ 128 h 230"/>
                <a:gd name="T36" fmla="*/ 53 w 298"/>
                <a:gd name="T37" fmla="*/ 137 h 230"/>
                <a:gd name="T38" fmla="*/ 41 w 298"/>
                <a:gd name="T39" fmla="*/ 153 h 230"/>
                <a:gd name="T40" fmla="*/ 24 w 298"/>
                <a:gd name="T41" fmla="*/ 160 h 230"/>
                <a:gd name="T42" fmla="*/ 19 w 298"/>
                <a:gd name="T43" fmla="*/ 169 h 230"/>
                <a:gd name="T44" fmla="*/ 4 w 298"/>
                <a:gd name="T45" fmla="*/ 175 h 230"/>
                <a:gd name="T46" fmla="*/ 4 w 298"/>
                <a:gd name="T47" fmla="*/ 191 h 230"/>
                <a:gd name="T48" fmla="*/ 25 w 298"/>
                <a:gd name="T49" fmla="*/ 209 h 230"/>
                <a:gd name="T50" fmla="*/ 41 w 298"/>
                <a:gd name="T51" fmla="*/ 212 h 230"/>
                <a:gd name="T52" fmla="*/ 53 w 298"/>
                <a:gd name="T53" fmla="*/ 208 h 230"/>
                <a:gd name="T54" fmla="*/ 62 w 298"/>
                <a:gd name="T55" fmla="*/ 223 h 230"/>
                <a:gd name="T56" fmla="*/ 78 w 298"/>
                <a:gd name="T57" fmla="*/ 230 h 230"/>
                <a:gd name="T58" fmla="*/ 84 w 298"/>
                <a:gd name="T59" fmla="*/ 225 h 230"/>
                <a:gd name="T60" fmla="*/ 80 w 298"/>
                <a:gd name="T61" fmla="*/ 211 h 230"/>
                <a:gd name="T62" fmla="*/ 89 w 298"/>
                <a:gd name="T63" fmla="*/ 196 h 230"/>
                <a:gd name="T64" fmla="*/ 104 w 298"/>
                <a:gd name="T65" fmla="*/ 174 h 230"/>
                <a:gd name="T66" fmla="*/ 115 w 298"/>
                <a:gd name="T67" fmla="*/ 174 h 230"/>
                <a:gd name="T68" fmla="*/ 149 w 298"/>
                <a:gd name="T69" fmla="*/ 171 h 230"/>
                <a:gd name="T70" fmla="*/ 158 w 298"/>
                <a:gd name="T71" fmla="*/ 159 h 230"/>
                <a:gd name="T72" fmla="*/ 166 w 298"/>
                <a:gd name="T73" fmla="*/ 160 h 230"/>
                <a:gd name="T74" fmla="*/ 176 w 298"/>
                <a:gd name="T75" fmla="*/ 178 h 230"/>
                <a:gd name="T76" fmla="*/ 192 w 298"/>
                <a:gd name="T77" fmla="*/ 184 h 230"/>
                <a:gd name="T78" fmla="*/ 204 w 298"/>
                <a:gd name="T79" fmla="*/ 194 h 230"/>
                <a:gd name="T80" fmla="*/ 216 w 298"/>
                <a:gd name="T81" fmla="*/ 214 h 230"/>
                <a:gd name="T82" fmla="*/ 221 w 298"/>
                <a:gd name="T83" fmla="*/ 225 h 230"/>
                <a:gd name="T84" fmla="*/ 228 w 298"/>
                <a:gd name="T85" fmla="*/ 230 h 230"/>
                <a:gd name="T86" fmla="*/ 238 w 298"/>
                <a:gd name="T87" fmla="*/ 223 h 230"/>
                <a:gd name="T88" fmla="*/ 250 w 298"/>
                <a:gd name="T89" fmla="*/ 228 h 230"/>
                <a:gd name="T90" fmla="*/ 272 w 298"/>
                <a:gd name="T91" fmla="*/ 211 h 230"/>
                <a:gd name="T92" fmla="*/ 283 w 298"/>
                <a:gd name="T93" fmla="*/ 205 h 230"/>
                <a:gd name="T94" fmla="*/ 296 w 298"/>
                <a:gd name="T95" fmla="*/ 185 h 230"/>
                <a:gd name="T96" fmla="*/ 296 w 298"/>
                <a:gd name="T97" fmla="*/ 177 h 230"/>
                <a:gd name="T98" fmla="*/ 286 w 298"/>
                <a:gd name="T99" fmla="*/ 163 h 230"/>
                <a:gd name="T100" fmla="*/ 280 w 298"/>
                <a:gd name="T101" fmla="*/ 144 h 230"/>
                <a:gd name="T102" fmla="*/ 293 w 298"/>
                <a:gd name="T103" fmla="*/ 131 h 230"/>
                <a:gd name="T104" fmla="*/ 289 w 298"/>
                <a:gd name="T105" fmla="*/ 123 h 230"/>
                <a:gd name="T106" fmla="*/ 266 w 298"/>
                <a:gd name="T107" fmla="*/ 108 h 230"/>
                <a:gd name="T108" fmla="*/ 249 w 298"/>
                <a:gd name="T109" fmla="*/ 10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8" h="230">
                  <a:moveTo>
                    <a:pt x="249" y="106"/>
                  </a:moveTo>
                  <a:lnTo>
                    <a:pt x="249" y="106"/>
                  </a:lnTo>
                  <a:lnTo>
                    <a:pt x="235" y="101"/>
                  </a:lnTo>
                  <a:lnTo>
                    <a:pt x="231" y="100"/>
                  </a:lnTo>
                  <a:lnTo>
                    <a:pt x="229" y="97"/>
                  </a:lnTo>
                  <a:lnTo>
                    <a:pt x="229" y="97"/>
                  </a:lnTo>
                  <a:lnTo>
                    <a:pt x="226" y="91"/>
                  </a:lnTo>
                  <a:lnTo>
                    <a:pt x="224" y="82"/>
                  </a:lnTo>
                  <a:lnTo>
                    <a:pt x="218" y="74"/>
                  </a:lnTo>
                  <a:lnTo>
                    <a:pt x="215" y="71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198" y="63"/>
                  </a:lnTo>
                  <a:lnTo>
                    <a:pt x="194" y="60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81" y="60"/>
                  </a:lnTo>
                  <a:lnTo>
                    <a:pt x="178" y="58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75" y="48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0" y="40"/>
                  </a:lnTo>
                  <a:lnTo>
                    <a:pt x="164" y="36"/>
                  </a:lnTo>
                  <a:lnTo>
                    <a:pt x="152" y="24"/>
                  </a:lnTo>
                  <a:lnTo>
                    <a:pt x="152" y="24"/>
                  </a:lnTo>
                  <a:lnTo>
                    <a:pt x="148" y="21"/>
                  </a:lnTo>
                  <a:lnTo>
                    <a:pt x="147" y="18"/>
                  </a:lnTo>
                  <a:lnTo>
                    <a:pt x="144" y="11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35" y="9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4" y="28"/>
                  </a:lnTo>
                  <a:lnTo>
                    <a:pt x="121" y="33"/>
                  </a:lnTo>
                  <a:lnTo>
                    <a:pt x="117" y="37"/>
                  </a:lnTo>
                  <a:lnTo>
                    <a:pt x="117" y="37"/>
                  </a:lnTo>
                  <a:lnTo>
                    <a:pt x="111" y="39"/>
                  </a:lnTo>
                  <a:lnTo>
                    <a:pt x="102" y="37"/>
                  </a:lnTo>
                  <a:lnTo>
                    <a:pt x="92" y="36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1" y="30"/>
                  </a:lnTo>
                  <a:lnTo>
                    <a:pt x="78" y="28"/>
                  </a:lnTo>
                  <a:lnTo>
                    <a:pt x="71" y="27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33"/>
                  </a:lnTo>
                  <a:lnTo>
                    <a:pt x="70" y="36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40"/>
                  </a:lnTo>
                  <a:lnTo>
                    <a:pt x="68" y="42"/>
                  </a:lnTo>
                  <a:lnTo>
                    <a:pt x="64" y="46"/>
                  </a:lnTo>
                  <a:lnTo>
                    <a:pt x="59" y="51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9" y="61"/>
                  </a:lnTo>
                  <a:lnTo>
                    <a:pt x="59" y="66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2" y="80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104"/>
                  </a:lnTo>
                  <a:lnTo>
                    <a:pt x="50" y="111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5" y="122"/>
                  </a:lnTo>
                  <a:lnTo>
                    <a:pt x="56" y="128"/>
                  </a:lnTo>
                  <a:lnTo>
                    <a:pt x="55" y="134"/>
                  </a:lnTo>
                  <a:lnTo>
                    <a:pt x="55" y="135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0" y="140"/>
                  </a:lnTo>
                  <a:lnTo>
                    <a:pt x="47" y="144"/>
                  </a:lnTo>
                  <a:lnTo>
                    <a:pt x="44" y="148"/>
                  </a:lnTo>
                  <a:lnTo>
                    <a:pt x="41" y="153"/>
                  </a:lnTo>
                  <a:lnTo>
                    <a:pt x="41" y="153"/>
                  </a:lnTo>
                  <a:lnTo>
                    <a:pt x="35" y="156"/>
                  </a:lnTo>
                  <a:lnTo>
                    <a:pt x="30" y="157"/>
                  </a:lnTo>
                  <a:lnTo>
                    <a:pt x="24" y="160"/>
                  </a:lnTo>
                  <a:lnTo>
                    <a:pt x="22" y="162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19" y="169"/>
                  </a:lnTo>
                  <a:lnTo>
                    <a:pt x="15" y="174"/>
                  </a:lnTo>
                  <a:lnTo>
                    <a:pt x="12" y="175"/>
                  </a:lnTo>
                  <a:lnTo>
                    <a:pt x="9" y="175"/>
                  </a:lnTo>
                  <a:lnTo>
                    <a:pt x="4" y="175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1" y="184"/>
                  </a:lnTo>
                  <a:lnTo>
                    <a:pt x="4" y="191"/>
                  </a:lnTo>
                  <a:lnTo>
                    <a:pt x="6" y="194"/>
                  </a:lnTo>
                  <a:lnTo>
                    <a:pt x="9" y="197"/>
                  </a:lnTo>
                  <a:lnTo>
                    <a:pt x="9" y="197"/>
                  </a:lnTo>
                  <a:lnTo>
                    <a:pt x="25" y="209"/>
                  </a:lnTo>
                  <a:lnTo>
                    <a:pt x="34" y="214"/>
                  </a:lnTo>
                  <a:lnTo>
                    <a:pt x="38" y="215"/>
                  </a:lnTo>
                  <a:lnTo>
                    <a:pt x="38" y="215"/>
                  </a:lnTo>
                  <a:lnTo>
                    <a:pt x="41" y="212"/>
                  </a:lnTo>
                  <a:lnTo>
                    <a:pt x="46" y="209"/>
                  </a:lnTo>
                  <a:lnTo>
                    <a:pt x="49" y="206"/>
                  </a:lnTo>
                  <a:lnTo>
                    <a:pt x="52" y="206"/>
                  </a:lnTo>
                  <a:lnTo>
                    <a:pt x="53" y="208"/>
                  </a:lnTo>
                  <a:lnTo>
                    <a:pt x="53" y="208"/>
                  </a:lnTo>
                  <a:lnTo>
                    <a:pt x="56" y="212"/>
                  </a:lnTo>
                  <a:lnTo>
                    <a:pt x="59" y="218"/>
                  </a:lnTo>
                  <a:lnTo>
                    <a:pt x="62" y="223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78" y="230"/>
                  </a:lnTo>
                  <a:lnTo>
                    <a:pt x="78" y="230"/>
                  </a:lnTo>
                  <a:lnTo>
                    <a:pt x="81" y="230"/>
                  </a:lnTo>
                  <a:lnTo>
                    <a:pt x="83" y="230"/>
                  </a:lnTo>
                  <a:lnTo>
                    <a:pt x="84" y="228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3" y="220"/>
                  </a:lnTo>
                  <a:lnTo>
                    <a:pt x="81" y="215"/>
                  </a:lnTo>
                  <a:lnTo>
                    <a:pt x="80" y="211"/>
                  </a:lnTo>
                  <a:lnTo>
                    <a:pt x="81" y="208"/>
                  </a:lnTo>
                  <a:lnTo>
                    <a:pt x="81" y="208"/>
                  </a:lnTo>
                  <a:lnTo>
                    <a:pt x="86" y="203"/>
                  </a:lnTo>
                  <a:lnTo>
                    <a:pt x="89" y="196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9" y="178"/>
                  </a:lnTo>
                  <a:lnTo>
                    <a:pt x="104" y="174"/>
                  </a:lnTo>
                  <a:lnTo>
                    <a:pt x="109" y="172"/>
                  </a:lnTo>
                  <a:lnTo>
                    <a:pt x="112" y="174"/>
                  </a:lnTo>
                  <a:lnTo>
                    <a:pt x="115" y="174"/>
                  </a:lnTo>
                  <a:lnTo>
                    <a:pt x="115" y="174"/>
                  </a:lnTo>
                  <a:lnTo>
                    <a:pt x="124" y="177"/>
                  </a:lnTo>
                  <a:lnTo>
                    <a:pt x="133" y="177"/>
                  </a:lnTo>
                  <a:lnTo>
                    <a:pt x="142" y="174"/>
                  </a:lnTo>
                  <a:lnTo>
                    <a:pt x="149" y="171"/>
                  </a:lnTo>
                  <a:lnTo>
                    <a:pt x="149" y="171"/>
                  </a:lnTo>
                  <a:lnTo>
                    <a:pt x="152" y="166"/>
                  </a:lnTo>
                  <a:lnTo>
                    <a:pt x="157" y="160"/>
                  </a:lnTo>
                  <a:lnTo>
                    <a:pt x="158" y="159"/>
                  </a:lnTo>
                  <a:lnTo>
                    <a:pt x="161" y="157"/>
                  </a:lnTo>
                  <a:lnTo>
                    <a:pt x="163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9" y="165"/>
                  </a:lnTo>
                  <a:lnTo>
                    <a:pt x="169" y="169"/>
                  </a:lnTo>
                  <a:lnTo>
                    <a:pt x="170" y="174"/>
                  </a:lnTo>
                  <a:lnTo>
                    <a:pt x="176" y="178"/>
                  </a:lnTo>
                  <a:lnTo>
                    <a:pt x="176" y="178"/>
                  </a:lnTo>
                  <a:lnTo>
                    <a:pt x="181" y="181"/>
                  </a:lnTo>
                  <a:lnTo>
                    <a:pt x="185" y="183"/>
                  </a:lnTo>
                  <a:lnTo>
                    <a:pt x="192" y="184"/>
                  </a:lnTo>
                  <a:lnTo>
                    <a:pt x="197" y="185"/>
                  </a:lnTo>
                  <a:lnTo>
                    <a:pt x="200" y="187"/>
                  </a:lnTo>
                  <a:lnTo>
                    <a:pt x="201" y="190"/>
                  </a:lnTo>
                  <a:lnTo>
                    <a:pt x="204" y="194"/>
                  </a:lnTo>
                  <a:lnTo>
                    <a:pt x="204" y="194"/>
                  </a:lnTo>
                  <a:lnTo>
                    <a:pt x="207" y="203"/>
                  </a:lnTo>
                  <a:lnTo>
                    <a:pt x="212" y="209"/>
                  </a:lnTo>
                  <a:lnTo>
                    <a:pt x="216" y="214"/>
                  </a:lnTo>
                  <a:lnTo>
                    <a:pt x="219" y="218"/>
                  </a:lnTo>
                  <a:lnTo>
                    <a:pt x="219" y="218"/>
                  </a:lnTo>
                  <a:lnTo>
                    <a:pt x="221" y="223"/>
                  </a:lnTo>
                  <a:lnTo>
                    <a:pt x="221" y="225"/>
                  </a:lnTo>
                  <a:lnTo>
                    <a:pt x="221" y="228"/>
                  </a:lnTo>
                  <a:lnTo>
                    <a:pt x="224" y="230"/>
                  </a:lnTo>
                  <a:lnTo>
                    <a:pt x="224" y="230"/>
                  </a:lnTo>
                  <a:lnTo>
                    <a:pt x="228" y="230"/>
                  </a:lnTo>
                  <a:lnTo>
                    <a:pt x="232" y="228"/>
                  </a:lnTo>
                  <a:lnTo>
                    <a:pt x="237" y="223"/>
                  </a:lnTo>
                  <a:lnTo>
                    <a:pt x="237" y="223"/>
                  </a:lnTo>
                  <a:lnTo>
                    <a:pt x="238" y="223"/>
                  </a:lnTo>
                  <a:lnTo>
                    <a:pt x="241" y="225"/>
                  </a:lnTo>
                  <a:lnTo>
                    <a:pt x="246" y="227"/>
                  </a:lnTo>
                  <a:lnTo>
                    <a:pt x="250" y="228"/>
                  </a:lnTo>
                  <a:lnTo>
                    <a:pt x="250" y="228"/>
                  </a:lnTo>
                  <a:lnTo>
                    <a:pt x="253" y="227"/>
                  </a:lnTo>
                  <a:lnTo>
                    <a:pt x="256" y="225"/>
                  </a:lnTo>
                  <a:lnTo>
                    <a:pt x="262" y="22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7" y="208"/>
                  </a:lnTo>
                  <a:lnTo>
                    <a:pt x="280" y="206"/>
                  </a:lnTo>
                  <a:lnTo>
                    <a:pt x="283" y="205"/>
                  </a:lnTo>
                  <a:lnTo>
                    <a:pt x="286" y="202"/>
                  </a:lnTo>
                  <a:lnTo>
                    <a:pt x="286" y="202"/>
                  </a:lnTo>
                  <a:lnTo>
                    <a:pt x="292" y="191"/>
                  </a:lnTo>
                  <a:lnTo>
                    <a:pt x="296" y="185"/>
                  </a:lnTo>
                  <a:lnTo>
                    <a:pt x="296" y="185"/>
                  </a:lnTo>
                  <a:lnTo>
                    <a:pt x="298" y="181"/>
                  </a:lnTo>
                  <a:lnTo>
                    <a:pt x="296" y="177"/>
                  </a:lnTo>
                  <a:lnTo>
                    <a:pt x="296" y="177"/>
                  </a:lnTo>
                  <a:lnTo>
                    <a:pt x="293" y="172"/>
                  </a:lnTo>
                  <a:lnTo>
                    <a:pt x="290" y="168"/>
                  </a:lnTo>
                  <a:lnTo>
                    <a:pt x="290" y="168"/>
                  </a:lnTo>
                  <a:lnTo>
                    <a:pt x="286" y="163"/>
                  </a:lnTo>
                  <a:lnTo>
                    <a:pt x="281" y="157"/>
                  </a:lnTo>
                  <a:lnTo>
                    <a:pt x="280" y="150"/>
                  </a:lnTo>
                  <a:lnTo>
                    <a:pt x="280" y="144"/>
                  </a:lnTo>
                  <a:lnTo>
                    <a:pt x="280" y="144"/>
                  </a:lnTo>
                  <a:lnTo>
                    <a:pt x="281" y="141"/>
                  </a:lnTo>
                  <a:lnTo>
                    <a:pt x="283" y="140"/>
                  </a:lnTo>
                  <a:lnTo>
                    <a:pt x="289" y="135"/>
                  </a:lnTo>
                  <a:lnTo>
                    <a:pt x="293" y="131"/>
                  </a:lnTo>
                  <a:lnTo>
                    <a:pt x="295" y="129"/>
                  </a:lnTo>
                  <a:lnTo>
                    <a:pt x="293" y="128"/>
                  </a:lnTo>
                  <a:lnTo>
                    <a:pt x="293" y="128"/>
                  </a:lnTo>
                  <a:lnTo>
                    <a:pt x="289" y="123"/>
                  </a:lnTo>
                  <a:lnTo>
                    <a:pt x="281" y="117"/>
                  </a:lnTo>
                  <a:lnTo>
                    <a:pt x="269" y="108"/>
                  </a:lnTo>
                  <a:lnTo>
                    <a:pt x="269" y="108"/>
                  </a:lnTo>
                  <a:lnTo>
                    <a:pt x="266" y="108"/>
                  </a:lnTo>
                  <a:lnTo>
                    <a:pt x="262" y="108"/>
                  </a:lnTo>
                  <a:lnTo>
                    <a:pt x="256" y="107"/>
                  </a:lnTo>
                  <a:lnTo>
                    <a:pt x="249" y="106"/>
                  </a:lnTo>
                  <a:lnTo>
                    <a:pt x="249" y="10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5" name="Freeform 14">
              <a:extLst>
                <a:ext uri="{FF2B5EF4-FFF2-40B4-BE49-F238E27FC236}">
                  <a16:creationId xmlns:a16="http://schemas.microsoft.com/office/drawing/2014/main" id="{8EAD231E-F935-934F-9B49-DF37C70EDF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5288" y="5353050"/>
              <a:ext cx="455613" cy="441325"/>
            </a:xfrm>
            <a:custGeom>
              <a:avLst/>
              <a:gdLst>
                <a:gd name="T0" fmla="*/ 222 w 287"/>
                <a:gd name="T1" fmla="*/ 216 h 278"/>
                <a:gd name="T2" fmla="*/ 224 w 287"/>
                <a:gd name="T3" fmla="*/ 194 h 278"/>
                <a:gd name="T4" fmla="*/ 222 w 287"/>
                <a:gd name="T5" fmla="*/ 180 h 278"/>
                <a:gd name="T6" fmla="*/ 243 w 287"/>
                <a:gd name="T7" fmla="*/ 173 h 278"/>
                <a:gd name="T8" fmla="*/ 247 w 287"/>
                <a:gd name="T9" fmla="*/ 158 h 278"/>
                <a:gd name="T10" fmla="*/ 272 w 287"/>
                <a:gd name="T11" fmla="*/ 124 h 278"/>
                <a:gd name="T12" fmla="*/ 281 w 287"/>
                <a:gd name="T13" fmla="*/ 94 h 278"/>
                <a:gd name="T14" fmla="*/ 281 w 287"/>
                <a:gd name="T15" fmla="*/ 77 h 278"/>
                <a:gd name="T16" fmla="*/ 271 w 287"/>
                <a:gd name="T17" fmla="*/ 60 h 278"/>
                <a:gd name="T18" fmla="*/ 258 w 287"/>
                <a:gd name="T19" fmla="*/ 63 h 278"/>
                <a:gd name="T20" fmla="*/ 256 w 287"/>
                <a:gd name="T21" fmla="*/ 43 h 278"/>
                <a:gd name="T22" fmla="*/ 255 w 287"/>
                <a:gd name="T23" fmla="*/ 29 h 278"/>
                <a:gd name="T24" fmla="*/ 237 w 287"/>
                <a:gd name="T25" fmla="*/ 31 h 278"/>
                <a:gd name="T26" fmla="*/ 231 w 287"/>
                <a:gd name="T27" fmla="*/ 19 h 278"/>
                <a:gd name="T28" fmla="*/ 218 w 287"/>
                <a:gd name="T29" fmla="*/ 9 h 278"/>
                <a:gd name="T30" fmla="*/ 207 w 287"/>
                <a:gd name="T31" fmla="*/ 0 h 278"/>
                <a:gd name="T32" fmla="*/ 188 w 287"/>
                <a:gd name="T33" fmla="*/ 15 h 278"/>
                <a:gd name="T34" fmla="*/ 172 w 287"/>
                <a:gd name="T35" fmla="*/ 16 h 278"/>
                <a:gd name="T36" fmla="*/ 170 w 287"/>
                <a:gd name="T37" fmla="*/ 32 h 278"/>
                <a:gd name="T38" fmla="*/ 155 w 287"/>
                <a:gd name="T39" fmla="*/ 43 h 278"/>
                <a:gd name="T40" fmla="*/ 151 w 287"/>
                <a:gd name="T41" fmla="*/ 60 h 278"/>
                <a:gd name="T42" fmla="*/ 141 w 287"/>
                <a:gd name="T43" fmla="*/ 63 h 278"/>
                <a:gd name="T44" fmla="*/ 120 w 287"/>
                <a:gd name="T45" fmla="*/ 77 h 278"/>
                <a:gd name="T46" fmla="*/ 104 w 287"/>
                <a:gd name="T47" fmla="*/ 60 h 278"/>
                <a:gd name="T48" fmla="*/ 93 w 287"/>
                <a:gd name="T49" fmla="*/ 59 h 278"/>
                <a:gd name="T50" fmla="*/ 75 w 287"/>
                <a:gd name="T51" fmla="*/ 83 h 278"/>
                <a:gd name="T52" fmla="*/ 61 w 287"/>
                <a:gd name="T53" fmla="*/ 115 h 278"/>
                <a:gd name="T54" fmla="*/ 40 w 287"/>
                <a:gd name="T55" fmla="*/ 123 h 278"/>
                <a:gd name="T56" fmla="*/ 28 w 287"/>
                <a:gd name="T57" fmla="*/ 139 h 278"/>
                <a:gd name="T58" fmla="*/ 18 w 287"/>
                <a:gd name="T59" fmla="*/ 152 h 278"/>
                <a:gd name="T60" fmla="*/ 18 w 287"/>
                <a:gd name="T61" fmla="*/ 173 h 278"/>
                <a:gd name="T62" fmla="*/ 9 w 287"/>
                <a:gd name="T63" fmla="*/ 183 h 278"/>
                <a:gd name="T64" fmla="*/ 1 w 287"/>
                <a:gd name="T65" fmla="*/ 197 h 278"/>
                <a:gd name="T66" fmla="*/ 15 w 287"/>
                <a:gd name="T67" fmla="*/ 209 h 278"/>
                <a:gd name="T68" fmla="*/ 24 w 287"/>
                <a:gd name="T69" fmla="*/ 220 h 278"/>
                <a:gd name="T70" fmla="*/ 46 w 287"/>
                <a:gd name="T71" fmla="*/ 222 h 278"/>
                <a:gd name="T72" fmla="*/ 74 w 287"/>
                <a:gd name="T73" fmla="*/ 222 h 278"/>
                <a:gd name="T74" fmla="*/ 72 w 287"/>
                <a:gd name="T75" fmla="*/ 214 h 278"/>
                <a:gd name="T76" fmla="*/ 83 w 287"/>
                <a:gd name="T77" fmla="*/ 207 h 278"/>
                <a:gd name="T78" fmla="*/ 102 w 287"/>
                <a:gd name="T79" fmla="*/ 209 h 278"/>
                <a:gd name="T80" fmla="*/ 112 w 287"/>
                <a:gd name="T81" fmla="*/ 214 h 278"/>
                <a:gd name="T82" fmla="*/ 96 w 287"/>
                <a:gd name="T83" fmla="*/ 229 h 278"/>
                <a:gd name="T84" fmla="*/ 93 w 287"/>
                <a:gd name="T85" fmla="*/ 244 h 278"/>
                <a:gd name="T86" fmla="*/ 105 w 287"/>
                <a:gd name="T87" fmla="*/ 260 h 278"/>
                <a:gd name="T88" fmla="*/ 115 w 287"/>
                <a:gd name="T89" fmla="*/ 246 h 278"/>
                <a:gd name="T90" fmla="*/ 121 w 287"/>
                <a:gd name="T91" fmla="*/ 265 h 278"/>
                <a:gd name="T92" fmla="*/ 138 w 287"/>
                <a:gd name="T93" fmla="*/ 272 h 278"/>
                <a:gd name="T94" fmla="*/ 170 w 287"/>
                <a:gd name="T95" fmla="*/ 277 h 278"/>
                <a:gd name="T96" fmla="*/ 170 w 287"/>
                <a:gd name="T97" fmla="*/ 238 h 278"/>
                <a:gd name="T98" fmla="*/ 169 w 287"/>
                <a:gd name="T99" fmla="*/ 217 h 278"/>
                <a:gd name="T100" fmla="*/ 176 w 287"/>
                <a:gd name="T101" fmla="*/ 220 h 278"/>
                <a:gd name="T102" fmla="*/ 195 w 287"/>
                <a:gd name="T103" fmla="*/ 21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7" h="278">
                  <a:moveTo>
                    <a:pt x="195" y="219"/>
                  </a:moveTo>
                  <a:lnTo>
                    <a:pt x="195" y="219"/>
                  </a:lnTo>
                  <a:lnTo>
                    <a:pt x="203" y="217"/>
                  </a:lnTo>
                  <a:lnTo>
                    <a:pt x="210" y="217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2" y="216"/>
                  </a:lnTo>
                  <a:lnTo>
                    <a:pt x="224" y="213"/>
                  </a:lnTo>
                  <a:lnTo>
                    <a:pt x="225" y="207"/>
                  </a:lnTo>
                  <a:lnTo>
                    <a:pt x="224" y="194"/>
                  </a:lnTo>
                  <a:lnTo>
                    <a:pt x="224" y="194"/>
                  </a:lnTo>
                  <a:lnTo>
                    <a:pt x="222" y="186"/>
                  </a:lnTo>
                  <a:lnTo>
                    <a:pt x="221" y="183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5" y="179"/>
                  </a:lnTo>
                  <a:lnTo>
                    <a:pt x="232" y="177"/>
                  </a:lnTo>
                  <a:lnTo>
                    <a:pt x="238" y="176"/>
                  </a:lnTo>
                  <a:lnTo>
                    <a:pt x="241" y="174"/>
                  </a:lnTo>
                  <a:lnTo>
                    <a:pt x="243" y="173"/>
                  </a:lnTo>
                  <a:lnTo>
                    <a:pt x="243" y="173"/>
                  </a:lnTo>
                  <a:lnTo>
                    <a:pt x="244" y="166"/>
                  </a:lnTo>
                  <a:lnTo>
                    <a:pt x="246" y="163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58" y="149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71" y="130"/>
                  </a:lnTo>
                  <a:lnTo>
                    <a:pt x="272" y="124"/>
                  </a:lnTo>
                  <a:lnTo>
                    <a:pt x="272" y="111"/>
                  </a:lnTo>
                  <a:lnTo>
                    <a:pt x="272" y="111"/>
                  </a:lnTo>
                  <a:lnTo>
                    <a:pt x="274" y="105"/>
                  </a:lnTo>
                  <a:lnTo>
                    <a:pt x="277" y="100"/>
                  </a:lnTo>
                  <a:lnTo>
                    <a:pt x="281" y="94"/>
                  </a:lnTo>
                  <a:lnTo>
                    <a:pt x="286" y="90"/>
                  </a:lnTo>
                  <a:lnTo>
                    <a:pt x="286" y="90"/>
                  </a:lnTo>
                  <a:lnTo>
                    <a:pt x="287" y="86"/>
                  </a:lnTo>
                  <a:lnTo>
                    <a:pt x="286" y="83"/>
                  </a:lnTo>
                  <a:lnTo>
                    <a:pt x="281" y="77"/>
                  </a:lnTo>
                  <a:lnTo>
                    <a:pt x="281" y="77"/>
                  </a:lnTo>
                  <a:lnTo>
                    <a:pt x="278" y="71"/>
                  </a:lnTo>
                  <a:lnTo>
                    <a:pt x="272" y="62"/>
                  </a:lnTo>
                  <a:lnTo>
                    <a:pt x="272" y="62"/>
                  </a:lnTo>
                  <a:lnTo>
                    <a:pt x="271" y="60"/>
                  </a:lnTo>
                  <a:lnTo>
                    <a:pt x="269" y="60"/>
                  </a:lnTo>
                  <a:lnTo>
                    <a:pt x="266" y="60"/>
                  </a:lnTo>
                  <a:lnTo>
                    <a:pt x="262" y="62"/>
                  </a:lnTo>
                  <a:lnTo>
                    <a:pt x="258" y="63"/>
                  </a:lnTo>
                  <a:lnTo>
                    <a:pt x="258" y="63"/>
                  </a:lnTo>
                  <a:lnTo>
                    <a:pt x="256" y="62"/>
                  </a:lnTo>
                  <a:lnTo>
                    <a:pt x="255" y="60"/>
                  </a:lnTo>
                  <a:lnTo>
                    <a:pt x="255" y="56"/>
                  </a:lnTo>
                  <a:lnTo>
                    <a:pt x="256" y="43"/>
                  </a:lnTo>
                  <a:lnTo>
                    <a:pt x="256" y="43"/>
                  </a:lnTo>
                  <a:lnTo>
                    <a:pt x="259" y="34"/>
                  </a:lnTo>
                  <a:lnTo>
                    <a:pt x="258" y="32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5" y="29"/>
                  </a:lnTo>
                  <a:lnTo>
                    <a:pt x="252" y="28"/>
                  </a:lnTo>
                  <a:lnTo>
                    <a:pt x="247" y="29"/>
                  </a:lnTo>
                  <a:lnTo>
                    <a:pt x="237" y="32"/>
                  </a:lnTo>
                  <a:lnTo>
                    <a:pt x="237" y="32"/>
                  </a:lnTo>
                  <a:lnTo>
                    <a:pt x="237" y="31"/>
                  </a:lnTo>
                  <a:lnTo>
                    <a:pt x="237" y="29"/>
                  </a:lnTo>
                  <a:lnTo>
                    <a:pt x="235" y="25"/>
                  </a:lnTo>
                  <a:lnTo>
                    <a:pt x="234" y="22"/>
                  </a:lnTo>
                  <a:lnTo>
                    <a:pt x="234" y="22"/>
                  </a:lnTo>
                  <a:lnTo>
                    <a:pt x="231" y="19"/>
                  </a:lnTo>
                  <a:lnTo>
                    <a:pt x="226" y="17"/>
                  </a:lnTo>
                  <a:lnTo>
                    <a:pt x="224" y="16"/>
                  </a:lnTo>
                  <a:lnTo>
                    <a:pt x="221" y="13"/>
                  </a:lnTo>
                  <a:lnTo>
                    <a:pt x="221" y="13"/>
                  </a:lnTo>
                  <a:lnTo>
                    <a:pt x="218" y="9"/>
                  </a:lnTo>
                  <a:lnTo>
                    <a:pt x="216" y="4"/>
                  </a:lnTo>
                  <a:lnTo>
                    <a:pt x="215" y="1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07" y="0"/>
                  </a:lnTo>
                  <a:lnTo>
                    <a:pt x="206" y="0"/>
                  </a:lnTo>
                  <a:lnTo>
                    <a:pt x="200" y="4"/>
                  </a:lnTo>
                  <a:lnTo>
                    <a:pt x="191" y="12"/>
                  </a:lnTo>
                  <a:lnTo>
                    <a:pt x="191" y="12"/>
                  </a:lnTo>
                  <a:lnTo>
                    <a:pt x="188" y="15"/>
                  </a:lnTo>
                  <a:lnTo>
                    <a:pt x="185" y="15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3" y="15"/>
                  </a:lnTo>
                  <a:lnTo>
                    <a:pt x="172" y="16"/>
                  </a:lnTo>
                  <a:lnTo>
                    <a:pt x="170" y="19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2" y="28"/>
                  </a:lnTo>
                  <a:lnTo>
                    <a:pt x="170" y="32"/>
                  </a:lnTo>
                  <a:lnTo>
                    <a:pt x="167" y="37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57" y="41"/>
                  </a:lnTo>
                  <a:lnTo>
                    <a:pt x="155" y="43"/>
                  </a:lnTo>
                  <a:lnTo>
                    <a:pt x="155" y="46"/>
                  </a:lnTo>
                  <a:lnTo>
                    <a:pt x="155" y="46"/>
                  </a:lnTo>
                  <a:lnTo>
                    <a:pt x="154" y="52"/>
                  </a:lnTo>
                  <a:lnTo>
                    <a:pt x="151" y="60"/>
                  </a:lnTo>
                  <a:lnTo>
                    <a:pt x="151" y="60"/>
                  </a:lnTo>
                  <a:lnTo>
                    <a:pt x="148" y="65"/>
                  </a:lnTo>
                  <a:lnTo>
                    <a:pt x="147" y="63"/>
                  </a:lnTo>
                  <a:lnTo>
                    <a:pt x="144" y="62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36" y="66"/>
                  </a:lnTo>
                  <a:lnTo>
                    <a:pt x="132" y="71"/>
                  </a:lnTo>
                  <a:lnTo>
                    <a:pt x="126" y="74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17" y="77"/>
                  </a:lnTo>
                  <a:lnTo>
                    <a:pt x="114" y="75"/>
                  </a:lnTo>
                  <a:lnTo>
                    <a:pt x="109" y="71"/>
                  </a:lnTo>
                  <a:lnTo>
                    <a:pt x="105" y="6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59"/>
                  </a:lnTo>
                  <a:lnTo>
                    <a:pt x="102" y="57"/>
                  </a:lnTo>
                  <a:lnTo>
                    <a:pt x="98" y="57"/>
                  </a:lnTo>
                  <a:lnTo>
                    <a:pt x="93" y="59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6" y="66"/>
                  </a:lnTo>
                  <a:lnTo>
                    <a:pt x="80" y="74"/>
                  </a:lnTo>
                  <a:lnTo>
                    <a:pt x="75" y="83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0" y="100"/>
                  </a:lnTo>
                  <a:lnTo>
                    <a:pt x="65" y="109"/>
                  </a:lnTo>
                  <a:lnTo>
                    <a:pt x="61" y="115"/>
                  </a:lnTo>
                  <a:lnTo>
                    <a:pt x="58" y="118"/>
                  </a:lnTo>
                  <a:lnTo>
                    <a:pt x="58" y="118"/>
                  </a:lnTo>
                  <a:lnTo>
                    <a:pt x="50" y="121"/>
                  </a:lnTo>
                  <a:lnTo>
                    <a:pt x="40" y="123"/>
                  </a:lnTo>
                  <a:lnTo>
                    <a:pt x="40" y="123"/>
                  </a:lnTo>
                  <a:lnTo>
                    <a:pt x="37" y="126"/>
                  </a:lnTo>
                  <a:lnTo>
                    <a:pt x="32" y="129"/>
                  </a:lnTo>
                  <a:lnTo>
                    <a:pt x="30" y="134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42"/>
                  </a:lnTo>
                  <a:lnTo>
                    <a:pt x="27" y="145"/>
                  </a:lnTo>
                  <a:lnTo>
                    <a:pt x="19" y="151"/>
                  </a:lnTo>
                  <a:lnTo>
                    <a:pt x="19" y="151"/>
                  </a:lnTo>
                  <a:lnTo>
                    <a:pt x="18" y="152"/>
                  </a:lnTo>
                  <a:lnTo>
                    <a:pt x="16" y="155"/>
                  </a:lnTo>
                  <a:lnTo>
                    <a:pt x="15" y="161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18" y="173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6" y="183"/>
                  </a:lnTo>
                  <a:lnTo>
                    <a:pt x="13" y="185"/>
                  </a:lnTo>
                  <a:lnTo>
                    <a:pt x="9" y="183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1" y="185"/>
                  </a:lnTo>
                  <a:lnTo>
                    <a:pt x="0" y="188"/>
                  </a:lnTo>
                  <a:lnTo>
                    <a:pt x="1" y="197"/>
                  </a:lnTo>
                  <a:lnTo>
                    <a:pt x="1" y="197"/>
                  </a:lnTo>
                  <a:lnTo>
                    <a:pt x="1" y="198"/>
                  </a:lnTo>
                  <a:lnTo>
                    <a:pt x="3" y="201"/>
                  </a:lnTo>
                  <a:lnTo>
                    <a:pt x="9" y="204"/>
                  </a:lnTo>
                  <a:lnTo>
                    <a:pt x="15" y="209"/>
                  </a:lnTo>
                  <a:lnTo>
                    <a:pt x="18" y="210"/>
                  </a:lnTo>
                  <a:lnTo>
                    <a:pt x="19" y="213"/>
                  </a:lnTo>
                  <a:lnTo>
                    <a:pt x="19" y="213"/>
                  </a:lnTo>
                  <a:lnTo>
                    <a:pt x="21" y="217"/>
                  </a:lnTo>
                  <a:lnTo>
                    <a:pt x="24" y="220"/>
                  </a:lnTo>
                  <a:lnTo>
                    <a:pt x="28" y="222"/>
                  </a:lnTo>
                  <a:lnTo>
                    <a:pt x="34" y="222"/>
                  </a:lnTo>
                  <a:lnTo>
                    <a:pt x="34" y="222"/>
                  </a:lnTo>
                  <a:lnTo>
                    <a:pt x="41" y="222"/>
                  </a:lnTo>
                  <a:lnTo>
                    <a:pt x="46" y="222"/>
                  </a:lnTo>
                  <a:lnTo>
                    <a:pt x="56" y="226"/>
                  </a:lnTo>
                  <a:lnTo>
                    <a:pt x="56" y="226"/>
                  </a:lnTo>
                  <a:lnTo>
                    <a:pt x="64" y="228"/>
                  </a:lnTo>
                  <a:lnTo>
                    <a:pt x="70" y="225"/>
                  </a:lnTo>
                  <a:lnTo>
                    <a:pt x="74" y="222"/>
                  </a:lnTo>
                  <a:lnTo>
                    <a:pt x="74" y="220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1" y="217"/>
                  </a:lnTo>
                  <a:lnTo>
                    <a:pt x="72" y="214"/>
                  </a:lnTo>
                  <a:lnTo>
                    <a:pt x="77" y="207"/>
                  </a:lnTo>
                  <a:lnTo>
                    <a:pt x="77" y="207"/>
                  </a:lnTo>
                  <a:lnTo>
                    <a:pt x="78" y="206"/>
                  </a:lnTo>
                  <a:lnTo>
                    <a:pt x="80" y="206"/>
                  </a:lnTo>
                  <a:lnTo>
                    <a:pt x="83" y="207"/>
                  </a:lnTo>
                  <a:lnTo>
                    <a:pt x="87" y="209"/>
                  </a:lnTo>
                  <a:lnTo>
                    <a:pt x="92" y="211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102" y="209"/>
                  </a:lnTo>
                  <a:lnTo>
                    <a:pt x="109" y="204"/>
                  </a:lnTo>
                  <a:lnTo>
                    <a:pt x="109" y="204"/>
                  </a:lnTo>
                  <a:lnTo>
                    <a:pt x="112" y="204"/>
                  </a:lnTo>
                  <a:lnTo>
                    <a:pt x="114" y="206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1" y="219"/>
                  </a:lnTo>
                  <a:lnTo>
                    <a:pt x="108" y="220"/>
                  </a:lnTo>
                  <a:lnTo>
                    <a:pt x="104" y="225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5" y="234"/>
                  </a:lnTo>
                  <a:lnTo>
                    <a:pt x="93" y="237"/>
                  </a:lnTo>
                  <a:lnTo>
                    <a:pt x="93" y="241"/>
                  </a:lnTo>
                  <a:lnTo>
                    <a:pt x="93" y="244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99" y="260"/>
                  </a:lnTo>
                  <a:lnTo>
                    <a:pt x="101" y="262"/>
                  </a:lnTo>
                  <a:lnTo>
                    <a:pt x="105" y="260"/>
                  </a:lnTo>
                  <a:lnTo>
                    <a:pt x="109" y="257"/>
                  </a:lnTo>
                  <a:lnTo>
                    <a:pt x="112" y="254"/>
                  </a:lnTo>
                  <a:lnTo>
                    <a:pt x="112" y="254"/>
                  </a:lnTo>
                  <a:lnTo>
                    <a:pt x="114" y="249"/>
                  </a:lnTo>
                  <a:lnTo>
                    <a:pt x="115" y="246"/>
                  </a:lnTo>
                  <a:lnTo>
                    <a:pt x="117" y="246"/>
                  </a:lnTo>
                  <a:lnTo>
                    <a:pt x="117" y="246"/>
                  </a:lnTo>
                  <a:lnTo>
                    <a:pt x="120" y="254"/>
                  </a:lnTo>
                  <a:lnTo>
                    <a:pt x="121" y="262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6"/>
                  </a:lnTo>
                  <a:lnTo>
                    <a:pt x="121" y="268"/>
                  </a:lnTo>
                  <a:lnTo>
                    <a:pt x="127" y="269"/>
                  </a:lnTo>
                  <a:lnTo>
                    <a:pt x="138" y="272"/>
                  </a:lnTo>
                  <a:lnTo>
                    <a:pt x="138" y="272"/>
                  </a:lnTo>
                  <a:lnTo>
                    <a:pt x="139" y="272"/>
                  </a:lnTo>
                  <a:lnTo>
                    <a:pt x="141" y="274"/>
                  </a:lnTo>
                  <a:lnTo>
                    <a:pt x="142" y="278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69" y="266"/>
                  </a:lnTo>
                  <a:lnTo>
                    <a:pt x="170" y="249"/>
                  </a:lnTo>
                  <a:lnTo>
                    <a:pt x="170" y="249"/>
                  </a:lnTo>
                  <a:lnTo>
                    <a:pt x="170" y="238"/>
                  </a:lnTo>
                  <a:lnTo>
                    <a:pt x="169" y="231"/>
                  </a:lnTo>
                  <a:lnTo>
                    <a:pt x="167" y="223"/>
                  </a:lnTo>
                  <a:lnTo>
                    <a:pt x="167" y="220"/>
                  </a:lnTo>
                  <a:lnTo>
                    <a:pt x="169" y="217"/>
                  </a:lnTo>
                  <a:lnTo>
                    <a:pt x="169" y="217"/>
                  </a:lnTo>
                  <a:lnTo>
                    <a:pt x="172" y="214"/>
                  </a:lnTo>
                  <a:lnTo>
                    <a:pt x="175" y="214"/>
                  </a:lnTo>
                  <a:lnTo>
                    <a:pt x="175" y="217"/>
                  </a:lnTo>
                  <a:lnTo>
                    <a:pt x="176" y="220"/>
                  </a:lnTo>
                  <a:lnTo>
                    <a:pt x="176" y="220"/>
                  </a:lnTo>
                  <a:lnTo>
                    <a:pt x="176" y="222"/>
                  </a:lnTo>
                  <a:lnTo>
                    <a:pt x="178" y="223"/>
                  </a:lnTo>
                  <a:lnTo>
                    <a:pt x="184" y="223"/>
                  </a:lnTo>
                  <a:lnTo>
                    <a:pt x="195" y="219"/>
                  </a:lnTo>
                  <a:lnTo>
                    <a:pt x="195" y="21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6" name="Freeform 15">
              <a:extLst>
                <a:ext uri="{FF2B5EF4-FFF2-40B4-BE49-F238E27FC236}">
                  <a16:creationId xmlns:a16="http://schemas.microsoft.com/office/drawing/2014/main" id="{876D7AC7-48A2-0242-9479-E6A6C1D13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4950" y="6048375"/>
              <a:ext cx="1027113" cy="806450"/>
            </a:xfrm>
            <a:custGeom>
              <a:avLst/>
              <a:gdLst>
                <a:gd name="T0" fmla="*/ 302 w 647"/>
                <a:gd name="T1" fmla="*/ 400 h 508"/>
                <a:gd name="T2" fmla="*/ 314 w 647"/>
                <a:gd name="T3" fmla="*/ 385 h 508"/>
                <a:gd name="T4" fmla="*/ 327 w 647"/>
                <a:gd name="T5" fmla="*/ 369 h 508"/>
                <a:gd name="T6" fmla="*/ 351 w 647"/>
                <a:gd name="T7" fmla="*/ 385 h 508"/>
                <a:gd name="T8" fmla="*/ 369 w 647"/>
                <a:gd name="T9" fmla="*/ 363 h 508"/>
                <a:gd name="T10" fmla="*/ 366 w 647"/>
                <a:gd name="T11" fmla="*/ 320 h 508"/>
                <a:gd name="T12" fmla="*/ 352 w 647"/>
                <a:gd name="T13" fmla="*/ 302 h 508"/>
                <a:gd name="T14" fmla="*/ 336 w 647"/>
                <a:gd name="T15" fmla="*/ 313 h 508"/>
                <a:gd name="T16" fmla="*/ 324 w 647"/>
                <a:gd name="T17" fmla="*/ 293 h 508"/>
                <a:gd name="T18" fmla="*/ 336 w 647"/>
                <a:gd name="T19" fmla="*/ 283 h 508"/>
                <a:gd name="T20" fmla="*/ 349 w 647"/>
                <a:gd name="T21" fmla="*/ 240 h 508"/>
                <a:gd name="T22" fmla="*/ 403 w 647"/>
                <a:gd name="T23" fmla="*/ 182 h 508"/>
                <a:gd name="T24" fmla="*/ 419 w 647"/>
                <a:gd name="T25" fmla="*/ 188 h 508"/>
                <a:gd name="T26" fmla="*/ 413 w 647"/>
                <a:gd name="T27" fmla="*/ 224 h 508"/>
                <a:gd name="T28" fmla="*/ 451 w 647"/>
                <a:gd name="T29" fmla="*/ 239 h 508"/>
                <a:gd name="T30" fmla="*/ 462 w 647"/>
                <a:gd name="T31" fmla="*/ 267 h 508"/>
                <a:gd name="T32" fmla="*/ 512 w 647"/>
                <a:gd name="T33" fmla="*/ 268 h 508"/>
                <a:gd name="T34" fmla="*/ 549 w 647"/>
                <a:gd name="T35" fmla="*/ 286 h 508"/>
                <a:gd name="T36" fmla="*/ 598 w 647"/>
                <a:gd name="T37" fmla="*/ 292 h 508"/>
                <a:gd name="T38" fmla="*/ 629 w 647"/>
                <a:gd name="T39" fmla="*/ 290 h 508"/>
                <a:gd name="T40" fmla="*/ 644 w 647"/>
                <a:gd name="T41" fmla="*/ 271 h 508"/>
                <a:gd name="T42" fmla="*/ 620 w 647"/>
                <a:gd name="T43" fmla="*/ 241 h 508"/>
                <a:gd name="T44" fmla="*/ 582 w 647"/>
                <a:gd name="T45" fmla="*/ 215 h 508"/>
                <a:gd name="T46" fmla="*/ 551 w 647"/>
                <a:gd name="T47" fmla="*/ 207 h 508"/>
                <a:gd name="T48" fmla="*/ 548 w 647"/>
                <a:gd name="T49" fmla="*/ 182 h 508"/>
                <a:gd name="T50" fmla="*/ 551 w 647"/>
                <a:gd name="T51" fmla="*/ 166 h 508"/>
                <a:gd name="T52" fmla="*/ 533 w 647"/>
                <a:gd name="T53" fmla="*/ 151 h 508"/>
                <a:gd name="T54" fmla="*/ 523 w 647"/>
                <a:gd name="T55" fmla="*/ 111 h 508"/>
                <a:gd name="T56" fmla="*/ 496 w 647"/>
                <a:gd name="T57" fmla="*/ 73 h 508"/>
                <a:gd name="T58" fmla="*/ 493 w 647"/>
                <a:gd name="T59" fmla="*/ 42 h 508"/>
                <a:gd name="T60" fmla="*/ 453 w 647"/>
                <a:gd name="T61" fmla="*/ 27 h 508"/>
                <a:gd name="T62" fmla="*/ 404 w 647"/>
                <a:gd name="T63" fmla="*/ 0 h 508"/>
                <a:gd name="T64" fmla="*/ 367 w 647"/>
                <a:gd name="T65" fmla="*/ 18 h 508"/>
                <a:gd name="T66" fmla="*/ 327 w 647"/>
                <a:gd name="T67" fmla="*/ 31 h 508"/>
                <a:gd name="T68" fmla="*/ 293 w 647"/>
                <a:gd name="T69" fmla="*/ 25 h 508"/>
                <a:gd name="T70" fmla="*/ 243 w 647"/>
                <a:gd name="T71" fmla="*/ 40 h 508"/>
                <a:gd name="T72" fmla="*/ 222 w 647"/>
                <a:gd name="T73" fmla="*/ 43 h 508"/>
                <a:gd name="T74" fmla="*/ 182 w 647"/>
                <a:gd name="T75" fmla="*/ 45 h 508"/>
                <a:gd name="T76" fmla="*/ 154 w 647"/>
                <a:gd name="T77" fmla="*/ 58 h 508"/>
                <a:gd name="T78" fmla="*/ 130 w 647"/>
                <a:gd name="T79" fmla="*/ 101 h 508"/>
                <a:gd name="T80" fmla="*/ 92 w 647"/>
                <a:gd name="T81" fmla="*/ 101 h 508"/>
                <a:gd name="T82" fmla="*/ 59 w 647"/>
                <a:gd name="T83" fmla="*/ 104 h 508"/>
                <a:gd name="T84" fmla="*/ 43 w 647"/>
                <a:gd name="T85" fmla="*/ 138 h 508"/>
                <a:gd name="T86" fmla="*/ 15 w 647"/>
                <a:gd name="T87" fmla="*/ 181 h 508"/>
                <a:gd name="T88" fmla="*/ 0 w 647"/>
                <a:gd name="T89" fmla="*/ 233 h 508"/>
                <a:gd name="T90" fmla="*/ 21 w 647"/>
                <a:gd name="T91" fmla="*/ 255 h 508"/>
                <a:gd name="T92" fmla="*/ 26 w 647"/>
                <a:gd name="T93" fmla="*/ 289 h 508"/>
                <a:gd name="T94" fmla="*/ 87 w 647"/>
                <a:gd name="T95" fmla="*/ 345 h 508"/>
                <a:gd name="T96" fmla="*/ 96 w 647"/>
                <a:gd name="T97" fmla="*/ 372 h 508"/>
                <a:gd name="T98" fmla="*/ 114 w 647"/>
                <a:gd name="T99" fmla="*/ 384 h 508"/>
                <a:gd name="T100" fmla="*/ 120 w 647"/>
                <a:gd name="T101" fmla="*/ 406 h 508"/>
                <a:gd name="T102" fmla="*/ 135 w 647"/>
                <a:gd name="T103" fmla="*/ 438 h 508"/>
                <a:gd name="T104" fmla="*/ 146 w 647"/>
                <a:gd name="T105" fmla="*/ 458 h 508"/>
                <a:gd name="T106" fmla="*/ 197 w 647"/>
                <a:gd name="T107" fmla="*/ 498 h 508"/>
                <a:gd name="T108" fmla="*/ 235 w 647"/>
                <a:gd name="T109" fmla="*/ 487 h 508"/>
                <a:gd name="T110" fmla="*/ 256 w 647"/>
                <a:gd name="T111" fmla="*/ 478 h 508"/>
                <a:gd name="T112" fmla="*/ 249 w 647"/>
                <a:gd name="T113" fmla="*/ 462 h 508"/>
                <a:gd name="T114" fmla="*/ 269 w 647"/>
                <a:gd name="T115" fmla="*/ 455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47" h="508">
                  <a:moveTo>
                    <a:pt x="284" y="433"/>
                  </a:moveTo>
                  <a:lnTo>
                    <a:pt x="284" y="433"/>
                  </a:lnTo>
                  <a:lnTo>
                    <a:pt x="293" y="421"/>
                  </a:lnTo>
                  <a:lnTo>
                    <a:pt x="296" y="412"/>
                  </a:lnTo>
                  <a:lnTo>
                    <a:pt x="296" y="412"/>
                  </a:lnTo>
                  <a:lnTo>
                    <a:pt x="299" y="403"/>
                  </a:lnTo>
                  <a:lnTo>
                    <a:pt x="300" y="400"/>
                  </a:lnTo>
                  <a:lnTo>
                    <a:pt x="302" y="400"/>
                  </a:lnTo>
                  <a:lnTo>
                    <a:pt x="303" y="400"/>
                  </a:lnTo>
                  <a:lnTo>
                    <a:pt x="303" y="400"/>
                  </a:lnTo>
                  <a:lnTo>
                    <a:pt x="305" y="401"/>
                  </a:lnTo>
                  <a:lnTo>
                    <a:pt x="308" y="400"/>
                  </a:lnTo>
                  <a:lnTo>
                    <a:pt x="311" y="394"/>
                  </a:lnTo>
                  <a:lnTo>
                    <a:pt x="311" y="394"/>
                  </a:lnTo>
                  <a:lnTo>
                    <a:pt x="312" y="388"/>
                  </a:lnTo>
                  <a:lnTo>
                    <a:pt x="314" y="385"/>
                  </a:lnTo>
                  <a:lnTo>
                    <a:pt x="315" y="385"/>
                  </a:lnTo>
                  <a:lnTo>
                    <a:pt x="315" y="385"/>
                  </a:lnTo>
                  <a:lnTo>
                    <a:pt x="317" y="382"/>
                  </a:lnTo>
                  <a:lnTo>
                    <a:pt x="320" y="376"/>
                  </a:lnTo>
                  <a:lnTo>
                    <a:pt x="323" y="370"/>
                  </a:lnTo>
                  <a:lnTo>
                    <a:pt x="326" y="369"/>
                  </a:lnTo>
                  <a:lnTo>
                    <a:pt x="327" y="369"/>
                  </a:lnTo>
                  <a:lnTo>
                    <a:pt x="327" y="369"/>
                  </a:lnTo>
                  <a:lnTo>
                    <a:pt x="332" y="370"/>
                  </a:lnTo>
                  <a:lnTo>
                    <a:pt x="333" y="372"/>
                  </a:lnTo>
                  <a:lnTo>
                    <a:pt x="339" y="375"/>
                  </a:lnTo>
                  <a:lnTo>
                    <a:pt x="339" y="375"/>
                  </a:lnTo>
                  <a:lnTo>
                    <a:pt x="342" y="378"/>
                  </a:lnTo>
                  <a:lnTo>
                    <a:pt x="345" y="381"/>
                  </a:lnTo>
                  <a:lnTo>
                    <a:pt x="348" y="384"/>
                  </a:lnTo>
                  <a:lnTo>
                    <a:pt x="351" y="385"/>
                  </a:lnTo>
                  <a:lnTo>
                    <a:pt x="351" y="385"/>
                  </a:lnTo>
                  <a:lnTo>
                    <a:pt x="354" y="385"/>
                  </a:lnTo>
                  <a:lnTo>
                    <a:pt x="357" y="384"/>
                  </a:lnTo>
                  <a:lnTo>
                    <a:pt x="361" y="381"/>
                  </a:lnTo>
                  <a:lnTo>
                    <a:pt x="361" y="381"/>
                  </a:lnTo>
                  <a:lnTo>
                    <a:pt x="366" y="376"/>
                  </a:lnTo>
                  <a:lnTo>
                    <a:pt x="367" y="370"/>
                  </a:lnTo>
                  <a:lnTo>
                    <a:pt x="369" y="363"/>
                  </a:lnTo>
                  <a:lnTo>
                    <a:pt x="369" y="357"/>
                  </a:lnTo>
                  <a:lnTo>
                    <a:pt x="369" y="357"/>
                  </a:lnTo>
                  <a:lnTo>
                    <a:pt x="369" y="350"/>
                  </a:lnTo>
                  <a:lnTo>
                    <a:pt x="366" y="342"/>
                  </a:lnTo>
                  <a:lnTo>
                    <a:pt x="364" y="333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6" y="320"/>
                  </a:lnTo>
                  <a:lnTo>
                    <a:pt x="367" y="316"/>
                  </a:lnTo>
                  <a:lnTo>
                    <a:pt x="369" y="313"/>
                  </a:lnTo>
                  <a:lnTo>
                    <a:pt x="367" y="310"/>
                  </a:lnTo>
                  <a:lnTo>
                    <a:pt x="367" y="310"/>
                  </a:lnTo>
                  <a:lnTo>
                    <a:pt x="364" y="305"/>
                  </a:lnTo>
                  <a:lnTo>
                    <a:pt x="361" y="302"/>
                  </a:lnTo>
                  <a:lnTo>
                    <a:pt x="357" y="301"/>
                  </a:lnTo>
                  <a:lnTo>
                    <a:pt x="352" y="302"/>
                  </a:lnTo>
                  <a:lnTo>
                    <a:pt x="352" y="302"/>
                  </a:lnTo>
                  <a:lnTo>
                    <a:pt x="348" y="307"/>
                  </a:lnTo>
                  <a:lnTo>
                    <a:pt x="345" y="311"/>
                  </a:lnTo>
                  <a:lnTo>
                    <a:pt x="342" y="314"/>
                  </a:lnTo>
                  <a:lnTo>
                    <a:pt x="340" y="316"/>
                  </a:lnTo>
                  <a:lnTo>
                    <a:pt x="337" y="314"/>
                  </a:lnTo>
                  <a:lnTo>
                    <a:pt x="337" y="314"/>
                  </a:lnTo>
                  <a:lnTo>
                    <a:pt x="336" y="313"/>
                  </a:lnTo>
                  <a:lnTo>
                    <a:pt x="334" y="310"/>
                  </a:lnTo>
                  <a:lnTo>
                    <a:pt x="333" y="305"/>
                  </a:lnTo>
                  <a:lnTo>
                    <a:pt x="332" y="302"/>
                  </a:lnTo>
                  <a:lnTo>
                    <a:pt x="332" y="302"/>
                  </a:lnTo>
                  <a:lnTo>
                    <a:pt x="327" y="301"/>
                  </a:lnTo>
                  <a:lnTo>
                    <a:pt x="324" y="299"/>
                  </a:lnTo>
                  <a:lnTo>
                    <a:pt x="323" y="298"/>
                  </a:lnTo>
                  <a:lnTo>
                    <a:pt x="324" y="293"/>
                  </a:lnTo>
                  <a:lnTo>
                    <a:pt x="324" y="293"/>
                  </a:lnTo>
                  <a:lnTo>
                    <a:pt x="324" y="289"/>
                  </a:lnTo>
                  <a:lnTo>
                    <a:pt x="324" y="284"/>
                  </a:lnTo>
                  <a:lnTo>
                    <a:pt x="324" y="283"/>
                  </a:lnTo>
                  <a:lnTo>
                    <a:pt x="326" y="283"/>
                  </a:lnTo>
                  <a:lnTo>
                    <a:pt x="332" y="283"/>
                  </a:lnTo>
                  <a:lnTo>
                    <a:pt x="332" y="283"/>
                  </a:lnTo>
                  <a:lnTo>
                    <a:pt x="336" y="283"/>
                  </a:lnTo>
                  <a:lnTo>
                    <a:pt x="340" y="281"/>
                  </a:lnTo>
                  <a:lnTo>
                    <a:pt x="343" y="279"/>
                  </a:lnTo>
                  <a:lnTo>
                    <a:pt x="346" y="276"/>
                  </a:lnTo>
                  <a:lnTo>
                    <a:pt x="351" y="268"/>
                  </a:lnTo>
                  <a:lnTo>
                    <a:pt x="352" y="264"/>
                  </a:lnTo>
                  <a:lnTo>
                    <a:pt x="352" y="264"/>
                  </a:lnTo>
                  <a:lnTo>
                    <a:pt x="349" y="249"/>
                  </a:lnTo>
                  <a:lnTo>
                    <a:pt x="349" y="240"/>
                  </a:lnTo>
                  <a:lnTo>
                    <a:pt x="349" y="237"/>
                  </a:lnTo>
                  <a:lnTo>
                    <a:pt x="351" y="234"/>
                  </a:lnTo>
                  <a:lnTo>
                    <a:pt x="351" y="234"/>
                  </a:lnTo>
                  <a:lnTo>
                    <a:pt x="360" y="224"/>
                  </a:lnTo>
                  <a:lnTo>
                    <a:pt x="373" y="212"/>
                  </a:lnTo>
                  <a:lnTo>
                    <a:pt x="373" y="212"/>
                  </a:lnTo>
                  <a:lnTo>
                    <a:pt x="392" y="191"/>
                  </a:lnTo>
                  <a:lnTo>
                    <a:pt x="403" y="182"/>
                  </a:lnTo>
                  <a:lnTo>
                    <a:pt x="407" y="179"/>
                  </a:lnTo>
                  <a:lnTo>
                    <a:pt x="411" y="178"/>
                  </a:lnTo>
                  <a:lnTo>
                    <a:pt x="411" y="178"/>
                  </a:lnTo>
                  <a:lnTo>
                    <a:pt x="414" y="181"/>
                  </a:lnTo>
                  <a:lnTo>
                    <a:pt x="416" y="182"/>
                  </a:lnTo>
                  <a:lnTo>
                    <a:pt x="416" y="185"/>
                  </a:lnTo>
                  <a:lnTo>
                    <a:pt x="419" y="188"/>
                  </a:lnTo>
                  <a:lnTo>
                    <a:pt x="419" y="188"/>
                  </a:lnTo>
                  <a:lnTo>
                    <a:pt x="422" y="191"/>
                  </a:lnTo>
                  <a:lnTo>
                    <a:pt x="425" y="196"/>
                  </a:lnTo>
                  <a:lnTo>
                    <a:pt x="426" y="197"/>
                  </a:lnTo>
                  <a:lnTo>
                    <a:pt x="426" y="200"/>
                  </a:lnTo>
                  <a:lnTo>
                    <a:pt x="423" y="206"/>
                  </a:lnTo>
                  <a:lnTo>
                    <a:pt x="423" y="206"/>
                  </a:lnTo>
                  <a:lnTo>
                    <a:pt x="414" y="219"/>
                  </a:lnTo>
                  <a:lnTo>
                    <a:pt x="413" y="224"/>
                  </a:lnTo>
                  <a:lnTo>
                    <a:pt x="416" y="227"/>
                  </a:lnTo>
                  <a:lnTo>
                    <a:pt x="416" y="227"/>
                  </a:lnTo>
                  <a:lnTo>
                    <a:pt x="422" y="230"/>
                  </a:lnTo>
                  <a:lnTo>
                    <a:pt x="429" y="233"/>
                  </a:lnTo>
                  <a:lnTo>
                    <a:pt x="443" y="237"/>
                  </a:lnTo>
                  <a:lnTo>
                    <a:pt x="443" y="237"/>
                  </a:lnTo>
                  <a:lnTo>
                    <a:pt x="447" y="239"/>
                  </a:lnTo>
                  <a:lnTo>
                    <a:pt x="451" y="239"/>
                  </a:lnTo>
                  <a:lnTo>
                    <a:pt x="453" y="240"/>
                  </a:lnTo>
                  <a:lnTo>
                    <a:pt x="453" y="244"/>
                  </a:lnTo>
                  <a:lnTo>
                    <a:pt x="453" y="244"/>
                  </a:lnTo>
                  <a:lnTo>
                    <a:pt x="453" y="252"/>
                  </a:lnTo>
                  <a:lnTo>
                    <a:pt x="453" y="256"/>
                  </a:lnTo>
                  <a:lnTo>
                    <a:pt x="456" y="262"/>
                  </a:lnTo>
                  <a:lnTo>
                    <a:pt x="462" y="267"/>
                  </a:lnTo>
                  <a:lnTo>
                    <a:pt x="462" y="267"/>
                  </a:lnTo>
                  <a:lnTo>
                    <a:pt x="478" y="279"/>
                  </a:lnTo>
                  <a:lnTo>
                    <a:pt x="486" y="281"/>
                  </a:lnTo>
                  <a:lnTo>
                    <a:pt x="488" y="283"/>
                  </a:lnTo>
                  <a:lnTo>
                    <a:pt x="491" y="281"/>
                  </a:lnTo>
                  <a:lnTo>
                    <a:pt x="491" y="281"/>
                  </a:lnTo>
                  <a:lnTo>
                    <a:pt x="502" y="273"/>
                  </a:lnTo>
                  <a:lnTo>
                    <a:pt x="509" y="270"/>
                  </a:lnTo>
                  <a:lnTo>
                    <a:pt x="512" y="268"/>
                  </a:lnTo>
                  <a:lnTo>
                    <a:pt x="515" y="270"/>
                  </a:lnTo>
                  <a:lnTo>
                    <a:pt x="515" y="270"/>
                  </a:lnTo>
                  <a:lnTo>
                    <a:pt x="521" y="271"/>
                  </a:lnTo>
                  <a:lnTo>
                    <a:pt x="527" y="276"/>
                  </a:lnTo>
                  <a:lnTo>
                    <a:pt x="534" y="279"/>
                  </a:lnTo>
                  <a:lnTo>
                    <a:pt x="542" y="283"/>
                  </a:lnTo>
                  <a:lnTo>
                    <a:pt x="542" y="283"/>
                  </a:lnTo>
                  <a:lnTo>
                    <a:pt x="549" y="286"/>
                  </a:lnTo>
                  <a:lnTo>
                    <a:pt x="557" y="292"/>
                  </a:lnTo>
                  <a:lnTo>
                    <a:pt x="564" y="298"/>
                  </a:lnTo>
                  <a:lnTo>
                    <a:pt x="567" y="299"/>
                  </a:lnTo>
                  <a:lnTo>
                    <a:pt x="570" y="301"/>
                  </a:lnTo>
                  <a:lnTo>
                    <a:pt x="570" y="301"/>
                  </a:lnTo>
                  <a:lnTo>
                    <a:pt x="577" y="299"/>
                  </a:lnTo>
                  <a:lnTo>
                    <a:pt x="585" y="296"/>
                  </a:lnTo>
                  <a:lnTo>
                    <a:pt x="598" y="292"/>
                  </a:lnTo>
                  <a:lnTo>
                    <a:pt x="598" y="292"/>
                  </a:lnTo>
                  <a:lnTo>
                    <a:pt x="608" y="290"/>
                  </a:lnTo>
                  <a:lnTo>
                    <a:pt x="613" y="290"/>
                  </a:lnTo>
                  <a:lnTo>
                    <a:pt x="617" y="292"/>
                  </a:lnTo>
                  <a:lnTo>
                    <a:pt x="617" y="292"/>
                  </a:lnTo>
                  <a:lnTo>
                    <a:pt x="623" y="293"/>
                  </a:lnTo>
                  <a:lnTo>
                    <a:pt x="628" y="293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41" y="281"/>
                  </a:lnTo>
                  <a:lnTo>
                    <a:pt x="641" y="281"/>
                  </a:lnTo>
                  <a:lnTo>
                    <a:pt x="645" y="279"/>
                  </a:lnTo>
                  <a:lnTo>
                    <a:pt x="647" y="276"/>
                  </a:lnTo>
                  <a:lnTo>
                    <a:pt x="647" y="276"/>
                  </a:lnTo>
                  <a:lnTo>
                    <a:pt x="644" y="271"/>
                  </a:lnTo>
                  <a:lnTo>
                    <a:pt x="644" y="271"/>
                  </a:lnTo>
                  <a:lnTo>
                    <a:pt x="634" y="261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5" y="249"/>
                  </a:lnTo>
                  <a:lnTo>
                    <a:pt x="626" y="246"/>
                  </a:lnTo>
                  <a:lnTo>
                    <a:pt x="625" y="244"/>
                  </a:lnTo>
                  <a:lnTo>
                    <a:pt x="620" y="241"/>
                  </a:lnTo>
                  <a:lnTo>
                    <a:pt x="620" y="241"/>
                  </a:lnTo>
                  <a:lnTo>
                    <a:pt x="607" y="240"/>
                  </a:lnTo>
                  <a:lnTo>
                    <a:pt x="601" y="237"/>
                  </a:lnTo>
                  <a:lnTo>
                    <a:pt x="594" y="231"/>
                  </a:lnTo>
                  <a:lnTo>
                    <a:pt x="594" y="231"/>
                  </a:lnTo>
                  <a:lnTo>
                    <a:pt x="589" y="225"/>
                  </a:lnTo>
                  <a:lnTo>
                    <a:pt x="586" y="221"/>
                  </a:lnTo>
                  <a:lnTo>
                    <a:pt x="585" y="216"/>
                  </a:lnTo>
                  <a:lnTo>
                    <a:pt x="582" y="215"/>
                  </a:lnTo>
                  <a:lnTo>
                    <a:pt x="582" y="215"/>
                  </a:lnTo>
                  <a:lnTo>
                    <a:pt x="577" y="215"/>
                  </a:lnTo>
                  <a:lnTo>
                    <a:pt x="570" y="216"/>
                  </a:lnTo>
                  <a:lnTo>
                    <a:pt x="564" y="216"/>
                  </a:lnTo>
                  <a:lnTo>
                    <a:pt x="560" y="215"/>
                  </a:lnTo>
                  <a:lnTo>
                    <a:pt x="557" y="212"/>
                  </a:lnTo>
                  <a:lnTo>
                    <a:pt x="557" y="212"/>
                  </a:lnTo>
                  <a:lnTo>
                    <a:pt x="551" y="207"/>
                  </a:lnTo>
                  <a:lnTo>
                    <a:pt x="545" y="203"/>
                  </a:lnTo>
                  <a:lnTo>
                    <a:pt x="543" y="202"/>
                  </a:lnTo>
                  <a:lnTo>
                    <a:pt x="542" y="200"/>
                  </a:lnTo>
                  <a:lnTo>
                    <a:pt x="542" y="197"/>
                  </a:lnTo>
                  <a:lnTo>
                    <a:pt x="545" y="194"/>
                  </a:lnTo>
                  <a:lnTo>
                    <a:pt x="545" y="194"/>
                  </a:lnTo>
                  <a:lnTo>
                    <a:pt x="548" y="188"/>
                  </a:lnTo>
                  <a:lnTo>
                    <a:pt x="548" y="182"/>
                  </a:lnTo>
                  <a:lnTo>
                    <a:pt x="546" y="178"/>
                  </a:lnTo>
                  <a:lnTo>
                    <a:pt x="543" y="173"/>
                  </a:lnTo>
                  <a:lnTo>
                    <a:pt x="543" y="173"/>
                  </a:lnTo>
                  <a:lnTo>
                    <a:pt x="543" y="172"/>
                  </a:lnTo>
                  <a:lnTo>
                    <a:pt x="545" y="170"/>
                  </a:lnTo>
                  <a:lnTo>
                    <a:pt x="548" y="169"/>
                  </a:lnTo>
                  <a:lnTo>
                    <a:pt x="551" y="167"/>
                  </a:lnTo>
                  <a:lnTo>
                    <a:pt x="551" y="166"/>
                  </a:lnTo>
                  <a:lnTo>
                    <a:pt x="549" y="163"/>
                  </a:lnTo>
                  <a:lnTo>
                    <a:pt x="549" y="163"/>
                  </a:lnTo>
                  <a:lnTo>
                    <a:pt x="548" y="160"/>
                  </a:lnTo>
                  <a:lnTo>
                    <a:pt x="546" y="159"/>
                  </a:lnTo>
                  <a:lnTo>
                    <a:pt x="540" y="157"/>
                  </a:lnTo>
                  <a:lnTo>
                    <a:pt x="536" y="156"/>
                  </a:lnTo>
                  <a:lnTo>
                    <a:pt x="534" y="154"/>
                  </a:lnTo>
                  <a:lnTo>
                    <a:pt x="533" y="151"/>
                  </a:lnTo>
                  <a:lnTo>
                    <a:pt x="533" y="151"/>
                  </a:lnTo>
                  <a:lnTo>
                    <a:pt x="531" y="144"/>
                  </a:lnTo>
                  <a:lnTo>
                    <a:pt x="533" y="136"/>
                  </a:lnTo>
                  <a:lnTo>
                    <a:pt x="533" y="127"/>
                  </a:lnTo>
                  <a:lnTo>
                    <a:pt x="531" y="123"/>
                  </a:lnTo>
                  <a:lnTo>
                    <a:pt x="530" y="119"/>
                  </a:lnTo>
                  <a:lnTo>
                    <a:pt x="530" y="119"/>
                  </a:lnTo>
                  <a:lnTo>
                    <a:pt x="523" y="111"/>
                  </a:lnTo>
                  <a:lnTo>
                    <a:pt x="518" y="105"/>
                  </a:lnTo>
                  <a:lnTo>
                    <a:pt x="512" y="99"/>
                  </a:lnTo>
                  <a:lnTo>
                    <a:pt x="509" y="93"/>
                  </a:lnTo>
                  <a:lnTo>
                    <a:pt x="509" y="93"/>
                  </a:lnTo>
                  <a:lnTo>
                    <a:pt x="508" y="89"/>
                  </a:lnTo>
                  <a:lnTo>
                    <a:pt x="506" y="86"/>
                  </a:lnTo>
                  <a:lnTo>
                    <a:pt x="500" y="79"/>
                  </a:lnTo>
                  <a:lnTo>
                    <a:pt x="496" y="73"/>
                  </a:lnTo>
                  <a:lnTo>
                    <a:pt x="493" y="68"/>
                  </a:lnTo>
                  <a:lnTo>
                    <a:pt x="493" y="62"/>
                  </a:lnTo>
                  <a:lnTo>
                    <a:pt x="493" y="62"/>
                  </a:lnTo>
                  <a:lnTo>
                    <a:pt x="493" y="53"/>
                  </a:lnTo>
                  <a:lnTo>
                    <a:pt x="494" y="46"/>
                  </a:lnTo>
                  <a:lnTo>
                    <a:pt x="494" y="43"/>
                  </a:lnTo>
                  <a:lnTo>
                    <a:pt x="494" y="42"/>
                  </a:lnTo>
                  <a:lnTo>
                    <a:pt x="493" y="42"/>
                  </a:lnTo>
                  <a:lnTo>
                    <a:pt x="488" y="42"/>
                  </a:lnTo>
                  <a:lnTo>
                    <a:pt x="488" y="42"/>
                  </a:lnTo>
                  <a:lnTo>
                    <a:pt x="480" y="43"/>
                  </a:lnTo>
                  <a:lnTo>
                    <a:pt x="472" y="42"/>
                  </a:lnTo>
                  <a:lnTo>
                    <a:pt x="466" y="39"/>
                  </a:lnTo>
                  <a:lnTo>
                    <a:pt x="462" y="36"/>
                  </a:lnTo>
                  <a:lnTo>
                    <a:pt x="462" y="36"/>
                  </a:lnTo>
                  <a:lnTo>
                    <a:pt x="453" y="27"/>
                  </a:lnTo>
                  <a:lnTo>
                    <a:pt x="444" y="22"/>
                  </a:lnTo>
                  <a:lnTo>
                    <a:pt x="435" y="18"/>
                  </a:lnTo>
                  <a:lnTo>
                    <a:pt x="435" y="18"/>
                  </a:lnTo>
                  <a:lnTo>
                    <a:pt x="426" y="13"/>
                  </a:lnTo>
                  <a:lnTo>
                    <a:pt x="417" y="7"/>
                  </a:lnTo>
                  <a:lnTo>
                    <a:pt x="409" y="2"/>
                  </a:lnTo>
                  <a:lnTo>
                    <a:pt x="406" y="0"/>
                  </a:lnTo>
                  <a:lnTo>
                    <a:pt x="404" y="0"/>
                  </a:lnTo>
                  <a:lnTo>
                    <a:pt x="404" y="0"/>
                  </a:lnTo>
                  <a:lnTo>
                    <a:pt x="401" y="2"/>
                  </a:lnTo>
                  <a:lnTo>
                    <a:pt x="400" y="6"/>
                  </a:lnTo>
                  <a:lnTo>
                    <a:pt x="397" y="10"/>
                  </a:lnTo>
                  <a:lnTo>
                    <a:pt x="394" y="12"/>
                  </a:lnTo>
                  <a:lnTo>
                    <a:pt x="389" y="13"/>
                  </a:lnTo>
                  <a:lnTo>
                    <a:pt x="389" y="13"/>
                  </a:lnTo>
                  <a:lnTo>
                    <a:pt x="367" y="18"/>
                  </a:lnTo>
                  <a:lnTo>
                    <a:pt x="357" y="19"/>
                  </a:lnTo>
                  <a:lnTo>
                    <a:pt x="349" y="19"/>
                  </a:lnTo>
                  <a:lnTo>
                    <a:pt x="349" y="19"/>
                  </a:lnTo>
                  <a:lnTo>
                    <a:pt x="345" y="21"/>
                  </a:lnTo>
                  <a:lnTo>
                    <a:pt x="342" y="22"/>
                  </a:lnTo>
                  <a:lnTo>
                    <a:pt x="336" y="27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15" y="36"/>
                  </a:lnTo>
                  <a:lnTo>
                    <a:pt x="305" y="37"/>
                  </a:lnTo>
                  <a:lnTo>
                    <a:pt x="297" y="36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0"/>
                  </a:lnTo>
                  <a:lnTo>
                    <a:pt x="293" y="27"/>
                  </a:lnTo>
                  <a:lnTo>
                    <a:pt x="293" y="25"/>
                  </a:lnTo>
                  <a:lnTo>
                    <a:pt x="292" y="25"/>
                  </a:lnTo>
                  <a:lnTo>
                    <a:pt x="284" y="28"/>
                  </a:lnTo>
                  <a:lnTo>
                    <a:pt x="284" y="28"/>
                  </a:lnTo>
                  <a:lnTo>
                    <a:pt x="260" y="37"/>
                  </a:lnTo>
                  <a:lnTo>
                    <a:pt x="250" y="40"/>
                  </a:lnTo>
                  <a:lnTo>
                    <a:pt x="246" y="40"/>
                  </a:lnTo>
                  <a:lnTo>
                    <a:pt x="243" y="40"/>
                  </a:lnTo>
                  <a:lnTo>
                    <a:pt x="243" y="40"/>
                  </a:lnTo>
                  <a:lnTo>
                    <a:pt x="234" y="33"/>
                  </a:lnTo>
                  <a:lnTo>
                    <a:pt x="229" y="31"/>
                  </a:lnTo>
                  <a:lnTo>
                    <a:pt x="228" y="31"/>
                  </a:lnTo>
                  <a:lnTo>
                    <a:pt x="228" y="31"/>
                  </a:lnTo>
                  <a:lnTo>
                    <a:pt x="226" y="33"/>
                  </a:lnTo>
                  <a:lnTo>
                    <a:pt x="226" y="39"/>
                  </a:lnTo>
                  <a:lnTo>
                    <a:pt x="225" y="40"/>
                  </a:lnTo>
                  <a:lnTo>
                    <a:pt x="222" y="43"/>
                  </a:lnTo>
                  <a:lnTo>
                    <a:pt x="219" y="46"/>
                  </a:lnTo>
                  <a:lnTo>
                    <a:pt x="215" y="49"/>
                  </a:lnTo>
                  <a:lnTo>
                    <a:pt x="215" y="49"/>
                  </a:lnTo>
                  <a:lnTo>
                    <a:pt x="203" y="52"/>
                  </a:lnTo>
                  <a:lnTo>
                    <a:pt x="194" y="50"/>
                  </a:lnTo>
                  <a:lnTo>
                    <a:pt x="186" y="49"/>
                  </a:lnTo>
                  <a:lnTo>
                    <a:pt x="182" y="45"/>
                  </a:lnTo>
                  <a:lnTo>
                    <a:pt x="182" y="45"/>
                  </a:lnTo>
                  <a:lnTo>
                    <a:pt x="176" y="40"/>
                  </a:lnTo>
                  <a:lnTo>
                    <a:pt x="169" y="37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0" y="40"/>
                  </a:lnTo>
                  <a:lnTo>
                    <a:pt x="158" y="46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2" y="65"/>
                  </a:lnTo>
                  <a:lnTo>
                    <a:pt x="151" y="74"/>
                  </a:lnTo>
                  <a:lnTo>
                    <a:pt x="148" y="83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42" y="93"/>
                  </a:lnTo>
                  <a:lnTo>
                    <a:pt x="139" y="96"/>
                  </a:lnTo>
                  <a:lnTo>
                    <a:pt x="130" y="101"/>
                  </a:lnTo>
                  <a:lnTo>
                    <a:pt x="118" y="104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95" y="105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98"/>
                  </a:lnTo>
                  <a:lnTo>
                    <a:pt x="89" y="96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2" y="95"/>
                  </a:lnTo>
                  <a:lnTo>
                    <a:pt x="66" y="98"/>
                  </a:lnTo>
                  <a:lnTo>
                    <a:pt x="62" y="99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8" y="110"/>
                  </a:lnTo>
                  <a:lnTo>
                    <a:pt x="55" y="113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47" y="119"/>
                  </a:lnTo>
                  <a:lnTo>
                    <a:pt x="46" y="124"/>
                  </a:lnTo>
                  <a:lnTo>
                    <a:pt x="43" y="138"/>
                  </a:lnTo>
                  <a:lnTo>
                    <a:pt x="43" y="138"/>
                  </a:lnTo>
                  <a:lnTo>
                    <a:pt x="41" y="144"/>
                  </a:lnTo>
                  <a:lnTo>
                    <a:pt x="38" y="148"/>
                  </a:lnTo>
                  <a:lnTo>
                    <a:pt x="32" y="154"/>
                  </a:lnTo>
                  <a:lnTo>
                    <a:pt x="32" y="154"/>
                  </a:lnTo>
                  <a:lnTo>
                    <a:pt x="24" y="167"/>
                  </a:lnTo>
                  <a:lnTo>
                    <a:pt x="19" y="176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3" y="188"/>
                  </a:lnTo>
                  <a:lnTo>
                    <a:pt x="12" y="194"/>
                  </a:lnTo>
                  <a:lnTo>
                    <a:pt x="6" y="207"/>
                  </a:lnTo>
                  <a:lnTo>
                    <a:pt x="6" y="207"/>
                  </a:lnTo>
                  <a:lnTo>
                    <a:pt x="1" y="216"/>
                  </a:lnTo>
                  <a:lnTo>
                    <a:pt x="0" y="225"/>
                  </a:lnTo>
                  <a:lnTo>
                    <a:pt x="0" y="233"/>
                  </a:lnTo>
                  <a:lnTo>
                    <a:pt x="1" y="239"/>
                  </a:lnTo>
                  <a:lnTo>
                    <a:pt x="1" y="239"/>
                  </a:lnTo>
                  <a:lnTo>
                    <a:pt x="3" y="241"/>
                  </a:lnTo>
                  <a:lnTo>
                    <a:pt x="7" y="244"/>
                  </a:lnTo>
                  <a:lnTo>
                    <a:pt x="16" y="249"/>
                  </a:lnTo>
                  <a:lnTo>
                    <a:pt x="16" y="249"/>
                  </a:lnTo>
                  <a:lnTo>
                    <a:pt x="19" y="250"/>
                  </a:lnTo>
                  <a:lnTo>
                    <a:pt x="21" y="255"/>
                  </a:lnTo>
                  <a:lnTo>
                    <a:pt x="22" y="259"/>
                  </a:lnTo>
                  <a:lnTo>
                    <a:pt x="22" y="267"/>
                  </a:lnTo>
                  <a:lnTo>
                    <a:pt x="22" y="267"/>
                  </a:lnTo>
                  <a:lnTo>
                    <a:pt x="21" y="273"/>
                  </a:lnTo>
                  <a:lnTo>
                    <a:pt x="19" y="277"/>
                  </a:lnTo>
                  <a:lnTo>
                    <a:pt x="19" y="279"/>
                  </a:lnTo>
                  <a:lnTo>
                    <a:pt x="21" y="281"/>
                  </a:lnTo>
                  <a:lnTo>
                    <a:pt x="26" y="289"/>
                  </a:lnTo>
                  <a:lnTo>
                    <a:pt x="26" y="289"/>
                  </a:lnTo>
                  <a:lnTo>
                    <a:pt x="40" y="298"/>
                  </a:lnTo>
                  <a:lnTo>
                    <a:pt x="58" y="308"/>
                  </a:lnTo>
                  <a:lnTo>
                    <a:pt x="80" y="321"/>
                  </a:lnTo>
                  <a:lnTo>
                    <a:pt x="80" y="321"/>
                  </a:lnTo>
                  <a:lnTo>
                    <a:pt x="83" y="324"/>
                  </a:lnTo>
                  <a:lnTo>
                    <a:pt x="84" y="330"/>
                  </a:lnTo>
                  <a:lnTo>
                    <a:pt x="87" y="345"/>
                  </a:lnTo>
                  <a:lnTo>
                    <a:pt x="87" y="345"/>
                  </a:lnTo>
                  <a:lnTo>
                    <a:pt x="89" y="353"/>
                  </a:lnTo>
                  <a:lnTo>
                    <a:pt x="89" y="353"/>
                  </a:lnTo>
                  <a:lnTo>
                    <a:pt x="90" y="361"/>
                  </a:lnTo>
                  <a:lnTo>
                    <a:pt x="96" y="370"/>
                  </a:lnTo>
                  <a:lnTo>
                    <a:pt x="96" y="370"/>
                  </a:lnTo>
                  <a:lnTo>
                    <a:pt x="96" y="372"/>
                  </a:lnTo>
                  <a:lnTo>
                    <a:pt x="96" y="372"/>
                  </a:lnTo>
                  <a:lnTo>
                    <a:pt x="102" y="379"/>
                  </a:lnTo>
                  <a:lnTo>
                    <a:pt x="105" y="384"/>
                  </a:lnTo>
                  <a:lnTo>
                    <a:pt x="105" y="384"/>
                  </a:lnTo>
                  <a:lnTo>
                    <a:pt x="106" y="385"/>
                  </a:lnTo>
                  <a:lnTo>
                    <a:pt x="108" y="385"/>
                  </a:lnTo>
                  <a:lnTo>
                    <a:pt x="109" y="384"/>
                  </a:lnTo>
                  <a:lnTo>
                    <a:pt x="114" y="384"/>
                  </a:lnTo>
                  <a:lnTo>
                    <a:pt x="114" y="384"/>
                  </a:lnTo>
                  <a:lnTo>
                    <a:pt x="120" y="382"/>
                  </a:lnTo>
                  <a:lnTo>
                    <a:pt x="121" y="382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0" y="400"/>
                  </a:lnTo>
                  <a:lnTo>
                    <a:pt x="120" y="406"/>
                  </a:lnTo>
                  <a:lnTo>
                    <a:pt x="120" y="406"/>
                  </a:lnTo>
                  <a:lnTo>
                    <a:pt x="123" y="421"/>
                  </a:lnTo>
                  <a:lnTo>
                    <a:pt x="124" y="425"/>
                  </a:lnTo>
                  <a:lnTo>
                    <a:pt x="127" y="430"/>
                  </a:lnTo>
                  <a:lnTo>
                    <a:pt x="127" y="430"/>
                  </a:lnTo>
                  <a:lnTo>
                    <a:pt x="132" y="433"/>
                  </a:lnTo>
                  <a:lnTo>
                    <a:pt x="133" y="436"/>
                  </a:lnTo>
                  <a:lnTo>
                    <a:pt x="135" y="438"/>
                  </a:lnTo>
                  <a:lnTo>
                    <a:pt x="135" y="443"/>
                  </a:lnTo>
                  <a:lnTo>
                    <a:pt x="135" y="443"/>
                  </a:lnTo>
                  <a:lnTo>
                    <a:pt x="136" y="447"/>
                  </a:lnTo>
                  <a:lnTo>
                    <a:pt x="138" y="452"/>
                  </a:lnTo>
                  <a:lnTo>
                    <a:pt x="139" y="456"/>
                  </a:lnTo>
                  <a:lnTo>
                    <a:pt x="139" y="456"/>
                  </a:lnTo>
                  <a:lnTo>
                    <a:pt x="146" y="458"/>
                  </a:lnTo>
                  <a:lnTo>
                    <a:pt x="146" y="458"/>
                  </a:lnTo>
                  <a:lnTo>
                    <a:pt x="164" y="465"/>
                  </a:lnTo>
                  <a:lnTo>
                    <a:pt x="173" y="468"/>
                  </a:lnTo>
                  <a:lnTo>
                    <a:pt x="180" y="473"/>
                  </a:lnTo>
                  <a:lnTo>
                    <a:pt x="180" y="473"/>
                  </a:lnTo>
                  <a:lnTo>
                    <a:pt x="185" y="477"/>
                  </a:lnTo>
                  <a:lnTo>
                    <a:pt x="188" y="480"/>
                  </a:lnTo>
                  <a:lnTo>
                    <a:pt x="192" y="489"/>
                  </a:lnTo>
                  <a:lnTo>
                    <a:pt x="197" y="498"/>
                  </a:lnTo>
                  <a:lnTo>
                    <a:pt x="200" y="502"/>
                  </a:lnTo>
                  <a:lnTo>
                    <a:pt x="203" y="504"/>
                  </a:lnTo>
                  <a:lnTo>
                    <a:pt x="203" y="504"/>
                  </a:lnTo>
                  <a:lnTo>
                    <a:pt x="209" y="507"/>
                  </a:lnTo>
                  <a:lnTo>
                    <a:pt x="215" y="507"/>
                  </a:lnTo>
                  <a:lnTo>
                    <a:pt x="226" y="508"/>
                  </a:lnTo>
                  <a:lnTo>
                    <a:pt x="226" y="508"/>
                  </a:lnTo>
                  <a:lnTo>
                    <a:pt x="235" y="487"/>
                  </a:lnTo>
                  <a:lnTo>
                    <a:pt x="235" y="487"/>
                  </a:lnTo>
                  <a:lnTo>
                    <a:pt x="235" y="483"/>
                  </a:lnTo>
                  <a:lnTo>
                    <a:pt x="235" y="481"/>
                  </a:lnTo>
                  <a:lnTo>
                    <a:pt x="237" y="478"/>
                  </a:lnTo>
                  <a:lnTo>
                    <a:pt x="241" y="478"/>
                  </a:lnTo>
                  <a:lnTo>
                    <a:pt x="241" y="478"/>
                  </a:lnTo>
                  <a:lnTo>
                    <a:pt x="253" y="480"/>
                  </a:lnTo>
                  <a:lnTo>
                    <a:pt x="256" y="478"/>
                  </a:lnTo>
                  <a:lnTo>
                    <a:pt x="257" y="477"/>
                  </a:lnTo>
                  <a:lnTo>
                    <a:pt x="256" y="474"/>
                  </a:lnTo>
                  <a:lnTo>
                    <a:pt x="256" y="474"/>
                  </a:lnTo>
                  <a:lnTo>
                    <a:pt x="253" y="470"/>
                  </a:lnTo>
                  <a:lnTo>
                    <a:pt x="250" y="467"/>
                  </a:lnTo>
                  <a:lnTo>
                    <a:pt x="249" y="465"/>
                  </a:lnTo>
                  <a:lnTo>
                    <a:pt x="249" y="462"/>
                  </a:lnTo>
                  <a:lnTo>
                    <a:pt x="249" y="462"/>
                  </a:lnTo>
                  <a:lnTo>
                    <a:pt x="249" y="459"/>
                  </a:lnTo>
                  <a:lnTo>
                    <a:pt x="252" y="456"/>
                  </a:lnTo>
                  <a:lnTo>
                    <a:pt x="255" y="455"/>
                  </a:lnTo>
                  <a:lnTo>
                    <a:pt x="257" y="455"/>
                  </a:lnTo>
                  <a:lnTo>
                    <a:pt x="257" y="455"/>
                  </a:lnTo>
                  <a:lnTo>
                    <a:pt x="262" y="456"/>
                  </a:lnTo>
                  <a:lnTo>
                    <a:pt x="265" y="456"/>
                  </a:lnTo>
                  <a:lnTo>
                    <a:pt x="269" y="455"/>
                  </a:lnTo>
                  <a:lnTo>
                    <a:pt x="271" y="452"/>
                  </a:lnTo>
                  <a:lnTo>
                    <a:pt x="271" y="452"/>
                  </a:lnTo>
                  <a:lnTo>
                    <a:pt x="277" y="443"/>
                  </a:lnTo>
                  <a:lnTo>
                    <a:pt x="284" y="433"/>
                  </a:lnTo>
                  <a:lnTo>
                    <a:pt x="284" y="43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7" name="Freeform 16">
              <a:extLst>
                <a:ext uri="{FF2B5EF4-FFF2-40B4-BE49-F238E27FC236}">
                  <a16:creationId xmlns:a16="http://schemas.microsoft.com/office/drawing/2014/main" id="{4B44AF71-CF08-D840-BB1A-AC210D384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2263" y="4700588"/>
              <a:ext cx="292100" cy="311150"/>
            </a:xfrm>
            <a:custGeom>
              <a:avLst/>
              <a:gdLst>
                <a:gd name="T0" fmla="*/ 6 w 184"/>
                <a:gd name="T1" fmla="*/ 43 h 196"/>
                <a:gd name="T2" fmla="*/ 0 w 184"/>
                <a:gd name="T3" fmla="*/ 63 h 196"/>
                <a:gd name="T4" fmla="*/ 2 w 184"/>
                <a:gd name="T5" fmla="*/ 69 h 196"/>
                <a:gd name="T6" fmla="*/ 8 w 184"/>
                <a:gd name="T7" fmla="*/ 76 h 196"/>
                <a:gd name="T8" fmla="*/ 6 w 184"/>
                <a:gd name="T9" fmla="*/ 92 h 196"/>
                <a:gd name="T10" fmla="*/ 11 w 184"/>
                <a:gd name="T11" fmla="*/ 104 h 196"/>
                <a:gd name="T12" fmla="*/ 27 w 184"/>
                <a:gd name="T13" fmla="*/ 119 h 196"/>
                <a:gd name="T14" fmla="*/ 36 w 184"/>
                <a:gd name="T15" fmla="*/ 128 h 196"/>
                <a:gd name="T16" fmla="*/ 30 w 184"/>
                <a:gd name="T17" fmla="*/ 132 h 196"/>
                <a:gd name="T18" fmla="*/ 20 w 184"/>
                <a:gd name="T19" fmla="*/ 134 h 196"/>
                <a:gd name="T20" fmla="*/ 23 w 184"/>
                <a:gd name="T21" fmla="*/ 143 h 196"/>
                <a:gd name="T22" fmla="*/ 24 w 184"/>
                <a:gd name="T23" fmla="*/ 156 h 196"/>
                <a:gd name="T24" fmla="*/ 30 w 184"/>
                <a:gd name="T25" fmla="*/ 160 h 196"/>
                <a:gd name="T26" fmla="*/ 37 w 184"/>
                <a:gd name="T27" fmla="*/ 168 h 196"/>
                <a:gd name="T28" fmla="*/ 46 w 184"/>
                <a:gd name="T29" fmla="*/ 187 h 196"/>
                <a:gd name="T30" fmla="*/ 52 w 184"/>
                <a:gd name="T31" fmla="*/ 194 h 196"/>
                <a:gd name="T32" fmla="*/ 60 w 184"/>
                <a:gd name="T33" fmla="*/ 196 h 196"/>
                <a:gd name="T34" fmla="*/ 71 w 184"/>
                <a:gd name="T35" fmla="*/ 187 h 196"/>
                <a:gd name="T36" fmla="*/ 85 w 184"/>
                <a:gd name="T37" fmla="*/ 172 h 196"/>
                <a:gd name="T38" fmla="*/ 92 w 184"/>
                <a:gd name="T39" fmla="*/ 169 h 196"/>
                <a:gd name="T40" fmla="*/ 111 w 184"/>
                <a:gd name="T41" fmla="*/ 172 h 196"/>
                <a:gd name="T42" fmla="*/ 117 w 184"/>
                <a:gd name="T43" fmla="*/ 175 h 196"/>
                <a:gd name="T44" fmla="*/ 128 w 184"/>
                <a:gd name="T45" fmla="*/ 172 h 196"/>
                <a:gd name="T46" fmla="*/ 151 w 184"/>
                <a:gd name="T47" fmla="*/ 141 h 196"/>
                <a:gd name="T48" fmla="*/ 166 w 184"/>
                <a:gd name="T49" fmla="*/ 129 h 196"/>
                <a:gd name="T50" fmla="*/ 169 w 184"/>
                <a:gd name="T51" fmla="*/ 123 h 196"/>
                <a:gd name="T52" fmla="*/ 169 w 184"/>
                <a:gd name="T53" fmla="*/ 109 h 196"/>
                <a:gd name="T54" fmla="*/ 171 w 184"/>
                <a:gd name="T55" fmla="*/ 86 h 196"/>
                <a:gd name="T56" fmla="*/ 183 w 184"/>
                <a:gd name="T57" fmla="*/ 79 h 196"/>
                <a:gd name="T58" fmla="*/ 184 w 184"/>
                <a:gd name="T59" fmla="*/ 55 h 196"/>
                <a:gd name="T60" fmla="*/ 183 w 184"/>
                <a:gd name="T61" fmla="*/ 46 h 196"/>
                <a:gd name="T62" fmla="*/ 169 w 184"/>
                <a:gd name="T63" fmla="*/ 27 h 196"/>
                <a:gd name="T64" fmla="*/ 169 w 184"/>
                <a:gd name="T65" fmla="*/ 12 h 196"/>
                <a:gd name="T66" fmla="*/ 156 w 184"/>
                <a:gd name="T67" fmla="*/ 12 h 196"/>
                <a:gd name="T68" fmla="*/ 140 w 184"/>
                <a:gd name="T69" fmla="*/ 18 h 196"/>
                <a:gd name="T70" fmla="*/ 129 w 184"/>
                <a:gd name="T71" fmla="*/ 18 h 196"/>
                <a:gd name="T72" fmla="*/ 120 w 184"/>
                <a:gd name="T73" fmla="*/ 12 h 196"/>
                <a:gd name="T74" fmla="*/ 114 w 184"/>
                <a:gd name="T75" fmla="*/ 14 h 196"/>
                <a:gd name="T76" fmla="*/ 107 w 184"/>
                <a:gd name="T77" fmla="*/ 27 h 196"/>
                <a:gd name="T78" fmla="*/ 103 w 184"/>
                <a:gd name="T79" fmla="*/ 27 h 196"/>
                <a:gd name="T80" fmla="*/ 92 w 184"/>
                <a:gd name="T81" fmla="*/ 11 h 196"/>
                <a:gd name="T82" fmla="*/ 88 w 184"/>
                <a:gd name="T83" fmla="*/ 6 h 196"/>
                <a:gd name="T84" fmla="*/ 67 w 184"/>
                <a:gd name="T85" fmla="*/ 2 h 196"/>
                <a:gd name="T86" fmla="*/ 55 w 184"/>
                <a:gd name="T87" fmla="*/ 2 h 196"/>
                <a:gd name="T88" fmla="*/ 48 w 184"/>
                <a:gd name="T89" fmla="*/ 5 h 196"/>
                <a:gd name="T90" fmla="*/ 33 w 184"/>
                <a:gd name="T91" fmla="*/ 6 h 196"/>
                <a:gd name="T92" fmla="*/ 24 w 184"/>
                <a:gd name="T93" fmla="*/ 3 h 196"/>
                <a:gd name="T94" fmla="*/ 20 w 184"/>
                <a:gd name="T95" fmla="*/ 18 h 196"/>
                <a:gd name="T96" fmla="*/ 18 w 184"/>
                <a:gd name="T97" fmla="*/ 2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4" h="196">
                  <a:moveTo>
                    <a:pt x="8" y="27"/>
                  </a:moveTo>
                  <a:lnTo>
                    <a:pt x="8" y="27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3" y="54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6"/>
                  </a:lnTo>
                  <a:lnTo>
                    <a:pt x="2" y="69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8" y="76"/>
                  </a:lnTo>
                  <a:lnTo>
                    <a:pt x="8" y="80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5"/>
                  </a:lnTo>
                  <a:lnTo>
                    <a:pt x="6" y="98"/>
                  </a:lnTo>
                  <a:lnTo>
                    <a:pt x="11" y="104"/>
                  </a:lnTo>
                  <a:lnTo>
                    <a:pt x="18" y="110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33" y="122"/>
                  </a:lnTo>
                  <a:lnTo>
                    <a:pt x="34" y="126"/>
                  </a:lnTo>
                  <a:lnTo>
                    <a:pt x="36" y="128"/>
                  </a:lnTo>
                  <a:lnTo>
                    <a:pt x="34" y="131"/>
                  </a:lnTo>
                  <a:lnTo>
                    <a:pt x="33" y="132"/>
                  </a:lnTo>
                  <a:lnTo>
                    <a:pt x="30" y="13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0" y="134"/>
                  </a:lnTo>
                  <a:lnTo>
                    <a:pt x="20" y="137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4" y="146"/>
                  </a:lnTo>
                  <a:lnTo>
                    <a:pt x="24" y="150"/>
                  </a:lnTo>
                  <a:lnTo>
                    <a:pt x="24" y="156"/>
                  </a:lnTo>
                  <a:lnTo>
                    <a:pt x="23" y="159"/>
                  </a:lnTo>
                  <a:lnTo>
                    <a:pt x="23" y="159"/>
                  </a:lnTo>
                  <a:lnTo>
                    <a:pt x="30" y="160"/>
                  </a:lnTo>
                  <a:lnTo>
                    <a:pt x="34" y="163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40" y="178"/>
                  </a:lnTo>
                  <a:lnTo>
                    <a:pt x="43" y="184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51" y="192"/>
                  </a:lnTo>
                  <a:lnTo>
                    <a:pt x="52" y="194"/>
                  </a:lnTo>
                  <a:lnTo>
                    <a:pt x="55" y="196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3" y="196"/>
                  </a:lnTo>
                  <a:lnTo>
                    <a:pt x="66" y="193"/>
                  </a:lnTo>
                  <a:lnTo>
                    <a:pt x="71" y="187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5" y="172"/>
                  </a:lnTo>
                  <a:lnTo>
                    <a:pt x="88" y="171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103" y="169"/>
                  </a:lnTo>
                  <a:lnTo>
                    <a:pt x="107" y="169"/>
                  </a:lnTo>
                  <a:lnTo>
                    <a:pt x="111" y="172"/>
                  </a:lnTo>
                  <a:lnTo>
                    <a:pt x="111" y="172"/>
                  </a:lnTo>
                  <a:lnTo>
                    <a:pt x="114" y="174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23" y="175"/>
                  </a:lnTo>
                  <a:lnTo>
                    <a:pt x="128" y="172"/>
                  </a:lnTo>
                  <a:lnTo>
                    <a:pt x="128" y="172"/>
                  </a:lnTo>
                  <a:lnTo>
                    <a:pt x="151" y="141"/>
                  </a:lnTo>
                  <a:lnTo>
                    <a:pt x="151" y="141"/>
                  </a:lnTo>
                  <a:lnTo>
                    <a:pt x="156" y="137"/>
                  </a:lnTo>
                  <a:lnTo>
                    <a:pt x="162" y="132"/>
                  </a:lnTo>
                  <a:lnTo>
                    <a:pt x="166" y="129"/>
                  </a:lnTo>
                  <a:lnTo>
                    <a:pt x="168" y="126"/>
                  </a:lnTo>
                  <a:lnTo>
                    <a:pt x="169" y="123"/>
                  </a:lnTo>
                  <a:lnTo>
                    <a:pt x="169" y="123"/>
                  </a:lnTo>
                  <a:lnTo>
                    <a:pt x="168" y="115"/>
                  </a:lnTo>
                  <a:lnTo>
                    <a:pt x="169" y="109"/>
                  </a:lnTo>
                  <a:lnTo>
                    <a:pt x="169" y="109"/>
                  </a:lnTo>
                  <a:lnTo>
                    <a:pt x="168" y="95"/>
                  </a:lnTo>
                  <a:lnTo>
                    <a:pt x="168" y="91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80" y="82"/>
                  </a:lnTo>
                  <a:lnTo>
                    <a:pt x="183" y="79"/>
                  </a:lnTo>
                  <a:lnTo>
                    <a:pt x="183" y="70"/>
                  </a:lnTo>
                  <a:lnTo>
                    <a:pt x="183" y="70"/>
                  </a:lnTo>
                  <a:lnTo>
                    <a:pt x="184" y="55"/>
                  </a:lnTo>
                  <a:lnTo>
                    <a:pt x="184" y="52"/>
                  </a:lnTo>
                  <a:lnTo>
                    <a:pt x="183" y="46"/>
                  </a:lnTo>
                  <a:lnTo>
                    <a:pt x="183" y="46"/>
                  </a:lnTo>
                  <a:lnTo>
                    <a:pt x="178" y="40"/>
                  </a:lnTo>
                  <a:lnTo>
                    <a:pt x="172" y="32"/>
                  </a:lnTo>
                  <a:lnTo>
                    <a:pt x="169" y="27"/>
                  </a:lnTo>
                  <a:lnTo>
                    <a:pt x="168" y="23"/>
                  </a:lnTo>
                  <a:lnTo>
                    <a:pt x="168" y="18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5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47" y="17"/>
                  </a:lnTo>
                  <a:lnTo>
                    <a:pt x="140" y="18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29" y="18"/>
                  </a:lnTo>
                  <a:lnTo>
                    <a:pt x="126" y="17"/>
                  </a:lnTo>
                  <a:lnTo>
                    <a:pt x="123" y="14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17" y="12"/>
                  </a:lnTo>
                  <a:lnTo>
                    <a:pt x="114" y="14"/>
                  </a:lnTo>
                  <a:lnTo>
                    <a:pt x="113" y="17"/>
                  </a:lnTo>
                  <a:lnTo>
                    <a:pt x="110" y="23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3" y="27"/>
                  </a:lnTo>
                  <a:lnTo>
                    <a:pt x="98" y="24"/>
                  </a:lnTo>
                  <a:lnTo>
                    <a:pt x="94" y="17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8"/>
                  </a:lnTo>
                  <a:lnTo>
                    <a:pt x="88" y="6"/>
                  </a:lnTo>
                  <a:lnTo>
                    <a:pt x="82" y="5"/>
                  </a:lnTo>
                  <a:lnTo>
                    <a:pt x="74" y="3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1" y="0"/>
                  </a:lnTo>
                  <a:lnTo>
                    <a:pt x="55" y="2"/>
                  </a:lnTo>
                  <a:lnTo>
                    <a:pt x="51" y="3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6"/>
                  </a:lnTo>
                  <a:lnTo>
                    <a:pt x="39" y="6"/>
                  </a:lnTo>
                  <a:lnTo>
                    <a:pt x="33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4" y="3"/>
                  </a:lnTo>
                  <a:lnTo>
                    <a:pt x="23" y="5"/>
                  </a:lnTo>
                  <a:lnTo>
                    <a:pt x="20" y="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1"/>
                  </a:lnTo>
                  <a:lnTo>
                    <a:pt x="18" y="23"/>
                  </a:lnTo>
                  <a:lnTo>
                    <a:pt x="14" y="24"/>
                  </a:lnTo>
                  <a:lnTo>
                    <a:pt x="8" y="2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C61E0E0C-A326-774B-B27F-7D2C996CC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9200" y="6175375"/>
              <a:ext cx="1244600" cy="1050925"/>
            </a:xfrm>
            <a:custGeom>
              <a:avLst/>
              <a:gdLst>
                <a:gd name="T0" fmla="*/ 779 w 784"/>
                <a:gd name="T1" fmla="*/ 369 h 662"/>
                <a:gd name="T2" fmla="*/ 778 w 784"/>
                <a:gd name="T3" fmla="*/ 332 h 662"/>
                <a:gd name="T4" fmla="*/ 738 w 784"/>
                <a:gd name="T5" fmla="*/ 321 h 662"/>
                <a:gd name="T6" fmla="*/ 707 w 784"/>
                <a:gd name="T7" fmla="*/ 280 h 662"/>
                <a:gd name="T8" fmla="*/ 687 w 784"/>
                <a:gd name="T9" fmla="*/ 252 h 662"/>
                <a:gd name="T10" fmla="*/ 576 w 784"/>
                <a:gd name="T11" fmla="*/ 222 h 662"/>
                <a:gd name="T12" fmla="*/ 576 w 784"/>
                <a:gd name="T13" fmla="*/ 184 h 662"/>
                <a:gd name="T14" fmla="*/ 596 w 784"/>
                <a:gd name="T15" fmla="*/ 154 h 662"/>
                <a:gd name="T16" fmla="*/ 590 w 784"/>
                <a:gd name="T17" fmla="*/ 123 h 662"/>
                <a:gd name="T18" fmla="*/ 551 w 784"/>
                <a:gd name="T19" fmla="*/ 87 h 662"/>
                <a:gd name="T20" fmla="*/ 480 w 784"/>
                <a:gd name="T21" fmla="*/ 108 h 662"/>
                <a:gd name="T22" fmla="*/ 444 w 784"/>
                <a:gd name="T23" fmla="*/ 101 h 662"/>
                <a:gd name="T24" fmla="*/ 402 w 784"/>
                <a:gd name="T25" fmla="*/ 73 h 662"/>
                <a:gd name="T26" fmla="*/ 317 w 784"/>
                <a:gd name="T27" fmla="*/ 55 h 662"/>
                <a:gd name="T28" fmla="*/ 307 w 784"/>
                <a:gd name="T29" fmla="*/ 34 h 662"/>
                <a:gd name="T30" fmla="*/ 273 w 784"/>
                <a:gd name="T31" fmla="*/ 24 h 662"/>
                <a:gd name="T32" fmla="*/ 221 w 784"/>
                <a:gd name="T33" fmla="*/ 0 h 662"/>
                <a:gd name="T34" fmla="*/ 193 w 784"/>
                <a:gd name="T35" fmla="*/ 25 h 662"/>
                <a:gd name="T36" fmla="*/ 169 w 784"/>
                <a:gd name="T37" fmla="*/ 58 h 662"/>
                <a:gd name="T38" fmla="*/ 163 w 784"/>
                <a:gd name="T39" fmla="*/ 77 h 662"/>
                <a:gd name="T40" fmla="*/ 145 w 784"/>
                <a:gd name="T41" fmla="*/ 107 h 662"/>
                <a:gd name="T42" fmla="*/ 116 w 784"/>
                <a:gd name="T43" fmla="*/ 117 h 662"/>
                <a:gd name="T44" fmla="*/ 85 w 784"/>
                <a:gd name="T45" fmla="*/ 127 h 662"/>
                <a:gd name="T46" fmla="*/ 57 w 784"/>
                <a:gd name="T47" fmla="*/ 175 h 662"/>
                <a:gd name="T48" fmla="*/ 24 w 784"/>
                <a:gd name="T49" fmla="*/ 191 h 662"/>
                <a:gd name="T50" fmla="*/ 25 w 784"/>
                <a:gd name="T51" fmla="*/ 212 h 662"/>
                <a:gd name="T52" fmla="*/ 0 w 784"/>
                <a:gd name="T53" fmla="*/ 239 h 662"/>
                <a:gd name="T54" fmla="*/ 8 w 784"/>
                <a:gd name="T55" fmla="*/ 281 h 662"/>
                <a:gd name="T56" fmla="*/ 11 w 784"/>
                <a:gd name="T57" fmla="*/ 310 h 662"/>
                <a:gd name="T58" fmla="*/ 17 w 784"/>
                <a:gd name="T59" fmla="*/ 341 h 662"/>
                <a:gd name="T60" fmla="*/ 54 w 784"/>
                <a:gd name="T61" fmla="*/ 376 h 662"/>
                <a:gd name="T62" fmla="*/ 131 w 784"/>
                <a:gd name="T63" fmla="*/ 409 h 662"/>
                <a:gd name="T64" fmla="*/ 154 w 784"/>
                <a:gd name="T65" fmla="*/ 434 h 662"/>
                <a:gd name="T66" fmla="*/ 211 w 784"/>
                <a:gd name="T67" fmla="*/ 514 h 662"/>
                <a:gd name="T68" fmla="*/ 279 w 784"/>
                <a:gd name="T69" fmla="*/ 532 h 662"/>
                <a:gd name="T70" fmla="*/ 298 w 784"/>
                <a:gd name="T71" fmla="*/ 567 h 662"/>
                <a:gd name="T72" fmla="*/ 365 w 784"/>
                <a:gd name="T73" fmla="*/ 573 h 662"/>
                <a:gd name="T74" fmla="*/ 382 w 784"/>
                <a:gd name="T75" fmla="*/ 558 h 662"/>
                <a:gd name="T76" fmla="*/ 399 w 784"/>
                <a:gd name="T77" fmla="*/ 590 h 662"/>
                <a:gd name="T78" fmla="*/ 390 w 784"/>
                <a:gd name="T79" fmla="*/ 635 h 662"/>
                <a:gd name="T80" fmla="*/ 387 w 784"/>
                <a:gd name="T81" fmla="*/ 661 h 662"/>
                <a:gd name="T82" fmla="*/ 415 w 784"/>
                <a:gd name="T83" fmla="*/ 644 h 662"/>
                <a:gd name="T84" fmla="*/ 447 w 784"/>
                <a:gd name="T85" fmla="*/ 635 h 662"/>
                <a:gd name="T86" fmla="*/ 501 w 784"/>
                <a:gd name="T87" fmla="*/ 637 h 662"/>
                <a:gd name="T88" fmla="*/ 541 w 784"/>
                <a:gd name="T89" fmla="*/ 635 h 662"/>
                <a:gd name="T90" fmla="*/ 557 w 784"/>
                <a:gd name="T91" fmla="*/ 622 h 662"/>
                <a:gd name="T92" fmla="*/ 582 w 784"/>
                <a:gd name="T93" fmla="*/ 609 h 662"/>
                <a:gd name="T94" fmla="*/ 587 w 784"/>
                <a:gd name="T95" fmla="*/ 613 h 662"/>
                <a:gd name="T96" fmla="*/ 624 w 784"/>
                <a:gd name="T97" fmla="*/ 624 h 662"/>
                <a:gd name="T98" fmla="*/ 662 w 784"/>
                <a:gd name="T99" fmla="*/ 619 h 662"/>
                <a:gd name="T100" fmla="*/ 684 w 784"/>
                <a:gd name="T101" fmla="*/ 618 h 662"/>
                <a:gd name="T102" fmla="*/ 708 w 784"/>
                <a:gd name="T103" fmla="*/ 616 h 662"/>
                <a:gd name="T104" fmla="*/ 733 w 784"/>
                <a:gd name="T105" fmla="*/ 595 h 662"/>
                <a:gd name="T106" fmla="*/ 757 w 784"/>
                <a:gd name="T107" fmla="*/ 542 h 662"/>
                <a:gd name="T108" fmla="*/ 782 w 784"/>
                <a:gd name="T109" fmla="*/ 507 h 662"/>
                <a:gd name="T110" fmla="*/ 751 w 784"/>
                <a:gd name="T111" fmla="*/ 473 h 662"/>
                <a:gd name="T112" fmla="*/ 720 w 784"/>
                <a:gd name="T113" fmla="*/ 421 h 662"/>
                <a:gd name="T114" fmla="*/ 744 w 784"/>
                <a:gd name="T115" fmla="*/ 387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4" h="662">
                  <a:moveTo>
                    <a:pt x="757" y="379"/>
                  </a:moveTo>
                  <a:lnTo>
                    <a:pt x="757" y="379"/>
                  </a:lnTo>
                  <a:lnTo>
                    <a:pt x="776" y="379"/>
                  </a:lnTo>
                  <a:lnTo>
                    <a:pt x="782" y="378"/>
                  </a:lnTo>
                  <a:lnTo>
                    <a:pt x="784" y="378"/>
                  </a:lnTo>
                  <a:lnTo>
                    <a:pt x="784" y="376"/>
                  </a:lnTo>
                  <a:lnTo>
                    <a:pt x="784" y="376"/>
                  </a:lnTo>
                  <a:lnTo>
                    <a:pt x="784" y="373"/>
                  </a:lnTo>
                  <a:lnTo>
                    <a:pt x="779" y="369"/>
                  </a:lnTo>
                  <a:lnTo>
                    <a:pt x="776" y="364"/>
                  </a:lnTo>
                  <a:lnTo>
                    <a:pt x="776" y="361"/>
                  </a:lnTo>
                  <a:lnTo>
                    <a:pt x="776" y="358"/>
                  </a:lnTo>
                  <a:lnTo>
                    <a:pt x="776" y="358"/>
                  </a:lnTo>
                  <a:lnTo>
                    <a:pt x="778" y="348"/>
                  </a:lnTo>
                  <a:lnTo>
                    <a:pt x="779" y="338"/>
                  </a:lnTo>
                  <a:lnTo>
                    <a:pt x="779" y="338"/>
                  </a:lnTo>
                  <a:lnTo>
                    <a:pt x="779" y="333"/>
                  </a:lnTo>
                  <a:lnTo>
                    <a:pt x="778" y="332"/>
                  </a:lnTo>
                  <a:lnTo>
                    <a:pt x="773" y="330"/>
                  </a:lnTo>
                  <a:lnTo>
                    <a:pt x="763" y="330"/>
                  </a:lnTo>
                  <a:lnTo>
                    <a:pt x="763" y="330"/>
                  </a:lnTo>
                  <a:lnTo>
                    <a:pt x="752" y="330"/>
                  </a:lnTo>
                  <a:lnTo>
                    <a:pt x="745" y="330"/>
                  </a:lnTo>
                  <a:lnTo>
                    <a:pt x="742" y="329"/>
                  </a:lnTo>
                  <a:lnTo>
                    <a:pt x="739" y="327"/>
                  </a:lnTo>
                  <a:lnTo>
                    <a:pt x="738" y="321"/>
                  </a:lnTo>
                  <a:lnTo>
                    <a:pt x="738" y="321"/>
                  </a:lnTo>
                  <a:lnTo>
                    <a:pt x="733" y="298"/>
                  </a:lnTo>
                  <a:lnTo>
                    <a:pt x="732" y="287"/>
                  </a:lnTo>
                  <a:lnTo>
                    <a:pt x="729" y="283"/>
                  </a:lnTo>
                  <a:lnTo>
                    <a:pt x="726" y="281"/>
                  </a:lnTo>
                  <a:lnTo>
                    <a:pt x="726" y="281"/>
                  </a:lnTo>
                  <a:lnTo>
                    <a:pt x="718" y="281"/>
                  </a:lnTo>
                  <a:lnTo>
                    <a:pt x="713" y="281"/>
                  </a:lnTo>
                  <a:lnTo>
                    <a:pt x="708" y="281"/>
                  </a:lnTo>
                  <a:lnTo>
                    <a:pt x="707" y="280"/>
                  </a:lnTo>
                  <a:lnTo>
                    <a:pt x="707" y="277"/>
                  </a:lnTo>
                  <a:lnTo>
                    <a:pt x="707" y="277"/>
                  </a:lnTo>
                  <a:lnTo>
                    <a:pt x="707" y="273"/>
                  </a:lnTo>
                  <a:lnTo>
                    <a:pt x="708" y="268"/>
                  </a:lnTo>
                  <a:lnTo>
                    <a:pt x="707" y="265"/>
                  </a:lnTo>
                  <a:lnTo>
                    <a:pt x="705" y="262"/>
                  </a:lnTo>
                  <a:lnTo>
                    <a:pt x="696" y="256"/>
                  </a:lnTo>
                  <a:lnTo>
                    <a:pt x="696" y="256"/>
                  </a:lnTo>
                  <a:lnTo>
                    <a:pt x="687" y="252"/>
                  </a:lnTo>
                  <a:lnTo>
                    <a:pt x="674" y="247"/>
                  </a:lnTo>
                  <a:lnTo>
                    <a:pt x="643" y="241"/>
                  </a:lnTo>
                  <a:lnTo>
                    <a:pt x="600" y="234"/>
                  </a:lnTo>
                  <a:lnTo>
                    <a:pt x="600" y="234"/>
                  </a:lnTo>
                  <a:lnTo>
                    <a:pt x="585" y="230"/>
                  </a:lnTo>
                  <a:lnTo>
                    <a:pt x="578" y="227"/>
                  </a:lnTo>
                  <a:lnTo>
                    <a:pt x="576" y="225"/>
                  </a:lnTo>
                  <a:lnTo>
                    <a:pt x="576" y="222"/>
                  </a:lnTo>
                  <a:lnTo>
                    <a:pt x="576" y="222"/>
                  </a:lnTo>
                  <a:lnTo>
                    <a:pt x="579" y="213"/>
                  </a:lnTo>
                  <a:lnTo>
                    <a:pt x="579" y="209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3" y="191"/>
                  </a:lnTo>
                  <a:lnTo>
                    <a:pt x="573" y="187"/>
                  </a:lnTo>
                  <a:lnTo>
                    <a:pt x="573" y="185"/>
                  </a:lnTo>
                  <a:lnTo>
                    <a:pt x="576" y="184"/>
                  </a:lnTo>
                  <a:lnTo>
                    <a:pt x="576" y="184"/>
                  </a:lnTo>
                  <a:lnTo>
                    <a:pt x="579" y="182"/>
                  </a:lnTo>
                  <a:lnTo>
                    <a:pt x="581" y="181"/>
                  </a:lnTo>
                  <a:lnTo>
                    <a:pt x="582" y="175"/>
                  </a:lnTo>
                  <a:lnTo>
                    <a:pt x="585" y="164"/>
                  </a:lnTo>
                  <a:lnTo>
                    <a:pt x="585" y="164"/>
                  </a:lnTo>
                  <a:lnTo>
                    <a:pt x="587" y="161"/>
                  </a:lnTo>
                  <a:lnTo>
                    <a:pt x="591" y="159"/>
                  </a:lnTo>
                  <a:lnTo>
                    <a:pt x="594" y="157"/>
                  </a:lnTo>
                  <a:lnTo>
                    <a:pt x="596" y="154"/>
                  </a:lnTo>
                  <a:lnTo>
                    <a:pt x="596" y="154"/>
                  </a:lnTo>
                  <a:lnTo>
                    <a:pt x="596" y="150"/>
                  </a:lnTo>
                  <a:lnTo>
                    <a:pt x="594" y="145"/>
                  </a:lnTo>
                  <a:lnTo>
                    <a:pt x="591" y="136"/>
                  </a:lnTo>
                  <a:lnTo>
                    <a:pt x="591" y="136"/>
                  </a:lnTo>
                  <a:lnTo>
                    <a:pt x="591" y="133"/>
                  </a:lnTo>
                  <a:lnTo>
                    <a:pt x="593" y="129"/>
                  </a:lnTo>
                  <a:lnTo>
                    <a:pt x="591" y="124"/>
                  </a:lnTo>
                  <a:lnTo>
                    <a:pt x="590" y="123"/>
                  </a:lnTo>
                  <a:lnTo>
                    <a:pt x="588" y="122"/>
                  </a:lnTo>
                  <a:lnTo>
                    <a:pt x="588" y="122"/>
                  </a:lnTo>
                  <a:lnTo>
                    <a:pt x="576" y="119"/>
                  </a:lnTo>
                  <a:lnTo>
                    <a:pt x="572" y="117"/>
                  </a:lnTo>
                  <a:lnTo>
                    <a:pt x="569" y="116"/>
                  </a:lnTo>
                  <a:lnTo>
                    <a:pt x="569" y="116"/>
                  </a:lnTo>
                  <a:lnTo>
                    <a:pt x="560" y="101"/>
                  </a:lnTo>
                  <a:lnTo>
                    <a:pt x="554" y="90"/>
                  </a:lnTo>
                  <a:lnTo>
                    <a:pt x="551" y="87"/>
                  </a:lnTo>
                  <a:lnTo>
                    <a:pt x="547" y="84"/>
                  </a:lnTo>
                  <a:lnTo>
                    <a:pt x="547" y="84"/>
                  </a:lnTo>
                  <a:lnTo>
                    <a:pt x="544" y="83"/>
                  </a:lnTo>
                  <a:lnTo>
                    <a:pt x="539" y="83"/>
                  </a:lnTo>
                  <a:lnTo>
                    <a:pt x="527" y="86"/>
                  </a:lnTo>
                  <a:lnTo>
                    <a:pt x="499" y="98"/>
                  </a:lnTo>
                  <a:lnTo>
                    <a:pt x="499" y="98"/>
                  </a:lnTo>
                  <a:lnTo>
                    <a:pt x="489" y="104"/>
                  </a:lnTo>
                  <a:lnTo>
                    <a:pt x="480" y="108"/>
                  </a:lnTo>
                  <a:lnTo>
                    <a:pt x="474" y="113"/>
                  </a:lnTo>
                  <a:lnTo>
                    <a:pt x="470" y="116"/>
                  </a:lnTo>
                  <a:lnTo>
                    <a:pt x="470" y="116"/>
                  </a:lnTo>
                  <a:lnTo>
                    <a:pt x="465" y="114"/>
                  </a:lnTo>
                  <a:lnTo>
                    <a:pt x="461" y="111"/>
                  </a:lnTo>
                  <a:lnTo>
                    <a:pt x="452" y="104"/>
                  </a:lnTo>
                  <a:lnTo>
                    <a:pt x="452" y="104"/>
                  </a:lnTo>
                  <a:lnTo>
                    <a:pt x="449" y="102"/>
                  </a:lnTo>
                  <a:lnTo>
                    <a:pt x="444" y="101"/>
                  </a:lnTo>
                  <a:lnTo>
                    <a:pt x="433" y="98"/>
                  </a:lnTo>
                  <a:lnTo>
                    <a:pt x="422" y="96"/>
                  </a:lnTo>
                  <a:lnTo>
                    <a:pt x="418" y="96"/>
                  </a:lnTo>
                  <a:lnTo>
                    <a:pt x="416" y="95"/>
                  </a:lnTo>
                  <a:lnTo>
                    <a:pt x="416" y="95"/>
                  </a:lnTo>
                  <a:lnTo>
                    <a:pt x="412" y="89"/>
                  </a:lnTo>
                  <a:lnTo>
                    <a:pt x="406" y="79"/>
                  </a:lnTo>
                  <a:lnTo>
                    <a:pt x="406" y="79"/>
                  </a:lnTo>
                  <a:lnTo>
                    <a:pt x="402" y="73"/>
                  </a:lnTo>
                  <a:lnTo>
                    <a:pt x="396" y="70"/>
                  </a:lnTo>
                  <a:lnTo>
                    <a:pt x="385" y="67"/>
                  </a:lnTo>
                  <a:lnTo>
                    <a:pt x="370" y="65"/>
                  </a:lnTo>
                  <a:lnTo>
                    <a:pt x="370" y="65"/>
                  </a:lnTo>
                  <a:lnTo>
                    <a:pt x="354" y="64"/>
                  </a:lnTo>
                  <a:lnTo>
                    <a:pt x="336" y="62"/>
                  </a:lnTo>
                  <a:lnTo>
                    <a:pt x="323" y="58"/>
                  </a:lnTo>
                  <a:lnTo>
                    <a:pt x="319" y="56"/>
                  </a:lnTo>
                  <a:lnTo>
                    <a:pt x="317" y="55"/>
                  </a:lnTo>
                  <a:lnTo>
                    <a:pt x="317" y="55"/>
                  </a:lnTo>
                  <a:lnTo>
                    <a:pt x="319" y="50"/>
                  </a:lnTo>
                  <a:lnTo>
                    <a:pt x="320" y="46"/>
                  </a:lnTo>
                  <a:lnTo>
                    <a:pt x="322" y="40"/>
                  </a:lnTo>
                  <a:lnTo>
                    <a:pt x="320" y="37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3" y="34"/>
                  </a:lnTo>
                  <a:lnTo>
                    <a:pt x="307" y="34"/>
                  </a:lnTo>
                  <a:lnTo>
                    <a:pt x="302" y="34"/>
                  </a:lnTo>
                  <a:lnTo>
                    <a:pt x="298" y="34"/>
                  </a:lnTo>
                  <a:lnTo>
                    <a:pt x="298" y="34"/>
                  </a:lnTo>
                  <a:lnTo>
                    <a:pt x="293" y="33"/>
                  </a:lnTo>
                  <a:lnTo>
                    <a:pt x="288" y="31"/>
                  </a:lnTo>
                  <a:lnTo>
                    <a:pt x="282" y="30"/>
                  </a:lnTo>
                  <a:lnTo>
                    <a:pt x="276" y="27"/>
                  </a:lnTo>
                  <a:lnTo>
                    <a:pt x="276" y="27"/>
                  </a:lnTo>
                  <a:lnTo>
                    <a:pt x="273" y="24"/>
                  </a:lnTo>
                  <a:lnTo>
                    <a:pt x="270" y="24"/>
                  </a:lnTo>
                  <a:lnTo>
                    <a:pt x="264" y="22"/>
                  </a:lnTo>
                  <a:lnTo>
                    <a:pt x="256" y="21"/>
                  </a:lnTo>
                  <a:lnTo>
                    <a:pt x="253" y="19"/>
                  </a:lnTo>
                  <a:lnTo>
                    <a:pt x="249" y="16"/>
                  </a:lnTo>
                  <a:lnTo>
                    <a:pt x="249" y="16"/>
                  </a:lnTo>
                  <a:lnTo>
                    <a:pt x="240" y="7"/>
                  </a:lnTo>
                  <a:lnTo>
                    <a:pt x="227" y="2"/>
                  </a:lnTo>
                  <a:lnTo>
                    <a:pt x="221" y="0"/>
                  </a:lnTo>
                  <a:lnTo>
                    <a:pt x="215" y="0"/>
                  </a:lnTo>
                  <a:lnTo>
                    <a:pt x="209" y="0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0" y="10"/>
                  </a:lnTo>
                  <a:lnTo>
                    <a:pt x="197" y="16"/>
                  </a:lnTo>
                  <a:lnTo>
                    <a:pt x="196" y="25"/>
                  </a:lnTo>
                  <a:lnTo>
                    <a:pt x="196" y="25"/>
                  </a:lnTo>
                  <a:lnTo>
                    <a:pt x="193" y="25"/>
                  </a:lnTo>
                  <a:lnTo>
                    <a:pt x="185" y="25"/>
                  </a:lnTo>
                  <a:lnTo>
                    <a:pt x="178" y="27"/>
                  </a:lnTo>
                  <a:lnTo>
                    <a:pt x="175" y="28"/>
                  </a:lnTo>
                  <a:lnTo>
                    <a:pt x="174" y="33"/>
                  </a:lnTo>
                  <a:lnTo>
                    <a:pt x="174" y="33"/>
                  </a:lnTo>
                  <a:lnTo>
                    <a:pt x="172" y="40"/>
                  </a:lnTo>
                  <a:lnTo>
                    <a:pt x="171" y="47"/>
                  </a:lnTo>
                  <a:lnTo>
                    <a:pt x="171" y="53"/>
                  </a:lnTo>
                  <a:lnTo>
                    <a:pt x="169" y="58"/>
                  </a:lnTo>
                  <a:lnTo>
                    <a:pt x="169" y="58"/>
                  </a:lnTo>
                  <a:lnTo>
                    <a:pt x="166" y="61"/>
                  </a:lnTo>
                  <a:lnTo>
                    <a:pt x="160" y="62"/>
                  </a:lnTo>
                  <a:lnTo>
                    <a:pt x="157" y="64"/>
                  </a:lnTo>
                  <a:lnTo>
                    <a:pt x="156" y="65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63" y="74"/>
                  </a:lnTo>
                  <a:lnTo>
                    <a:pt x="163" y="77"/>
                  </a:lnTo>
                  <a:lnTo>
                    <a:pt x="163" y="82"/>
                  </a:lnTo>
                  <a:lnTo>
                    <a:pt x="163" y="82"/>
                  </a:lnTo>
                  <a:lnTo>
                    <a:pt x="162" y="89"/>
                  </a:lnTo>
                  <a:lnTo>
                    <a:pt x="159" y="96"/>
                  </a:lnTo>
                  <a:lnTo>
                    <a:pt x="154" y="102"/>
                  </a:lnTo>
                  <a:lnTo>
                    <a:pt x="151" y="104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45" y="107"/>
                  </a:lnTo>
                  <a:lnTo>
                    <a:pt x="144" y="108"/>
                  </a:lnTo>
                  <a:lnTo>
                    <a:pt x="141" y="114"/>
                  </a:lnTo>
                  <a:lnTo>
                    <a:pt x="138" y="119"/>
                  </a:lnTo>
                  <a:lnTo>
                    <a:pt x="136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25" y="116"/>
                  </a:lnTo>
                  <a:lnTo>
                    <a:pt x="120" y="114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104" y="123"/>
                  </a:lnTo>
                  <a:lnTo>
                    <a:pt x="99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1" y="124"/>
                  </a:lnTo>
                  <a:lnTo>
                    <a:pt x="88" y="126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2" y="130"/>
                  </a:lnTo>
                  <a:lnTo>
                    <a:pt x="77" y="132"/>
                  </a:lnTo>
                  <a:lnTo>
                    <a:pt x="74" y="133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64" y="161"/>
                  </a:lnTo>
                  <a:lnTo>
                    <a:pt x="64" y="161"/>
                  </a:lnTo>
                  <a:lnTo>
                    <a:pt x="61" y="170"/>
                  </a:lnTo>
                  <a:lnTo>
                    <a:pt x="57" y="175"/>
                  </a:lnTo>
                  <a:lnTo>
                    <a:pt x="55" y="176"/>
                  </a:lnTo>
                  <a:lnTo>
                    <a:pt x="51" y="178"/>
                  </a:lnTo>
                  <a:lnTo>
                    <a:pt x="51" y="178"/>
                  </a:lnTo>
                  <a:lnTo>
                    <a:pt x="39" y="179"/>
                  </a:lnTo>
                  <a:lnTo>
                    <a:pt x="34" y="181"/>
                  </a:lnTo>
                  <a:lnTo>
                    <a:pt x="31" y="184"/>
                  </a:lnTo>
                  <a:lnTo>
                    <a:pt x="31" y="184"/>
                  </a:lnTo>
                  <a:lnTo>
                    <a:pt x="27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7" y="196"/>
                  </a:lnTo>
                  <a:lnTo>
                    <a:pt x="27" y="196"/>
                  </a:lnTo>
                  <a:lnTo>
                    <a:pt x="25" y="199"/>
                  </a:lnTo>
                  <a:lnTo>
                    <a:pt x="21" y="201"/>
                  </a:lnTo>
                  <a:lnTo>
                    <a:pt x="21" y="201"/>
                  </a:lnTo>
                  <a:lnTo>
                    <a:pt x="27" y="207"/>
                  </a:lnTo>
                  <a:lnTo>
                    <a:pt x="28" y="209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15" y="213"/>
                  </a:lnTo>
                  <a:lnTo>
                    <a:pt x="12" y="216"/>
                  </a:lnTo>
                  <a:lnTo>
                    <a:pt x="9" y="221"/>
                  </a:lnTo>
                  <a:lnTo>
                    <a:pt x="9" y="221"/>
                  </a:lnTo>
                  <a:lnTo>
                    <a:pt x="6" y="227"/>
                  </a:lnTo>
                  <a:lnTo>
                    <a:pt x="3" y="231"/>
                  </a:lnTo>
                  <a:lnTo>
                    <a:pt x="0" y="236"/>
                  </a:lnTo>
                  <a:lnTo>
                    <a:pt x="0" y="239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2" y="247"/>
                  </a:lnTo>
                  <a:lnTo>
                    <a:pt x="5" y="253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70"/>
                  </a:lnTo>
                  <a:lnTo>
                    <a:pt x="11" y="274"/>
                  </a:lnTo>
                  <a:lnTo>
                    <a:pt x="8" y="281"/>
                  </a:lnTo>
                  <a:lnTo>
                    <a:pt x="5" y="289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8"/>
                  </a:lnTo>
                  <a:lnTo>
                    <a:pt x="3" y="299"/>
                  </a:lnTo>
                  <a:lnTo>
                    <a:pt x="6" y="302"/>
                  </a:lnTo>
                  <a:lnTo>
                    <a:pt x="9" y="305"/>
                  </a:lnTo>
                  <a:lnTo>
                    <a:pt x="11" y="308"/>
                  </a:lnTo>
                  <a:lnTo>
                    <a:pt x="11" y="310"/>
                  </a:lnTo>
                  <a:lnTo>
                    <a:pt x="11" y="310"/>
                  </a:lnTo>
                  <a:lnTo>
                    <a:pt x="5" y="323"/>
                  </a:lnTo>
                  <a:lnTo>
                    <a:pt x="3" y="330"/>
                  </a:lnTo>
                  <a:lnTo>
                    <a:pt x="5" y="333"/>
                  </a:lnTo>
                  <a:lnTo>
                    <a:pt x="6" y="335"/>
                  </a:lnTo>
                  <a:lnTo>
                    <a:pt x="6" y="335"/>
                  </a:lnTo>
                  <a:lnTo>
                    <a:pt x="12" y="338"/>
                  </a:lnTo>
                  <a:lnTo>
                    <a:pt x="15" y="339"/>
                  </a:lnTo>
                  <a:lnTo>
                    <a:pt x="17" y="341"/>
                  </a:lnTo>
                  <a:lnTo>
                    <a:pt x="17" y="342"/>
                  </a:lnTo>
                  <a:lnTo>
                    <a:pt x="15" y="350"/>
                  </a:lnTo>
                  <a:lnTo>
                    <a:pt x="15" y="353"/>
                  </a:lnTo>
                  <a:lnTo>
                    <a:pt x="15" y="353"/>
                  </a:lnTo>
                  <a:lnTo>
                    <a:pt x="24" y="357"/>
                  </a:lnTo>
                  <a:lnTo>
                    <a:pt x="31" y="361"/>
                  </a:lnTo>
                  <a:lnTo>
                    <a:pt x="37" y="366"/>
                  </a:lnTo>
                  <a:lnTo>
                    <a:pt x="37" y="366"/>
                  </a:lnTo>
                  <a:lnTo>
                    <a:pt x="54" y="376"/>
                  </a:lnTo>
                  <a:lnTo>
                    <a:pt x="62" y="382"/>
                  </a:lnTo>
                  <a:lnTo>
                    <a:pt x="71" y="387"/>
                  </a:lnTo>
                  <a:lnTo>
                    <a:pt x="71" y="387"/>
                  </a:lnTo>
                  <a:lnTo>
                    <a:pt x="91" y="395"/>
                  </a:lnTo>
                  <a:lnTo>
                    <a:pt x="99" y="400"/>
                  </a:lnTo>
                  <a:lnTo>
                    <a:pt x="108" y="403"/>
                  </a:lnTo>
                  <a:lnTo>
                    <a:pt x="108" y="403"/>
                  </a:lnTo>
                  <a:lnTo>
                    <a:pt x="125" y="407"/>
                  </a:lnTo>
                  <a:lnTo>
                    <a:pt x="131" y="409"/>
                  </a:lnTo>
                  <a:lnTo>
                    <a:pt x="135" y="412"/>
                  </a:lnTo>
                  <a:lnTo>
                    <a:pt x="135" y="412"/>
                  </a:lnTo>
                  <a:lnTo>
                    <a:pt x="135" y="415"/>
                  </a:lnTo>
                  <a:lnTo>
                    <a:pt x="136" y="421"/>
                  </a:lnTo>
                  <a:lnTo>
                    <a:pt x="139" y="425"/>
                  </a:lnTo>
                  <a:lnTo>
                    <a:pt x="141" y="428"/>
                  </a:lnTo>
                  <a:lnTo>
                    <a:pt x="145" y="430"/>
                  </a:lnTo>
                  <a:lnTo>
                    <a:pt x="145" y="430"/>
                  </a:lnTo>
                  <a:lnTo>
                    <a:pt x="154" y="434"/>
                  </a:lnTo>
                  <a:lnTo>
                    <a:pt x="163" y="440"/>
                  </a:lnTo>
                  <a:lnTo>
                    <a:pt x="181" y="453"/>
                  </a:lnTo>
                  <a:lnTo>
                    <a:pt x="181" y="453"/>
                  </a:lnTo>
                  <a:lnTo>
                    <a:pt x="193" y="464"/>
                  </a:lnTo>
                  <a:lnTo>
                    <a:pt x="199" y="468"/>
                  </a:lnTo>
                  <a:lnTo>
                    <a:pt x="202" y="475"/>
                  </a:lnTo>
                  <a:lnTo>
                    <a:pt x="202" y="475"/>
                  </a:lnTo>
                  <a:lnTo>
                    <a:pt x="206" y="495"/>
                  </a:lnTo>
                  <a:lnTo>
                    <a:pt x="211" y="514"/>
                  </a:lnTo>
                  <a:lnTo>
                    <a:pt x="211" y="514"/>
                  </a:lnTo>
                  <a:lnTo>
                    <a:pt x="212" y="521"/>
                  </a:lnTo>
                  <a:lnTo>
                    <a:pt x="215" y="526"/>
                  </a:lnTo>
                  <a:lnTo>
                    <a:pt x="219" y="529"/>
                  </a:lnTo>
                  <a:lnTo>
                    <a:pt x="227" y="530"/>
                  </a:lnTo>
                  <a:lnTo>
                    <a:pt x="227" y="530"/>
                  </a:lnTo>
                  <a:lnTo>
                    <a:pt x="255" y="530"/>
                  </a:lnTo>
                  <a:lnTo>
                    <a:pt x="270" y="532"/>
                  </a:lnTo>
                  <a:lnTo>
                    <a:pt x="279" y="532"/>
                  </a:lnTo>
                  <a:lnTo>
                    <a:pt x="279" y="532"/>
                  </a:lnTo>
                  <a:lnTo>
                    <a:pt x="280" y="533"/>
                  </a:lnTo>
                  <a:lnTo>
                    <a:pt x="282" y="536"/>
                  </a:lnTo>
                  <a:lnTo>
                    <a:pt x="283" y="544"/>
                  </a:lnTo>
                  <a:lnTo>
                    <a:pt x="288" y="560"/>
                  </a:lnTo>
                  <a:lnTo>
                    <a:pt x="288" y="560"/>
                  </a:lnTo>
                  <a:lnTo>
                    <a:pt x="289" y="563"/>
                  </a:lnTo>
                  <a:lnTo>
                    <a:pt x="292" y="566"/>
                  </a:lnTo>
                  <a:lnTo>
                    <a:pt x="298" y="567"/>
                  </a:lnTo>
                  <a:lnTo>
                    <a:pt x="305" y="567"/>
                  </a:lnTo>
                  <a:lnTo>
                    <a:pt x="313" y="567"/>
                  </a:lnTo>
                  <a:lnTo>
                    <a:pt x="313" y="567"/>
                  </a:lnTo>
                  <a:lnTo>
                    <a:pt x="319" y="567"/>
                  </a:lnTo>
                  <a:lnTo>
                    <a:pt x="326" y="567"/>
                  </a:lnTo>
                  <a:lnTo>
                    <a:pt x="341" y="570"/>
                  </a:lnTo>
                  <a:lnTo>
                    <a:pt x="341" y="570"/>
                  </a:lnTo>
                  <a:lnTo>
                    <a:pt x="357" y="572"/>
                  </a:lnTo>
                  <a:lnTo>
                    <a:pt x="365" y="573"/>
                  </a:lnTo>
                  <a:lnTo>
                    <a:pt x="369" y="573"/>
                  </a:lnTo>
                  <a:lnTo>
                    <a:pt x="369" y="573"/>
                  </a:lnTo>
                  <a:lnTo>
                    <a:pt x="369" y="570"/>
                  </a:lnTo>
                  <a:lnTo>
                    <a:pt x="369" y="566"/>
                  </a:lnTo>
                  <a:lnTo>
                    <a:pt x="370" y="561"/>
                  </a:lnTo>
                  <a:lnTo>
                    <a:pt x="372" y="560"/>
                  </a:lnTo>
                  <a:lnTo>
                    <a:pt x="375" y="558"/>
                  </a:lnTo>
                  <a:lnTo>
                    <a:pt x="375" y="558"/>
                  </a:lnTo>
                  <a:lnTo>
                    <a:pt x="382" y="558"/>
                  </a:lnTo>
                  <a:lnTo>
                    <a:pt x="387" y="560"/>
                  </a:lnTo>
                  <a:lnTo>
                    <a:pt x="391" y="563"/>
                  </a:lnTo>
                  <a:lnTo>
                    <a:pt x="394" y="567"/>
                  </a:lnTo>
                  <a:lnTo>
                    <a:pt x="394" y="567"/>
                  </a:lnTo>
                  <a:lnTo>
                    <a:pt x="397" y="572"/>
                  </a:lnTo>
                  <a:lnTo>
                    <a:pt x="400" y="579"/>
                  </a:lnTo>
                  <a:lnTo>
                    <a:pt x="402" y="585"/>
                  </a:lnTo>
                  <a:lnTo>
                    <a:pt x="400" y="588"/>
                  </a:lnTo>
                  <a:lnTo>
                    <a:pt x="399" y="590"/>
                  </a:lnTo>
                  <a:lnTo>
                    <a:pt x="399" y="590"/>
                  </a:lnTo>
                  <a:lnTo>
                    <a:pt x="393" y="590"/>
                  </a:lnTo>
                  <a:lnTo>
                    <a:pt x="390" y="590"/>
                  </a:lnTo>
                  <a:lnTo>
                    <a:pt x="388" y="590"/>
                  </a:lnTo>
                  <a:lnTo>
                    <a:pt x="388" y="591"/>
                  </a:lnTo>
                  <a:lnTo>
                    <a:pt x="388" y="598"/>
                  </a:lnTo>
                  <a:lnTo>
                    <a:pt x="388" y="598"/>
                  </a:lnTo>
                  <a:lnTo>
                    <a:pt x="390" y="624"/>
                  </a:lnTo>
                  <a:lnTo>
                    <a:pt x="390" y="635"/>
                  </a:lnTo>
                  <a:lnTo>
                    <a:pt x="388" y="640"/>
                  </a:lnTo>
                  <a:lnTo>
                    <a:pt x="387" y="643"/>
                  </a:lnTo>
                  <a:lnTo>
                    <a:pt x="387" y="643"/>
                  </a:lnTo>
                  <a:lnTo>
                    <a:pt x="378" y="652"/>
                  </a:lnTo>
                  <a:lnTo>
                    <a:pt x="375" y="655"/>
                  </a:lnTo>
                  <a:lnTo>
                    <a:pt x="373" y="656"/>
                  </a:lnTo>
                  <a:lnTo>
                    <a:pt x="373" y="658"/>
                  </a:lnTo>
                  <a:lnTo>
                    <a:pt x="373" y="658"/>
                  </a:lnTo>
                  <a:lnTo>
                    <a:pt x="387" y="661"/>
                  </a:lnTo>
                  <a:lnTo>
                    <a:pt x="394" y="662"/>
                  </a:lnTo>
                  <a:lnTo>
                    <a:pt x="400" y="661"/>
                  </a:lnTo>
                  <a:lnTo>
                    <a:pt x="400" y="661"/>
                  </a:lnTo>
                  <a:lnTo>
                    <a:pt x="403" y="658"/>
                  </a:lnTo>
                  <a:lnTo>
                    <a:pt x="406" y="652"/>
                  </a:lnTo>
                  <a:lnTo>
                    <a:pt x="409" y="646"/>
                  </a:lnTo>
                  <a:lnTo>
                    <a:pt x="412" y="644"/>
                  </a:lnTo>
                  <a:lnTo>
                    <a:pt x="415" y="644"/>
                  </a:lnTo>
                  <a:lnTo>
                    <a:pt x="415" y="644"/>
                  </a:lnTo>
                  <a:lnTo>
                    <a:pt x="425" y="644"/>
                  </a:lnTo>
                  <a:lnTo>
                    <a:pt x="428" y="644"/>
                  </a:lnTo>
                  <a:lnTo>
                    <a:pt x="431" y="641"/>
                  </a:lnTo>
                  <a:lnTo>
                    <a:pt x="431" y="641"/>
                  </a:lnTo>
                  <a:lnTo>
                    <a:pt x="434" y="637"/>
                  </a:lnTo>
                  <a:lnTo>
                    <a:pt x="437" y="635"/>
                  </a:lnTo>
                  <a:lnTo>
                    <a:pt x="442" y="634"/>
                  </a:lnTo>
                  <a:lnTo>
                    <a:pt x="447" y="635"/>
                  </a:lnTo>
                  <a:lnTo>
                    <a:pt x="447" y="635"/>
                  </a:lnTo>
                  <a:lnTo>
                    <a:pt x="456" y="640"/>
                  </a:lnTo>
                  <a:lnTo>
                    <a:pt x="461" y="641"/>
                  </a:lnTo>
                  <a:lnTo>
                    <a:pt x="465" y="643"/>
                  </a:lnTo>
                  <a:lnTo>
                    <a:pt x="465" y="643"/>
                  </a:lnTo>
                  <a:lnTo>
                    <a:pt x="470" y="643"/>
                  </a:lnTo>
                  <a:lnTo>
                    <a:pt x="470" y="643"/>
                  </a:lnTo>
                  <a:lnTo>
                    <a:pt x="487" y="641"/>
                  </a:lnTo>
                  <a:lnTo>
                    <a:pt x="496" y="640"/>
                  </a:lnTo>
                  <a:lnTo>
                    <a:pt x="501" y="637"/>
                  </a:lnTo>
                  <a:lnTo>
                    <a:pt x="501" y="637"/>
                  </a:lnTo>
                  <a:lnTo>
                    <a:pt x="507" y="630"/>
                  </a:lnTo>
                  <a:lnTo>
                    <a:pt x="510" y="628"/>
                  </a:lnTo>
                  <a:lnTo>
                    <a:pt x="514" y="630"/>
                  </a:lnTo>
                  <a:lnTo>
                    <a:pt x="514" y="630"/>
                  </a:lnTo>
                  <a:lnTo>
                    <a:pt x="521" y="634"/>
                  </a:lnTo>
                  <a:lnTo>
                    <a:pt x="530" y="635"/>
                  </a:lnTo>
                  <a:lnTo>
                    <a:pt x="538" y="635"/>
                  </a:lnTo>
                  <a:lnTo>
                    <a:pt x="541" y="635"/>
                  </a:lnTo>
                  <a:lnTo>
                    <a:pt x="541" y="632"/>
                  </a:lnTo>
                  <a:lnTo>
                    <a:pt x="541" y="632"/>
                  </a:lnTo>
                  <a:lnTo>
                    <a:pt x="542" y="628"/>
                  </a:lnTo>
                  <a:lnTo>
                    <a:pt x="545" y="624"/>
                  </a:lnTo>
                  <a:lnTo>
                    <a:pt x="550" y="621"/>
                  </a:lnTo>
                  <a:lnTo>
                    <a:pt x="551" y="619"/>
                  </a:lnTo>
                  <a:lnTo>
                    <a:pt x="553" y="621"/>
                  </a:lnTo>
                  <a:lnTo>
                    <a:pt x="553" y="621"/>
                  </a:lnTo>
                  <a:lnTo>
                    <a:pt x="557" y="622"/>
                  </a:lnTo>
                  <a:lnTo>
                    <a:pt x="560" y="625"/>
                  </a:lnTo>
                  <a:lnTo>
                    <a:pt x="563" y="627"/>
                  </a:lnTo>
                  <a:lnTo>
                    <a:pt x="566" y="627"/>
                  </a:lnTo>
                  <a:lnTo>
                    <a:pt x="566" y="627"/>
                  </a:lnTo>
                  <a:lnTo>
                    <a:pt x="570" y="624"/>
                  </a:lnTo>
                  <a:lnTo>
                    <a:pt x="578" y="619"/>
                  </a:lnTo>
                  <a:lnTo>
                    <a:pt x="578" y="619"/>
                  </a:lnTo>
                  <a:lnTo>
                    <a:pt x="581" y="615"/>
                  </a:lnTo>
                  <a:lnTo>
                    <a:pt x="582" y="609"/>
                  </a:lnTo>
                  <a:lnTo>
                    <a:pt x="584" y="604"/>
                  </a:lnTo>
                  <a:lnTo>
                    <a:pt x="585" y="603"/>
                  </a:lnTo>
                  <a:lnTo>
                    <a:pt x="585" y="603"/>
                  </a:lnTo>
                  <a:lnTo>
                    <a:pt x="587" y="603"/>
                  </a:lnTo>
                  <a:lnTo>
                    <a:pt x="585" y="604"/>
                  </a:lnTo>
                  <a:lnTo>
                    <a:pt x="584" y="607"/>
                  </a:lnTo>
                  <a:lnTo>
                    <a:pt x="584" y="609"/>
                  </a:lnTo>
                  <a:lnTo>
                    <a:pt x="585" y="612"/>
                  </a:lnTo>
                  <a:lnTo>
                    <a:pt x="587" y="613"/>
                  </a:lnTo>
                  <a:lnTo>
                    <a:pt x="591" y="613"/>
                  </a:lnTo>
                  <a:lnTo>
                    <a:pt x="591" y="613"/>
                  </a:lnTo>
                  <a:lnTo>
                    <a:pt x="612" y="615"/>
                  </a:lnTo>
                  <a:lnTo>
                    <a:pt x="621" y="613"/>
                  </a:lnTo>
                  <a:lnTo>
                    <a:pt x="621" y="613"/>
                  </a:lnTo>
                  <a:lnTo>
                    <a:pt x="621" y="619"/>
                  </a:lnTo>
                  <a:lnTo>
                    <a:pt x="621" y="622"/>
                  </a:lnTo>
                  <a:lnTo>
                    <a:pt x="622" y="624"/>
                  </a:lnTo>
                  <a:lnTo>
                    <a:pt x="624" y="624"/>
                  </a:lnTo>
                  <a:lnTo>
                    <a:pt x="624" y="624"/>
                  </a:lnTo>
                  <a:lnTo>
                    <a:pt x="630" y="624"/>
                  </a:lnTo>
                  <a:lnTo>
                    <a:pt x="634" y="622"/>
                  </a:lnTo>
                  <a:lnTo>
                    <a:pt x="644" y="619"/>
                  </a:lnTo>
                  <a:lnTo>
                    <a:pt x="644" y="619"/>
                  </a:lnTo>
                  <a:lnTo>
                    <a:pt x="655" y="616"/>
                  </a:lnTo>
                  <a:lnTo>
                    <a:pt x="659" y="616"/>
                  </a:lnTo>
                  <a:lnTo>
                    <a:pt x="661" y="618"/>
                  </a:lnTo>
                  <a:lnTo>
                    <a:pt x="662" y="619"/>
                  </a:lnTo>
                  <a:lnTo>
                    <a:pt x="662" y="619"/>
                  </a:lnTo>
                  <a:lnTo>
                    <a:pt x="665" y="622"/>
                  </a:lnTo>
                  <a:lnTo>
                    <a:pt x="668" y="625"/>
                  </a:lnTo>
                  <a:lnTo>
                    <a:pt x="671" y="627"/>
                  </a:lnTo>
                  <a:lnTo>
                    <a:pt x="674" y="625"/>
                  </a:lnTo>
                  <a:lnTo>
                    <a:pt x="674" y="625"/>
                  </a:lnTo>
                  <a:lnTo>
                    <a:pt x="678" y="622"/>
                  </a:lnTo>
                  <a:lnTo>
                    <a:pt x="681" y="619"/>
                  </a:lnTo>
                  <a:lnTo>
                    <a:pt x="684" y="618"/>
                  </a:lnTo>
                  <a:lnTo>
                    <a:pt x="684" y="618"/>
                  </a:lnTo>
                  <a:lnTo>
                    <a:pt x="689" y="618"/>
                  </a:lnTo>
                  <a:lnTo>
                    <a:pt x="690" y="619"/>
                  </a:lnTo>
                  <a:lnTo>
                    <a:pt x="692" y="621"/>
                  </a:lnTo>
                  <a:lnTo>
                    <a:pt x="696" y="622"/>
                  </a:lnTo>
                  <a:lnTo>
                    <a:pt x="696" y="622"/>
                  </a:lnTo>
                  <a:lnTo>
                    <a:pt x="701" y="621"/>
                  </a:lnTo>
                  <a:lnTo>
                    <a:pt x="705" y="619"/>
                  </a:lnTo>
                  <a:lnTo>
                    <a:pt x="708" y="616"/>
                  </a:lnTo>
                  <a:lnTo>
                    <a:pt x="713" y="616"/>
                  </a:lnTo>
                  <a:lnTo>
                    <a:pt x="713" y="616"/>
                  </a:lnTo>
                  <a:lnTo>
                    <a:pt x="721" y="618"/>
                  </a:lnTo>
                  <a:lnTo>
                    <a:pt x="729" y="619"/>
                  </a:lnTo>
                  <a:lnTo>
                    <a:pt x="729" y="619"/>
                  </a:lnTo>
                  <a:lnTo>
                    <a:pt x="730" y="616"/>
                  </a:lnTo>
                  <a:lnTo>
                    <a:pt x="732" y="609"/>
                  </a:lnTo>
                  <a:lnTo>
                    <a:pt x="733" y="595"/>
                  </a:lnTo>
                  <a:lnTo>
                    <a:pt x="733" y="595"/>
                  </a:lnTo>
                  <a:lnTo>
                    <a:pt x="732" y="585"/>
                  </a:lnTo>
                  <a:lnTo>
                    <a:pt x="732" y="576"/>
                  </a:lnTo>
                  <a:lnTo>
                    <a:pt x="732" y="576"/>
                  </a:lnTo>
                  <a:lnTo>
                    <a:pt x="732" y="575"/>
                  </a:lnTo>
                  <a:lnTo>
                    <a:pt x="733" y="572"/>
                  </a:lnTo>
                  <a:lnTo>
                    <a:pt x="739" y="564"/>
                  </a:lnTo>
                  <a:lnTo>
                    <a:pt x="739" y="564"/>
                  </a:lnTo>
                  <a:lnTo>
                    <a:pt x="745" y="554"/>
                  </a:lnTo>
                  <a:lnTo>
                    <a:pt x="757" y="542"/>
                  </a:lnTo>
                  <a:lnTo>
                    <a:pt x="757" y="542"/>
                  </a:lnTo>
                  <a:lnTo>
                    <a:pt x="767" y="533"/>
                  </a:lnTo>
                  <a:lnTo>
                    <a:pt x="775" y="526"/>
                  </a:lnTo>
                  <a:lnTo>
                    <a:pt x="775" y="526"/>
                  </a:lnTo>
                  <a:lnTo>
                    <a:pt x="779" y="521"/>
                  </a:lnTo>
                  <a:lnTo>
                    <a:pt x="782" y="517"/>
                  </a:lnTo>
                  <a:lnTo>
                    <a:pt x="782" y="512"/>
                  </a:lnTo>
                  <a:lnTo>
                    <a:pt x="782" y="507"/>
                  </a:lnTo>
                  <a:lnTo>
                    <a:pt x="782" y="507"/>
                  </a:lnTo>
                  <a:lnTo>
                    <a:pt x="779" y="501"/>
                  </a:lnTo>
                  <a:lnTo>
                    <a:pt x="776" y="499"/>
                  </a:lnTo>
                  <a:lnTo>
                    <a:pt x="773" y="496"/>
                  </a:lnTo>
                  <a:lnTo>
                    <a:pt x="769" y="492"/>
                  </a:lnTo>
                  <a:lnTo>
                    <a:pt x="769" y="492"/>
                  </a:lnTo>
                  <a:lnTo>
                    <a:pt x="764" y="486"/>
                  </a:lnTo>
                  <a:lnTo>
                    <a:pt x="760" y="480"/>
                  </a:lnTo>
                  <a:lnTo>
                    <a:pt x="755" y="474"/>
                  </a:lnTo>
                  <a:lnTo>
                    <a:pt x="751" y="473"/>
                  </a:lnTo>
                  <a:lnTo>
                    <a:pt x="747" y="471"/>
                  </a:lnTo>
                  <a:lnTo>
                    <a:pt x="747" y="471"/>
                  </a:lnTo>
                  <a:lnTo>
                    <a:pt x="726" y="465"/>
                  </a:lnTo>
                  <a:lnTo>
                    <a:pt x="718" y="462"/>
                  </a:lnTo>
                  <a:lnTo>
                    <a:pt x="715" y="459"/>
                  </a:lnTo>
                  <a:lnTo>
                    <a:pt x="715" y="456"/>
                  </a:lnTo>
                  <a:lnTo>
                    <a:pt x="715" y="456"/>
                  </a:lnTo>
                  <a:lnTo>
                    <a:pt x="717" y="434"/>
                  </a:lnTo>
                  <a:lnTo>
                    <a:pt x="720" y="421"/>
                  </a:lnTo>
                  <a:lnTo>
                    <a:pt x="721" y="413"/>
                  </a:lnTo>
                  <a:lnTo>
                    <a:pt x="721" y="413"/>
                  </a:lnTo>
                  <a:lnTo>
                    <a:pt x="726" y="410"/>
                  </a:lnTo>
                  <a:lnTo>
                    <a:pt x="729" y="407"/>
                  </a:lnTo>
                  <a:lnTo>
                    <a:pt x="735" y="403"/>
                  </a:lnTo>
                  <a:lnTo>
                    <a:pt x="739" y="398"/>
                  </a:lnTo>
                  <a:lnTo>
                    <a:pt x="739" y="398"/>
                  </a:lnTo>
                  <a:lnTo>
                    <a:pt x="742" y="393"/>
                  </a:lnTo>
                  <a:lnTo>
                    <a:pt x="744" y="387"/>
                  </a:lnTo>
                  <a:lnTo>
                    <a:pt x="745" y="384"/>
                  </a:lnTo>
                  <a:lnTo>
                    <a:pt x="748" y="382"/>
                  </a:lnTo>
                  <a:lnTo>
                    <a:pt x="751" y="381"/>
                  </a:lnTo>
                  <a:lnTo>
                    <a:pt x="757" y="379"/>
                  </a:lnTo>
                  <a:lnTo>
                    <a:pt x="757" y="37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39" name="Freeform 18">
              <a:extLst>
                <a:ext uri="{FF2B5EF4-FFF2-40B4-BE49-F238E27FC236}">
                  <a16:creationId xmlns:a16="http://schemas.microsoft.com/office/drawing/2014/main" id="{66F0A24C-311D-054F-BB86-B1E6F39E08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3998913"/>
              <a:ext cx="747713" cy="598487"/>
            </a:xfrm>
            <a:custGeom>
              <a:avLst/>
              <a:gdLst>
                <a:gd name="T0" fmla="*/ 123 w 471"/>
                <a:gd name="T1" fmla="*/ 247 h 377"/>
                <a:gd name="T2" fmla="*/ 138 w 471"/>
                <a:gd name="T3" fmla="*/ 256 h 377"/>
                <a:gd name="T4" fmla="*/ 145 w 471"/>
                <a:gd name="T5" fmla="*/ 272 h 377"/>
                <a:gd name="T6" fmla="*/ 180 w 471"/>
                <a:gd name="T7" fmla="*/ 269 h 377"/>
                <a:gd name="T8" fmla="*/ 210 w 471"/>
                <a:gd name="T9" fmla="*/ 259 h 377"/>
                <a:gd name="T10" fmla="*/ 203 w 471"/>
                <a:gd name="T11" fmla="*/ 269 h 377"/>
                <a:gd name="T12" fmla="*/ 219 w 471"/>
                <a:gd name="T13" fmla="*/ 288 h 377"/>
                <a:gd name="T14" fmla="*/ 255 w 471"/>
                <a:gd name="T15" fmla="*/ 312 h 377"/>
                <a:gd name="T16" fmla="*/ 266 w 471"/>
                <a:gd name="T17" fmla="*/ 331 h 377"/>
                <a:gd name="T18" fmla="*/ 281 w 471"/>
                <a:gd name="T19" fmla="*/ 325 h 377"/>
                <a:gd name="T20" fmla="*/ 300 w 471"/>
                <a:gd name="T21" fmla="*/ 333 h 377"/>
                <a:gd name="T22" fmla="*/ 315 w 471"/>
                <a:gd name="T23" fmla="*/ 331 h 377"/>
                <a:gd name="T24" fmla="*/ 330 w 471"/>
                <a:gd name="T25" fmla="*/ 337 h 377"/>
                <a:gd name="T26" fmla="*/ 327 w 471"/>
                <a:gd name="T27" fmla="*/ 354 h 377"/>
                <a:gd name="T28" fmla="*/ 333 w 471"/>
                <a:gd name="T29" fmla="*/ 370 h 377"/>
                <a:gd name="T30" fmla="*/ 346 w 471"/>
                <a:gd name="T31" fmla="*/ 370 h 377"/>
                <a:gd name="T32" fmla="*/ 361 w 471"/>
                <a:gd name="T33" fmla="*/ 354 h 377"/>
                <a:gd name="T34" fmla="*/ 374 w 471"/>
                <a:gd name="T35" fmla="*/ 339 h 377"/>
                <a:gd name="T36" fmla="*/ 380 w 471"/>
                <a:gd name="T37" fmla="*/ 314 h 377"/>
                <a:gd name="T38" fmla="*/ 386 w 471"/>
                <a:gd name="T39" fmla="*/ 283 h 377"/>
                <a:gd name="T40" fmla="*/ 392 w 471"/>
                <a:gd name="T41" fmla="*/ 259 h 377"/>
                <a:gd name="T42" fmla="*/ 406 w 471"/>
                <a:gd name="T43" fmla="*/ 247 h 377"/>
                <a:gd name="T44" fmla="*/ 426 w 471"/>
                <a:gd name="T45" fmla="*/ 257 h 377"/>
                <a:gd name="T46" fmla="*/ 432 w 471"/>
                <a:gd name="T47" fmla="*/ 235 h 377"/>
                <a:gd name="T48" fmla="*/ 462 w 471"/>
                <a:gd name="T49" fmla="*/ 226 h 377"/>
                <a:gd name="T50" fmla="*/ 468 w 471"/>
                <a:gd name="T51" fmla="*/ 200 h 377"/>
                <a:gd name="T52" fmla="*/ 469 w 471"/>
                <a:gd name="T53" fmla="*/ 180 h 377"/>
                <a:gd name="T54" fmla="*/ 437 w 471"/>
                <a:gd name="T55" fmla="*/ 166 h 377"/>
                <a:gd name="T56" fmla="*/ 422 w 471"/>
                <a:gd name="T57" fmla="*/ 158 h 377"/>
                <a:gd name="T58" fmla="*/ 404 w 471"/>
                <a:gd name="T59" fmla="*/ 149 h 377"/>
                <a:gd name="T60" fmla="*/ 394 w 471"/>
                <a:gd name="T61" fmla="*/ 134 h 377"/>
                <a:gd name="T62" fmla="*/ 374 w 471"/>
                <a:gd name="T63" fmla="*/ 127 h 377"/>
                <a:gd name="T64" fmla="*/ 354 w 471"/>
                <a:gd name="T65" fmla="*/ 127 h 377"/>
                <a:gd name="T66" fmla="*/ 348 w 471"/>
                <a:gd name="T67" fmla="*/ 109 h 377"/>
                <a:gd name="T68" fmla="*/ 326 w 471"/>
                <a:gd name="T69" fmla="*/ 103 h 377"/>
                <a:gd name="T70" fmla="*/ 317 w 471"/>
                <a:gd name="T71" fmla="*/ 65 h 377"/>
                <a:gd name="T72" fmla="*/ 294 w 471"/>
                <a:gd name="T73" fmla="*/ 57 h 377"/>
                <a:gd name="T74" fmla="*/ 283 w 471"/>
                <a:gd name="T75" fmla="*/ 69 h 377"/>
                <a:gd name="T76" fmla="*/ 253 w 471"/>
                <a:gd name="T77" fmla="*/ 75 h 377"/>
                <a:gd name="T78" fmla="*/ 231 w 471"/>
                <a:gd name="T79" fmla="*/ 71 h 377"/>
                <a:gd name="T80" fmla="*/ 217 w 471"/>
                <a:gd name="T81" fmla="*/ 77 h 377"/>
                <a:gd name="T82" fmla="*/ 213 w 471"/>
                <a:gd name="T83" fmla="*/ 69 h 377"/>
                <a:gd name="T84" fmla="*/ 206 w 471"/>
                <a:gd name="T85" fmla="*/ 57 h 377"/>
                <a:gd name="T86" fmla="*/ 188 w 471"/>
                <a:gd name="T87" fmla="*/ 53 h 377"/>
                <a:gd name="T88" fmla="*/ 172 w 471"/>
                <a:gd name="T89" fmla="*/ 41 h 377"/>
                <a:gd name="T90" fmla="*/ 146 w 471"/>
                <a:gd name="T91" fmla="*/ 37 h 377"/>
                <a:gd name="T92" fmla="*/ 129 w 471"/>
                <a:gd name="T93" fmla="*/ 28 h 377"/>
                <a:gd name="T94" fmla="*/ 109 w 471"/>
                <a:gd name="T95" fmla="*/ 4 h 377"/>
                <a:gd name="T96" fmla="*/ 77 w 471"/>
                <a:gd name="T97" fmla="*/ 3 h 377"/>
                <a:gd name="T98" fmla="*/ 59 w 471"/>
                <a:gd name="T99" fmla="*/ 29 h 377"/>
                <a:gd name="T100" fmla="*/ 63 w 471"/>
                <a:gd name="T101" fmla="*/ 54 h 377"/>
                <a:gd name="T102" fmla="*/ 32 w 471"/>
                <a:gd name="T103" fmla="*/ 72 h 377"/>
                <a:gd name="T104" fmla="*/ 0 w 471"/>
                <a:gd name="T105" fmla="*/ 91 h 377"/>
                <a:gd name="T106" fmla="*/ 3 w 471"/>
                <a:gd name="T107" fmla="*/ 102 h 377"/>
                <a:gd name="T108" fmla="*/ 18 w 471"/>
                <a:gd name="T109" fmla="*/ 117 h 377"/>
                <a:gd name="T110" fmla="*/ 10 w 471"/>
                <a:gd name="T111" fmla="*/ 131 h 377"/>
                <a:gd name="T112" fmla="*/ 21 w 471"/>
                <a:gd name="T113" fmla="*/ 145 h 377"/>
                <a:gd name="T114" fmla="*/ 31 w 471"/>
                <a:gd name="T115" fmla="*/ 154 h 377"/>
                <a:gd name="T116" fmla="*/ 56 w 471"/>
                <a:gd name="T117" fmla="*/ 185 h 377"/>
                <a:gd name="T118" fmla="*/ 92 w 471"/>
                <a:gd name="T119" fmla="*/ 192 h 377"/>
                <a:gd name="T120" fmla="*/ 117 w 471"/>
                <a:gd name="T121" fmla="*/ 204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1" h="377">
                  <a:moveTo>
                    <a:pt x="123" y="222"/>
                  </a:moveTo>
                  <a:lnTo>
                    <a:pt x="123" y="222"/>
                  </a:lnTo>
                  <a:lnTo>
                    <a:pt x="123" y="232"/>
                  </a:lnTo>
                  <a:lnTo>
                    <a:pt x="121" y="241"/>
                  </a:lnTo>
                  <a:lnTo>
                    <a:pt x="123" y="247"/>
                  </a:lnTo>
                  <a:lnTo>
                    <a:pt x="124" y="248"/>
                  </a:lnTo>
                  <a:lnTo>
                    <a:pt x="127" y="250"/>
                  </a:lnTo>
                  <a:lnTo>
                    <a:pt x="127" y="250"/>
                  </a:lnTo>
                  <a:lnTo>
                    <a:pt x="133" y="253"/>
                  </a:lnTo>
                  <a:lnTo>
                    <a:pt x="138" y="256"/>
                  </a:lnTo>
                  <a:lnTo>
                    <a:pt x="142" y="259"/>
                  </a:lnTo>
                  <a:lnTo>
                    <a:pt x="143" y="265"/>
                  </a:lnTo>
                  <a:lnTo>
                    <a:pt x="143" y="265"/>
                  </a:lnTo>
                  <a:lnTo>
                    <a:pt x="145" y="272"/>
                  </a:lnTo>
                  <a:lnTo>
                    <a:pt x="145" y="272"/>
                  </a:lnTo>
                  <a:lnTo>
                    <a:pt x="148" y="272"/>
                  </a:lnTo>
                  <a:lnTo>
                    <a:pt x="160" y="272"/>
                  </a:lnTo>
                  <a:lnTo>
                    <a:pt x="160" y="272"/>
                  </a:lnTo>
                  <a:lnTo>
                    <a:pt x="175" y="271"/>
                  </a:lnTo>
                  <a:lnTo>
                    <a:pt x="180" y="269"/>
                  </a:lnTo>
                  <a:lnTo>
                    <a:pt x="189" y="266"/>
                  </a:lnTo>
                  <a:lnTo>
                    <a:pt x="189" y="266"/>
                  </a:lnTo>
                  <a:lnTo>
                    <a:pt x="204" y="259"/>
                  </a:lnTo>
                  <a:lnTo>
                    <a:pt x="209" y="257"/>
                  </a:lnTo>
                  <a:lnTo>
                    <a:pt x="210" y="259"/>
                  </a:lnTo>
                  <a:lnTo>
                    <a:pt x="210" y="260"/>
                  </a:lnTo>
                  <a:lnTo>
                    <a:pt x="210" y="260"/>
                  </a:lnTo>
                  <a:lnTo>
                    <a:pt x="207" y="263"/>
                  </a:lnTo>
                  <a:lnTo>
                    <a:pt x="204" y="268"/>
                  </a:lnTo>
                  <a:lnTo>
                    <a:pt x="203" y="269"/>
                  </a:lnTo>
                  <a:lnTo>
                    <a:pt x="201" y="271"/>
                  </a:lnTo>
                  <a:lnTo>
                    <a:pt x="203" y="274"/>
                  </a:lnTo>
                  <a:lnTo>
                    <a:pt x="204" y="277"/>
                  </a:lnTo>
                  <a:lnTo>
                    <a:pt x="204" y="277"/>
                  </a:lnTo>
                  <a:lnTo>
                    <a:pt x="219" y="288"/>
                  </a:lnTo>
                  <a:lnTo>
                    <a:pt x="235" y="300"/>
                  </a:lnTo>
                  <a:lnTo>
                    <a:pt x="235" y="300"/>
                  </a:lnTo>
                  <a:lnTo>
                    <a:pt x="241" y="305"/>
                  </a:lnTo>
                  <a:lnTo>
                    <a:pt x="249" y="308"/>
                  </a:lnTo>
                  <a:lnTo>
                    <a:pt x="255" y="312"/>
                  </a:lnTo>
                  <a:lnTo>
                    <a:pt x="257" y="317"/>
                  </a:lnTo>
                  <a:lnTo>
                    <a:pt x="257" y="317"/>
                  </a:lnTo>
                  <a:lnTo>
                    <a:pt x="260" y="327"/>
                  </a:lnTo>
                  <a:lnTo>
                    <a:pt x="262" y="330"/>
                  </a:lnTo>
                  <a:lnTo>
                    <a:pt x="266" y="331"/>
                  </a:lnTo>
                  <a:lnTo>
                    <a:pt x="266" y="331"/>
                  </a:lnTo>
                  <a:lnTo>
                    <a:pt x="272" y="330"/>
                  </a:lnTo>
                  <a:lnTo>
                    <a:pt x="275" y="328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89" y="323"/>
                  </a:lnTo>
                  <a:lnTo>
                    <a:pt x="292" y="324"/>
                  </a:lnTo>
                  <a:lnTo>
                    <a:pt x="294" y="325"/>
                  </a:lnTo>
                  <a:lnTo>
                    <a:pt x="294" y="325"/>
                  </a:lnTo>
                  <a:lnTo>
                    <a:pt x="300" y="333"/>
                  </a:lnTo>
                  <a:lnTo>
                    <a:pt x="303" y="334"/>
                  </a:lnTo>
                  <a:lnTo>
                    <a:pt x="306" y="336"/>
                  </a:lnTo>
                  <a:lnTo>
                    <a:pt x="306" y="336"/>
                  </a:lnTo>
                  <a:lnTo>
                    <a:pt x="309" y="334"/>
                  </a:lnTo>
                  <a:lnTo>
                    <a:pt x="315" y="331"/>
                  </a:lnTo>
                  <a:lnTo>
                    <a:pt x="320" y="330"/>
                  </a:lnTo>
                  <a:lnTo>
                    <a:pt x="324" y="330"/>
                  </a:lnTo>
                  <a:lnTo>
                    <a:pt x="324" y="330"/>
                  </a:lnTo>
                  <a:lnTo>
                    <a:pt x="327" y="331"/>
                  </a:lnTo>
                  <a:lnTo>
                    <a:pt x="330" y="337"/>
                  </a:lnTo>
                  <a:lnTo>
                    <a:pt x="332" y="345"/>
                  </a:lnTo>
                  <a:lnTo>
                    <a:pt x="332" y="348"/>
                  </a:lnTo>
                  <a:lnTo>
                    <a:pt x="330" y="349"/>
                  </a:lnTo>
                  <a:lnTo>
                    <a:pt x="330" y="349"/>
                  </a:lnTo>
                  <a:lnTo>
                    <a:pt x="327" y="354"/>
                  </a:lnTo>
                  <a:lnTo>
                    <a:pt x="324" y="357"/>
                  </a:lnTo>
                  <a:lnTo>
                    <a:pt x="324" y="360"/>
                  </a:lnTo>
                  <a:lnTo>
                    <a:pt x="326" y="362"/>
                  </a:lnTo>
                  <a:lnTo>
                    <a:pt x="326" y="362"/>
                  </a:lnTo>
                  <a:lnTo>
                    <a:pt x="333" y="370"/>
                  </a:lnTo>
                  <a:lnTo>
                    <a:pt x="334" y="374"/>
                  </a:lnTo>
                  <a:lnTo>
                    <a:pt x="334" y="377"/>
                  </a:lnTo>
                  <a:lnTo>
                    <a:pt x="334" y="377"/>
                  </a:lnTo>
                  <a:lnTo>
                    <a:pt x="340" y="373"/>
                  </a:lnTo>
                  <a:lnTo>
                    <a:pt x="346" y="370"/>
                  </a:lnTo>
                  <a:lnTo>
                    <a:pt x="346" y="370"/>
                  </a:lnTo>
                  <a:lnTo>
                    <a:pt x="352" y="367"/>
                  </a:lnTo>
                  <a:lnTo>
                    <a:pt x="355" y="364"/>
                  </a:lnTo>
                  <a:lnTo>
                    <a:pt x="358" y="360"/>
                  </a:lnTo>
                  <a:lnTo>
                    <a:pt x="361" y="354"/>
                  </a:lnTo>
                  <a:lnTo>
                    <a:pt x="361" y="354"/>
                  </a:lnTo>
                  <a:lnTo>
                    <a:pt x="363" y="351"/>
                  </a:lnTo>
                  <a:lnTo>
                    <a:pt x="364" y="348"/>
                  </a:lnTo>
                  <a:lnTo>
                    <a:pt x="370" y="343"/>
                  </a:lnTo>
                  <a:lnTo>
                    <a:pt x="374" y="339"/>
                  </a:lnTo>
                  <a:lnTo>
                    <a:pt x="376" y="337"/>
                  </a:lnTo>
                  <a:lnTo>
                    <a:pt x="377" y="336"/>
                  </a:lnTo>
                  <a:lnTo>
                    <a:pt x="377" y="336"/>
                  </a:lnTo>
                  <a:lnTo>
                    <a:pt x="379" y="321"/>
                  </a:lnTo>
                  <a:lnTo>
                    <a:pt x="380" y="314"/>
                  </a:lnTo>
                  <a:lnTo>
                    <a:pt x="382" y="309"/>
                  </a:lnTo>
                  <a:lnTo>
                    <a:pt x="382" y="309"/>
                  </a:lnTo>
                  <a:lnTo>
                    <a:pt x="383" y="303"/>
                  </a:lnTo>
                  <a:lnTo>
                    <a:pt x="386" y="293"/>
                  </a:lnTo>
                  <a:lnTo>
                    <a:pt x="386" y="283"/>
                  </a:lnTo>
                  <a:lnTo>
                    <a:pt x="386" y="274"/>
                  </a:lnTo>
                  <a:lnTo>
                    <a:pt x="386" y="274"/>
                  </a:lnTo>
                  <a:lnTo>
                    <a:pt x="386" y="269"/>
                  </a:lnTo>
                  <a:lnTo>
                    <a:pt x="388" y="266"/>
                  </a:lnTo>
                  <a:lnTo>
                    <a:pt x="392" y="259"/>
                  </a:lnTo>
                  <a:lnTo>
                    <a:pt x="397" y="251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4" y="247"/>
                  </a:lnTo>
                  <a:lnTo>
                    <a:pt x="406" y="247"/>
                  </a:lnTo>
                  <a:lnTo>
                    <a:pt x="410" y="250"/>
                  </a:lnTo>
                  <a:lnTo>
                    <a:pt x="420" y="257"/>
                  </a:lnTo>
                  <a:lnTo>
                    <a:pt x="420" y="257"/>
                  </a:lnTo>
                  <a:lnTo>
                    <a:pt x="423" y="259"/>
                  </a:lnTo>
                  <a:lnTo>
                    <a:pt x="426" y="257"/>
                  </a:lnTo>
                  <a:lnTo>
                    <a:pt x="428" y="253"/>
                  </a:lnTo>
                  <a:lnTo>
                    <a:pt x="431" y="247"/>
                  </a:lnTo>
                  <a:lnTo>
                    <a:pt x="431" y="240"/>
                  </a:lnTo>
                  <a:lnTo>
                    <a:pt x="431" y="240"/>
                  </a:lnTo>
                  <a:lnTo>
                    <a:pt x="432" y="235"/>
                  </a:lnTo>
                  <a:lnTo>
                    <a:pt x="437" y="232"/>
                  </a:lnTo>
                  <a:lnTo>
                    <a:pt x="440" y="231"/>
                  </a:lnTo>
                  <a:lnTo>
                    <a:pt x="441" y="229"/>
                  </a:lnTo>
                  <a:lnTo>
                    <a:pt x="441" y="229"/>
                  </a:lnTo>
                  <a:lnTo>
                    <a:pt x="462" y="226"/>
                  </a:lnTo>
                  <a:lnTo>
                    <a:pt x="462" y="226"/>
                  </a:lnTo>
                  <a:lnTo>
                    <a:pt x="460" y="225"/>
                  </a:lnTo>
                  <a:lnTo>
                    <a:pt x="460" y="223"/>
                  </a:lnTo>
                  <a:lnTo>
                    <a:pt x="460" y="216"/>
                  </a:lnTo>
                  <a:lnTo>
                    <a:pt x="468" y="200"/>
                  </a:lnTo>
                  <a:lnTo>
                    <a:pt x="468" y="200"/>
                  </a:lnTo>
                  <a:lnTo>
                    <a:pt x="469" y="192"/>
                  </a:lnTo>
                  <a:lnTo>
                    <a:pt x="471" y="186"/>
                  </a:lnTo>
                  <a:lnTo>
                    <a:pt x="471" y="182"/>
                  </a:lnTo>
                  <a:lnTo>
                    <a:pt x="469" y="180"/>
                  </a:lnTo>
                  <a:lnTo>
                    <a:pt x="469" y="180"/>
                  </a:lnTo>
                  <a:lnTo>
                    <a:pt x="446" y="167"/>
                  </a:lnTo>
                  <a:lnTo>
                    <a:pt x="446" y="167"/>
                  </a:lnTo>
                  <a:lnTo>
                    <a:pt x="441" y="166"/>
                  </a:lnTo>
                  <a:lnTo>
                    <a:pt x="437" y="166"/>
                  </a:lnTo>
                  <a:lnTo>
                    <a:pt x="432" y="166"/>
                  </a:lnTo>
                  <a:lnTo>
                    <a:pt x="428" y="166"/>
                  </a:lnTo>
                  <a:lnTo>
                    <a:pt x="428" y="166"/>
                  </a:lnTo>
                  <a:lnTo>
                    <a:pt x="425" y="163"/>
                  </a:lnTo>
                  <a:lnTo>
                    <a:pt x="422" y="158"/>
                  </a:lnTo>
                  <a:lnTo>
                    <a:pt x="417" y="151"/>
                  </a:lnTo>
                  <a:lnTo>
                    <a:pt x="417" y="151"/>
                  </a:lnTo>
                  <a:lnTo>
                    <a:pt x="411" y="151"/>
                  </a:lnTo>
                  <a:lnTo>
                    <a:pt x="411" y="151"/>
                  </a:lnTo>
                  <a:lnTo>
                    <a:pt x="404" y="149"/>
                  </a:lnTo>
                  <a:lnTo>
                    <a:pt x="401" y="148"/>
                  </a:lnTo>
                  <a:lnTo>
                    <a:pt x="401" y="145"/>
                  </a:lnTo>
                  <a:lnTo>
                    <a:pt x="401" y="145"/>
                  </a:lnTo>
                  <a:lnTo>
                    <a:pt x="397" y="139"/>
                  </a:lnTo>
                  <a:lnTo>
                    <a:pt x="394" y="134"/>
                  </a:lnTo>
                  <a:lnTo>
                    <a:pt x="388" y="130"/>
                  </a:lnTo>
                  <a:lnTo>
                    <a:pt x="388" y="130"/>
                  </a:lnTo>
                  <a:lnTo>
                    <a:pt x="385" y="128"/>
                  </a:lnTo>
                  <a:lnTo>
                    <a:pt x="382" y="127"/>
                  </a:lnTo>
                  <a:lnTo>
                    <a:pt x="374" y="127"/>
                  </a:lnTo>
                  <a:lnTo>
                    <a:pt x="367" y="127"/>
                  </a:lnTo>
                  <a:lnTo>
                    <a:pt x="360" y="128"/>
                  </a:lnTo>
                  <a:lnTo>
                    <a:pt x="360" y="128"/>
                  </a:lnTo>
                  <a:lnTo>
                    <a:pt x="355" y="128"/>
                  </a:lnTo>
                  <a:lnTo>
                    <a:pt x="354" y="127"/>
                  </a:lnTo>
                  <a:lnTo>
                    <a:pt x="351" y="123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49" y="111"/>
                  </a:lnTo>
                  <a:lnTo>
                    <a:pt x="348" y="109"/>
                  </a:lnTo>
                  <a:lnTo>
                    <a:pt x="343" y="108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27" y="105"/>
                  </a:lnTo>
                  <a:lnTo>
                    <a:pt x="326" y="103"/>
                  </a:lnTo>
                  <a:lnTo>
                    <a:pt x="323" y="97"/>
                  </a:lnTo>
                  <a:lnTo>
                    <a:pt x="321" y="77"/>
                  </a:lnTo>
                  <a:lnTo>
                    <a:pt x="321" y="77"/>
                  </a:lnTo>
                  <a:lnTo>
                    <a:pt x="318" y="66"/>
                  </a:lnTo>
                  <a:lnTo>
                    <a:pt x="317" y="65"/>
                  </a:lnTo>
                  <a:lnTo>
                    <a:pt x="315" y="63"/>
                  </a:lnTo>
                  <a:lnTo>
                    <a:pt x="309" y="62"/>
                  </a:lnTo>
                  <a:lnTo>
                    <a:pt x="302" y="59"/>
                  </a:lnTo>
                  <a:lnTo>
                    <a:pt x="302" y="59"/>
                  </a:lnTo>
                  <a:lnTo>
                    <a:pt x="294" y="57"/>
                  </a:lnTo>
                  <a:lnTo>
                    <a:pt x="290" y="59"/>
                  </a:lnTo>
                  <a:lnTo>
                    <a:pt x="287" y="62"/>
                  </a:lnTo>
                  <a:lnTo>
                    <a:pt x="286" y="66"/>
                  </a:lnTo>
                  <a:lnTo>
                    <a:pt x="286" y="66"/>
                  </a:lnTo>
                  <a:lnTo>
                    <a:pt x="283" y="69"/>
                  </a:lnTo>
                  <a:lnTo>
                    <a:pt x="277" y="74"/>
                  </a:lnTo>
                  <a:lnTo>
                    <a:pt x="268" y="77"/>
                  </a:lnTo>
                  <a:lnTo>
                    <a:pt x="259" y="77"/>
                  </a:lnTo>
                  <a:lnTo>
                    <a:pt x="259" y="77"/>
                  </a:lnTo>
                  <a:lnTo>
                    <a:pt x="253" y="75"/>
                  </a:lnTo>
                  <a:lnTo>
                    <a:pt x="249" y="74"/>
                  </a:lnTo>
                  <a:lnTo>
                    <a:pt x="243" y="72"/>
                  </a:lnTo>
                  <a:lnTo>
                    <a:pt x="235" y="71"/>
                  </a:lnTo>
                  <a:lnTo>
                    <a:pt x="235" y="71"/>
                  </a:lnTo>
                  <a:lnTo>
                    <a:pt x="231" y="71"/>
                  </a:lnTo>
                  <a:lnTo>
                    <a:pt x="228" y="72"/>
                  </a:lnTo>
                  <a:lnTo>
                    <a:pt x="223" y="75"/>
                  </a:lnTo>
                  <a:lnTo>
                    <a:pt x="220" y="77"/>
                  </a:lnTo>
                  <a:lnTo>
                    <a:pt x="219" y="78"/>
                  </a:lnTo>
                  <a:lnTo>
                    <a:pt x="217" y="77"/>
                  </a:lnTo>
                  <a:lnTo>
                    <a:pt x="217" y="77"/>
                  </a:lnTo>
                  <a:lnTo>
                    <a:pt x="215" y="75"/>
                  </a:lnTo>
                  <a:lnTo>
                    <a:pt x="215" y="72"/>
                  </a:lnTo>
                  <a:lnTo>
                    <a:pt x="215" y="71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9" y="63"/>
                  </a:lnTo>
                  <a:lnTo>
                    <a:pt x="206" y="57"/>
                  </a:lnTo>
                  <a:lnTo>
                    <a:pt x="206" y="57"/>
                  </a:lnTo>
                  <a:lnTo>
                    <a:pt x="203" y="54"/>
                  </a:lnTo>
                  <a:lnTo>
                    <a:pt x="198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88" y="53"/>
                  </a:lnTo>
                  <a:lnTo>
                    <a:pt x="185" y="50"/>
                  </a:lnTo>
                  <a:lnTo>
                    <a:pt x="182" y="46"/>
                  </a:lnTo>
                  <a:lnTo>
                    <a:pt x="178" y="43"/>
                  </a:lnTo>
                  <a:lnTo>
                    <a:pt x="178" y="43"/>
                  </a:lnTo>
                  <a:lnTo>
                    <a:pt x="172" y="41"/>
                  </a:lnTo>
                  <a:lnTo>
                    <a:pt x="164" y="41"/>
                  </a:lnTo>
                  <a:lnTo>
                    <a:pt x="155" y="41"/>
                  </a:lnTo>
                  <a:lnTo>
                    <a:pt x="149" y="40"/>
                  </a:lnTo>
                  <a:lnTo>
                    <a:pt x="149" y="40"/>
                  </a:lnTo>
                  <a:lnTo>
                    <a:pt x="146" y="37"/>
                  </a:lnTo>
                  <a:lnTo>
                    <a:pt x="145" y="35"/>
                  </a:lnTo>
                  <a:lnTo>
                    <a:pt x="142" y="32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29" y="28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5" y="17"/>
                  </a:lnTo>
                  <a:lnTo>
                    <a:pt x="112" y="13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95" y="1"/>
                  </a:lnTo>
                  <a:lnTo>
                    <a:pt x="83" y="0"/>
                  </a:lnTo>
                  <a:lnTo>
                    <a:pt x="80" y="1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66" y="16"/>
                  </a:lnTo>
                  <a:lnTo>
                    <a:pt x="62" y="23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35"/>
                  </a:lnTo>
                  <a:lnTo>
                    <a:pt x="61" y="43"/>
                  </a:lnTo>
                  <a:lnTo>
                    <a:pt x="63" y="49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1" y="57"/>
                  </a:lnTo>
                  <a:lnTo>
                    <a:pt x="56" y="62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32" y="72"/>
                  </a:lnTo>
                  <a:lnTo>
                    <a:pt x="25" y="74"/>
                  </a:lnTo>
                  <a:lnTo>
                    <a:pt x="16" y="77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0" y="97"/>
                  </a:lnTo>
                  <a:lnTo>
                    <a:pt x="3" y="102"/>
                  </a:lnTo>
                  <a:lnTo>
                    <a:pt x="3" y="102"/>
                  </a:lnTo>
                  <a:lnTo>
                    <a:pt x="7" y="106"/>
                  </a:lnTo>
                  <a:lnTo>
                    <a:pt x="12" y="109"/>
                  </a:lnTo>
                  <a:lnTo>
                    <a:pt x="15" y="112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5" y="127"/>
                  </a:lnTo>
                  <a:lnTo>
                    <a:pt x="12" y="130"/>
                  </a:lnTo>
                  <a:lnTo>
                    <a:pt x="10" y="131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13" y="139"/>
                  </a:lnTo>
                  <a:lnTo>
                    <a:pt x="16" y="142"/>
                  </a:lnTo>
                  <a:lnTo>
                    <a:pt x="21" y="145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8" y="146"/>
                  </a:lnTo>
                  <a:lnTo>
                    <a:pt x="29" y="148"/>
                  </a:lnTo>
                  <a:lnTo>
                    <a:pt x="31" y="154"/>
                  </a:lnTo>
                  <a:lnTo>
                    <a:pt x="31" y="154"/>
                  </a:lnTo>
                  <a:lnTo>
                    <a:pt x="34" y="163"/>
                  </a:lnTo>
                  <a:lnTo>
                    <a:pt x="40" y="170"/>
                  </a:lnTo>
                  <a:lnTo>
                    <a:pt x="47" y="179"/>
                  </a:lnTo>
                  <a:lnTo>
                    <a:pt x="56" y="185"/>
                  </a:lnTo>
                  <a:lnTo>
                    <a:pt x="56" y="185"/>
                  </a:lnTo>
                  <a:lnTo>
                    <a:pt x="68" y="189"/>
                  </a:lnTo>
                  <a:lnTo>
                    <a:pt x="77" y="191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101" y="194"/>
                  </a:lnTo>
                  <a:lnTo>
                    <a:pt x="108" y="197"/>
                  </a:lnTo>
                  <a:lnTo>
                    <a:pt x="108" y="197"/>
                  </a:lnTo>
                  <a:lnTo>
                    <a:pt x="112" y="200"/>
                  </a:lnTo>
                  <a:lnTo>
                    <a:pt x="117" y="204"/>
                  </a:lnTo>
                  <a:lnTo>
                    <a:pt x="120" y="211"/>
                  </a:lnTo>
                  <a:lnTo>
                    <a:pt x="123" y="222"/>
                  </a:lnTo>
                  <a:lnTo>
                    <a:pt x="123" y="22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0" name="Freeform 19">
              <a:extLst>
                <a:ext uri="{FF2B5EF4-FFF2-40B4-BE49-F238E27FC236}">
                  <a16:creationId xmlns:a16="http://schemas.microsoft.com/office/drawing/2014/main" id="{5C158FF5-FFE7-7446-95AC-0F9A94D61A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0525" y="5119688"/>
              <a:ext cx="360363" cy="392112"/>
            </a:xfrm>
            <a:custGeom>
              <a:avLst/>
              <a:gdLst>
                <a:gd name="T0" fmla="*/ 148 w 227"/>
                <a:gd name="T1" fmla="*/ 216 h 247"/>
                <a:gd name="T2" fmla="*/ 160 w 227"/>
                <a:gd name="T3" fmla="*/ 209 h 247"/>
                <a:gd name="T4" fmla="*/ 165 w 227"/>
                <a:gd name="T5" fmla="*/ 209 h 247"/>
                <a:gd name="T6" fmla="*/ 175 w 227"/>
                <a:gd name="T7" fmla="*/ 203 h 247"/>
                <a:gd name="T8" fmla="*/ 182 w 227"/>
                <a:gd name="T9" fmla="*/ 190 h 247"/>
                <a:gd name="T10" fmla="*/ 197 w 227"/>
                <a:gd name="T11" fmla="*/ 153 h 247"/>
                <a:gd name="T12" fmla="*/ 200 w 227"/>
                <a:gd name="T13" fmla="*/ 145 h 247"/>
                <a:gd name="T14" fmla="*/ 194 w 227"/>
                <a:gd name="T15" fmla="*/ 120 h 247"/>
                <a:gd name="T16" fmla="*/ 185 w 227"/>
                <a:gd name="T17" fmla="*/ 108 h 247"/>
                <a:gd name="T18" fmla="*/ 187 w 227"/>
                <a:gd name="T19" fmla="*/ 105 h 247"/>
                <a:gd name="T20" fmla="*/ 200 w 227"/>
                <a:gd name="T21" fmla="*/ 99 h 247"/>
                <a:gd name="T22" fmla="*/ 200 w 227"/>
                <a:gd name="T23" fmla="*/ 92 h 247"/>
                <a:gd name="T24" fmla="*/ 211 w 227"/>
                <a:gd name="T25" fmla="*/ 85 h 247"/>
                <a:gd name="T26" fmla="*/ 221 w 227"/>
                <a:gd name="T27" fmla="*/ 76 h 247"/>
                <a:gd name="T28" fmla="*/ 215 w 227"/>
                <a:gd name="T29" fmla="*/ 49 h 247"/>
                <a:gd name="T30" fmla="*/ 199 w 227"/>
                <a:gd name="T31" fmla="*/ 33 h 247"/>
                <a:gd name="T32" fmla="*/ 184 w 227"/>
                <a:gd name="T33" fmla="*/ 45 h 247"/>
                <a:gd name="T34" fmla="*/ 168 w 227"/>
                <a:gd name="T35" fmla="*/ 55 h 247"/>
                <a:gd name="T36" fmla="*/ 153 w 227"/>
                <a:gd name="T37" fmla="*/ 52 h 247"/>
                <a:gd name="T38" fmla="*/ 151 w 227"/>
                <a:gd name="T39" fmla="*/ 49 h 247"/>
                <a:gd name="T40" fmla="*/ 148 w 227"/>
                <a:gd name="T41" fmla="*/ 33 h 247"/>
                <a:gd name="T42" fmla="*/ 147 w 227"/>
                <a:gd name="T43" fmla="*/ 27 h 247"/>
                <a:gd name="T44" fmla="*/ 148 w 227"/>
                <a:gd name="T45" fmla="*/ 15 h 247"/>
                <a:gd name="T46" fmla="*/ 141 w 227"/>
                <a:gd name="T47" fmla="*/ 7 h 247"/>
                <a:gd name="T48" fmla="*/ 135 w 227"/>
                <a:gd name="T49" fmla="*/ 5 h 247"/>
                <a:gd name="T50" fmla="*/ 129 w 227"/>
                <a:gd name="T51" fmla="*/ 0 h 247"/>
                <a:gd name="T52" fmla="*/ 113 w 227"/>
                <a:gd name="T53" fmla="*/ 5 h 247"/>
                <a:gd name="T54" fmla="*/ 107 w 227"/>
                <a:gd name="T55" fmla="*/ 2 h 247"/>
                <a:gd name="T56" fmla="*/ 97 w 227"/>
                <a:gd name="T57" fmla="*/ 0 h 247"/>
                <a:gd name="T58" fmla="*/ 95 w 227"/>
                <a:gd name="T59" fmla="*/ 0 h 247"/>
                <a:gd name="T60" fmla="*/ 71 w 227"/>
                <a:gd name="T61" fmla="*/ 21 h 247"/>
                <a:gd name="T62" fmla="*/ 48 w 227"/>
                <a:gd name="T63" fmla="*/ 37 h 247"/>
                <a:gd name="T64" fmla="*/ 27 w 227"/>
                <a:gd name="T65" fmla="*/ 47 h 247"/>
                <a:gd name="T66" fmla="*/ 27 w 227"/>
                <a:gd name="T67" fmla="*/ 52 h 247"/>
                <a:gd name="T68" fmla="*/ 31 w 227"/>
                <a:gd name="T69" fmla="*/ 79 h 247"/>
                <a:gd name="T70" fmla="*/ 36 w 227"/>
                <a:gd name="T71" fmla="*/ 92 h 247"/>
                <a:gd name="T72" fmla="*/ 42 w 227"/>
                <a:gd name="T73" fmla="*/ 96 h 247"/>
                <a:gd name="T74" fmla="*/ 36 w 227"/>
                <a:gd name="T75" fmla="*/ 102 h 247"/>
                <a:gd name="T76" fmla="*/ 26 w 227"/>
                <a:gd name="T77" fmla="*/ 107 h 247"/>
                <a:gd name="T78" fmla="*/ 20 w 227"/>
                <a:gd name="T79" fmla="*/ 111 h 247"/>
                <a:gd name="T80" fmla="*/ 8 w 227"/>
                <a:gd name="T81" fmla="*/ 113 h 247"/>
                <a:gd name="T82" fmla="*/ 14 w 227"/>
                <a:gd name="T83" fmla="*/ 124 h 247"/>
                <a:gd name="T84" fmla="*/ 11 w 227"/>
                <a:gd name="T85" fmla="*/ 138 h 247"/>
                <a:gd name="T86" fmla="*/ 2 w 227"/>
                <a:gd name="T87" fmla="*/ 147 h 247"/>
                <a:gd name="T88" fmla="*/ 2 w 227"/>
                <a:gd name="T89" fmla="*/ 153 h 247"/>
                <a:gd name="T90" fmla="*/ 18 w 227"/>
                <a:gd name="T91" fmla="*/ 166 h 247"/>
                <a:gd name="T92" fmla="*/ 23 w 227"/>
                <a:gd name="T93" fmla="*/ 176 h 247"/>
                <a:gd name="T94" fmla="*/ 27 w 227"/>
                <a:gd name="T95" fmla="*/ 184 h 247"/>
                <a:gd name="T96" fmla="*/ 30 w 227"/>
                <a:gd name="T97" fmla="*/ 197 h 247"/>
                <a:gd name="T98" fmla="*/ 42 w 227"/>
                <a:gd name="T99" fmla="*/ 216 h 247"/>
                <a:gd name="T100" fmla="*/ 51 w 227"/>
                <a:gd name="T101" fmla="*/ 224 h 247"/>
                <a:gd name="T102" fmla="*/ 48 w 227"/>
                <a:gd name="T103" fmla="*/ 230 h 247"/>
                <a:gd name="T104" fmla="*/ 51 w 227"/>
                <a:gd name="T105" fmla="*/ 236 h 247"/>
                <a:gd name="T106" fmla="*/ 60 w 227"/>
                <a:gd name="T107" fmla="*/ 247 h 247"/>
                <a:gd name="T108" fmla="*/ 70 w 227"/>
                <a:gd name="T109" fmla="*/ 233 h 247"/>
                <a:gd name="T110" fmla="*/ 76 w 227"/>
                <a:gd name="T111" fmla="*/ 230 h 247"/>
                <a:gd name="T112" fmla="*/ 103 w 227"/>
                <a:gd name="T113" fmla="*/ 227 h 247"/>
                <a:gd name="T114" fmla="*/ 111 w 227"/>
                <a:gd name="T115" fmla="*/ 219 h 247"/>
                <a:gd name="T116" fmla="*/ 122 w 227"/>
                <a:gd name="T117" fmla="*/ 219 h 247"/>
                <a:gd name="T118" fmla="*/ 137 w 227"/>
                <a:gd name="T119" fmla="*/ 216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7" h="247">
                  <a:moveTo>
                    <a:pt x="144" y="216"/>
                  </a:moveTo>
                  <a:lnTo>
                    <a:pt x="144" y="216"/>
                  </a:lnTo>
                  <a:lnTo>
                    <a:pt x="148" y="216"/>
                  </a:lnTo>
                  <a:lnTo>
                    <a:pt x="151" y="215"/>
                  </a:lnTo>
                  <a:lnTo>
                    <a:pt x="156" y="212"/>
                  </a:lnTo>
                  <a:lnTo>
                    <a:pt x="160" y="209"/>
                  </a:lnTo>
                  <a:lnTo>
                    <a:pt x="162" y="209"/>
                  </a:lnTo>
                  <a:lnTo>
                    <a:pt x="165" y="209"/>
                  </a:lnTo>
                  <a:lnTo>
                    <a:pt x="165" y="209"/>
                  </a:lnTo>
                  <a:lnTo>
                    <a:pt x="168" y="209"/>
                  </a:lnTo>
                  <a:lnTo>
                    <a:pt x="171" y="207"/>
                  </a:lnTo>
                  <a:lnTo>
                    <a:pt x="175" y="203"/>
                  </a:lnTo>
                  <a:lnTo>
                    <a:pt x="180" y="197"/>
                  </a:lnTo>
                  <a:lnTo>
                    <a:pt x="182" y="190"/>
                  </a:lnTo>
                  <a:lnTo>
                    <a:pt x="182" y="190"/>
                  </a:lnTo>
                  <a:lnTo>
                    <a:pt x="190" y="170"/>
                  </a:lnTo>
                  <a:lnTo>
                    <a:pt x="193" y="160"/>
                  </a:lnTo>
                  <a:lnTo>
                    <a:pt x="197" y="153"/>
                  </a:lnTo>
                  <a:lnTo>
                    <a:pt x="197" y="153"/>
                  </a:lnTo>
                  <a:lnTo>
                    <a:pt x="199" y="150"/>
                  </a:lnTo>
                  <a:lnTo>
                    <a:pt x="200" y="145"/>
                  </a:lnTo>
                  <a:lnTo>
                    <a:pt x="199" y="136"/>
                  </a:lnTo>
                  <a:lnTo>
                    <a:pt x="197" y="127"/>
                  </a:lnTo>
                  <a:lnTo>
                    <a:pt x="194" y="120"/>
                  </a:lnTo>
                  <a:lnTo>
                    <a:pt x="194" y="120"/>
                  </a:lnTo>
                  <a:lnTo>
                    <a:pt x="187" y="111"/>
                  </a:lnTo>
                  <a:lnTo>
                    <a:pt x="185" y="108"/>
                  </a:lnTo>
                  <a:lnTo>
                    <a:pt x="185" y="107"/>
                  </a:lnTo>
                  <a:lnTo>
                    <a:pt x="187" y="105"/>
                  </a:lnTo>
                  <a:lnTo>
                    <a:pt x="187" y="105"/>
                  </a:lnTo>
                  <a:lnTo>
                    <a:pt x="196" y="104"/>
                  </a:lnTo>
                  <a:lnTo>
                    <a:pt x="199" y="101"/>
                  </a:lnTo>
                  <a:lnTo>
                    <a:pt x="200" y="99"/>
                  </a:lnTo>
                  <a:lnTo>
                    <a:pt x="200" y="96"/>
                  </a:lnTo>
                  <a:lnTo>
                    <a:pt x="200" y="96"/>
                  </a:lnTo>
                  <a:lnTo>
                    <a:pt x="200" y="92"/>
                  </a:lnTo>
                  <a:lnTo>
                    <a:pt x="203" y="89"/>
                  </a:lnTo>
                  <a:lnTo>
                    <a:pt x="206" y="87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17" y="82"/>
                  </a:lnTo>
                  <a:lnTo>
                    <a:pt x="221" y="76"/>
                  </a:lnTo>
                  <a:lnTo>
                    <a:pt x="227" y="67"/>
                  </a:lnTo>
                  <a:lnTo>
                    <a:pt x="227" y="67"/>
                  </a:lnTo>
                  <a:lnTo>
                    <a:pt x="215" y="49"/>
                  </a:lnTo>
                  <a:lnTo>
                    <a:pt x="206" y="37"/>
                  </a:lnTo>
                  <a:lnTo>
                    <a:pt x="202" y="34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1" y="37"/>
                  </a:lnTo>
                  <a:lnTo>
                    <a:pt x="184" y="45"/>
                  </a:lnTo>
                  <a:lnTo>
                    <a:pt x="175" y="52"/>
                  </a:lnTo>
                  <a:lnTo>
                    <a:pt x="171" y="53"/>
                  </a:lnTo>
                  <a:lnTo>
                    <a:pt x="168" y="55"/>
                  </a:lnTo>
                  <a:lnTo>
                    <a:pt x="168" y="55"/>
                  </a:lnTo>
                  <a:lnTo>
                    <a:pt x="156" y="55"/>
                  </a:lnTo>
                  <a:lnTo>
                    <a:pt x="153" y="52"/>
                  </a:lnTo>
                  <a:lnTo>
                    <a:pt x="151" y="50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3"/>
                  </a:lnTo>
                  <a:lnTo>
                    <a:pt x="151" y="39"/>
                  </a:lnTo>
                  <a:lnTo>
                    <a:pt x="148" y="33"/>
                  </a:lnTo>
                  <a:lnTo>
                    <a:pt x="148" y="33"/>
                  </a:lnTo>
                  <a:lnTo>
                    <a:pt x="147" y="30"/>
                  </a:lnTo>
                  <a:lnTo>
                    <a:pt x="147" y="27"/>
                  </a:lnTo>
                  <a:lnTo>
                    <a:pt x="148" y="19"/>
                  </a:lnTo>
                  <a:lnTo>
                    <a:pt x="148" y="19"/>
                  </a:lnTo>
                  <a:lnTo>
                    <a:pt x="148" y="15"/>
                  </a:lnTo>
                  <a:lnTo>
                    <a:pt x="147" y="10"/>
                  </a:lnTo>
                  <a:lnTo>
                    <a:pt x="144" y="9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37" y="6"/>
                  </a:lnTo>
                  <a:lnTo>
                    <a:pt x="135" y="5"/>
                  </a:lnTo>
                  <a:lnTo>
                    <a:pt x="132" y="2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5" y="2"/>
                  </a:lnTo>
                  <a:lnTo>
                    <a:pt x="119" y="3"/>
                  </a:lnTo>
                  <a:lnTo>
                    <a:pt x="113" y="5"/>
                  </a:lnTo>
                  <a:lnTo>
                    <a:pt x="110" y="5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4" y="0"/>
                  </a:lnTo>
                  <a:lnTo>
                    <a:pt x="101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1" y="5"/>
                  </a:lnTo>
                  <a:lnTo>
                    <a:pt x="83" y="9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60" y="30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36" y="43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9"/>
                  </a:lnTo>
                  <a:lnTo>
                    <a:pt x="27" y="52"/>
                  </a:lnTo>
                  <a:lnTo>
                    <a:pt x="28" y="61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85"/>
                  </a:lnTo>
                  <a:lnTo>
                    <a:pt x="34" y="89"/>
                  </a:lnTo>
                  <a:lnTo>
                    <a:pt x="36" y="92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2" y="96"/>
                  </a:lnTo>
                  <a:lnTo>
                    <a:pt x="43" y="96"/>
                  </a:lnTo>
                  <a:lnTo>
                    <a:pt x="42" y="99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0" y="105"/>
                  </a:lnTo>
                  <a:lnTo>
                    <a:pt x="26" y="107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0" y="111"/>
                  </a:lnTo>
                  <a:lnTo>
                    <a:pt x="17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4" y="124"/>
                  </a:lnTo>
                  <a:lnTo>
                    <a:pt x="14" y="127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9" y="141"/>
                  </a:lnTo>
                  <a:lnTo>
                    <a:pt x="5" y="145"/>
                  </a:lnTo>
                  <a:lnTo>
                    <a:pt x="2" y="147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53"/>
                  </a:lnTo>
                  <a:lnTo>
                    <a:pt x="6" y="157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23" y="169"/>
                  </a:lnTo>
                  <a:lnTo>
                    <a:pt x="23" y="172"/>
                  </a:lnTo>
                  <a:lnTo>
                    <a:pt x="23" y="176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7" y="184"/>
                  </a:lnTo>
                  <a:lnTo>
                    <a:pt x="28" y="190"/>
                  </a:lnTo>
                  <a:lnTo>
                    <a:pt x="30" y="197"/>
                  </a:lnTo>
                  <a:lnTo>
                    <a:pt x="30" y="197"/>
                  </a:lnTo>
                  <a:lnTo>
                    <a:pt x="31" y="202"/>
                  </a:lnTo>
                  <a:lnTo>
                    <a:pt x="36" y="209"/>
                  </a:lnTo>
                  <a:lnTo>
                    <a:pt x="42" y="216"/>
                  </a:lnTo>
                  <a:lnTo>
                    <a:pt x="48" y="221"/>
                  </a:lnTo>
                  <a:lnTo>
                    <a:pt x="48" y="221"/>
                  </a:lnTo>
                  <a:lnTo>
                    <a:pt x="51" y="224"/>
                  </a:lnTo>
                  <a:lnTo>
                    <a:pt x="49" y="227"/>
                  </a:lnTo>
                  <a:lnTo>
                    <a:pt x="48" y="230"/>
                  </a:lnTo>
                  <a:lnTo>
                    <a:pt x="48" y="230"/>
                  </a:lnTo>
                  <a:lnTo>
                    <a:pt x="48" y="233"/>
                  </a:lnTo>
                  <a:lnTo>
                    <a:pt x="48" y="233"/>
                  </a:lnTo>
                  <a:lnTo>
                    <a:pt x="51" y="236"/>
                  </a:lnTo>
                  <a:lnTo>
                    <a:pt x="54" y="239"/>
                  </a:lnTo>
                  <a:lnTo>
                    <a:pt x="57" y="243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64" y="239"/>
                  </a:lnTo>
                  <a:lnTo>
                    <a:pt x="70" y="233"/>
                  </a:lnTo>
                  <a:lnTo>
                    <a:pt x="73" y="231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89" y="230"/>
                  </a:lnTo>
                  <a:lnTo>
                    <a:pt x="97" y="230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7" y="222"/>
                  </a:lnTo>
                  <a:lnTo>
                    <a:pt x="111" y="219"/>
                  </a:lnTo>
                  <a:lnTo>
                    <a:pt x="117" y="218"/>
                  </a:lnTo>
                  <a:lnTo>
                    <a:pt x="122" y="219"/>
                  </a:lnTo>
                  <a:lnTo>
                    <a:pt x="122" y="219"/>
                  </a:lnTo>
                  <a:lnTo>
                    <a:pt x="126" y="219"/>
                  </a:lnTo>
                  <a:lnTo>
                    <a:pt x="131" y="218"/>
                  </a:lnTo>
                  <a:lnTo>
                    <a:pt x="137" y="216"/>
                  </a:lnTo>
                  <a:lnTo>
                    <a:pt x="144" y="216"/>
                  </a:lnTo>
                  <a:lnTo>
                    <a:pt x="144" y="21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1" name="Freeform 20">
              <a:extLst>
                <a:ext uri="{FF2B5EF4-FFF2-40B4-BE49-F238E27FC236}">
                  <a16:creationId xmlns:a16="http://schemas.microsoft.com/office/drawing/2014/main" id="{F8709B6A-55D5-BA44-8655-0027C7414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5488" y="6003925"/>
              <a:ext cx="392113" cy="658812"/>
            </a:xfrm>
            <a:custGeom>
              <a:avLst/>
              <a:gdLst>
                <a:gd name="T0" fmla="*/ 247 w 247"/>
                <a:gd name="T1" fmla="*/ 333 h 415"/>
                <a:gd name="T2" fmla="*/ 238 w 247"/>
                <a:gd name="T3" fmla="*/ 280 h 415"/>
                <a:gd name="T4" fmla="*/ 230 w 247"/>
                <a:gd name="T5" fmla="*/ 240 h 415"/>
                <a:gd name="T6" fmla="*/ 232 w 247"/>
                <a:gd name="T7" fmla="*/ 209 h 415"/>
                <a:gd name="T8" fmla="*/ 244 w 247"/>
                <a:gd name="T9" fmla="*/ 188 h 415"/>
                <a:gd name="T10" fmla="*/ 237 w 247"/>
                <a:gd name="T11" fmla="*/ 167 h 415"/>
                <a:gd name="T12" fmla="*/ 222 w 247"/>
                <a:gd name="T13" fmla="*/ 120 h 415"/>
                <a:gd name="T14" fmla="*/ 209 w 247"/>
                <a:gd name="T15" fmla="*/ 99 h 415"/>
                <a:gd name="T16" fmla="*/ 190 w 247"/>
                <a:gd name="T17" fmla="*/ 95 h 415"/>
                <a:gd name="T18" fmla="*/ 163 w 247"/>
                <a:gd name="T19" fmla="*/ 87 h 415"/>
                <a:gd name="T20" fmla="*/ 169 w 247"/>
                <a:gd name="T21" fmla="*/ 75 h 415"/>
                <a:gd name="T22" fmla="*/ 170 w 247"/>
                <a:gd name="T23" fmla="*/ 64 h 415"/>
                <a:gd name="T24" fmla="*/ 157 w 247"/>
                <a:gd name="T25" fmla="*/ 64 h 415"/>
                <a:gd name="T26" fmla="*/ 144 w 247"/>
                <a:gd name="T27" fmla="*/ 68 h 415"/>
                <a:gd name="T28" fmla="*/ 133 w 247"/>
                <a:gd name="T29" fmla="*/ 47 h 415"/>
                <a:gd name="T30" fmla="*/ 121 w 247"/>
                <a:gd name="T31" fmla="*/ 28 h 415"/>
                <a:gd name="T32" fmla="*/ 80 w 247"/>
                <a:gd name="T33" fmla="*/ 13 h 415"/>
                <a:gd name="T34" fmla="*/ 71 w 247"/>
                <a:gd name="T35" fmla="*/ 12 h 415"/>
                <a:gd name="T36" fmla="*/ 59 w 247"/>
                <a:gd name="T37" fmla="*/ 0 h 415"/>
                <a:gd name="T38" fmla="*/ 44 w 247"/>
                <a:gd name="T39" fmla="*/ 10 h 415"/>
                <a:gd name="T40" fmla="*/ 47 w 247"/>
                <a:gd name="T41" fmla="*/ 33 h 415"/>
                <a:gd name="T42" fmla="*/ 47 w 247"/>
                <a:gd name="T43" fmla="*/ 59 h 415"/>
                <a:gd name="T44" fmla="*/ 47 w 247"/>
                <a:gd name="T45" fmla="*/ 68 h 415"/>
                <a:gd name="T46" fmla="*/ 33 w 247"/>
                <a:gd name="T47" fmla="*/ 95 h 415"/>
                <a:gd name="T48" fmla="*/ 34 w 247"/>
                <a:gd name="T49" fmla="*/ 104 h 415"/>
                <a:gd name="T50" fmla="*/ 22 w 247"/>
                <a:gd name="T51" fmla="*/ 115 h 415"/>
                <a:gd name="T52" fmla="*/ 7 w 247"/>
                <a:gd name="T53" fmla="*/ 124 h 415"/>
                <a:gd name="T54" fmla="*/ 0 w 247"/>
                <a:gd name="T55" fmla="*/ 138 h 415"/>
                <a:gd name="T56" fmla="*/ 15 w 247"/>
                <a:gd name="T57" fmla="*/ 166 h 415"/>
                <a:gd name="T58" fmla="*/ 15 w 247"/>
                <a:gd name="T59" fmla="*/ 175 h 415"/>
                <a:gd name="T60" fmla="*/ 37 w 247"/>
                <a:gd name="T61" fmla="*/ 201 h 415"/>
                <a:gd name="T62" fmla="*/ 36 w 247"/>
                <a:gd name="T63" fmla="*/ 212 h 415"/>
                <a:gd name="T64" fmla="*/ 15 w 247"/>
                <a:gd name="T65" fmla="*/ 218 h 415"/>
                <a:gd name="T66" fmla="*/ 6 w 247"/>
                <a:gd name="T67" fmla="*/ 228 h 415"/>
                <a:gd name="T68" fmla="*/ 16 w 247"/>
                <a:gd name="T69" fmla="*/ 240 h 415"/>
                <a:gd name="T70" fmla="*/ 15 w 247"/>
                <a:gd name="T71" fmla="*/ 249 h 415"/>
                <a:gd name="T72" fmla="*/ 3 w 247"/>
                <a:gd name="T73" fmla="*/ 264 h 415"/>
                <a:gd name="T74" fmla="*/ 10 w 247"/>
                <a:gd name="T75" fmla="*/ 267 h 415"/>
                <a:gd name="T76" fmla="*/ 30 w 247"/>
                <a:gd name="T77" fmla="*/ 267 h 415"/>
                <a:gd name="T78" fmla="*/ 33 w 247"/>
                <a:gd name="T79" fmla="*/ 284 h 415"/>
                <a:gd name="T80" fmla="*/ 41 w 247"/>
                <a:gd name="T81" fmla="*/ 301 h 415"/>
                <a:gd name="T82" fmla="*/ 58 w 247"/>
                <a:gd name="T83" fmla="*/ 307 h 415"/>
                <a:gd name="T84" fmla="*/ 81 w 247"/>
                <a:gd name="T85" fmla="*/ 326 h 415"/>
                <a:gd name="T86" fmla="*/ 95 w 247"/>
                <a:gd name="T87" fmla="*/ 336 h 415"/>
                <a:gd name="T88" fmla="*/ 90 w 247"/>
                <a:gd name="T89" fmla="*/ 347 h 415"/>
                <a:gd name="T90" fmla="*/ 96 w 247"/>
                <a:gd name="T91" fmla="*/ 363 h 415"/>
                <a:gd name="T92" fmla="*/ 108 w 247"/>
                <a:gd name="T93" fmla="*/ 378 h 415"/>
                <a:gd name="T94" fmla="*/ 107 w 247"/>
                <a:gd name="T95" fmla="*/ 392 h 415"/>
                <a:gd name="T96" fmla="*/ 127 w 247"/>
                <a:gd name="T97" fmla="*/ 392 h 415"/>
                <a:gd name="T98" fmla="*/ 132 w 247"/>
                <a:gd name="T99" fmla="*/ 398 h 415"/>
                <a:gd name="T100" fmla="*/ 130 w 247"/>
                <a:gd name="T101" fmla="*/ 415 h 415"/>
                <a:gd name="T102" fmla="*/ 157 w 247"/>
                <a:gd name="T103" fmla="*/ 404 h 415"/>
                <a:gd name="T104" fmla="*/ 158 w 247"/>
                <a:gd name="T105" fmla="*/ 394 h 415"/>
                <a:gd name="T106" fmla="*/ 153 w 247"/>
                <a:gd name="T107" fmla="*/ 389 h 415"/>
                <a:gd name="T108" fmla="*/ 154 w 247"/>
                <a:gd name="T109" fmla="*/ 369 h 415"/>
                <a:gd name="T110" fmla="*/ 167 w 247"/>
                <a:gd name="T111" fmla="*/ 378 h 415"/>
                <a:gd name="T112" fmla="*/ 184 w 247"/>
                <a:gd name="T113" fmla="*/ 379 h 415"/>
                <a:gd name="T114" fmla="*/ 185 w 247"/>
                <a:gd name="T115" fmla="*/ 369 h 415"/>
                <a:gd name="T116" fmla="*/ 194 w 247"/>
                <a:gd name="T117" fmla="*/ 357 h 415"/>
                <a:gd name="T118" fmla="*/ 210 w 247"/>
                <a:gd name="T119" fmla="*/ 364 h 415"/>
                <a:gd name="T120" fmla="*/ 225 w 247"/>
                <a:gd name="T121" fmla="*/ 367 h 415"/>
                <a:gd name="T122" fmla="*/ 246 w 247"/>
                <a:gd name="T123" fmla="*/ 35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7" h="415">
                  <a:moveTo>
                    <a:pt x="246" y="355"/>
                  </a:moveTo>
                  <a:lnTo>
                    <a:pt x="246" y="355"/>
                  </a:lnTo>
                  <a:lnTo>
                    <a:pt x="247" y="344"/>
                  </a:lnTo>
                  <a:lnTo>
                    <a:pt x="247" y="333"/>
                  </a:lnTo>
                  <a:lnTo>
                    <a:pt x="247" y="323"/>
                  </a:lnTo>
                  <a:lnTo>
                    <a:pt x="247" y="323"/>
                  </a:lnTo>
                  <a:lnTo>
                    <a:pt x="243" y="301"/>
                  </a:lnTo>
                  <a:lnTo>
                    <a:pt x="238" y="280"/>
                  </a:lnTo>
                  <a:lnTo>
                    <a:pt x="238" y="280"/>
                  </a:lnTo>
                  <a:lnTo>
                    <a:pt x="234" y="261"/>
                  </a:lnTo>
                  <a:lnTo>
                    <a:pt x="231" y="249"/>
                  </a:lnTo>
                  <a:lnTo>
                    <a:pt x="230" y="240"/>
                  </a:lnTo>
                  <a:lnTo>
                    <a:pt x="230" y="240"/>
                  </a:lnTo>
                  <a:lnTo>
                    <a:pt x="230" y="225"/>
                  </a:lnTo>
                  <a:lnTo>
                    <a:pt x="230" y="218"/>
                  </a:lnTo>
                  <a:lnTo>
                    <a:pt x="232" y="209"/>
                  </a:lnTo>
                  <a:lnTo>
                    <a:pt x="232" y="209"/>
                  </a:lnTo>
                  <a:lnTo>
                    <a:pt x="237" y="201"/>
                  </a:lnTo>
                  <a:lnTo>
                    <a:pt x="241" y="194"/>
                  </a:lnTo>
                  <a:lnTo>
                    <a:pt x="244" y="188"/>
                  </a:lnTo>
                  <a:lnTo>
                    <a:pt x="244" y="185"/>
                  </a:lnTo>
                  <a:lnTo>
                    <a:pt x="244" y="182"/>
                  </a:lnTo>
                  <a:lnTo>
                    <a:pt x="244" y="182"/>
                  </a:lnTo>
                  <a:lnTo>
                    <a:pt x="237" y="167"/>
                  </a:lnTo>
                  <a:lnTo>
                    <a:pt x="234" y="158"/>
                  </a:lnTo>
                  <a:lnTo>
                    <a:pt x="230" y="148"/>
                  </a:lnTo>
                  <a:lnTo>
                    <a:pt x="230" y="148"/>
                  </a:lnTo>
                  <a:lnTo>
                    <a:pt x="222" y="120"/>
                  </a:lnTo>
                  <a:lnTo>
                    <a:pt x="216" y="108"/>
                  </a:lnTo>
                  <a:lnTo>
                    <a:pt x="212" y="101"/>
                  </a:lnTo>
                  <a:lnTo>
                    <a:pt x="212" y="101"/>
                  </a:lnTo>
                  <a:lnTo>
                    <a:pt x="209" y="99"/>
                  </a:lnTo>
                  <a:lnTo>
                    <a:pt x="203" y="99"/>
                  </a:lnTo>
                  <a:lnTo>
                    <a:pt x="197" y="98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79" y="92"/>
                  </a:lnTo>
                  <a:lnTo>
                    <a:pt x="169" y="90"/>
                  </a:lnTo>
                  <a:lnTo>
                    <a:pt x="166" y="89"/>
                  </a:lnTo>
                  <a:lnTo>
                    <a:pt x="163" y="87"/>
                  </a:lnTo>
                  <a:lnTo>
                    <a:pt x="163" y="84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9" y="75"/>
                  </a:lnTo>
                  <a:lnTo>
                    <a:pt x="172" y="70"/>
                  </a:lnTo>
                  <a:lnTo>
                    <a:pt x="172" y="65"/>
                  </a:lnTo>
                  <a:lnTo>
                    <a:pt x="170" y="64"/>
                  </a:lnTo>
                  <a:lnTo>
                    <a:pt x="170" y="64"/>
                  </a:lnTo>
                  <a:lnTo>
                    <a:pt x="166" y="61"/>
                  </a:lnTo>
                  <a:lnTo>
                    <a:pt x="163" y="61"/>
                  </a:lnTo>
                  <a:lnTo>
                    <a:pt x="157" y="64"/>
                  </a:lnTo>
                  <a:lnTo>
                    <a:pt x="157" y="64"/>
                  </a:lnTo>
                  <a:lnTo>
                    <a:pt x="150" y="70"/>
                  </a:lnTo>
                  <a:lnTo>
                    <a:pt x="147" y="71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1" y="64"/>
                  </a:lnTo>
                  <a:lnTo>
                    <a:pt x="136" y="58"/>
                  </a:lnTo>
                  <a:lnTo>
                    <a:pt x="135" y="52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21" y="28"/>
                  </a:lnTo>
                  <a:lnTo>
                    <a:pt x="111" y="18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77" y="15"/>
                  </a:lnTo>
                  <a:lnTo>
                    <a:pt x="74" y="15"/>
                  </a:lnTo>
                  <a:lnTo>
                    <a:pt x="71" y="12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5" y="1"/>
                  </a:lnTo>
                  <a:lnTo>
                    <a:pt x="49" y="4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1" y="15"/>
                  </a:lnTo>
                  <a:lnTo>
                    <a:pt x="41" y="19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9" y="38"/>
                  </a:lnTo>
                  <a:lnTo>
                    <a:pt x="49" y="43"/>
                  </a:lnTo>
                  <a:lnTo>
                    <a:pt x="49" y="52"/>
                  </a:lnTo>
                  <a:lnTo>
                    <a:pt x="47" y="59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9" y="67"/>
                  </a:lnTo>
                  <a:lnTo>
                    <a:pt x="47" y="68"/>
                  </a:lnTo>
                  <a:lnTo>
                    <a:pt x="44" y="74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3" y="95"/>
                  </a:lnTo>
                  <a:lnTo>
                    <a:pt x="33" y="98"/>
                  </a:lnTo>
                  <a:lnTo>
                    <a:pt x="34" y="101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3" y="108"/>
                  </a:lnTo>
                  <a:lnTo>
                    <a:pt x="30" y="113"/>
                  </a:lnTo>
                  <a:lnTo>
                    <a:pt x="27" y="114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18" y="117"/>
                  </a:lnTo>
                  <a:lnTo>
                    <a:pt x="12" y="120"/>
                  </a:lnTo>
                  <a:lnTo>
                    <a:pt x="7" y="124"/>
                  </a:lnTo>
                  <a:lnTo>
                    <a:pt x="6" y="129"/>
                  </a:lnTo>
                  <a:lnTo>
                    <a:pt x="6" y="129"/>
                  </a:lnTo>
                  <a:lnTo>
                    <a:pt x="3" y="133"/>
                  </a:lnTo>
                  <a:lnTo>
                    <a:pt x="0" y="138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18" y="161"/>
                  </a:lnTo>
                  <a:lnTo>
                    <a:pt x="15" y="166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5"/>
                  </a:lnTo>
                  <a:lnTo>
                    <a:pt x="21" y="182"/>
                  </a:lnTo>
                  <a:lnTo>
                    <a:pt x="21" y="182"/>
                  </a:lnTo>
                  <a:lnTo>
                    <a:pt x="33" y="195"/>
                  </a:lnTo>
                  <a:lnTo>
                    <a:pt x="37" y="201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7" y="209"/>
                  </a:lnTo>
                  <a:lnTo>
                    <a:pt x="36" y="212"/>
                  </a:lnTo>
                  <a:lnTo>
                    <a:pt x="31" y="215"/>
                  </a:lnTo>
                  <a:lnTo>
                    <a:pt x="24" y="215"/>
                  </a:lnTo>
                  <a:lnTo>
                    <a:pt x="24" y="215"/>
                  </a:lnTo>
                  <a:lnTo>
                    <a:pt x="15" y="218"/>
                  </a:lnTo>
                  <a:lnTo>
                    <a:pt x="9" y="221"/>
                  </a:lnTo>
                  <a:lnTo>
                    <a:pt x="7" y="224"/>
                  </a:lnTo>
                  <a:lnTo>
                    <a:pt x="6" y="227"/>
                  </a:lnTo>
                  <a:lnTo>
                    <a:pt x="6" y="228"/>
                  </a:lnTo>
                  <a:lnTo>
                    <a:pt x="7" y="231"/>
                  </a:lnTo>
                  <a:lnTo>
                    <a:pt x="7" y="231"/>
                  </a:lnTo>
                  <a:lnTo>
                    <a:pt x="13" y="235"/>
                  </a:lnTo>
                  <a:lnTo>
                    <a:pt x="16" y="240"/>
                  </a:lnTo>
                  <a:lnTo>
                    <a:pt x="18" y="246"/>
                  </a:lnTo>
                  <a:lnTo>
                    <a:pt x="16" y="247"/>
                  </a:lnTo>
                  <a:lnTo>
                    <a:pt x="15" y="249"/>
                  </a:lnTo>
                  <a:lnTo>
                    <a:pt x="15" y="249"/>
                  </a:lnTo>
                  <a:lnTo>
                    <a:pt x="7" y="253"/>
                  </a:lnTo>
                  <a:lnTo>
                    <a:pt x="3" y="256"/>
                  </a:lnTo>
                  <a:lnTo>
                    <a:pt x="3" y="256"/>
                  </a:lnTo>
                  <a:lnTo>
                    <a:pt x="3" y="264"/>
                  </a:lnTo>
                  <a:lnTo>
                    <a:pt x="6" y="267"/>
                  </a:lnTo>
                  <a:lnTo>
                    <a:pt x="7" y="268"/>
                  </a:lnTo>
                  <a:lnTo>
                    <a:pt x="10" y="267"/>
                  </a:lnTo>
                  <a:lnTo>
                    <a:pt x="10" y="267"/>
                  </a:lnTo>
                  <a:lnTo>
                    <a:pt x="16" y="264"/>
                  </a:lnTo>
                  <a:lnTo>
                    <a:pt x="21" y="264"/>
                  </a:lnTo>
                  <a:lnTo>
                    <a:pt x="25" y="264"/>
                  </a:lnTo>
                  <a:lnTo>
                    <a:pt x="30" y="267"/>
                  </a:lnTo>
                  <a:lnTo>
                    <a:pt x="30" y="267"/>
                  </a:lnTo>
                  <a:lnTo>
                    <a:pt x="33" y="269"/>
                  </a:lnTo>
                  <a:lnTo>
                    <a:pt x="34" y="27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4" y="290"/>
                  </a:lnTo>
                  <a:lnTo>
                    <a:pt x="37" y="296"/>
                  </a:lnTo>
                  <a:lnTo>
                    <a:pt x="41" y="301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52" y="305"/>
                  </a:lnTo>
                  <a:lnTo>
                    <a:pt x="58" y="307"/>
                  </a:lnTo>
                  <a:lnTo>
                    <a:pt x="65" y="309"/>
                  </a:lnTo>
                  <a:lnTo>
                    <a:pt x="71" y="314"/>
                  </a:lnTo>
                  <a:lnTo>
                    <a:pt x="71" y="314"/>
                  </a:lnTo>
                  <a:lnTo>
                    <a:pt x="81" y="326"/>
                  </a:lnTo>
                  <a:lnTo>
                    <a:pt x="87" y="330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5" y="336"/>
                  </a:lnTo>
                  <a:lnTo>
                    <a:pt x="96" y="339"/>
                  </a:lnTo>
                  <a:lnTo>
                    <a:pt x="96" y="342"/>
                  </a:lnTo>
                  <a:lnTo>
                    <a:pt x="90" y="347"/>
                  </a:lnTo>
                  <a:lnTo>
                    <a:pt x="90" y="347"/>
                  </a:lnTo>
                  <a:lnTo>
                    <a:pt x="86" y="349"/>
                  </a:lnTo>
                  <a:lnTo>
                    <a:pt x="83" y="354"/>
                  </a:lnTo>
                  <a:lnTo>
                    <a:pt x="83" y="354"/>
                  </a:lnTo>
                  <a:lnTo>
                    <a:pt x="96" y="363"/>
                  </a:lnTo>
                  <a:lnTo>
                    <a:pt x="105" y="372"/>
                  </a:lnTo>
                  <a:lnTo>
                    <a:pt x="107" y="375"/>
                  </a:lnTo>
                  <a:lnTo>
                    <a:pt x="108" y="378"/>
                  </a:lnTo>
                  <a:lnTo>
                    <a:pt x="108" y="378"/>
                  </a:lnTo>
                  <a:lnTo>
                    <a:pt x="105" y="384"/>
                  </a:lnTo>
                  <a:lnTo>
                    <a:pt x="102" y="389"/>
                  </a:lnTo>
                  <a:lnTo>
                    <a:pt x="102" y="389"/>
                  </a:lnTo>
                  <a:lnTo>
                    <a:pt x="107" y="392"/>
                  </a:lnTo>
                  <a:lnTo>
                    <a:pt x="113" y="394"/>
                  </a:lnTo>
                  <a:lnTo>
                    <a:pt x="113" y="394"/>
                  </a:lnTo>
                  <a:lnTo>
                    <a:pt x="121" y="392"/>
                  </a:lnTo>
                  <a:lnTo>
                    <a:pt x="127" y="392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32" y="395"/>
                  </a:lnTo>
                  <a:lnTo>
                    <a:pt x="132" y="398"/>
                  </a:lnTo>
                  <a:lnTo>
                    <a:pt x="130" y="404"/>
                  </a:lnTo>
                  <a:lnTo>
                    <a:pt x="130" y="404"/>
                  </a:lnTo>
                  <a:lnTo>
                    <a:pt x="130" y="409"/>
                  </a:lnTo>
                  <a:lnTo>
                    <a:pt x="130" y="415"/>
                  </a:lnTo>
                  <a:lnTo>
                    <a:pt x="130" y="415"/>
                  </a:lnTo>
                  <a:lnTo>
                    <a:pt x="150" y="409"/>
                  </a:lnTo>
                  <a:lnTo>
                    <a:pt x="150" y="409"/>
                  </a:lnTo>
                  <a:lnTo>
                    <a:pt x="157" y="404"/>
                  </a:lnTo>
                  <a:lnTo>
                    <a:pt x="160" y="401"/>
                  </a:lnTo>
                  <a:lnTo>
                    <a:pt x="160" y="397"/>
                  </a:lnTo>
                  <a:lnTo>
                    <a:pt x="160" y="397"/>
                  </a:lnTo>
                  <a:lnTo>
                    <a:pt x="158" y="394"/>
                  </a:lnTo>
                  <a:lnTo>
                    <a:pt x="157" y="394"/>
                  </a:lnTo>
                  <a:lnTo>
                    <a:pt x="154" y="392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76"/>
                  </a:lnTo>
                  <a:lnTo>
                    <a:pt x="150" y="370"/>
                  </a:lnTo>
                  <a:lnTo>
                    <a:pt x="151" y="370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58" y="372"/>
                  </a:lnTo>
                  <a:lnTo>
                    <a:pt x="164" y="375"/>
                  </a:lnTo>
                  <a:lnTo>
                    <a:pt x="167" y="378"/>
                  </a:lnTo>
                  <a:lnTo>
                    <a:pt x="172" y="379"/>
                  </a:lnTo>
                  <a:lnTo>
                    <a:pt x="172" y="379"/>
                  </a:lnTo>
                  <a:lnTo>
                    <a:pt x="179" y="381"/>
                  </a:lnTo>
                  <a:lnTo>
                    <a:pt x="184" y="379"/>
                  </a:lnTo>
                  <a:lnTo>
                    <a:pt x="184" y="378"/>
                  </a:lnTo>
                  <a:lnTo>
                    <a:pt x="185" y="375"/>
                  </a:lnTo>
                  <a:lnTo>
                    <a:pt x="185" y="375"/>
                  </a:lnTo>
                  <a:lnTo>
                    <a:pt x="185" y="369"/>
                  </a:lnTo>
                  <a:lnTo>
                    <a:pt x="187" y="363"/>
                  </a:lnTo>
                  <a:lnTo>
                    <a:pt x="190" y="358"/>
                  </a:lnTo>
                  <a:lnTo>
                    <a:pt x="191" y="357"/>
                  </a:lnTo>
                  <a:lnTo>
                    <a:pt x="194" y="357"/>
                  </a:lnTo>
                  <a:lnTo>
                    <a:pt x="194" y="357"/>
                  </a:lnTo>
                  <a:lnTo>
                    <a:pt x="198" y="357"/>
                  </a:lnTo>
                  <a:lnTo>
                    <a:pt x="203" y="360"/>
                  </a:lnTo>
                  <a:lnTo>
                    <a:pt x="210" y="364"/>
                  </a:lnTo>
                  <a:lnTo>
                    <a:pt x="210" y="364"/>
                  </a:lnTo>
                  <a:lnTo>
                    <a:pt x="215" y="366"/>
                  </a:lnTo>
                  <a:lnTo>
                    <a:pt x="219" y="367"/>
                  </a:lnTo>
                  <a:lnTo>
                    <a:pt x="225" y="367"/>
                  </a:lnTo>
                  <a:lnTo>
                    <a:pt x="231" y="366"/>
                  </a:lnTo>
                  <a:lnTo>
                    <a:pt x="231" y="366"/>
                  </a:lnTo>
                  <a:lnTo>
                    <a:pt x="241" y="358"/>
                  </a:lnTo>
                  <a:lnTo>
                    <a:pt x="246" y="355"/>
                  </a:lnTo>
                  <a:lnTo>
                    <a:pt x="246" y="35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2" name="Freeform 21">
              <a:extLst>
                <a:ext uri="{FF2B5EF4-FFF2-40B4-BE49-F238E27FC236}">
                  <a16:creationId xmlns:a16="http://schemas.microsoft.com/office/drawing/2014/main" id="{B33C9BEF-4BBA-034F-997D-A53CAE9B8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013" y="4083050"/>
              <a:ext cx="523875" cy="450850"/>
            </a:xfrm>
            <a:custGeom>
              <a:avLst/>
              <a:gdLst>
                <a:gd name="T0" fmla="*/ 308 w 330"/>
                <a:gd name="T1" fmla="*/ 194 h 284"/>
                <a:gd name="T2" fmla="*/ 308 w 330"/>
                <a:gd name="T3" fmla="*/ 169 h 284"/>
                <a:gd name="T4" fmla="*/ 293 w 330"/>
                <a:gd name="T5" fmla="*/ 144 h 284"/>
                <a:gd name="T6" fmla="*/ 277 w 330"/>
                <a:gd name="T7" fmla="*/ 139 h 284"/>
                <a:gd name="T8" fmla="*/ 241 w 330"/>
                <a:gd name="T9" fmla="*/ 132 h 284"/>
                <a:gd name="T10" fmla="*/ 216 w 330"/>
                <a:gd name="T11" fmla="*/ 101 h 284"/>
                <a:gd name="T12" fmla="*/ 209 w 330"/>
                <a:gd name="T13" fmla="*/ 93 h 284"/>
                <a:gd name="T14" fmla="*/ 198 w 330"/>
                <a:gd name="T15" fmla="*/ 86 h 284"/>
                <a:gd name="T16" fmla="*/ 197 w 330"/>
                <a:gd name="T17" fmla="*/ 77 h 284"/>
                <a:gd name="T18" fmla="*/ 203 w 330"/>
                <a:gd name="T19" fmla="*/ 64 h 284"/>
                <a:gd name="T20" fmla="*/ 192 w 330"/>
                <a:gd name="T21" fmla="*/ 53 h 284"/>
                <a:gd name="T22" fmla="*/ 185 w 330"/>
                <a:gd name="T23" fmla="*/ 41 h 284"/>
                <a:gd name="T24" fmla="*/ 179 w 330"/>
                <a:gd name="T25" fmla="*/ 27 h 284"/>
                <a:gd name="T26" fmla="*/ 161 w 330"/>
                <a:gd name="T27" fmla="*/ 15 h 284"/>
                <a:gd name="T28" fmla="*/ 149 w 330"/>
                <a:gd name="T29" fmla="*/ 0 h 284"/>
                <a:gd name="T30" fmla="*/ 137 w 330"/>
                <a:gd name="T31" fmla="*/ 19 h 284"/>
                <a:gd name="T32" fmla="*/ 114 w 330"/>
                <a:gd name="T33" fmla="*/ 30 h 284"/>
                <a:gd name="T34" fmla="*/ 92 w 330"/>
                <a:gd name="T35" fmla="*/ 40 h 284"/>
                <a:gd name="T36" fmla="*/ 80 w 330"/>
                <a:gd name="T37" fmla="*/ 46 h 284"/>
                <a:gd name="T38" fmla="*/ 40 w 330"/>
                <a:gd name="T39" fmla="*/ 95 h 284"/>
                <a:gd name="T40" fmla="*/ 25 w 330"/>
                <a:gd name="T41" fmla="*/ 121 h 284"/>
                <a:gd name="T42" fmla="*/ 23 w 330"/>
                <a:gd name="T43" fmla="*/ 150 h 284"/>
                <a:gd name="T44" fmla="*/ 16 w 330"/>
                <a:gd name="T45" fmla="*/ 163 h 284"/>
                <a:gd name="T46" fmla="*/ 17 w 330"/>
                <a:gd name="T47" fmla="*/ 194 h 284"/>
                <a:gd name="T48" fmla="*/ 13 w 330"/>
                <a:gd name="T49" fmla="*/ 209 h 284"/>
                <a:gd name="T50" fmla="*/ 3 w 330"/>
                <a:gd name="T51" fmla="*/ 227 h 284"/>
                <a:gd name="T52" fmla="*/ 9 w 330"/>
                <a:gd name="T53" fmla="*/ 246 h 284"/>
                <a:gd name="T54" fmla="*/ 22 w 330"/>
                <a:gd name="T55" fmla="*/ 246 h 284"/>
                <a:gd name="T56" fmla="*/ 43 w 330"/>
                <a:gd name="T57" fmla="*/ 241 h 284"/>
                <a:gd name="T58" fmla="*/ 47 w 330"/>
                <a:gd name="T59" fmla="*/ 250 h 284"/>
                <a:gd name="T60" fmla="*/ 59 w 330"/>
                <a:gd name="T61" fmla="*/ 253 h 284"/>
                <a:gd name="T62" fmla="*/ 78 w 330"/>
                <a:gd name="T63" fmla="*/ 241 h 284"/>
                <a:gd name="T64" fmla="*/ 105 w 330"/>
                <a:gd name="T65" fmla="*/ 252 h 284"/>
                <a:gd name="T66" fmla="*/ 111 w 330"/>
                <a:gd name="T67" fmla="*/ 250 h 284"/>
                <a:gd name="T68" fmla="*/ 136 w 330"/>
                <a:gd name="T69" fmla="*/ 228 h 284"/>
                <a:gd name="T70" fmla="*/ 154 w 330"/>
                <a:gd name="T71" fmla="*/ 234 h 284"/>
                <a:gd name="T72" fmla="*/ 160 w 330"/>
                <a:gd name="T73" fmla="*/ 250 h 284"/>
                <a:gd name="T74" fmla="*/ 158 w 330"/>
                <a:gd name="T75" fmla="*/ 277 h 284"/>
                <a:gd name="T76" fmla="*/ 164 w 330"/>
                <a:gd name="T77" fmla="*/ 280 h 284"/>
                <a:gd name="T78" fmla="*/ 188 w 330"/>
                <a:gd name="T79" fmla="*/ 271 h 284"/>
                <a:gd name="T80" fmla="*/ 197 w 330"/>
                <a:gd name="T81" fmla="*/ 284 h 284"/>
                <a:gd name="T82" fmla="*/ 213 w 330"/>
                <a:gd name="T83" fmla="*/ 277 h 284"/>
                <a:gd name="T84" fmla="*/ 246 w 330"/>
                <a:gd name="T85" fmla="*/ 275 h 284"/>
                <a:gd name="T86" fmla="*/ 277 w 330"/>
                <a:gd name="T87" fmla="*/ 272 h 284"/>
                <a:gd name="T88" fmla="*/ 281 w 330"/>
                <a:gd name="T89" fmla="*/ 264 h 284"/>
                <a:gd name="T90" fmla="*/ 297 w 330"/>
                <a:gd name="T91" fmla="*/ 261 h 284"/>
                <a:gd name="T92" fmla="*/ 312 w 330"/>
                <a:gd name="T93" fmla="*/ 250 h 284"/>
                <a:gd name="T94" fmla="*/ 330 w 330"/>
                <a:gd name="T95" fmla="*/ 219 h 284"/>
                <a:gd name="T96" fmla="*/ 328 w 330"/>
                <a:gd name="T97" fmla="*/ 212 h 284"/>
                <a:gd name="T98" fmla="*/ 318 w 330"/>
                <a:gd name="T99" fmla="*/ 20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0" h="284">
                  <a:moveTo>
                    <a:pt x="312" y="197"/>
                  </a:moveTo>
                  <a:lnTo>
                    <a:pt x="312" y="197"/>
                  </a:lnTo>
                  <a:lnTo>
                    <a:pt x="309" y="195"/>
                  </a:lnTo>
                  <a:lnTo>
                    <a:pt x="308" y="194"/>
                  </a:lnTo>
                  <a:lnTo>
                    <a:pt x="306" y="188"/>
                  </a:lnTo>
                  <a:lnTo>
                    <a:pt x="308" y="179"/>
                  </a:lnTo>
                  <a:lnTo>
                    <a:pt x="308" y="169"/>
                  </a:lnTo>
                  <a:lnTo>
                    <a:pt x="308" y="169"/>
                  </a:lnTo>
                  <a:lnTo>
                    <a:pt x="305" y="158"/>
                  </a:lnTo>
                  <a:lnTo>
                    <a:pt x="302" y="151"/>
                  </a:lnTo>
                  <a:lnTo>
                    <a:pt x="297" y="147"/>
                  </a:lnTo>
                  <a:lnTo>
                    <a:pt x="293" y="144"/>
                  </a:lnTo>
                  <a:lnTo>
                    <a:pt x="293" y="144"/>
                  </a:lnTo>
                  <a:lnTo>
                    <a:pt x="286" y="141"/>
                  </a:lnTo>
                  <a:lnTo>
                    <a:pt x="277" y="139"/>
                  </a:lnTo>
                  <a:lnTo>
                    <a:pt x="277" y="139"/>
                  </a:lnTo>
                  <a:lnTo>
                    <a:pt x="262" y="138"/>
                  </a:lnTo>
                  <a:lnTo>
                    <a:pt x="253" y="136"/>
                  </a:lnTo>
                  <a:lnTo>
                    <a:pt x="241" y="132"/>
                  </a:lnTo>
                  <a:lnTo>
                    <a:pt x="241" y="132"/>
                  </a:lnTo>
                  <a:lnTo>
                    <a:pt x="231" y="126"/>
                  </a:lnTo>
                  <a:lnTo>
                    <a:pt x="225" y="117"/>
                  </a:lnTo>
                  <a:lnTo>
                    <a:pt x="219" y="110"/>
                  </a:lnTo>
                  <a:lnTo>
                    <a:pt x="216" y="101"/>
                  </a:lnTo>
                  <a:lnTo>
                    <a:pt x="216" y="101"/>
                  </a:lnTo>
                  <a:lnTo>
                    <a:pt x="214" y="95"/>
                  </a:lnTo>
                  <a:lnTo>
                    <a:pt x="213" y="93"/>
                  </a:lnTo>
                  <a:lnTo>
                    <a:pt x="209" y="93"/>
                  </a:lnTo>
                  <a:lnTo>
                    <a:pt x="209" y="93"/>
                  </a:lnTo>
                  <a:lnTo>
                    <a:pt x="206" y="92"/>
                  </a:lnTo>
                  <a:lnTo>
                    <a:pt x="201" y="89"/>
                  </a:lnTo>
                  <a:lnTo>
                    <a:pt x="198" y="86"/>
                  </a:lnTo>
                  <a:lnTo>
                    <a:pt x="195" y="81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7" y="77"/>
                  </a:lnTo>
                  <a:lnTo>
                    <a:pt x="200" y="74"/>
                  </a:lnTo>
                  <a:lnTo>
                    <a:pt x="203" y="70"/>
                  </a:lnTo>
                  <a:lnTo>
                    <a:pt x="203" y="67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0" y="59"/>
                  </a:lnTo>
                  <a:lnTo>
                    <a:pt x="197" y="56"/>
                  </a:lnTo>
                  <a:lnTo>
                    <a:pt x="192" y="53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5" y="44"/>
                  </a:lnTo>
                  <a:lnTo>
                    <a:pt x="185" y="41"/>
                  </a:lnTo>
                  <a:lnTo>
                    <a:pt x="185" y="38"/>
                  </a:lnTo>
                  <a:lnTo>
                    <a:pt x="185" y="38"/>
                  </a:lnTo>
                  <a:lnTo>
                    <a:pt x="182" y="31"/>
                  </a:lnTo>
                  <a:lnTo>
                    <a:pt x="179" y="27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64" y="18"/>
                  </a:lnTo>
                  <a:lnTo>
                    <a:pt x="161" y="15"/>
                  </a:lnTo>
                  <a:lnTo>
                    <a:pt x="158" y="12"/>
                  </a:lnTo>
                  <a:lnTo>
                    <a:pt x="158" y="12"/>
                  </a:lnTo>
                  <a:lnTo>
                    <a:pt x="154" y="6"/>
                  </a:lnTo>
                  <a:lnTo>
                    <a:pt x="149" y="0"/>
                  </a:lnTo>
                  <a:lnTo>
                    <a:pt x="149" y="0"/>
                  </a:lnTo>
                  <a:lnTo>
                    <a:pt x="146" y="9"/>
                  </a:lnTo>
                  <a:lnTo>
                    <a:pt x="142" y="15"/>
                  </a:lnTo>
                  <a:lnTo>
                    <a:pt x="137" y="19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23" y="25"/>
                  </a:lnTo>
                  <a:lnTo>
                    <a:pt x="114" y="3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3" y="41"/>
                  </a:lnTo>
                  <a:lnTo>
                    <a:pt x="92" y="40"/>
                  </a:lnTo>
                  <a:lnTo>
                    <a:pt x="89" y="38"/>
                  </a:lnTo>
                  <a:lnTo>
                    <a:pt x="87" y="38"/>
                  </a:lnTo>
                  <a:lnTo>
                    <a:pt x="86" y="38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57" y="75"/>
                  </a:lnTo>
                  <a:lnTo>
                    <a:pt x="47" y="87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34" y="102"/>
                  </a:lnTo>
                  <a:lnTo>
                    <a:pt x="29" y="111"/>
                  </a:lnTo>
                  <a:lnTo>
                    <a:pt x="25" y="121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5" y="142"/>
                  </a:lnTo>
                  <a:lnTo>
                    <a:pt x="23" y="150"/>
                  </a:lnTo>
                  <a:lnTo>
                    <a:pt x="22" y="155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6" y="163"/>
                  </a:lnTo>
                  <a:lnTo>
                    <a:pt x="15" y="167"/>
                  </a:lnTo>
                  <a:lnTo>
                    <a:pt x="15" y="176"/>
                  </a:lnTo>
                  <a:lnTo>
                    <a:pt x="16" y="187"/>
                  </a:lnTo>
                  <a:lnTo>
                    <a:pt x="17" y="194"/>
                  </a:lnTo>
                  <a:lnTo>
                    <a:pt x="17" y="194"/>
                  </a:lnTo>
                  <a:lnTo>
                    <a:pt x="17" y="197"/>
                  </a:lnTo>
                  <a:lnTo>
                    <a:pt x="17" y="200"/>
                  </a:lnTo>
                  <a:lnTo>
                    <a:pt x="13" y="209"/>
                  </a:lnTo>
                  <a:lnTo>
                    <a:pt x="9" y="21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3" y="227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6" y="241"/>
                  </a:lnTo>
                  <a:lnTo>
                    <a:pt x="9" y="246"/>
                  </a:lnTo>
                  <a:lnTo>
                    <a:pt x="13" y="249"/>
                  </a:lnTo>
                  <a:lnTo>
                    <a:pt x="13" y="249"/>
                  </a:lnTo>
                  <a:lnTo>
                    <a:pt x="17" y="249"/>
                  </a:lnTo>
                  <a:lnTo>
                    <a:pt x="22" y="246"/>
                  </a:lnTo>
                  <a:lnTo>
                    <a:pt x="28" y="243"/>
                  </a:lnTo>
                  <a:lnTo>
                    <a:pt x="34" y="241"/>
                  </a:lnTo>
                  <a:lnTo>
                    <a:pt x="34" y="241"/>
                  </a:lnTo>
                  <a:lnTo>
                    <a:pt x="43" y="241"/>
                  </a:lnTo>
                  <a:lnTo>
                    <a:pt x="44" y="243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7" y="250"/>
                  </a:lnTo>
                  <a:lnTo>
                    <a:pt x="52" y="253"/>
                  </a:lnTo>
                  <a:lnTo>
                    <a:pt x="55" y="255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62" y="249"/>
                  </a:lnTo>
                  <a:lnTo>
                    <a:pt x="68" y="244"/>
                  </a:lnTo>
                  <a:lnTo>
                    <a:pt x="74" y="241"/>
                  </a:lnTo>
                  <a:lnTo>
                    <a:pt x="78" y="241"/>
                  </a:lnTo>
                  <a:lnTo>
                    <a:pt x="83" y="243"/>
                  </a:lnTo>
                  <a:lnTo>
                    <a:pt x="83" y="243"/>
                  </a:lnTo>
                  <a:lnTo>
                    <a:pt x="94" y="247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8" y="252"/>
                  </a:lnTo>
                  <a:lnTo>
                    <a:pt x="111" y="250"/>
                  </a:lnTo>
                  <a:lnTo>
                    <a:pt x="111" y="250"/>
                  </a:lnTo>
                  <a:lnTo>
                    <a:pt x="123" y="238"/>
                  </a:lnTo>
                  <a:lnTo>
                    <a:pt x="130" y="232"/>
                  </a:lnTo>
                  <a:lnTo>
                    <a:pt x="136" y="228"/>
                  </a:lnTo>
                  <a:lnTo>
                    <a:pt x="136" y="228"/>
                  </a:lnTo>
                  <a:lnTo>
                    <a:pt x="140" y="227"/>
                  </a:lnTo>
                  <a:lnTo>
                    <a:pt x="146" y="228"/>
                  </a:lnTo>
                  <a:lnTo>
                    <a:pt x="151" y="231"/>
                  </a:lnTo>
                  <a:lnTo>
                    <a:pt x="154" y="234"/>
                  </a:lnTo>
                  <a:lnTo>
                    <a:pt x="154" y="234"/>
                  </a:lnTo>
                  <a:lnTo>
                    <a:pt x="161" y="240"/>
                  </a:lnTo>
                  <a:lnTo>
                    <a:pt x="161" y="243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57" y="262"/>
                  </a:lnTo>
                  <a:lnTo>
                    <a:pt x="157" y="272"/>
                  </a:lnTo>
                  <a:lnTo>
                    <a:pt x="158" y="277"/>
                  </a:lnTo>
                  <a:lnTo>
                    <a:pt x="160" y="280"/>
                  </a:lnTo>
                  <a:lnTo>
                    <a:pt x="161" y="281"/>
                  </a:lnTo>
                  <a:lnTo>
                    <a:pt x="164" y="280"/>
                  </a:lnTo>
                  <a:lnTo>
                    <a:pt x="164" y="280"/>
                  </a:lnTo>
                  <a:lnTo>
                    <a:pt x="179" y="271"/>
                  </a:lnTo>
                  <a:lnTo>
                    <a:pt x="185" y="268"/>
                  </a:lnTo>
                  <a:lnTo>
                    <a:pt x="188" y="270"/>
                  </a:lnTo>
                  <a:lnTo>
                    <a:pt x="188" y="271"/>
                  </a:lnTo>
                  <a:lnTo>
                    <a:pt x="188" y="271"/>
                  </a:lnTo>
                  <a:lnTo>
                    <a:pt x="191" y="280"/>
                  </a:lnTo>
                  <a:lnTo>
                    <a:pt x="192" y="283"/>
                  </a:lnTo>
                  <a:lnTo>
                    <a:pt x="197" y="284"/>
                  </a:lnTo>
                  <a:lnTo>
                    <a:pt x="197" y="284"/>
                  </a:lnTo>
                  <a:lnTo>
                    <a:pt x="201" y="283"/>
                  </a:lnTo>
                  <a:lnTo>
                    <a:pt x="206" y="281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6" y="275"/>
                  </a:lnTo>
                  <a:lnTo>
                    <a:pt x="225" y="275"/>
                  </a:lnTo>
                  <a:lnTo>
                    <a:pt x="246" y="275"/>
                  </a:lnTo>
                  <a:lnTo>
                    <a:pt x="275" y="277"/>
                  </a:lnTo>
                  <a:lnTo>
                    <a:pt x="275" y="277"/>
                  </a:lnTo>
                  <a:lnTo>
                    <a:pt x="275" y="274"/>
                  </a:lnTo>
                  <a:lnTo>
                    <a:pt x="277" y="272"/>
                  </a:lnTo>
                  <a:lnTo>
                    <a:pt x="277" y="272"/>
                  </a:lnTo>
                  <a:lnTo>
                    <a:pt x="277" y="271"/>
                  </a:lnTo>
                  <a:lnTo>
                    <a:pt x="278" y="267"/>
                  </a:lnTo>
                  <a:lnTo>
                    <a:pt x="281" y="264"/>
                  </a:lnTo>
                  <a:lnTo>
                    <a:pt x="284" y="262"/>
                  </a:lnTo>
                  <a:lnTo>
                    <a:pt x="288" y="262"/>
                  </a:lnTo>
                  <a:lnTo>
                    <a:pt x="288" y="262"/>
                  </a:lnTo>
                  <a:lnTo>
                    <a:pt x="297" y="261"/>
                  </a:lnTo>
                  <a:lnTo>
                    <a:pt x="303" y="258"/>
                  </a:lnTo>
                  <a:lnTo>
                    <a:pt x="308" y="255"/>
                  </a:lnTo>
                  <a:lnTo>
                    <a:pt x="312" y="250"/>
                  </a:lnTo>
                  <a:lnTo>
                    <a:pt x="312" y="250"/>
                  </a:lnTo>
                  <a:lnTo>
                    <a:pt x="318" y="241"/>
                  </a:lnTo>
                  <a:lnTo>
                    <a:pt x="323" y="234"/>
                  </a:lnTo>
                  <a:lnTo>
                    <a:pt x="323" y="234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30" y="219"/>
                  </a:lnTo>
                  <a:lnTo>
                    <a:pt x="328" y="212"/>
                  </a:lnTo>
                  <a:lnTo>
                    <a:pt x="328" y="212"/>
                  </a:lnTo>
                  <a:lnTo>
                    <a:pt x="327" y="206"/>
                  </a:lnTo>
                  <a:lnTo>
                    <a:pt x="323" y="203"/>
                  </a:lnTo>
                  <a:lnTo>
                    <a:pt x="318" y="200"/>
                  </a:lnTo>
                  <a:lnTo>
                    <a:pt x="312" y="197"/>
                  </a:lnTo>
                  <a:lnTo>
                    <a:pt x="312" y="19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3" name="Freeform 22">
              <a:extLst>
                <a:ext uri="{FF2B5EF4-FFF2-40B4-BE49-F238E27FC236}">
                  <a16:creationId xmlns:a16="http://schemas.microsoft.com/office/drawing/2014/main" id="{D39162B2-221C-0D4A-BECC-9833A2E5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3125" y="5300663"/>
              <a:ext cx="892175" cy="1035050"/>
            </a:xfrm>
            <a:custGeom>
              <a:avLst/>
              <a:gdLst>
                <a:gd name="T0" fmla="*/ 413 w 562"/>
                <a:gd name="T1" fmla="*/ 643 h 652"/>
                <a:gd name="T2" fmla="*/ 430 w 562"/>
                <a:gd name="T3" fmla="*/ 625 h 652"/>
                <a:gd name="T4" fmla="*/ 450 w 562"/>
                <a:gd name="T5" fmla="*/ 587 h 652"/>
                <a:gd name="T6" fmla="*/ 464 w 562"/>
                <a:gd name="T7" fmla="*/ 569 h 652"/>
                <a:gd name="T8" fmla="*/ 490 w 562"/>
                <a:gd name="T9" fmla="*/ 572 h 652"/>
                <a:gd name="T10" fmla="*/ 528 w 562"/>
                <a:gd name="T11" fmla="*/ 572 h 652"/>
                <a:gd name="T12" fmla="*/ 550 w 562"/>
                <a:gd name="T13" fmla="*/ 536 h 652"/>
                <a:gd name="T14" fmla="*/ 558 w 562"/>
                <a:gd name="T15" fmla="*/ 496 h 652"/>
                <a:gd name="T16" fmla="*/ 561 w 562"/>
                <a:gd name="T17" fmla="*/ 447 h 652"/>
                <a:gd name="T18" fmla="*/ 533 w 562"/>
                <a:gd name="T19" fmla="*/ 394 h 652"/>
                <a:gd name="T20" fmla="*/ 516 w 562"/>
                <a:gd name="T21" fmla="*/ 345 h 652"/>
                <a:gd name="T22" fmla="*/ 536 w 562"/>
                <a:gd name="T23" fmla="*/ 301 h 652"/>
                <a:gd name="T24" fmla="*/ 533 w 562"/>
                <a:gd name="T25" fmla="*/ 268 h 652"/>
                <a:gd name="T26" fmla="*/ 541 w 562"/>
                <a:gd name="T27" fmla="*/ 224 h 652"/>
                <a:gd name="T28" fmla="*/ 559 w 562"/>
                <a:gd name="T29" fmla="*/ 179 h 652"/>
                <a:gd name="T30" fmla="*/ 546 w 562"/>
                <a:gd name="T31" fmla="*/ 130 h 652"/>
                <a:gd name="T32" fmla="*/ 534 w 562"/>
                <a:gd name="T33" fmla="*/ 71 h 652"/>
                <a:gd name="T34" fmla="*/ 488 w 562"/>
                <a:gd name="T35" fmla="*/ 34 h 652"/>
                <a:gd name="T36" fmla="*/ 475 w 562"/>
                <a:gd name="T37" fmla="*/ 2 h 652"/>
                <a:gd name="T38" fmla="*/ 450 w 562"/>
                <a:gd name="T39" fmla="*/ 22 h 652"/>
                <a:gd name="T40" fmla="*/ 435 w 562"/>
                <a:gd name="T41" fmla="*/ 40 h 652"/>
                <a:gd name="T42" fmla="*/ 416 w 562"/>
                <a:gd name="T43" fmla="*/ 76 h 652"/>
                <a:gd name="T44" fmla="*/ 396 w 562"/>
                <a:gd name="T45" fmla="*/ 111 h 652"/>
                <a:gd name="T46" fmla="*/ 343 w 562"/>
                <a:gd name="T47" fmla="*/ 142 h 652"/>
                <a:gd name="T48" fmla="*/ 305 w 562"/>
                <a:gd name="T49" fmla="*/ 165 h 652"/>
                <a:gd name="T50" fmla="*/ 269 w 562"/>
                <a:gd name="T51" fmla="*/ 173 h 652"/>
                <a:gd name="T52" fmla="*/ 276 w 562"/>
                <a:gd name="T53" fmla="*/ 190 h 652"/>
                <a:gd name="T54" fmla="*/ 265 w 562"/>
                <a:gd name="T55" fmla="*/ 213 h 652"/>
                <a:gd name="T56" fmla="*/ 278 w 562"/>
                <a:gd name="T57" fmla="*/ 239 h 652"/>
                <a:gd name="T58" fmla="*/ 253 w 562"/>
                <a:gd name="T59" fmla="*/ 268 h 652"/>
                <a:gd name="T60" fmla="*/ 254 w 562"/>
                <a:gd name="T61" fmla="*/ 292 h 652"/>
                <a:gd name="T62" fmla="*/ 226 w 562"/>
                <a:gd name="T63" fmla="*/ 313 h 652"/>
                <a:gd name="T64" fmla="*/ 207 w 562"/>
                <a:gd name="T65" fmla="*/ 310 h 652"/>
                <a:gd name="T66" fmla="*/ 177 w 562"/>
                <a:gd name="T67" fmla="*/ 317 h 652"/>
                <a:gd name="T68" fmla="*/ 173 w 562"/>
                <a:gd name="T69" fmla="*/ 359 h 652"/>
                <a:gd name="T70" fmla="*/ 140 w 562"/>
                <a:gd name="T71" fmla="*/ 359 h 652"/>
                <a:gd name="T72" fmla="*/ 127 w 562"/>
                <a:gd name="T73" fmla="*/ 344 h 652"/>
                <a:gd name="T74" fmla="*/ 109 w 562"/>
                <a:gd name="T75" fmla="*/ 375 h 652"/>
                <a:gd name="T76" fmla="*/ 94 w 562"/>
                <a:gd name="T77" fmla="*/ 394 h 652"/>
                <a:gd name="T78" fmla="*/ 74 w 562"/>
                <a:gd name="T79" fmla="*/ 387 h 652"/>
                <a:gd name="T80" fmla="*/ 38 w 562"/>
                <a:gd name="T81" fmla="*/ 384 h 652"/>
                <a:gd name="T82" fmla="*/ 0 w 562"/>
                <a:gd name="T83" fmla="*/ 439 h 652"/>
                <a:gd name="T84" fmla="*/ 19 w 562"/>
                <a:gd name="T85" fmla="*/ 473 h 652"/>
                <a:gd name="T86" fmla="*/ 45 w 562"/>
                <a:gd name="T87" fmla="*/ 484 h 652"/>
                <a:gd name="T88" fmla="*/ 53 w 562"/>
                <a:gd name="T89" fmla="*/ 507 h 652"/>
                <a:gd name="T90" fmla="*/ 82 w 562"/>
                <a:gd name="T91" fmla="*/ 518 h 652"/>
                <a:gd name="T92" fmla="*/ 93 w 562"/>
                <a:gd name="T93" fmla="*/ 501 h 652"/>
                <a:gd name="T94" fmla="*/ 112 w 562"/>
                <a:gd name="T95" fmla="*/ 521 h 652"/>
                <a:gd name="T96" fmla="*/ 128 w 562"/>
                <a:gd name="T97" fmla="*/ 536 h 652"/>
                <a:gd name="T98" fmla="*/ 148 w 562"/>
                <a:gd name="T99" fmla="*/ 553 h 652"/>
                <a:gd name="T100" fmla="*/ 185 w 562"/>
                <a:gd name="T101" fmla="*/ 582 h 652"/>
                <a:gd name="T102" fmla="*/ 191 w 562"/>
                <a:gd name="T103" fmla="*/ 564 h 652"/>
                <a:gd name="T104" fmla="*/ 211 w 562"/>
                <a:gd name="T105" fmla="*/ 600 h 652"/>
                <a:gd name="T106" fmla="*/ 226 w 562"/>
                <a:gd name="T107" fmla="*/ 624 h 652"/>
                <a:gd name="T108" fmla="*/ 239 w 562"/>
                <a:gd name="T109" fmla="*/ 610 h 652"/>
                <a:gd name="T110" fmla="*/ 265 w 562"/>
                <a:gd name="T111" fmla="*/ 591 h 652"/>
                <a:gd name="T112" fmla="*/ 281 w 562"/>
                <a:gd name="T113" fmla="*/ 600 h 652"/>
                <a:gd name="T114" fmla="*/ 309 w 562"/>
                <a:gd name="T115" fmla="*/ 606 h 652"/>
                <a:gd name="T116" fmla="*/ 324 w 562"/>
                <a:gd name="T117" fmla="*/ 618 h 652"/>
                <a:gd name="T118" fmla="*/ 328 w 562"/>
                <a:gd name="T119" fmla="*/ 638 h 652"/>
                <a:gd name="T120" fmla="*/ 358 w 562"/>
                <a:gd name="T121" fmla="*/ 650 h 652"/>
                <a:gd name="T122" fmla="*/ 382 w 562"/>
                <a:gd name="T123" fmla="*/ 643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2" h="652">
                  <a:moveTo>
                    <a:pt x="393" y="633"/>
                  </a:moveTo>
                  <a:lnTo>
                    <a:pt x="393" y="633"/>
                  </a:lnTo>
                  <a:lnTo>
                    <a:pt x="398" y="633"/>
                  </a:lnTo>
                  <a:lnTo>
                    <a:pt x="404" y="634"/>
                  </a:lnTo>
                  <a:lnTo>
                    <a:pt x="408" y="637"/>
                  </a:lnTo>
                  <a:lnTo>
                    <a:pt x="413" y="643"/>
                  </a:lnTo>
                  <a:lnTo>
                    <a:pt x="413" y="643"/>
                  </a:lnTo>
                  <a:lnTo>
                    <a:pt x="413" y="647"/>
                  </a:lnTo>
                  <a:lnTo>
                    <a:pt x="413" y="652"/>
                  </a:lnTo>
                  <a:lnTo>
                    <a:pt x="413" y="652"/>
                  </a:lnTo>
                  <a:lnTo>
                    <a:pt x="417" y="647"/>
                  </a:lnTo>
                  <a:lnTo>
                    <a:pt x="422" y="638"/>
                  </a:lnTo>
                  <a:lnTo>
                    <a:pt x="430" y="625"/>
                  </a:lnTo>
                  <a:lnTo>
                    <a:pt x="430" y="625"/>
                  </a:lnTo>
                  <a:lnTo>
                    <a:pt x="436" y="619"/>
                  </a:lnTo>
                  <a:lnTo>
                    <a:pt x="439" y="615"/>
                  </a:lnTo>
                  <a:lnTo>
                    <a:pt x="441" y="609"/>
                  </a:lnTo>
                  <a:lnTo>
                    <a:pt x="441" y="609"/>
                  </a:lnTo>
                  <a:lnTo>
                    <a:pt x="444" y="595"/>
                  </a:lnTo>
                  <a:lnTo>
                    <a:pt x="445" y="590"/>
                  </a:lnTo>
                  <a:lnTo>
                    <a:pt x="450" y="587"/>
                  </a:lnTo>
                  <a:lnTo>
                    <a:pt x="450" y="587"/>
                  </a:lnTo>
                  <a:lnTo>
                    <a:pt x="453" y="584"/>
                  </a:lnTo>
                  <a:lnTo>
                    <a:pt x="456" y="581"/>
                  </a:lnTo>
                  <a:lnTo>
                    <a:pt x="457" y="575"/>
                  </a:lnTo>
                  <a:lnTo>
                    <a:pt x="457" y="575"/>
                  </a:lnTo>
                  <a:lnTo>
                    <a:pt x="460" y="570"/>
                  </a:lnTo>
                  <a:lnTo>
                    <a:pt x="464" y="569"/>
                  </a:lnTo>
                  <a:lnTo>
                    <a:pt x="470" y="566"/>
                  </a:lnTo>
                  <a:lnTo>
                    <a:pt x="476" y="566"/>
                  </a:lnTo>
                  <a:lnTo>
                    <a:pt x="476" y="566"/>
                  </a:lnTo>
                  <a:lnTo>
                    <a:pt x="487" y="567"/>
                  </a:lnTo>
                  <a:lnTo>
                    <a:pt x="488" y="569"/>
                  </a:lnTo>
                  <a:lnTo>
                    <a:pt x="490" y="572"/>
                  </a:lnTo>
                  <a:lnTo>
                    <a:pt x="490" y="572"/>
                  </a:lnTo>
                  <a:lnTo>
                    <a:pt x="490" y="573"/>
                  </a:lnTo>
                  <a:lnTo>
                    <a:pt x="490" y="575"/>
                  </a:lnTo>
                  <a:lnTo>
                    <a:pt x="493" y="576"/>
                  </a:lnTo>
                  <a:lnTo>
                    <a:pt x="503" y="576"/>
                  </a:lnTo>
                  <a:lnTo>
                    <a:pt x="503" y="576"/>
                  </a:lnTo>
                  <a:lnTo>
                    <a:pt x="516" y="575"/>
                  </a:lnTo>
                  <a:lnTo>
                    <a:pt x="528" y="572"/>
                  </a:lnTo>
                  <a:lnTo>
                    <a:pt x="537" y="567"/>
                  </a:lnTo>
                  <a:lnTo>
                    <a:pt x="540" y="564"/>
                  </a:lnTo>
                  <a:lnTo>
                    <a:pt x="543" y="561"/>
                  </a:lnTo>
                  <a:lnTo>
                    <a:pt x="543" y="561"/>
                  </a:lnTo>
                  <a:lnTo>
                    <a:pt x="546" y="554"/>
                  </a:lnTo>
                  <a:lnTo>
                    <a:pt x="549" y="545"/>
                  </a:lnTo>
                  <a:lnTo>
                    <a:pt x="550" y="536"/>
                  </a:lnTo>
                  <a:lnTo>
                    <a:pt x="552" y="529"/>
                  </a:lnTo>
                  <a:lnTo>
                    <a:pt x="552" y="529"/>
                  </a:lnTo>
                  <a:lnTo>
                    <a:pt x="555" y="521"/>
                  </a:lnTo>
                  <a:lnTo>
                    <a:pt x="558" y="513"/>
                  </a:lnTo>
                  <a:lnTo>
                    <a:pt x="558" y="504"/>
                  </a:lnTo>
                  <a:lnTo>
                    <a:pt x="558" y="496"/>
                  </a:lnTo>
                  <a:lnTo>
                    <a:pt x="558" y="496"/>
                  </a:lnTo>
                  <a:lnTo>
                    <a:pt x="555" y="487"/>
                  </a:lnTo>
                  <a:lnTo>
                    <a:pt x="553" y="476"/>
                  </a:lnTo>
                  <a:lnTo>
                    <a:pt x="555" y="465"/>
                  </a:lnTo>
                  <a:lnTo>
                    <a:pt x="556" y="459"/>
                  </a:lnTo>
                  <a:lnTo>
                    <a:pt x="558" y="456"/>
                  </a:lnTo>
                  <a:lnTo>
                    <a:pt x="558" y="456"/>
                  </a:lnTo>
                  <a:lnTo>
                    <a:pt x="561" y="447"/>
                  </a:lnTo>
                  <a:lnTo>
                    <a:pt x="562" y="434"/>
                  </a:lnTo>
                  <a:lnTo>
                    <a:pt x="561" y="421"/>
                  </a:lnTo>
                  <a:lnTo>
                    <a:pt x="561" y="416"/>
                  </a:lnTo>
                  <a:lnTo>
                    <a:pt x="558" y="412"/>
                  </a:lnTo>
                  <a:lnTo>
                    <a:pt x="558" y="412"/>
                  </a:lnTo>
                  <a:lnTo>
                    <a:pt x="547" y="404"/>
                  </a:lnTo>
                  <a:lnTo>
                    <a:pt x="533" y="394"/>
                  </a:lnTo>
                  <a:lnTo>
                    <a:pt x="518" y="384"/>
                  </a:lnTo>
                  <a:lnTo>
                    <a:pt x="513" y="378"/>
                  </a:lnTo>
                  <a:lnTo>
                    <a:pt x="512" y="373"/>
                  </a:lnTo>
                  <a:lnTo>
                    <a:pt x="512" y="373"/>
                  </a:lnTo>
                  <a:lnTo>
                    <a:pt x="512" y="359"/>
                  </a:lnTo>
                  <a:lnTo>
                    <a:pt x="513" y="353"/>
                  </a:lnTo>
                  <a:lnTo>
                    <a:pt x="516" y="345"/>
                  </a:lnTo>
                  <a:lnTo>
                    <a:pt x="516" y="345"/>
                  </a:lnTo>
                  <a:lnTo>
                    <a:pt x="521" y="335"/>
                  </a:lnTo>
                  <a:lnTo>
                    <a:pt x="525" y="323"/>
                  </a:lnTo>
                  <a:lnTo>
                    <a:pt x="530" y="313"/>
                  </a:lnTo>
                  <a:lnTo>
                    <a:pt x="533" y="305"/>
                  </a:lnTo>
                  <a:lnTo>
                    <a:pt x="533" y="305"/>
                  </a:lnTo>
                  <a:lnTo>
                    <a:pt x="536" y="301"/>
                  </a:lnTo>
                  <a:lnTo>
                    <a:pt x="537" y="298"/>
                  </a:lnTo>
                  <a:lnTo>
                    <a:pt x="537" y="292"/>
                  </a:lnTo>
                  <a:lnTo>
                    <a:pt x="536" y="286"/>
                  </a:lnTo>
                  <a:lnTo>
                    <a:pt x="536" y="286"/>
                  </a:lnTo>
                  <a:lnTo>
                    <a:pt x="531" y="276"/>
                  </a:lnTo>
                  <a:lnTo>
                    <a:pt x="531" y="271"/>
                  </a:lnTo>
                  <a:lnTo>
                    <a:pt x="533" y="268"/>
                  </a:lnTo>
                  <a:lnTo>
                    <a:pt x="533" y="268"/>
                  </a:lnTo>
                  <a:lnTo>
                    <a:pt x="536" y="264"/>
                  </a:lnTo>
                  <a:lnTo>
                    <a:pt x="537" y="262"/>
                  </a:lnTo>
                  <a:lnTo>
                    <a:pt x="539" y="252"/>
                  </a:lnTo>
                  <a:lnTo>
                    <a:pt x="539" y="252"/>
                  </a:lnTo>
                  <a:lnTo>
                    <a:pt x="540" y="240"/>
                  </a:lnTo>
                  <a:lnTo>
                    <a:pt x="541" y="224"/>
                  </a:lnTo>
                  <a:lnTo>
                    <a:pt x="546" y="206"/>
                  </a:lnTo>
                  <a:lnTo>
                    <a:pt x="549" y="200"/>
                  </a:lnTo>
                  <a:lnTo>
                    <a:pt x="552" y="196"/>
                  </a:lnTo>
                  <a:lnTo>
                    <a:pt x="552" y="196"/>
                  </a:lnTo>
                  <a:lnTo>
                    <a:pt x="555" y="193"/>
                  </a:lnTo>
                  <a:lnTo>
                    <a:pt x="556" y="190"/>
                  </a:lnTo>
                  <a:lnTo>
                    <a:pt x="559" y="179"/>
                  </a:lnTo>
                  <a:lnTo>
                    <a:pt x="561" y="169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58" y="153"/>
                  </a:lnTo>
                  <a:lnTo>
                    <a:pt x="553" y="145"/>
                  </a:lnTo>
                  <a:lnTo>
                    <a:pt x="549" y="138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4" y="119"/>
                  </a:lnTo>
                  <a:lnTo>
                    <a:pt x="541" y="101"/>
                  </a:lnTo>
                  <a:lnTo>
                    <a:pt x="539" y="85"/>
                  </a:lnTo>
                  <a:lnTo>
                    <a:pt x="537" y="77"/>
                  </a:lnTo>
                  <a:lnTo>
                    <a:pt x="534" y="71"/>
                  </a:lnTo>
                  <a:lnTo>
                    <a:pt x="534" y="71"/>
                  </a:lnTo>
                  <a:lnTo>
                    <a:pt x="524" y="64"/>
                  </a:lnTo>
                  <a:lnTo>
                    <a:pt x="510" y="55"/>
                  </a:lnTo>
                  <a:lnTo>
                    <a:pt x="499" y="48"/>
                  </a:lnTo>
                  <a:lnTo>
                    <a:pt x="494" y="45"/>
                  </a:lnTo>
                  <a:lnTo>
                    <a:pt x="491" y="42"/>
                  </a:lnTo>
                  <a:lnTo>
                    <a:pt x="491" y="42"/>
                  </a:lnTo>
                  <a:lnTo>
                    <a:pt x="488" y="34"/>
                  </a:lnTo>
                  <a:lnTo>
                    <a:pt x="488" y="27"/>
                  </a:lnTo>
                  <a:lnTo>
                    <a:pt x="487" y="19"/>
                  </a:lnTo>
                  <a:lnTo>
                    <a:pt x="485" y="13"/>
                  </a:lnTo>
                  <a:lnTo>
                    <a:pt x="485" y="13"/>
                  </a:lnTo>
                  <a:lnTo>
                    <a:pt x="484" y="9"/>
                  </a:lnTo>
                  <a:lnTo>
                    <a:pt x="479" y="5"/>
                  </a:lnTo>
                  <a:lnTo>
                    <a:pt x="475" y="2"/>
                  </a:lnTo>
                  <a:lnTo>
                    <a:pt x="469" y="0"/>
                  </a:lnTo>
                  <a:lnTo>
                    <a:pt x="469" y="0"/>
                  </a:lnTo>
                  <a:lnTo>
                    <a:pt x="464" y="0"/>
                  </a:lnTo>
                  <a:lnTo>
                    <a:pt x="462" y="3"/>
                  </a:lnTo>
                  <a:lnTo>
                    <a:pt x="462" y="3"/>
                  </a:lnTo>
                  <a:lnTo>
                    <a:pt x="453" y="16"/>
                  </a:lnTo>
                  <a:lnTo>
                    <a:pt x="450" y="22"/>
                  </a:lnTo>
                  <a:lnTo>
                    <a:pt x="450" y="22"/>
                  </a:lnTo>
                  <a:lnTo>
                    <a:pt x="450" y="25"/>
                  </a:lnTo>
                  <a:lnTo>
                    <a:pt x="448" y="30"/>
                  </a:lnTo>
                  <a:lnTo>
                    <a:pt x="448" y="30"/>
                  </a:lnTo>
                  <a:lnTo>
                    <a:pt x="445" y="34"/>
                  </a:lnTo>
                  <a:lnTo>
                    <a:pt x="439" y="37"/>
                  </a:lnTo>
                  <a:lnTo>
                    <a:pt x="435" y="40"/>
                  </a:lnTo>
                  <a:lnTo>
                    <a:pt x="430" y="43"/>
                  </a:lnTo>
                  <a:lnTo>
                    <a:pt x="430" y="43"/>
                  </a:lnTo>
                  <a:lnTo>
                    <a:pt x="427" y="48"/>
                  </a:lnTo>
                  <a:lnTo>
                    <a:pt x="424" y="52"/>
                  </a:lnTo>
                  <a:lnTo>
                    <a:pt x="420" y="64"/>
                  </a:lnTo>
                  <a:lnTo>
                    <a:pt x="420" y="64"/>
                  </a:lnTo>
                  <a:lnTo>
                    <a:pt x="416" y="76"/>
                  </a:lnTo>
                  <a:lnTo>
                    <a:pt x="413" y="80"/>
                  </a:lnTo>
                  <a:lnTo>
                    <a:pt x="411" y="85"/>
                  </a:lnTo>
                  <a:lnTo>
                    <a:pt x="411" y="85"/>
                  </a:lnTo>
                  <a:lnTo>
                    <a:pt x="411" y="90"/>
                  </a:lnTo>
                  <a:lnTo>
                    <a:pt x="408" y="96"/>
                  </a:lnTo>
                  <a:lnTo>
                    <a:pt x="404" y="104"/>
                  </a:lnTo>
                  <a:lnTo>
                    <a:pt x="396" y="111"/>
                  </a:lnTo>
                  <a:lnTo>
                    <a:pt x="396" y="111"/>
                  </a:lnTo>
                  <a:lnTo>
                    <a:pt x="386" y="119"/>
                  </a:lnTo>
                  <a:lnTo>
                    <a:pt x="376" y="125"/>
                  </a:lnTo>
                  <a:lnTo>
                    <a:pt x="359" y="132"/>
                  </a:lnTo>
                  <a:lnTo>
                    <a:pt x="359" y="132"/>
                  </a:lnTo>
                  <a:lnTo>
                    <a:pt x="352" y="136"/>
                  </a:lnTo>
                  <a:lnTo>
                    <a:pt x="343" y="142"/>
                  </a:lnTo>
                  <a:lnTo>
                    <a:pt x="334" y="150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4" y="160"/>
                  </a:lnTo>
                  <a:lnTo>
                    <a:pt x="318" y="163"/>
                  </a:lnTo>
                  <a:lnTo>
                    <a:pt x="312" y="165"/>
                  </a:lnTo>
                  <a:lnTo>
                    <a:pt x="305" y="165"/>
                  </a:lnTo>
                  <a:lnTo>
                    <a:pt x="305" y="165"/>
                  </a:lnTo>
                  <a:lnTo>
                    <a:pt x="296" y="165"/>
                  </a:lnTo>
                  <a:lnTo>
                    <a:pt x="287" y="166"/>
                  </a:lnTo>
                  <a:lnTo>
                    <a:pt x="278" y="169"/>
                  </a:lnTo>
                  <a:lnTo>
                    <a:pt x="272" y="172"/>
                  </a:lnTo>
                  <a:lnTo>
                    <a:pt x="272" y="172"/>
                  </a:lnTo>
                  <a:lnTo>
                    <a:pt x="269" y="173"/>
                  </a:lnTo>
                  <a:lnTo>
                    <a:pt x="265" y="175"/>
                  </a:lnTo>
                  <a:lnTo>
                    <a:pt x="265" y="175"/>
                  </a:lnTo>
                  <a:lnTo>
                    <a:pt x="265" y="176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73" y="185"/>
                  </a:lnTo>
                  <a:lnTo>
                    <a:pt x="276" y="190"/>
                  </a:lnTo>
                  <a:lnTo>
                    <a:pt x="278" y="194"/>
                  </a:lnTo>
                  <a:lnTo>
                    <a:pt x="275" y="199"/>
                  </a:lnTo>
                  <a:lnTo>
                    <a:pt x="275" y="199"/>
                  </a:lnTo>
                  <a:lnTo>
                    <a:pt x="268" y="203"/>
                  </a:lnTo>
                  <a:lnTo>
                    <a:pt x="265" y="207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8" y="219"/>
                  </a:lnTo>
                  <a:lnTo>
                    <a:pt x="272" y="225"/>
                  </a:lnTo>
                  <a:lnTo>
                    <a:pt x="275" y="230"/>
                  </a:lnTo>
                  <a:lnTo>
                    <a:pt x="278" y="236"/>
                  </a:lnTo>
                  <a:lnTo>
                    <a:pt x="278" y="236"/>
                  </a:lnTo>
                  <a:lnTo>
                    <a:pt x="278" y="239"/>
                  </a:lnTo>
                  <a:lnTo>
                    <a:pt x="276" y="244"/>
                  </a:lnTo>
                  <a:lnTo>
                    <a:pt x="272" y="253"/>
                  </a:lnTo>
                  <a:lnTo>
                    <a:pt x="266" y="262"/>
                  </a:lnTo>
                  <a:lnTo>
                    <a:pt x="262" y="265"/>
                  </a:lnTo>
                  <a:lnTo>
                    <a:pt x="259" y="267"/>
                  </a:lnTo>
                  <a:lnTo>
                    <a:pt x="259" y="267"/>
                  </a:lnTo>
                  <a:lnTo>
                    <a:pt x="253" y="268"/>
                  </a:lnTo>
                  <a:lnTo>
                    <a:pt x="248" y="270"/>
                  </a:lnTo>
                  <a:lnTo>
                    <a:pt x="247" y="274"/>
                  </a:lnTo>
                  <a:lnTo>
                    <a:pt x="247" y="279"/>
                  </a:lnTo>
                  <a:lnTo>
                    <a:pt x="247" y="279"/>
                  </a:lnTo>
                  <a:lnTo>
                    <a:pt x="250" y="286"/>
                  </a:lnTo>
                  <a:lnTo>
                    <a:pt x="254" y="292"/>
                  </a:lnTo>
                  <a:lnTo>
                    <a:pt x="254" y="292"/>
                  </a:lnTo>
                  <a:lnTo>
                    <a:pt x="254" y="295"/>
                  </a:lnTo>
                  <a:lnTo>
                    <a:pt x="253" y="298"/>
                  </a:lnTo>
                  <a:lnTo>
                    <a:pt x="248" y="304"/>
                  </a:lnTo>
                  <a:lnTo>
                    <a:pt x="241" y="308"/>
                  </a:lnTo>
                  <a:lnTo>
                    <a:pt x="232" y="311"/>
                  </a:lnTo>
                  <a:lnTo>
                    <a:pt x="232" y="311"/>
                  </a:lnTo>
                  <a:lnTo>
                    <a:pt x="226" y="313"/>
                  </a:lnTo>
                  <a:lnTo>
                    <a:pt x="222" y="314"/>
                  </a:lnTo>
                  <a:lnTo>
                    <a:pt x="219" y="316"/>
                  </a:lnTo>
                  <a:lnTo>
                    <a:pt x="214" y="316"/>
                  </a:lnTo>
                  <a:lnTo>
                    <a:pt x="214" y="316"/>
                  </a:lnTo>
                  <a:lnTo>
                    <a:pt x="211" y="314"/>
                  </a:lnTo>
                  <a:lnTo>
                    <a:pt x="208" y="311"/>
                  </a:lnTo>
                  <a:lnTo>
                    <a:pt x="207" y="310"/>
                  </a:lnTo>
                  <a:lnTo>
                    <a:pt x="204" y="308"/>
                  </a:lnTo>
                  <a:lnTo>
                    <a:pt x="204" y="308"/>
                  </a:lnTo>
                  <a:lnTo>
                    <a:pt x="186" y="310"/>
                  </a:lnTo>
                  <a:lnTo>
                    <a:pt x="186" y="310"/>
                  </a:lnTo>
                  <a:lnTo>
                    <a:pt x="182" y="311"/>
                  </a:lnTo>
                  <a:lnTo>
                    <a:pt x="179" y="314"/>
                  </a:lnTo>
                  <a:lnTo>
                    <a:pt x="177" y="317"/>
                  </a:lnTo>
                  <a:lnTo>
                    <a:pt x="176" y="323"/>
                  </a:lnTo>
                  <a:lnTo>
                    <a:pt x="174" y="333"/>
                  </a:lnTo>
                  <a:lnTo>
                    <a:pt x="176" y="342"/>
                  </a:lnTo>
                  <a:lnTo>
                    <a:pt x="176" y="342"/>
                  </a:lnTo>
                  <a:lnTo>
                    <a:pt x="177" y="348"/>
                  </a:lnTo>
                  <a:lnTo>
                    <a:pt x="176" y="354"/>
                  </a:lnTo>
                  <a:lnTo>
                    <a:pt x="173" y="359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59" y="361"/>
                  </a:lnTo>
                  <a:lnTo>
                    <a:pt x="151" y="363"/>
                  </a:lnTo>
                  <a:lnTo>
                    <a:pt x="143" y="361"/>
                  </a:lnTo>
                  <a:lnTo>
                    <a:pt x="142" y="360"/>
                  </a:lnTo>
                  <a:lnTo>
                    <a:pt x="140" y="359"/>
                  </a:lnTo>
                  <a:lnTo>
                    <a:pt x="140" y="359"/>
                  </a:lnTo>
                  <a:lnTo>
                    <a:pt x="137" y="348"/>
                  </a:lnTo>
                  <a:lnTo>
                    <a:pt x="136" y="344"/>
                  </a:lnTo>
                  <a:lnTo>
                    <a:pt x="134" y="344"/>
                  </a:lnTo>
                  <a:lnTo>
                    <a:pt x="133" y="342"/>
                  </a:lnTo>
                  <a:lnTo>
                    <a:pt x="133" y="342"/>
                  </a:lnTo>
                  <a:lnTo>
                    <a:pt x="127" y="344"/>
                  </a:lnTo>
                  <a:lnTo>
                    <a:pt x="121" y="347"/>
                  </a:lnTo>
                  <a:lnTo>
                    <a:pt x="115" y="350"/>
                  </a:lnTo>
                  <a:lnTo>
                    <a:pt x="114" y="353"/>
                  </a:lnTo>
                  <a:lnTo>
                    <a:pt x="114" y="353"/>
                  </a:lnTo>
                  <a:lnTo>
                    <a:pt x="114" y="359"/>
                  </a:lnTo>
                  <a:lnTo>
                    <a:pt x="112" y="366"/>
                  </a:lnTo>
                  <a:lnTo>
                    <a:pt x="109" y="375"/>
                  </a:lnTo>
                  <a:lnTo>
                    <a:pt x="106" y="378"/>
                  </a:lnTo>
                  <a:lnTo>
                    <a:pt x="103" y="381"/>
                  </a:lnTo>
                  <a:lnTo>
                    <a:pt x="103" y="381"/>
                  </a:lnTo>
                  <a:lnTo>
                    <a:pt x="99" y="382"/>
                  </a:lnTo>
                  <a:lnTo>
                    <a:pt x="97" y="385"/>
                  </a:lnTo>
                  <a:lnTo>
                    <a:pt x="96" y="391"/>
                  </a:lnTo>
                  <a:lnTo>
                    <a:pt x="94" y="394"/>
                  </a:lnTo>
                  <a:lnTo>
                    <a:pt x="93" y="396"/>
                  </a:lnTo>
                  <a:lnTo>
                    <a:pt x="91" y="396"/>
                  </a:lnTo>
                  <a:lnTo>
                    <a:pt x="91" y="396"/>
                  </a:lnTo>
                  <a:lnTo>
                    <a:pt x="87" y="393"/>
                  </a:lnTo>
                  <a:lnTo>
                    <a:pt x="84" y="391"/>
                  </a:lnTo>
                  <a:lnTo>
                    <a:pt x="79" y="388"/>
                  </a:lnTo>
                  <a:lnTo>
                    <a:pt x="74" y="387"/>
                  </a:lnTo>
                  <a:lnTo>
                    <a:pt x="74" y="387"/>
                  </a:lnTo>
                  <a:lnTo>
                    <a:pt x="48" y="379"/>
                  </a:lnTo>
                  <a:lnTo>
                    <a:pt x="48" y="379"/>
                  </a:lnTo>
                  <a:lnTo>
                    <a:pt x="45" y="378"/>
                  </a:lnTo>
                  <a:lnTo>
                    <a:pt x="42" y="378"/>
                  </a:lnTo>
                  <a:lnTo>
                    <a:pt x="39" y="379"/>
                  </a:lnTo>
                  <a:lnTo>
                    <a:pt x="38" y="384"/>
                  </a:lnTo>
                  <a:lnTo>
                    <a:pt x="38" y="384"/>
                  </a:lnTo>
                  <a:lnTo>
                    <a:pt x="35" y="390"/>
                  </a:lnTo>
                  <a:lnTo>
                    <a:pt x="31" y="396"/>
                  </a:lnTo>
                  <a:lnTo>
                    <a:pt x="22" y="409"/>
                  </a:lnTo>
                  <a:lnTo>
                    <a:pt x="2" y="434"/>
                  </a:lnTo>
                  <a:lnTo>
                    <a:pt x="0" y="439"/>
                  </a:lnTo>
                  <a:lnTo>
                    <a:pt x="0" y="439"/>
                  </a:lnTo>
                  <a:lnTo>
                    <a:pt x="2" y="441"/>
                  </a:lnTo>
                  <a:lnTo>
                    <a:pt x="2" y="446"/>
                  </a:lnTo>
                  <a:lnTo>
                    <a:pt x="4" y="455"/>
                  </a:lnTo>
                  <a:lnTo>
                    <a:pt x="4" y="455"/>
                  </a:lnTo>
                  <a:lnTo>
                    <a:pt x="5" y="459"/>
                  </a:lnTo>
                  <a:lnTo>
                    <a:pt x="8" y="464"/>
                  </a:lnTo>
                  <a:lnTo>
                    <a:pt x="19" y="473"/>
                  </a:lnTo>
                  <a:lnTo>
                    <a:pt x="19" y="473"/>
                  </a:lnTo>
                  <a:lnTo>
                    <a:pt x="25" y="477"/>
                  </a:lnTo>
                  <a:lnTo>
                    <a:pt x="31" y="481"/>
                  </a:lnTo>
                  <a:lnTo>
                    <a:pt x="37" y="483"/>
                  </a:lnTo>
                  <a:lnTo>
                    <a:pt x="42" y="484"/>
                  </a:lnTo>
                  <a:lnTo>
                    <a:pt x="42" y="484"/>
                  </a:lnTo>
                  <a:lnTo>
                    <a:pt x="45" y="484"/>
                  </a:lnTo>
                  <a:lnTo>
                    <a:pt x="48" y="486"/>
                  </a:lnTo>
                  <a:lnTo>
                    <a:pt x="51" y="492"/>
                  </a:lnTo>
                  <a:lnTo>
                    <a:pt x="51" y="498"/>
                  </a:lnTo>
                  <a:lnTo>
                    <a:pt x="51" y="504"/>
                  </a:lnTo>
                  <a:lnTo>
                    <a:pt x="51" y="504"/>
                  </a:lnTo>
                  <a:lnTo>
                    <a:pt x="51" y="505"/>
                  </a:lnTo>
                  <a:lnTo>
                    <a:pt x="53" y="507"/>
                  </a:lnTo>
                  <a:lnTo>
                    <a:pt x="62" y="510"/>
                  </a:lnTo>
                  <a:lnTo>
                    <a:pt x="69" y="513"/>
                  </a:lnTo>
                  <a:lnTo>
                    <a:pt x="74" y="514"/>
                  </a:lnTo>
                  <a:lnTo>
                    <a:pt x="74" y="514"/>
                  </a:lnTo>
                  <a:lnTo>
                    <a:pt x="78" y="521"/>
                  </a:lnTo>
                  <a:lnTo>
                    <a:pt x="78" y="521"/>
                  </a:lnTo>
                  <a:lnTo>
                    <a:pt x="82" y="518"/>
                  </a:lnTo>
                  <a:lnTo>
                    <a:pt x="85" y="517"/>
                  </a:lnTo>
                  <a:lnTo>
                    <a:pt x="88" y="513"/>
                  </a:lnTo>
                  <a:lnTo>
                    <a:pt x="88" y="513"/>
                  </a:lnTo>
                  <a:lnTo>
                    <a:pt x="91" y="505"/>
                  </a:lnTo>
                  <a:lnTo>
                    <a:pt x="91" y="502"/>
                  </a:lnTo>
                  <a:lnTo>
                    <a:pt x="93" y="501"/>
                  </a:lnTo>
                  <a:lnTo>
                    <a:pt x="93" y="501"/>
                  </a:lnTo>
                  <a:lnTo>
                    <a:pt x="94" y="499"/>
                  </a:lnTo>
                  <a:lnTo>
                    <a:pt x="97" y="499"/>
                  </a:lnTo>
                  <a:lnTo>
                    <a:pt x="100" y="501"/>
                  </a:lnTo>
                  <a:lnTo>
                    <a:pt x="105" y="505"/>
                  </a:lnTo>
                  <a:lnTo>
                    <a:pt x="105" y="505"/>
                  </a:lnTo>
                  <a:lnTo>
                    <a:pt x="111" y="514"/>
                  </a:lnTo>
                  <a:lnTo>
                    <a:pt x="112" y="521"/>
                  </a:lnTo>
                  <a:lnTo>
                    <a:pt x="112" y="521"/>
                  </a:lnTo>
                  <a:lnTo>
                    <a:pt x="114" y="526"/>
                  </a:lnTo>
                  <a:lnTo>
                    <a:pt x="115" y="527"/>
                  </a:lnTo>
                  <a:lnTo>
                    <a:pt x="124" y="532"/>
                  </a:lnTo>
                  <a:lnTo>
                    <a:pt x="124" y="532"/>
                  </a:lnTo>
                  <a:lnTo>
                    <a:pt x="127" y="535"/>
                  </a:lnTo>
                  <a:lnTo>
                    <a:pt x="128" y="536"/>
                  </a:lnTo>
                  <a:lnTo>
                    <a:pt x="128" y="541"/>
                  </a:lnTo>
                  <a:lnTo>
                    <a:pt x="128" y="544"/>
                  </a:lnTo>
                  <a:lnTo>
                    <a:pt x="128" y="545"/>
                  </a:lnTo>
                  <a:lnTo>
                    <a:pt x="131" y="547"/>
                  </a:lnTo>
                  <a:lnTo>
                    <a:pt x="131" y="547"/>
                  </a:lnTo>
                  <a:lnTo>
                    <a:pt x="143" y="550"/>
                  </a:lnTo>
                  <a:lnTo>
                    <a:pt x="148" y="553"/>
                  </a:lnTo>
                  <a:lnTo>
                    <a:pt x="152" y="557"/>
                  </a:lnTo>
                  <a:lnTo>
                    <a:pt x="152" y="557"/>
                  </a:lnTo>
                  <a:lnTo>
                    <a:pt x="161" y="569"/>
                  </a:lnTo>
                  <a:lnTo>
                    <a:pt x="165" y="575"/>
                  </a:lnTo>
                  <a:lnTo>
                    <a:pt x="171" y="578"/>
                  </a:lnTo>
                  <a:lnTo>
                    <a:pt x="171" y="578"/>
                  </a:lnTo>
                  <a:lnTo>
                    <a:pt x="185" y="582"/>
                  </a:lnTo>
                  <a:lnTo>
                    <a:pt x="189" y="584"/>
                  </a:lnTo>
                  <a:lnTo>
                    <a:pt x="191" y="582"/>
                  </a:lnTo>
                  <a:lnTo>
                    <a:pt x="191" y="582"/>
                  </a:lnTo>
                  <a:lnTo>
                    <a:pt x="191" y="582"/>
                  </a:lnTo>
                  <a:lnTo>
                    <a:pt x="191" y="578"/>
                  </a:lnTo>
                  <a:lnTo>
                    <a:pt x="191" y="572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3" y="569"/>
                  </a:lnTo>
                  <a:lnTo>
                    <a:pt x="202" y="581"/>
                  </a:lnTo>
                  <a:lnTo>
                    <a:pt x="202" y="581"/>
                  </a:lnTo>
                  <a:lnTo>
                    <a:pt x="208" y="590"/>
                  </a:lnTo>
                  <a:lnTo>
                    <a:pt x="210" y="594"/>
                  </a:lnTo>
                  <a:lnTo>
                    <a:pt x="211" y="600"/>
                  </a:lnTo>
                  <a:lnTo>
                    <a:pt x="211" y="600"/>
                  </a:lnTo>
                  <a:lnTo>
                    <a:pt x="211" y="609"/>
                  </a:lnTo>
                  <a:lnTo>
                    <a:pt x="213" y="613"/>
                  </a:lnTo>
                  <a:lnTo>
                    <a:pt x="217" y="616"/>
                  </a:lnTo>
                  <a:lnTo>
                    <a:pt x="217" y="616"/>
                  </a:lnTo>
                  <a:lnTo>
                    <a:pt x="223" y="622"/>
                  </a:lnTo>
                  <a:lnTo>
                    <a:pt x="226" y="624"/>
                  </a:lnTo>
                  <a:lnTo>
                    <a:pt x="226" y="624"/>
                  </a:lnTo>
                  <a:lnTo>
                    <a:pt x="228" y="618"/>
                  </a:lnTo>
                  <a:lnTo>
                    <a:pt x="229" y="613"/>
                  </a:lnTo>
                  <a:lnTo>
                    <a:pt x="231" y="610"/>
                  </a:lnTo>
                  <a:lnTo>
                    <a:pt x="231" y="610"/>
                  </a:lnTo>
                  <a:lnTo>
                    <a:pt x="235" y="609"/>
                  </a:lnTo>
                  <a:lnTo>
                    <a:pt x="239" y="610"/>
                  </a:lnTo>
                  <a:lnTo>
                    <a:pt x="245" y="610"/>
                  </a:lnTo>
                  <a:lnTo>
                    <a:pt x="247" y="609"/>
                  </a:lnTo>
                  <a:lnTo>
                    <a:pt x="248" y="607"/>
                  </a:lnTo>
                  <a:lnTo>
                    <a:pt x="248" y="607"/>
                  </a:lnTo>
                  <a:lnTo>
                    <a:pt x="253" y="601"/>
                  </a:lnTo>
                  <a:lnTo>
                    <a:pt x="259" y="595"/>
                  </a:lnTo>
                  <a:lnTo>
                    <a:pt x="265" y="591"/>
                  </a:lnTo>
                  <a:lnTo>
                    <a:pt x="270" y="590"/>
                  </a:lnTo>
                  <a:lnTo>
                    <a:pt x="270" y="590"/>
                  </a:lnTo>
                  <a:lnTo>
                    <a:pt x="272" y="590"/>
                  </a:lnTo>
                  <a:lnTo>
                    <a:pt x="273" y="591"/>
                  </a:lnTo>
                  <a:lnTo>
                    <a:pt x="276" y="594"/>
                  </a:lnTo>
                  <a:lnTo>
                    <a:pt x="281" y="600"/>
                  </a:lnTo>
                  <a:lnTo>
                    <a:pt x="281" y="600"/>
                  </a:lnTo>
                  <a:lnTo>
                    <a:pt x="290" y="598"/>
                  </a:lnTo>
                  <a:lnTo>
                    <a:pt x="300" y="598"/>
                  </a:lnTo>
                  <a:lnTo>
                    <a:pt x="300" y="598"/>
                  </a:lnTo>
                  <a:lnTo>
                    <a:pt x="303" y="598"/>
                  </a:lnTo>
                  <a:lnTo>
                    <a:pt x="306" y="598"/>
                  </a:lnTo>
                  <a:lnTo>
                    <a:pt x="308" y="601"/>
                  </a:lnTo>
                  <a:lnTo>
                    <a:pt x="309" y="606"/>
                  </a:lnTo>
                  <a:lnTo>
                    <a:pt x="309" y="606"/>
                  </a:lnTo>
                  <a:lnTo>
                    <a:pt x="310" y="618"/>
                  </a:lnTo>
                  <a:lnTo>
                    <a:pt x="312" y="622"/>
                  </a:lnTo>
                  <a:lnTo>
                    <a:pt x="313" y="622"/>
                  </a:lnTo>
                  <a:lnTo>
                    <a:pt x="315" y="622"/>
                  </a:lnTo>
                  <a:lnTo>
                    <a:pt x="315" y="622"/>
                  </a:lnTo>
                  <a:lnTo>
                    <a:pt x="324" y="618"/>
                  </a:lnTo>
                  <a:lnTo>
                    <a:pt x="327" y="616"/>
                  </a:lnTo>
                  <a:lnTo>
                    <a:pt x="328" y="619"/>
                  </a:lnTo>
                  <a:lnTo>
                    <a:pt x="328" y="619"/>
                  </a:lnTo>
                  <a:lnTo>
                    <a:pt x="328" y="625"/>
                  </a:lnTo>
                  <a:lnTo>
                    <a:pt x="328" y="631"/>
                  </a:lnTo>
                  <a:lnTo>
                    <a:pt x="328" y="635"/>
                  </a:lnTo>
                  <a:lnTo>
                    <a:pt x="328" y="638"/>
                  </a:lnTo>
                  <a:lnTo>
                    <a:pt x="331" y="641"/>
                  </a:lnTo>
                  <a:lnTo>
                    <a:pt x="331" y="641"/>
                  </a:lnTo>
                  <a:lnTo>
                    <a:pt x="336" y="644"/>
                  </a:lnTo>
                  <a:lnTo>
                    <a:pt x="342" y="646"/>
                  </a:lnTo>
                  <a:lnTo>
                    <a:pt x="352" y="649"/>
                  </a:lnTo>
                  <a:lnTo>
                    <a:pt x="352" y="649"/>
                  </a:lnTo>
                  <a:lnTo>
                    <a:pt x="358" y="650"/>
                  </a:lnTo>
                  <a:lnTo>
                    <a:pt x="361" y="649"/>
                  </a:lnTo>
                  <a:lnTo>
                    <a:pt x="367" y="644"/>
                  </a:lnTo>
                  <a:lnTo>
                    <a:pt x="367" y="644"/>
                  </a:lnTo>
                  <a:lnTo>
                    <a:pt x="370" y="643"/>
                  </a:lnTo>
                  <a:lnTo>
                    <a:pt x="374" y="643"/>
                  </a:lnTo>
                  <a:lnTo>
                    <a:pt x="379" y="644"/>
                  </a:lnTo>
                  <a:lnTo>
                    <a:pt x="382" y="643"/>
                  </a:lnTo>
                  <a:lnTo>
                    <a:pt x="382" y="643"/>
                  </a:lnTo>
                  <a:lnTo>
                    <a:pt x="385" y="640"/>
                  </a:lnTo>
                  <a:lnTo>
                    <a:pt x="386" y="637"/>
                  </a:lnTo>
                  <a:lnTo>
                    <a:pt x="389" y="634"/>
                  </a:lnTo>
                  <a:lnTo>
                    <a:pt x="393" y="633"/>
                  </a:lnTo>
                  <a:lnTo>
                    <a:pt x="393" y="63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4" name="Freeform 23">
              <a:extLst>
                <a:ext uri="{FF2B5EF4-FFF2-40B4-BE49-F238E27FC236}">
                  <a16:creationId xmlns:a16="http://schemas.microsoft.com/office/drawing/2014/main" id="{5AD9F0AF-41EA-A24F-8105-1EBDA99555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39988" y="5688013"/>
              <a:ext cx="1673225" cy="1820862"/>
            </a:xfrm>
            <a:custGeom>
              <a:avLst/>
              <a:gdLst>
                <a:gd name="T0" fmla="*/ 999 w 1054"/>
                <a:gd name="T1" fmla="*/ 267 h 1147"/>
                <a:gd name="T2" fmla="*/ 1007 w 1054"/>
                <a:gd name="T3" fmla="*/ 232 h 1147"/>
                <a:gd name="T4" fmla="*/ 984 w 1054"/>
                <a:gd name="T5" fmla="*/ 177 h 1147"/>
                <a:gd name="T6" fmla="*/ 978 w 1054"/>
                <a:gd name="T7" fmla="*/ 200 h 1147"/>
                <a:gd name="T8" fmla="*/ 952 w 1054"/>
                <a:gd name="T9" fmla="*/ 26 h 1147"/>
                <a:gd name="T10" fmla="*/ 965 w 1054"/>
                <a:gd name="T11" fmla="*/ 88 h 1147"/>
                <a:gd name="T12" fmla="*/ 931 w 1054"/>
                <a:gd name="T13" fmla="*/ 103 h 1147"/>
                <a:gd name="T14" fmla="*/ 931 w 1054"/>
                <a:gd name="T15" fmla="*/ 27 h 1147"/>
                <a:gd name="T16" fmla="*/ 903 w 1054"/>
                <a:gd name="T17" fmla="*/ 51 h 1147"/>
                <a:gd name="T18" fmla="*/ 947 w 1054"/>
                <a:gd name="T19" fmla="*/ 0 h 1147"/>
                <a:gd name="T20" fmla="*/ 983 w 1054"/>
                <a:gd name="T21" fmla="*/ 1117 h 1147"/>
                <a:gd name="T22" fmla="*/ 977 w 1054"/>
                <a:gd name="T23" fmla="*/ 1116 h 1147"/>
                <a:gd name="T24" fmla="*/ 996 w 1054"/>
                <a:gd name="T25" fmla="*/ 1080 h 1147"/>
                <a:gd name="T26" fmla="*/ 989 w 1054"/>
                <a:gd name="T27" fmla="*/ 1062 h 1147"/>
                <a:gd name="T28" fmla="*/ 1001 w 1054"/>
                <a:gd name="T29" fmla="*/ 831 h 1147"/>
                <a:gd name="T30" fmla="*/ 970 w 1054"/>
                <a:gd name="T31" fmla="*/ 911 h 1147"/>
                <a:gd name="T32" fmla="*/ 965 w 1054"/>
                <a:gd name="T33" fmla="*/ 957 h 1147"/>
                <a:gd name="T34" fmla="*/ 950 w 1054"/>
                <a:gd name="T35" fmla="*/ 997 h 1147"/>
                <a:gd name="T36" fmla="*/ 949 w 1054"/>
                <a:gd name="T37" fmla="*/ 956 h 1147"/>
                <a:gd name="T38" fmla="*/ 956 w 1054"/>
                <a:gd name="T39" fmla="*/ 902 h 1147"/>
                <a:gd name="T40" fmla="*/ 965 w 1054"/>
                <a:gd name="T41" fmla="*/ 873 h 1147"/>
                <a:gd name="T42" fmla="*/ 933 w 1054"/>
                <a:gd name="T43" fmla="*/ 1030 h 1147"/>
                <a:gd name="T44" fmla="*/ 924 w 1054"/>
                <a:gd name="T45" fmla="*/ 1068 h 1147"/>
                <a:gd name="T46" fmla="*/ 934 w 1054"/>
                <a:gd name="T47" fmla="*/ 1142 h 1147"/>
                <a:gd name="T48" fmla="*/ 916 w 1054"/>
                <a:gd name="T49" fmla="*/ 1102 h 1147"/>
                <a:gd name="T50" fmla="*/ 1016 w 1054"/>
                <a:gd name="T51" fmla="*/ 697 h 1147"/>
                <a:gd name="T52" fmla="*/ 1026 w 1054"/>
                <a:gd name="T53" fmla="*/ 683 h 1147"/>
                <a:gd name="T54" fmla="*/ 1024 w 1054"/>
                <a:gd name="T55" fmla="*/ 768 h 1147"/>
                <a:gd name="T56" fmla="*/ 1016 w 1054"/>
                <a:gd name="T57" fmla="*/ 697 h 1147"/>
                <a:gd name="T58" fmla="*/ 1016 w 1054"/>
                <a:gd name="T59" fmla="*/ 627 h 1147"/>
                <a:gd name="T60" fmla="*/ 1054 w 1054"/>
                <a:gd name="T61" fmla="*/ 525 h 1147"/>
                <a:gd name="T62" fmla="*/ 1041 w 1054"/>
                <a:gd name="T63" fmla="*/ 479 h 1147"/>
                <a:gd name="T64" fmla="*/ 1051 w 1054"/>
                <a:gd name="T65" fmla="*/ 482 h 1147"/>
                <a:gd name="T66" fmla="*/ 1039 w 1054"/>
                <a:gd name="T67" fmla="*/ 405 h 1147"/>
                <a:gd name="T68" fmla="*/ 216 w 1054"/>
                <a:gd name="T69" fmla="*/ 665 h 1147"/>
                <a:gd name="T70" fmla="*/ 308 w 1054"/>
                <a:gd name="T71" fmla="*/ 796 h 1147"/>
                <a:gd name="T72" fmla="*/ 392 w 1054"/>
                <a:gd name="T73" fmla="*/ 908 h 1147"/>
                <a:gd name="T74" fmla="*/ 475 w 1054"/>
                <a:gd name="T75" fmla="*/ 1025 h 1147"/>
                <a:gd name="T76" fmla="*/ 548 w 1054"/>
                <a:gd name="T77" fmla="*/ 1123 h 1147"/>
                <a:gd name="T78" fmla="*/ 533 w 1054"/>
                <a:gd name="T79" fmla="*/ 1037 h 1147"/>
                <a:gd name="T80" fmla="*/ 589 w 1054"/>
                <a:gd name="T81" fmla="*/ 1012 h 1147"/>
                <a:gd name="T82" fmla="*/ 623 w 1054"/>
                <a:gd name="T83" fmla="*/ 1022 h 1147"/>
                <a:gd name="T84" fmla="*/ 574 w 1054"/>
                <a:gd name="T85" fmla="*/ 978 h 1147"/>
                <a:gd name="T86" fmla="*/ 508 w 1054"/>
                <a:gd name="T87" fmla="*/ 957 h 1147"/>
                <a:gd name="T88" fmla="*/ 411 w 1054"/>
                <a:gd name="T89" fmla="*/ 828 h 1147"/>
                <a:gd name="T90" fmla="*/ 402 w 1054"/>
                <a:gd name="T91" fmla="*/ 763 h 1147"/>
                <a:gd name="T92" fmla="*/ 465 w 1054"/>
                <a:gd name="T93" fmla="*/ 745 h 1147"/>
                <a:gd name="T94" fmla="*/ 521 w 1054"/>
                <a:gd name="T95" fmla="*/ 759 h 1147"/>
                <a:gd name="T96" fmla="*/ 379 w 1054"/>
                <a:gd name="T97" fmla="*/ 671 h 1147"/>
                <a:gd name="T98" fmla="*/ 262 w 1054"/>
                <a:gd name="T99" fmla="*/ 580 h 1147"/>
                <a:gd name="T100" fmla="*/ 223 w 1054"/>
                <a:gd name="T101" fmla="*/ 553 h 1147"/>
                <a:gd name="T102" fmla="*/ 176 w 1054"/>
                <a:gd name="T103" fmla="*/ 514 h 1147"/>
                <a:gd name="T104" fmla="*/ 152 w 1054"/>
                <a:gd name="T105" fmla="*/ 464 h 1147"/>
                <a:gd name="T106" fmla="*/ 129 w 1054"/>
                <a:gd name="T107" fmla="*/ 431 h 1147"/>
                <a:gd name="T108" fmla="*/ 49 w 1054"/>
                <a:gd name="T109" fmla="*/ 362 h 1147"/>
                <a:gd name="T110" fmla="*/ 9 w 1054"/>
                <a:gd name="T111" fmla="*/ 371 h 1147"/>
                <a:gd name="T112" fmla="*/ 54 w 1054"/>
                <a:gd name="T113" fmla="*/ 418 h 1147"/>
                <a:gd name="T114" fmla="*/ 59 w 1054"/>
                <a:gd name="T115" fmla="*/ 455 h 1147"/>
                <a:gd name="T116" fmla="*/ 57 w 1054"/>
                <a:gd name="T117" fmla="*/ 492 h 1147"/>
                <a:gd name="T118" fmla="*/ 94 w 1054"/>
                <a:gd name="T119" fmla="*/ 546 h 1147"/>
                <a:gd name="T120" fmla="*/ 194 w 1054"/>
                <a:gd name="T121" fmla="*/ 643 h 1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4" h="1147">
                  <a:moveTo>
                    <a:pt x="1001" y="261"/>
                  </a:moveTo>
                  <a:lnTo>
                    <a:pt x="1001" y="261"/>
                  </a:lnTo>
                  <a:lnTo>
                    <a:pt x="1005" y="263"/>
                  </a:lnTo>
                  <a:lnTo>
                    <a:pt x="1007" y="264"/>
                  </a:lnTo>
                  <a:lnTo>
                    <a:pt x="1010" y="267"/>
                  </a:lnTo>
                  <a:lnTo>
                    <a:pt x="1010" y="267"/>
                  </a:lnTo>
                  <a:lnTo>
                    <a:pt x="1011" y="274"/>
                  </a:lnTo>
                  <a:lnTo>
                    <a:pt x="1011" y="279"/>
                  </a:lnTo>
                  <a:lnTo>
                    <a:pt x="1008" y="280"/>
                  </a:lnTo>
                  <a:lnTo>
                    <a:pt x="1008" y="280"/>
                  </a:lnTo>
                  <a:lnTo>
                    <a:pt x="1007" y="280"/>
                  </a:lnTo>
                  <a:lnTo>
                    <a:pt x="1005" y="280"/>
                  </a:lnTo>
                  <a:lnTo>
                    <a:pt x="1001" y="274"/>
                  </a:lnTo>
                  <a:lnTo>
                    <a:pt x="999" y="267"/>
                  </a:lnTo>
                  <a:lnTo>
                    <a:pt x="999" y="264"/>
                  </a:lnTo>
                  <a:lnTo>
                    <a:pt x="1001" y="261"/>
                  </a:lnTo>
                  <a:lnTo>
                    <a:pt x="1001" y="261"/>
                  </a:lnTo>
                  <a:close/>
                  <a:moveTo>
                    <a:pt x="996" y="232"/>
                  </a:moveTo>
                  <a:lnTo>
                    <a:pt x="996" y="232"/>
                  </a:lnTo>
                  <a:lnTo>
                    <a:pt x="996" y="227"/>
                  </a:lnTo>
                  <a:lnTo>
                    <a:pt x="996" y="224"/>
                  </a:lnTo>
                  <a:lnTo>
                    <a:pt x="998" y="223"/>
                  </a:lnTo>
                  <a:lnTo>
                    <a:pt x="1001" y="223"/>
                  </a:lnTo>
                  <a:lnTo>
                    <a:pt x="1001" y="223"/>
                  </a:lnTo>
                  <a:lnTo>
                    <a:pt x="1005" y="224"/>
                  </a:lnTo>
                  <a:lnTo>
                    <a:pt x="1007" y="226"/>
                  </a:lnTo>
                  <a:lnTo>
                    <a:pt x="1007" y="229"/>
                  </a:lnTo>
                  <a:lnTo>
                    <a:pt x="1007" y="232"/>
                  </a:lnTo>
                  <a:lnTo>
                    <a:pt x="1007" y="232"/>
                  </a:lnTo>
                  <a:lnTo>
                    <a:pt x="1004" y="234"/>
                  </a:lnTo>
                  <a:lnTo>
                    <a:pt x="1001" y="234"/>
                  </a:lnTo>
                  <a:lnTo>
                    <a:pt x="998" y="233"/>
                  </a:lnTo>
                  <a:lnTo>
                    <a:pt x="996" y="232"/>
                  </a:lnTo>
                  <a:lnTo>
                    <a:pt x="996" y="232"/>
                  </a:lnTo>
                  <a:close/>
                  <a:moveTo>
                    <a:pt x="971" y="175"/>
                  </a:moveTo>
                  <a:lnTo>
                    <a:pt x="971" y="175"/>
                  </a:lnTo>
                  <a:lnTo>
                    <a:pt x="973" y="174"/>
                  </a:lnTo>
                  <a:lnTo>
                    <a:pt x="974" y="171"/>
                  </a:lnTo>
                  <a:lnTo>
                    <a:pt x="977" y="171"/>
                  </a:lnTo>
                  <a:lnTo>
                    <a:pt x="978" y="172"/>
                  </a:lnTo>
                  <a:lnTo>
                    <a:pt x="981" y="174"/>
                  </a:lnTo>
                  <a:lnTo>
                    <a:pt x="984" y="177"/>
                  </a:lnTo>
                  <a:lnTo>
                    <a:pt x="984" y="177"/>
                  </a:lnTo>
                  <a:lnTo>
                    <a:pt x="987" y="183"/>
                  </a:lnTo>
                  <a:lnTo>
                    <a:pt x="990" y="187"/>
                  </a:lnTo>
                  <a:lnTo>
                    <a:pt x="990" y="189"/>
                  </a:lnTo>
                  <a:lnTo>
                    <a:pt x="993" y="192"/>
                  </a:lnTo>
                  <a:lnTo>
                    <a:pt x="993" y="192"/>
                  </a:lnTo>
                  <a:lnTo>
                    <a:pt x="995" y="195"/>
                  </a:lnTo>
                  <a:lnTo>
                    <a:pt x="996" y="199"/>
                  </a:lnTo>
                  <a:lnTo>
                    <a:pt x="995" y="202"/>
                  </a:lnTo>
                  <a:lnTo>
                    <a:pt x="992" y="205"/>
                  </a:lnTo>
                  <a:lnTo>
                    <a:pt x="992" y="205"/>
                  </a:lnTo>
                  <a:lnTo>
                    <a:pt x="989" y="205"/>
                  </a:lnTo>
                  <a:lnTo>
                    <a:pt x="983" y="203"/>
                  </a:lnTo>
                  <a:lnTo>
                    <a:pt x="978" y="200"/>
                  </a:lnTo>
                  <a:lnTo>
                    <a:pt x="976" y="196"/>
                  </a:lnTo>
                  <a:lnTo>
                    <a:pt x="976" y="196"/>
                  </a:lnTo>
                  <a:lnTo>
                    <a:pt x="971" y="187"/>
                  </a:lnTo>
                  <a:lnTo>
                    <a:pt x="970" y="180"/>
                  </a:lnTo>
                  <a:lnTo>
                    <a:pt x="970" y="177"/>
                  </a:lnTo>
                  <a:lnTo>
                    <a:pt x="971" y="175"/>
                  </a:lnTo>
                  <a:lnTo>
                    <a:pt x="971" y="175"/>
                  </a:lnTo>
                  <a:close/>
                  <a:moveTo>
                    <a:pt x="934" y="26"/>
                  </a:moveTo>
                  <a:lnTo>
                    <a:pt x="934" y="26"/>
                  </a:lnTo>
                  <a:lnTo>
                    <a:pt x="941" y="24"/>
                  </a:lnTo>
                  <a:lnTo>
                    <a:pt x="949" y="24"/>
                  </a:lnTo>
                  <a:lnTo>
                    <a:pt x="950" y="26"/>
                  </a:lnTo>
                  <a:lnTo>
                    <a:pt x="952" y="26"/>
                  </a:lnTo>
                  <a:lnTo>
                    <a:pt x="952" y="26"/>
                  </a:lnTo>
                  <a:lnTo>
                    <a:pt x="956" y="35"/>
                  </a:lnTo>
                  <a:lnTo>
                    <a:pt x="959" y="39"/>
                  </a:lnTo>
                  <a:lnTo>
                    <a:pt x="959" y="43"/>
                  </a:lnTo>
                  <a:lnTo>
                    <a:pt x="959" y="43"/>
                  </a:lnTo>
                  <a:lnTo>
                    <a:pt x="961" y="46"/>
                  </a:lnTo>
                  <a:lnTo>
                    <a:pt x="962" y="49"/>
                  </a:lnTo>
                  <a:lnTo>
                    <a:pt x="967" y="54"/>
                  </a:lnTo>
                  <a:lnTo>
                    <a:pt x="967" y="54"/>
                  </a:lnTo>
                  <a:lnTo>
                    <a:pt x="970" y="60"/>
                  </a:lnTo>
                  <a:lnTo>
                    <a:pt x="971" y="67"/>
                  </a:lnTo>
                  <a:lnTo>
                    <a:pt x="971" y="73"/>
                  </a:lnTo>
                  <a:lnTo>
                    <a:pt x="970" y="79"/>
                  </a:lnTo>
                  <a:lnTo>
                    <a:pt x="970" y="79"/>
                  </a:lnTo>
                  <a:lnTo>
                    <a:pt x="965" y="88"/>
                  </a:lnTo>
                  <a:lnTo>
                    <a:pt x="964" y="94"/>
                  </a:lnTo>
                  <a:lnTo>
                    <a:pt x="965" y="98"/>
                  </a:lnTo>
                  <a:lnTo>
                    <a:pt x="965" y="98"/>
                  </a:lnTo>
                  <a:lnTo>
                    <a:pt x="971" y="109"/>
                  </a:lnTo>
                  <a:lnTo>
                    <a:pt x="971" y="113"/>
                  </a:lnTo>
                  <a:lnTo>
                    <a:pt x="971" y="115"/>
                  </a:lnTo>
                  <a:lnTo>
                    <a:pt x="968" y="115"/>
                  </a:lnTo>
                  <a:lnTo>
                    <a:pt x="968" y="115"/>
                  </a:lnTo>
                  <a:lnTo>
                    <a:pt x="961" y="116"/>
                  </a:lnTo>
                  <a:lnTo>
                    <a:pt x="949" y="113"/>
                  </a:lnTo>
                  <a:lnTo>
                    <a:pt x="939" y="109"/>
                  </a:lnTo>
                  <a:lnTo>
                    <a:pt x="934" y="106"/>
                  </a:lnTo>
                  <a:lnTo>
                    <a:pt x="931" y="103"/>
                  </a:lnTo>
                  <a:lnTo>
                    <a:pt x="931" y="103"/>
                  </a:lnTo>
                  <a:lnTo>
                    <a:pt x="931" y="100"/>
                  </a:lnTo>
                  <a:lnTo>
                    <a:pt x="933" y="95"/>
                  </a:lnTo>
                  <a:lnTo>
                    <a:pt x="939" y="86"/>
                  </a:lnTo>
                  <a:lnTo>
                    <a:pt x="944" y="78"/>
                  </a:lnTo>
                  <a:lnTo>
                    <a:pt x="947" y="73"/>
                  </a:lnTo>
                  <a:lnTo>
                    <a:pt x="947" y="73"/>
                  </a:lnTo>
                  <a:lnTo>
                    <a:pt x="946" y="61"/>
                  </a:lnTo>
                  <a:lnTo>
                    <a:pt x="943" y="55"/>
                  </a:lnTo>
                  <a:lnTo>
                    <a:pt x="939" y="49"/>
                  </a:lnTo>
                  <a:lnTo>
                    <a:pt x="939" y="49"/>
                  </a:lnTo>
                  <a:lnTo>
                    <a:pt x="934" y="43"/>
                  </a:lnTo>
                  <a:lnTo>
                    <a:pt x="931" y="38"/>
                  </a:lnTo>
                  <a:lnTo>
                    <a:pt x="931" y="30"/>
                  </a:lnTo>
                  <a:lnTo>
                    <a:pt x="931" y="27"/>
                  </a:lnTo>
                  <a:lnTo>
                    <a:pt x="934" y="26"/>
                  </a:lnTo>
                  <a:lnTo>
                    <a:pt x="934" y="26"/>
                  </a:lnTo>
                  <a:close/>
                  <a:moveTo>
                    <a:pt x="893" y="36"/>
                  </a:moveTo>
                  <a:lnTo>
                    <a:pt x="893" y="36"/>
                  </a:lnTo>
                  <a:lnTo>
                    <a:pt x="899" y="35"/>
                  </a:lnTo>
                  <a:lnTo>
                    <a:pt x="901" y="33"/>
                  </a:lnTo>
                  <a:lnTo>
                    <a:pt x="903" y="35"/>
                  </a:lnTo>
                  <a:lnTo>
                    <a:pt x="904" y="36"/>
                  </a:lnTo>
                  <a:lnTo>
                    <a:pt x="904" y="36"/>
                  </a:lnTo>
                  <a:lnTo>
                    <a:pt x="907" y="45"/>
                  </a:lnTo>
                  <a:lnTo>
                    <a:pt x="906" y="49"/>
                  </a:lnTo>
                  <a:lnTo>
                    <a:pt x="906" y="51"/>
                  </a:lnTo>
                  <a:lnTo>
                    <a:pt x="903" y="51"/>
                  </a:lnTo>
                  <a:lnTo>
                    <a:pt x="903" y="51"/>
                  </a:lnTo>
                  <a:lnTo>
                    <a:pt x="897" y="51"/>
                  </a:lnTo>
                  <a:lnTo>
                    <a:pt x="894" y="48"/>
                  </a:lnTo>
                  <a:lnTo>
                    <a:pt x="893" y="46"/>
                  </a:lnTo>
                  <a:lnTo>
                    <a:pt x="891" y="43"/>
                  </a:lnTo>
                  <a:lnTo>
                    <a:pt x="893" y="36"/>
                  </a:lnTo>
                  <a:lnTo>
                    <a:pt x="893" y="36"/>
                  </a:lnTo>
                  <a:close/>
                  <a:moveTo>
                    <a:pt x="947" y="17"/>
                  </a:moveTo>
                  <a:lnTo>
                    <a:pt x="947" y="17"/>
                  </a:lnTo>
                  <a:lnTo>
                    <a:pt x="944" y="12"/>
                  </a:lnTo>
                  <a:lnTo>
                    <a:pt x="943" y="8"/>
                  </a:lnTo>
                  <a:lnTo>
                    <a:pt x="941" y="5"/>
                  </a:lnTo>
                  <a:lnTo>
                    <a:pt x="941" y="5"/>
                  </a:lnTo>
                  <a:lnTo>
                    <a:pt x="943" y="2"/>
                  </a:lnTo>
                  <a:lnTo>
                    <a:pt x="947" y="0"/>
                  </a:lnTo>
                  <a:lnTo>
                    <a:pt x="952" y="0"/>
                  </a:lnTo>
                  <a:lnTo>
                    <a:pt x="955" y="2"/>
                  </a:lnTo>
                  <a:lnTo>
                    <a:pt x="955" y="3"/>
                  </a:lnTo>
                  <a:lnTo>
                    <a:pt x="955" y="3"/>
                  </a:lnTo>
                  <a:lnTo>
                    <a:pt x="956" y="9"/>
                  </a:lnTo>
                  <a:lnTo>
                    <a:pt x="956" y="14"/>
                  </a:lnTo>
                  <a:lnTo>
                    <a:pt x="955" y="15"/>
                  </a:lnTo>
                  <a:lnTo>
                    <a:pt x="953" y="17"/>
                  </a:lnTo>
                  <a:lnTo>
                    <a:pt x="950" y="18"/>
                  </a:lnTo>
                  <a:lnTo>
                    <a:pt x="947" y="17"/>
                  </a:lnTo>
                  <a:lnTo>
                    <a:pt x="947" y="17"/>
                  </a:lnTo>
                  <a:close/>
                  <a:moveTo>
                    <a:pt x="977" y="1116"/>
                  </a:moveTo>
                  <a:lnTo>
                    <a:pt x="977" y="1116"/>
                  </a:lnTo>
                  <a:lnTo>
                    <a:pt x="983" y="1117"/>
                  </a:lnTo>
                  <a:lnTo>
                    <a:pt x="987" y="1119"/>
                  </a:lnTo>
                  <a:lnTo>
                    <a:pt x="989" y="1119"/>
                  </a:lnTo>
                  <a:lnTo>
                    <a:pt x="989" y="1122"/>
                  </a:lnTo>
                  <a:lnTo>
                    <a:pt x="989" y="1122"/>
                  </a:lnTo>
                  <a:lnTo>
                    <a:pt x="989" y="1128"/>
                  </a:lnTo>
                  <a:lnTo>
                    <a:pt x="987" y="1129"/>
                  </a:lnTo>
                  <a:lnTo>
                    <a:pt x="983" y="1131"/>
                  </a:lnTo>
                  <a:lnTo>
                    <a:pt x="983" y="1131"/>
                  </a:lnTo>
                  <a:lnTo>
                    <a:pt x="978" y="1129"/>
                  </a:lnTo>
                  <a:lnTo>
                    <a:pt x="974" y="1126"/>
                  </a:lnTo>
                  <a:lnTo>
                    <a:pt x="973" y="1125"/>
                  </a:lnTo>
                  <a:lnTo>
                    <a:pt x="973" y="1122"/>
                  </a:lnTo>
                  <a:lnTo>
                    <a:pt x="974" y="1119"/>
                  </a:lnTo>
                  <a:lnTo>
                    <a:pt x="977" y="1116"/>
                  </a:lnTo>
                  <a:lnTo>
                    <a:pt x="977" y="1116"/>
                  </a:lnTo>
                  <a:close/>
                  <a:moveTo>
                    <a:pt x="989" y="1062"/>
                  </a:moveTo>
                  <a:lnTo>
                    <a:pt x="989" y="1062"/>
                  </a:lnTo>
                  <a:lnTo>
                    <a:pt x="993" y="1056"/>
                  </a:lnTo>
                  <a:lnTo>
                    <a:pt x="996" y="1055"/>
                  </a:lnTo>
                  <a:lnTo>
                    <a:pt x="998" y="1056"/>
                  </a:lnTo>
                  <a:lnTo>
                    <a:pt x="998" y="1056"/>
                  </a:lnTo>
                  <a:lnTo>
                    <a:pt x="1001" y="1058"/>
                  </a:lnTo>
                  <a:lnTo>
                    <a:pt x="1001" y="1062"/>
                  </a:lnTo>
                  <a:lnTo>
                    <a:pt x="1001" y="1065"/>
                  </a:lnTo>
                  <a:lnTo>
                    <a:pt x="999" y="1068"/>
                  </a:lnTo>
                  <a:lnTo>
                    <a:pt x="999" y="1068"/>
                  </a:lnTo>
                  <a:lnTo>
                    <a:pt x="998" y="1074"/>
                  </a:lnTo>
                  <a:lnTo>
                    <a:pt x="996" y="1080"/>
                  </a:lnTo>
                  <a:lnTo>
                    <a:pt x="996" y="1080"/>
                  </a:lnTo>
                  <a:lnTo>
                    <a:pt x="995" y="1083"/>
                  </a:lnTo>
                  <a:lnTo>
                    <a:pt x="992" y="1086"/>
                  </a:lnTo>
                  <a:lnTo>
                    <a:pt x="987" y="1088"/>
                  </a:lnTo>
                  <a:lnTo>
                    <a:pt x="984" y="1086"/>
                  </a:lnTo>
                  <a:lnTo>
                    <a:pt x="984" y="1086"/>
                  </a:lnTo>
                  <a:lnTo>
                    <a:pt x="978" y="1080"/>
                  </a:lnTo>
                  <a:lnTo>
                    <a:pt x="976" y="1076"/>
                  </a:lnTo>
                  <a:lnTo>
                    <a:pt x="976" y="1073"/>
                  </a:lnTo>
                  <a:lnTo>
                    <a:pt x="976" y="1073"/>
                  </a:lnTo>
                  <a:lnTo>
                    <a:pt x="978" y="1070"/>
                  </a:lnTo>
                  <a:lnTo>
                    <a:pt x="981" y="1068"/>
                  </a:lnTo>
                  <a:lnTo>
                    <a:pt x="986" y="1067"/>
                  </a:lnTo>
                  <a:lnTo>
                    <a:pt x="989" y="1062"/>
                  </a:lnTo>
                  <a:lnTo>
                    <a:pt x="989" y="1062"/>
                  </a:lnTo>
                  <a:close/>
                  <a:moveTo>
                    <a:pt x="971" y="864"/>
                  </a:moveTo>
                  <a:lnTo>
                    <a:pt x="971" y="864"/>
                  </a:lnTo>
                  <a:lnTo>
                    <a:pt x="974" y="845"/>
                  </a:lnTo>
                  <a:lnTo>
                    <a:pt x="977" y="821"/>
                  </a:lnTo>
                  <a:lnTo>
                    <a:pt x="977" y="821"/>
                  </a:lnTo>
                  <a:lnTo>
                    <a:pt x="978" y="818"/>
                  </a:lnTo>
                  <a:lnTo>
                    <a:pt x="981" y="814"/>
                  </a:lnTo>
                  <a:lnTo>
                    <a:pt x="986" y="812"/>
                  </a:lnTo>
                  <a:lnTo>
                    <a:pt x="992" y="814"/>
                  </a:lnTo>
                  <a:lnTo>
                    <a:pt x="992" y="814"/>
                  </a:lnTo>
                  <a:lnTo>
                    <a:pt x="998" y="818"/>
                  </a:lnTo>
                  <a:lnTo>
                    <a:pt x="1001" y="824"/>
                  </a:lnTo>
                  <a:lnTo>
                    <a:pt x="1001" y="831"/>
                  </a:lnTo>
                  <a:lnTo>
                    <a:pt x="999" y="839"/>
                  </a:lnTo>
                  <a:lnTo>
                    <a:pt x="999" y="839"/>
                  </a:lnTo>
                  <a:lnTo>
                    <a:pt x="989" y="857"/>
                  </a:lnTo>
                  <a:lnTo>
                    <a:pt x="986" y="865"/>
                  </a:lnTo>
                  <a:lnTo>
                    <a:pt x="984" y="874"/>
                  </a:lnTo>
                  <a:lnTo>
                    <a:pt x="984" y="874"/>
                  </a:lnTo>
                  <a:lnTo>
                    <a:pt x="984" y="894"/>
                  </a:lnTo>
                  <a:lnTo>
                    <a:pt x="984" y="902"/>
                  </a:lnTo>
                  <a:lnTo>
                    <a:pt x="983" y="907"/>
                  </a:lnTo>
                  <a:lnTo>
                    <a:pt x="981" y="908"/>
                  </a:lnTo>
                  <a:lnTo>
                    <a:pt x="981" y="908"/>
                  </a:lnTo>
                  <a:lnTo>
                    <a:pt x="977" y="910"/>
                  </a:lnTo>
                  <a:lnTo>
                    <a:pt x="974" y="911"/>
                  </a:lnTo>
                  <a:lnTo>
                    <a:pt x="970" y="911"/>
                  </a:lnTo>
                  <a:lnTo>
                    <a:pt x="967" y="913"/>
                  </a:lnTo>
                  <a:lnTo>
                    <a:pt x="967" y="913"/>
                  </a:lnTo>
                  <a:lnTo>
                    <a:pt x="962" y="919"/>
                  </a:lnTo>
                  <a:lnTo>
                    <a:pt x="962" y="923"/>
                  </a:lnTo>
                  <a:lnTo>
                    <a:pt x="964" y="925"/>
                  </a:lnTo>
                  <a:lnTo>
                    <a:pt x="964" y="925"/>
                  </a:lnTo>
                  <a:lnTo>
                    <a:pt x="965" y="928"/>
                  </a:lnTo>
                  <a:lnTo>
                    <a:pt x="967" y="931"/>
                  </a:lnTo>
                  <a:lnTo>
                    <a:pt x="967" y="938"/>
                  </a:lnTo>
                  <a:lnTo>
                    <a:pt x="967" y="938"/>
                  </a:lnTo>
                  <a:lnTo>
                    <a:pt x="965" y="947"/>
                  </a:lnTo>
                  <a:lnTo>
                    <a:pt x="964" y="951"/>
                  </a:lnTo>
                  <a:lnTo>
                    <a:pt x="965" y="957"/>
                  </a:lnTo>
                  <a:lnTo>
                    <a:pt x="965" y="957"/>
                  </a:lnTo>
                  <a:lnTo>
                    <a:pt x="970" y="968"/>
                  </a:lnTo>
                  <a:lnTo>
                    <a:pt x="970" y="972"/>
                  </a:lnTo>
                  <a:lnTo>
                    <a:pt x="968" y="976"/>
                  </a:lnTo>
                  <a:lnTo>
                    <a:pt x="968" y="976"/>
                  </a:lnTo>
                  <a:lnTo>
                    <a:pt x="965" y="981"/>
                  </a:lnTo>
                  <a:lnTo>
                    <a:pt x="965" y="990"/>
                  </a:lnTo>
                  <a:lnTo>
                    <a:pt x="965" y="990"/>
                  </a:lnTo>
                  <a:lnTo>
                    <a:pt x="965" y="994"/>
                  </a:lnTo>
                  <a:lnTo>
                    <a:pt x="964" y="999"/>
                  </a:lnTo>
                  <a:lnTo>
                    <a:pt x="962" y="1002"/>
                  </a:lnTo>
                  <a:lnTo>
                    <a:pt x="959" y="1003"/>
                  </a:lnTo>
                  <a:lnTo>
                    <a:pt x="959" y="1003"/>
                  </a:lnTo>
                  <a:lnTo>
                    <a:pt x="955" y="1002"/>
                  </a:lnTo>
                  <a:lnTo>
                    <a:pt x="950" y="997"/>
                  </a:lnTo>
                  <a:lnTo>
                    <a:pt x="946" y="993"/>
                  </a:lnTo>
                  <a:lnTo>
                    <a:pt x="946" y="990"/>
                  </a:lnTo>
                  <a:lnTo>
                    <a:pt x="946" y="988"/>
                  </a:lnTo>
                  <a:lnTo>
                    <a:pt x="946" y="988"/>
                  </a:lnTo>
                  <a:lnTo>
                    <a:pt x="947" y="982"/>
                  </a:lnTo>
                  <a:lnTo>
                    <a:pt x="950" y="979"/>
                  </a:lnTo>
                  <a:lnTo>
                    <a:pt x="952" y="975"/>
                  </a:lnTo>
                  <a:lnTo>
                    <a:pt x="953" y="971"/>
                  </a:lnTo>
                  <a:lnTo>
                    <a:pt x="953" y="971"/>
                  </a:lnTo>
                  <a:lnTo>
                    <a:pt x="953" y="966"/>
                  </a:lnTo>
                  <a:lnTo>
                    <a:pt x="952" y="963"/>
                  </a:lnTo>
                  <a:lnTo>
                    <a:pt x="949" y="960"/>
                  </a:lnTo>
                  <a:lnTo>
                    <a:pt x="949" y="956"/>
                  </a:lnTo>
                  <a:lnTo>
                    <a:pt x="949" y="956"/>
                  </a:lnTo>
                  <a:lnTo>
                    <a:pt x="949" y="947"/>
                  </a:lnTo>
                  <a:lnTo>
                    <a:pt x="950" y="939"/>
                  </a:lnTo>
                  <a:lnTo>
                    <a:pt x="950" y="939"/>
                  </a:lnTo>
                  <a:lnTo>
                    <a:pt x="950" y="931"/>
                  </a:lnTo>
                  <a:lnTo>
                    <a:pt x="949" y="928"/>
                  </a:lnTo>
                  <a:lnTo>
                    <a:pt x="946" y="925"/>
                  </a:lnTo>
                  <a:lnTo>
                    <a:pt x="946" y="925"/>
                  </a:lnTo>
                  <a:lnTo>
                    <a:pt x="940" y="922"/>
                  </a:lnTo>
                  <a:lnTo>
                    <a:pt x="939" y="920"/>
                  </a:lnTo>
                  <a:lnTo>
                    <a:pt x="941" y="917"/>
                  </a:lnTo>
                  <a:lnTo>
                    <a:pt x="941" y="917"/>
                  </a:lnTo>
                  <a:lnTo>
                    <a:pt x="950" y="910"/>
                  </a:lnTo>
                  <a:lnTo>
                    <a:pt x="955" y="905"/>
                  </a:lnTo>
                  <a:lnTo>
                    <a:pt x="956" y="902"/>
                  </a:lnTo>
                  <a:lnTo>
                    <a:pt x="956" y="902"/>
                  </a:lnTo>
                  <a:lnTo>
                    <a:pt x="955" y="898"/>
                  </a:lnTo>
                  <a:lnTo>
                    <a:pt x="949" y="894"/>
                  </a:lnTo>
                  <a:lnTo>
                    <a:pt x="944" y="888"/>
                  </a:lnTo>
                  <a:lnTo>
                    <a:pt x="941" y="883"/>
                  </a:lnTo>
                  <a:lnTo>
                    <a:pt x="941" y="883"/>
                  </a:lnTo>
                  <a:lnTo>
                    <a:pt x="941" y="879"/>
                  </a:lnTo>
                  <a:lnTo>
                    <a:pt x="943" y="876"/>
                  </a:lnTo>
                  <a:lnTo>
                    <a:pt x="946" y="874"/>
                  </a:lnTo>
                  <a:lnTo>
                    <a:pt x="950" y="874"/>
                  </a:lnTo>
                  <a:lnTo>
                    <a:pt x="950" y="874"/>
                  </a:lnTo>
                  <a:lnTo>
                    <a:pt x="956" y="874"/>
                  </a:lnTo>
                  <a:lnTo>
                    <a:pt x="962" y="874"/>
                  </a:lnTo>
                  <a:lnTo>
                    <a:pt x="965" y="873"/>
                  </a:lnTo>
                  <a:lnTo>
                    <a:pt x="968" y="871"/>
                  </a:lnTo>
                  <a:lnTo>
                    <a:pt x="970" y="867"/>
                  </a:lnTo>
                  <a:lnTo>
                    <a:pt x="971" y="864"/>
                  </a:lnTo>
                  <a:lnTo>
                    <a:pt x="971" y="864"/>
                  </a:lnTo>
                  <a:close/>
                  <a:moveTo>
                    <a:pt x="903" y="1040"/>
                  </a:moveTo>
                  <a:lnTo>
                    <a:pt x="903" y="1040"/>
                  </a:lnTo>
                  <a:lnTo>
                    <a:pt x="912" y="1043"/>
                  </a:lnTo>
                  <a:lnTo>
                    <a:pt x="918" y="1045"/>
                  </a:lnTo>
                  <a:lnTo>
                    <a:pt x="921" y="1045"/>
                  </a:lnTo>
                  <a:lnTo>
                    <a:pt x="921" y="1045"/>
                  </a:lnTo>
                  <a:lnTo>
                    <a:pt x="928" y="1037"/>
                  </a:lnTo>
                  <a:lnTo>
                    <a:pt x="931" y="1033"/>
                  </a:lnTo>
                  <a:lnTo>
                    <a:pt x="933" y="1030"/>
                  </a:lnTo>
                  <a:lnTo>
                    <a:pt x="933" y="1030"/>
                  </a:lnTo>
                  <a:lnTo>
                    <a:pt x="933" y="1027"/>
                  </a:lnTo>
                  <a:lnTo>
                    <a:pt x="936" y="1028"/>
                  </a:lnTo>
                  <a:lnTo>
                    <a:pt x="937" y="1030"/>
                  </a:lnTo>
                  <a:lnTo>
                    <a:pt x="939" y="1033"/>
                  </a:lnTo>
                  <a:lnTo>
                    <a:pt x="939" y="1033"/>
                  </a:lnTo>
                  <a:lnTo>
                    <a:pt x="939" y="1039"/>
                  </a:lnTo>
                  <a:lnTo>
                    <a:pt x="937" y="1045"/>
                  </a:lnTo>
                  <a:lnTo>
                    <a:pt x="933" y="1055"/>
                  </a:lnTo>
                  <a:lnTo>
                    <a:pt x="933" y="1055"/>
                  </a:lnTo>
                  <a:lnTo>
                    <a:pt x="931" y="1059"/>
                  </a:lnTo>
                  <a:lnTo>
                    <a:pt x="928" y="1062"/>
                  </a:lnTo>
                  <a:lnTo>
                    <a:pt x="925" y="1065"/>
                  </a:lnTo>
                  <a:lnTo>
                    <a:pt x="924" y="1068"/>
                  </a:lnTo>
                  <a:lnTo>
                    <a:pt x="924" y="1068"/>
                  </a:lnTo>
                  <a:lnTo>
                    <a:pt x="924" y="1080"/>
                  </a:lnTo>
                  <a:lnTo>
                    <a:pt x="924" y="1085"/>
                  </a:lnTo>
                  <a:lnTo>
                    <a:pt x="925" y="1089"/>
                  </a:lnTo>
                  <a:lnTo>
                    <a:pt x="925" y="1089"/>
                  </a:lnTo>
                  <a:lnTo>
                    <a:pt x="928" y="1096"/>
                  </a:lnTo>
                  <a:lnTo>
                    <a:pt x="930" y="1101"/>
                  </a:lnTo>
                  <a:lnTo>
                    <a:pt x="930" y="1105"/>
                  </a:lnTo>
                  <a:lnTo>
                    <a:pt x="930" y="1105"/>
                  </a:lnTo>
                  <a:lnTo>
                    <a:pt x="928" y="1117"/>
                  </a:lnTo>
                  <a:lnTo>
                    <a:pt x="928" y="1123"/>
                  </a:lnTo>
                  <a:lnTo>
                    <a:pt x="930" y="1129"/>
                  </a:lnTo>
                  <a:lnTo>
                    <a:pt x="930" y="1129"/>
                  </a:lnTo>
                  <a:lnTo>
                    <a:pt x="934" y="1139"/>
                  </a:lnTo>
                  <a:lnTo>
                    <a:pt x="934" y="1142"/>
                  </a:lnTo>
                  <a:lnTo>
                    <a:pt x="934" y="1144"/>
                  </a:lnTo>
                  <a:lnTo>
                    <a:pt x="933" y="1145"/>
                  </a:lnTo>
                  <a:lnTo>
                    <a:pt x="933" y="1145"/>
                  </a:lnTo>
                  <a:lnTo>
                    <a:pt x="922" y="1147"/>
                  </a:lnTo>
                  <a:lnTo>
                    <a:pt x="916" y="1147"/>
                  </a:lnTo>
                  <a:lnTo>
                    <a:pt x="915" y="1145"/>
                  </a:lnTo>
                  <a:lnTo>
                    <a:pt x="915" y="1144"/>
                  </a:lnTo>
                  <a:lnTo>
                    <a:pt x="915" y="1144"/>
                  </a:lnTo>
                  <a:lnTo>
                    <a:pt x="913" y="1133"/>
                  </a:lnTo>
                  <a:lnTo>
                    <a:pt x="915" y="1123"/>
                  </a:lnTo>
                  <a:lnTo>
                    <a:pt x="915" y="1123"/>
                  </a:lnTo>
                  <a:lnTo>
                    <a:pt x="916" y="1117"/>
                  </a:lnTo>
                  <a:lnTo>
                    <a:pt x="916" y="1110"/>
                  </a:lnTo>
                  <a:lnTo>
                    <a:pt x="916" y="1102"/>
                  </a:lnTo>
                  <a:lnTo>
                    <a:pt x="916" y="1098"/>
                  </a:lnTo>
                  <a:lnTo>
                    <a:pt x="915" y="1095"/>
                  </a:lnTo>
                  <a:lnTo>
                    <a:pt x="915" y="1095"/>
                  </a:lnTo>
                  <a:lnTo>
                    <a:pt x="910" y="1089"/>
                  </a:lnTo>
                  <a:lnTo>
                    <a:pt x="907" y="1079"/>
                  </a:lnTo>
                  <a:lnTo>
                    <a:pt x="904" y="1064"/>
                  </a:lnTo>
                  <a:lnTo>
                    <a:pt x="904" y="1064"/>
                  </a:lnTo>
                  <a:lnTo>
                    <a:pt x="903" y="1059"/>
                  </a:lnTo>
                  <a:lnTo>
                    <a:pt x="901" y="1054"/>
                  </a:lnTo>
                  <a:lnTo>
                    <a:pt x="900" y="1048"/>
                  </a:lnTo>
                  <a:lnTo>
                    <a:pt x="901" y="1045"/>
                  </a:lnTo>
                  <a:lnTo>
                    <a:pt x="903" y="1040"/>
                  </a:lnTo>
                  <a:lnTo>
                    <a:pt x="903" y="1040"/>
                  </a:lnTo>
                  <a:close/>
                  <a:moveTo>
                    <a:pt x="1016" y="697"/>
                  </a:moveTo>
                  <a:lnTo>
                    <a:pt x="1016" y="697"/>
                  </a:lnTo>
                  <a:lnTo>
                    <a:pt x="1014" y="685"/>
                  </a:lnTo>
                  <a:lnTo>
                    <a:pt x="1014" y="685"/>
                  </a:lnTo>
                  <a:lnTo>
                    <a:pt x="1017" y="673"/>
                  </a:lnTo>
                  <a:lnTo>
                    <a:pt x="1020" y="665"/>
                  </a:lnTo>
                  <a:lnTo>
                    <a:pt x="1021" y="664"/>
                  </a:lnTo>
                  <a:lnTo>
                    <a:pt x="1024" y="663"/>
                  </a:lnTo>
                  <a:lnTo>
                    <a:pt x="1024" y="663"/>
                  </a:lnTo>
                  <a:lnTo>
                    <a:pt x="1027" y="664"/>
                  </a:lnTo>
                  <a:lnTo>
                    <a:pt x="1029" y="665"/>
                  </a:lnTo>
                  <a:lnTo>
                    <a:pt x="1030" y="668"/>
                  </a:lnTo>
                  <a:lnTo>
                    <a:pt x="1029" y="673"/>
                  </a:lnTo>
                  <a:lnTo>
                    <a:pt x="1029" y="673"/>
                  </a:lnTo>
                  <a:lnTo>
                    <a:pt x="1026" y="683"/>
                  </a:lnTo>
                  <a:lnTo>
                    <a:pt x="1026" y="691"/>
                  </a:lnTo>
                  <a:lnTo>
                    <a:pt x="1029" y="697"/>
                  </a:lnTo>
                  <a:lnTo>
                    <a:pt x="1029" y="697"/>
                  </a:lnTo>
                  <a:lnTo>
                    <a:pt x="1030" y="702"/>
                  </a:lnTo>
                  <a:lnTo>
                    <a:pt x="1032" y="708"/>
                  </a:lnTo>
                  <a:lnTo>
                    <a:pt x="1030" y="714"/>
                  </a:lnTo>
                  <a:lnTo>
                    <a:pt x="1029" y="720"/>
                  </a:lnTo>
                  <a:lnTo>
                    <a:pt x="1029" y="720"/>
                  </a:lnTo>
                  <a:lnTo>
                    <a:pt x="1026" y="729"/>
                  </a:lnTo>
                  <a:lnTo>
                    <a:pt x="1026" y="740"/>
                  </a:lnTo>
                  <a:lnTo>
                    <a:pt x="1026" y="740"/>
                  </a:lnTo>
                  <a:lnTo>
                    <a:pt x="1026" y="754"/>
                  </a:lnTo>
                  <a:lnTo>
                    <a:pt x="1026" y="762"/>
                  </a:lnTo>
                  <a:lnTo>
                    <a:pt x="1024" y="768"/>
                  </a:lnTo>
                  <a:lnTo>
                    <a:pt x="1024" y="768"/>
                  </a:lnTo>
                  <a:lnTo>
                    <a:pt x="1020" y="771"/>
                  </a:lnTo>
                  <a:lnTo>
                    <a:pt x="1016" y="774"/>
                  </a:lnTo>
                  <a:lnTo>
                    <a:pt x="1011" y="774"/>
                  </a:lnTo>
                  <a:lnTo>
                    <a:pt x="1010" y="772"/>
                  </a:lnTo>
                  <a:lnTo>
                    <a:pt x="1010" y="771"/>
                  </a:lnTo>
                  <a:lnTo>
                    <a:pt x="1010" y="771"/>
                  </a:lnTo>
                  <a:lnTo>
                    <a:pt x="1010" y="753"/>
                  </a:lnTo>
                  <a:lnTo>
                    <a:pt x="1010" y="738"/>
                  </a:lnTo>
                  <a:lnTo>
                    <a:pt x="1010" y="738"/>
                  </a:lnTo>
                  <a:lnTo>
                    <a:pt x="1013" y="719"/>
                  </a:lnTo>
                  <a:lnTo>
                    <a:pt x="1014" y="705"/>
                  </a:lnTo>
                  <a:lnTo>
                    <a:pt x="1016" y="697"/>
                  </a:lnTo>
                  <a:lnTo>
                    <a:pt x="1016" y="697"/>
                  </a:lnTo>
                  <a:close/>
                  <a:moveTo>
                    <a:pt x="1016" y="621"/>
                  </a:moveTo>
                  <a:lnTo>
                    <a:pt x="1016" y="621"/>
                  </a:lnTo>
                  <a:lnTo>
                    <a:pt x="1018" y="617"/>
                  </a:lnTo>
                  <a:lnTo>
                    <a:pt x="1021" y="615"/>
                  </a:lnTo>
                  <a:lnTo>
                    <a:pt x="1023" y="615"/>
                  </a:lnTo>
                  <a:lnTo>
                    <a:pt x="1024" y="615"/>
                  </a:lnTo>
                  <a:lnTo>
                    <a:pt x="1024" y="615"/>
                  </a:lnTo>
                  <a:lnTo>
                    <a:pt x="1027" y="623"/>
                  </a:lnTo>
                  <a:lnTo>
                    <a:pt x="1027" y="627"/>
                  </a:lnTo>
                  <a:lnTo>
                    <a:pt x="1026" y="628"/>
                  </a:lnTo>
                  <a:lnTo>
                    <a:pt x="1026" y="628"/>
                  </a:lnTo>
                  <a:lnTo>
                    <a:pt x="1021" y="628"/>
                  </a:lnTo>
                  <a:lnTo>
                    <a:pt x="1018" y="628"/>
                  </a:lnTo>
                  <a:lnTo>
                    <a:pt x="1016" y="627"/>
                  </a:lnTo>
                  <a:lnTo>
                    <a:pt x="1016" y="621"/>
                  </a:lnTo>
                  <a:lnTo>
                    <a:pt x="1016" y="621"/>
                  </a:lnTo>
                  <a:close/>
                  <a:moveTo>
                    <a:pt x="1044" y="528"/>
                  </a:moveTo>
                  <a:lnTo>
                    <a:pt x="1044" y="528"/>
                  </a:lnTo>
                  <a:lnTo>
                    <a:pt x="1042" y="516"/>
                  </a:lnTo>
                  <a:lnTo>
                    <a:pt x="1042" y="507"/>
                  </a:lnTo>
                  <a:lnTo>
                    <a:pt x="1044" y="503"/>
                  </a:lnTo>
                  <a:lnTo>
                    <a:pt x="1044" y="503"/>
                  </a:lnTo>
                  <a:lnTo>
                    <a:pt x="1045" y="500"/>
                  </a:lnTo>
                  <a:lnTo>
                    <a:pt x="1048" y="500"/>
                  </a:lnTo>
                  <a:lnTo>
                    <a:pt x="1051" y="501"/>
                  </a:lnTo>
                  <a:lnTo>
                    <a:pt x="1053" y="506"/>
                  </a:lnTo>
                  <a:lnTo>
                    <a:pt x="1053" y="506"/>
                  </a:lnTo>
                  <a:lnTo>
                    <a:pt x="1054" y="525"/>
                  </a:lnTo>
                  <a:lnTo>
                    <a:pt x="1054" y="541"/>
                  </a:lnTo>
                  <a:lnTo>
                    <a:pt x="1054" y="541"/>
                  </a:lnTo>
                  <a:lnTo>
                    <a:pt x="1053" y="551"/>
                  </a:lnTo>
                  <a:lnTo>
                    <a:pt x="1051" y="556"/>
                  </a:lnTo>
                  <a:lnTo>
                    <a:pt x="1048" y="559"/>
                  </a:lnTo>
                  <a:lnTo>
                    <a:pt x="1048" y="559"/>
                  </a:lnTo>
                  <a:lnTo>
                    <a:pt x="1047" y="557"/>
                  </a:lnTo>
                  <a:lnTo>
                    <a:pt x="1044" y="553"/>
                  </a:lnTo>
                  <a:lnTo>
                    <a:pt x="1042" y="543"/>
                  </a:lnTo>
                  <a:lnTo>
                    <a:pt x="1044" y="528"/>
                  </a:lnTo>
                  <a:lnTo>
                    <a:pt x="1044" y="528"/>
                  </a:lnTo>
                  <a:close/>
                  <a:moveTo>
                    <a:pt x="1045" y="483"/>
                  </a:moveTo>
                  <a:lnTo>
                    <a:pt x="1045" y="483"/>
                  </a:lnTo>
                  <a:lnTo>
                    <a:pt x="1041" y="479"/>
                  </a:lnTo>
                  <a:lnTo>
                    <a:pt x="1038" y="476"/>
                  </a:lnTo>
                  <a:lnTo>
                    <a:pt x="1036" y="474"/>
                  </a:lnTo>
                  <a:lnTo>
                    <a:pt x="1036" y="474"/>
                  </a:lnTo>
                  <a:lnTo>
                    <a:pt x="1039" y="470"/>
                  </a:lnTo>
                  <a:lnTo>
                    <a:pt x="1042" y="467"/>
                  </a:lnTo>
                  <a:lnTo>
                    <a:pt x="1044" y="467"/>
                  </a:lnTo>
                  <a:lnTo>
                    <a:pt x="1044" y="467"/>
                  </a:lnTo>
                  <a:lnTo>
                    <a:pt x="1047" y="468"/>
                  </a:lnTo>
                  <a:lnTo>
                    <a:pt x="1050" y="471"/>
                  </a:lnTo>
                  <a:lnTo>
                    <a:pt x="1053" y="474"/>
                  </a:lnTo>
                  <a:lnTo>
                    <a:pt x="1054" y="477"/>
                  </a:lnTo>
                  <a:lnTo>
                    <a:pt x="1054" y="477"/>
                  </a:lnTo>
                  <a:lnTo>
                    <a:pt x="1053" y="480"/>
                  </a:lnTo>
                  <a:lnTo>
                    <a:pt x="1051" y="482"/>
                  </a:lnTo>
                  <a:lnTo>
                    <a:pt x="1048" y="483"/>
                  </a:lnTo>
                  <a:lnTo>
                    <a:pt x="1045" y="483"/>
                  </a:lnTo>
                  <a:lnTo>
                    <a:pt x="1045" y="483"/>
                  </a:lnTo>
                  <a:close/>
                  <a:moveTo>
                    <a:pt x="1041" y="429"/>
                  </a:moveTo>
                  <a:lnTo>
                    <a:pt x="1041" y="429"/>
                  </a:lnTo>
                  <a:lnTo>
                    <a:pt x="1035" y="424"/>
                  </a:lnTo>
                  <a:lnTo>
                    <a:pt x="1030" y="420"/>
                  </a:lnTo>
                  <a:lnTo>
                    <a:pt x="1029" y="417"/>
                  </a:lnTo>
                  <a:lnTo>
                    <a:pt x="1029" y="414"/>
                  </a:lnTo>
                  <a:lnTo>
                    <a:pt x="1029" y="414"/>
                  </a:lnTo>
                  <a:lnTo>
                    <a:pt x="1030" y="409"/>
                  </a:lnTo>
                  <a:lnTo>
                    <a:pt x="1035" y="406"/>
                  </a:lnTo>
                  <a:lnTo>
                    <a:pt x="1038" y="405"/>
                  </a:lnTo>
                  <a:lnTo>
                    <a:pt x="1039" y="405"/>
                  </a:lnTo>
                  <a:lnTo>
                    <a:pt x="1041" y="406"/>
                  </a:lnTo>
                  <a:lnTo>
                    <a:pt x="1041" y="406"/>
                  </a:lnTo>
                  <a:lnTo>
                    <a:pt x="1045" y="414"/>
                  </a:lnTo>
                  <a:lnTo>
                    <a:pt x="1047" y="417"/>
                  </a:lnTo>
                  <a:lnTo>
                    <a:pt x="1048" y="420"/>
                  </a:lnTo>
                  <a:lnTo>
                    <a:pt x="1048" y="420"/>
                  </a:lnTo>
                  <a:lnTo>
                    <a:pt x="1048" y="426"/>
                  </a:lnTo>
                  <a:lnTo>
                    <a:pt x="1045" y="429"/>
                  </a:lnTo>
                  <a:lnTo>
                    <a:pt x="1041" y="429"/>
                  </a:lnTo>
                  <a:lnTo>
                    <a:pt x="1041" y="429"/>
                  </a:lnTo>
                  <a:close/>
                  <a:moveTo>
                    <a:pt x="210" y="657"/>
                  </a:moveTo>
                  <a:lnTo>
                    <a:pt x="210" y="657"/>
                  </a:lnTo>
                  <a:lnTo>
                    <a:pt x="213" y="660"/>
                  </a:lnTo>
                  <a:lnTo>
                    <a:pt x="216" y="665"/>
                  </a:lnTo>
                  <a:lnTo>
                    <a:pt x="223" y="679"/>
                  </a:lnTo>
                  <a:lnTo>
                    <a:pt x="231" y="701"/>
                  </a:lnTo>
                  <a:lnTo>
                    <a:pt x="231" y="701"/>
                  </a:lnTo>
                  <a:lnTo>
                    <a:pt x="237" y="710"/>
                  </a:lnTo>
                  <a:lnTo>
                    <a:pt x="247" y="720"/>
                  </a:lnTo>
                  <a:lnTo>
                    <a:pt x="257" y="732"/>
                  </a:lnTo>
                  <a:lnTo>
                    <a:pt x="266" y="738"/>
                  </a:lnTo>
                  <a:lnTo>
                    <a:pt x="266" y="738"/>
                  </a:lnTo>
                  <a:lnTo>
                    <a:pt x="274" y="747"/>
                  </a:lnTo>
                  <a:lnTo>
                    <a:pt x="284" y="762"/>
                  </a:lnTo>
                  <a:lnTo>
                    <a:pt x="293" y="777"/>
                  </a:lnTo>
                  <a:lnTo>
                    <a:pt x="300" y="785"/>
                  </a:lnTo>
                  <a:lnTo>
                    <a:pt x="300" y="785"/>
                  </a:lnTo>
                  <a:lnTo>
                    <a:pt x="308" y="796"/>
                  </a:lnTo>
                  <a:lnTo>
                    <a:pt x="318" y="812"/>
                  </a:lnTo>
                  <a:lnTo>
                    <a:pt x="336" y="842"/>
                  </a:lnTo>
                  <a:lnTo>
                    <a:pt x="336" y="842"/>
                  </a:lnTo>
                  <a:lnTo>
                    <a:pt x="340" y="851"/>
                  </a:lnTo>
                  <a:lnTo>
                    <a:pt x="343" y="862"/>
                  </a:lnTo>
                  <a:lnTo>
                    <a:pt x="346" y="873"/>
                  </a:lnTo>
                  <a:lnTo>
                    <a:pt x="349" y="882"/>
                  </a:lnTo>
                  <a:lnTo>
                    <a:pt x="349" y="882"/>
                  </a:lnTo>
                  <a:lnTo>
                    <a:pt x="352" y="885"/>
                  </a:lnTo>
                  <a:lnTo>
                    <a:pt x="355" y="888"/>
                  </a:lnTo>
                  <a:lnTo>
                    <a:pt x="365" y="894"/>
                  </a:lnTo>
                  <a:lnTo>
                    <a:pt x="388" y="905"/>
                  </a:lnTo>
                  <a:lnTo>
                    <a:pt x="388" y="905"/>
                  </a:lnTo>
                  <a:lnTo>
                    <a:pt x="392" y="908"/>
                  </a:lnTo>
                  <a:lnTo>
                    <a:pt x="397" y="913"/>
                  </a:lnTo>
                  <a:lnTo>
                    <a:pt x="407" y="925"/>
                  </a:lnTo>
                  <a:lnTo>
                    <a:pt x="422" y="942"/>
                  </a:lnTo>
                  <a:lnTo>
                    <a:pt x="422" y="942"/>
                  </a:lnTo>
                  <a:lnTo>
                    <a:pt x="425" y="945"/>
                  </a:lnTo>
                  <a:lnTo>
                    <a:pt x="426" y="950"/>
                  </a:lnTo>
                  <a:lnTo>
                    <a:pt x="429" y="960"/>
                  </a:lnTo>
                  <a:lnTo>
                    <a:pt x="431" y="971"/>
                  </a:lnTo>
                  <a:lnTo>
                    <a:pt x="432" y="978"/>
                  </a:lnTo>
                  <a:lnTo>
                    <a:pt x="432" y="978"/>
                  </a:lnTo>
                  <a:lnTo>
                    <a:pt x="439" y="987"/>
                  </a:lnTo>
                  <a:lnTo>
                    <a:pt x="453" y="1000"/>
                  </a:lnTo>
                  <a:lnTo>
                    <a:pt x="475" y="1025"/>
                  </a:lnTo>
                  <a:lnTo>
                    <a:pt x="475" y="1025"/>
                  </a:lnTo>
                  <a:lnTo>
                    <a:pt x="479" y="1034"/>
                  </a:lnTo>
                  <a:lnTo>
                    <a:pt x="485" y="1049"/>
                  </a:lnTo>
                  <a:lnTo>
                    <a:pt x="491" y="1073"/>
                  </a:lnTo>
                  <a:lnTo>
                    <a:pt x="491" y="1073"/>
                  </a:lnTo>
                  <a:lnTo>
                    <a:pt x="494" y="1079"/>
                  </a:lnTo>
                  <a:lnTo>
                    <a:pt x="500" y="1085"/>
                  </a:lnTo>
                  <a:lnTo>
                    <a:pt x="508" y="1091"/>
                  </a:lnTo>
                  <a:lnTo>
                    <a:pt x="515" y="1095"/>
                  </a:lnTo>
                  <a:lnTo>
                    <a:pt x="515" y="1095"/>
                  </a:lnTo>
                  <a:lnTo>
                    <a:pt x="522" y="1101"/>
                  </a:lnTo>
                  <a:lnTo>
                    <a:pt x="531" y="1110"/>
                  </a:lnTo>
                  <a:lnTo>
                    <a:pt x="540" y="1119"/>
                  </a:lnTo>
                  <a:lnTo>
                    <a:pt x="548" y="1123"/>
                  </a:lnTo>
                  <a:lnTo>
                    <a:pt x="548" y="1123"/>
                  </a:lnTo>
                  <a:lnTo>
                    <a:pt x="549" y="1125"/>
                  </a:lnTo>
                  <a:lnTo>
                    <a:pt x="551" y="1125"/>
                  </a:lnTo>
                  <a:lnTo>
                    <a:pt x="554" y="1120"/>
                  </a:lnTo>
                  <a:lnTo>
                    <a:pt x="555" y="1110"/>
                  </a:lnTo>
                  <a:lnTo>
                    <a:pt x="555" y="1110"/>
                  </a:lnTo>
                  <a:lnTo>
                    <a:pt x="555" y="1107"/>
                  </a:lnTo>
                  <a:lnTo>
                    <a:pt x="555" y="1104"/>
                  </a:lnTo>
                  <a:lnTo>
                    <a:pt x="551" y="1096"/>
                  </a:lnTo>
                  <a:lnTo>
                    <a:pt x="542" y="1082"/>
                  </a:lnTo>
                  <a:lnTo>
                    <a:pt x="542" y="1082"/>
                  </a:lnTo>
                  <a:lnTo>
                    <a:pt x="539" y="1073"/>
                  </a:lnTo>
                  <a:lnTo>
                    <a:pt x="536" y="1059"/>
                  </a:lnTo>
                  <a:lnTo>
                    <a:pt x="533" y="1037"/>
                  </a:lnTo>
                  <a:lnTo>
                    <a:pt x="533" y="1037"/>
                  </a:lnTo>
                  <a:lnTo>
                    <a:pt x="533" y="1033"/>
                  </a:lnTo>
                  <a:lnTo>
                    <a:pt x="537" y="1030"/>
                  </a:lnTo>
                  <a:lnTo>
                    <a:pt x="542" y="1027"/>
                  </a:lnTo>
                  <a:lnTo>
                    <a:pt x="546" y="1027"/>
                  </a:lnTo>
                  <a:lnTo>
                    <a:pt x="546" y="1027"/>
                  </a:lnTo>
                  <a:lnTo>
                    <a:pt x="558" y="1024"/>
                  </a:lnTo>
                  <a:lnTo>
                    <a:pt x="568" y="1021"/>
                  </a:lnTo>
                  <a:lnTo>
                    <a:pt x="568" y="1021"/>
                  </a:lnTo>
                  <a:lnTo>
                    <a:pt x="573" y="1019"/>
                  </a:lnTo>
                  <a:lnTo>
                    <a:pt x="577" y="1015"/>
                  </a:lnTo>
                  <a:lnTo>
                    <a:pt x="582" y="1012"/>
                  </a:lnTo>
                  <a:lnTo>
                    <a:pt x="588" y="1011"/>
                  </a:lnTo>
                  <a:lnTo>
                    <a:pt x="588" y="1011"/>
                  </a:lnTo>
                  <a:lnTo>
                    <a:pt x="589" y="1012"/>
                  </a:lnTo>
                  <a:lnTo>
                    <a:pt x="592" y="1014"/>
                  </a:lnTo>
                  <a:lnTo>
                    <a:pt x="598" y="1018"/>
                  </a:lnTo>
                  <a:lnTo>
                    <a:pt x="605" y="1030"/>
                  </a:lnTo>
                  <a:lnTo>
                    <a:pt x="605" y="1030"/>
                  </a:lnTo>
                  <a:lnTo>
                    <a:pt x="619" y="1040"/>
                  </a:lnTo>
                  <a:lnTo>
                    <a:pt x="626" y="1046"/>
                  </a:lnTo>
                  <a:lnTo>
                    <a:pt x="631" y="1049"/>
                  </a:lnTo>
                  <a:lnTo>
                    <a:pt x="631" y="1049"/>
                  </a:lnTo>
                  <a:lnTo>
                    <a:pt x="633" y="1049"/>
                  </a:lnTo>
                  <a:lnTo>
                    <a:pt x="633" y="1048"/>
                  </a:lnTo>
                  <a:lnTo>
                    <a:pt x="631" y="1040"/>
                  </a:lnTo>
                  <a:lnTo>
                    <a:pt x="631" y="1040"/>
                  </a:lnTo>
                  <a:lnTo>
                    <a:pt x="628" y="1033"/>
                  </a:lnTo>
                  <a:lnTo>
                    <a:pt x="623" y="1022"/>
                  </a:lnTo>
                  <a:lnTo>
                    <a:pt x="623" y="1022"/>
                  </a:lnTo>
                  <a:lnTo>
                    <a:pt x="620" y="1012"/>
                  </a:lnTo>
                  <a:lnTo>
                    <a:pt x="619" y="1008"/>
                  </a:lnTo>
                  <a:lnTo>
                    <a:pt x="617" y="1006"/>
                  </a:lnTo>
                  <a:lnTo>
                    <a:pt x="617" y="1006"/>
                  </a:lnTo>
                  <a:lnTo>
                    <a:pt x="613" y="1005"/>
                  </a:lnTo>
                  <a:lnTo>
                    <a:pt x="607" y="1002"/>
                  </a:lnTo>
                  <a:lnTo>
                    <a:pt x="601" y="997"/>
                  </a:lnTo>
                  <a:lnTo>
                    <a:pt x="595" y="991"/>
                  </a:lnTo>
                  <a:lnTo>
                    <a:pt x="595" y="991"/>
                  </a:lnTo>
                  <a:lnTo>
                    <a:pt x="589" y="985"/>
                  </a:lnTo>
                  <a:lnTo>
                    <a:pt x="583" y="981"/>
                  </a:lnTo>
                  <a:lnTo>
                    <a:pt x="577" y="978"/>
                  </a:lnTo>
                  <a:lnTo>
                    <a:pt x="574" y="978"/>
                  </a:lnTo>
                  <a:lnTo>
                    <a:pt x="574" y="978"/>
                  </a:lnTo>
                  <a:lnTo>
                    <a:pt x="567" y="982"/>
                  </a:lnTo>
                  <a:lnTo>
                    <a:pt x="561" y="985"/>
                  </a:lnTo>
                  <a:lnTo>
                    <a:pt x="555" y="985"/>
                  </a:lnTo>
                  <a:lnTo>
                    <a:pt x="555" y="985"/>
                  </a:lnTo>
                  <a:lnTo>
                    <a:pt x="549" y="985"/>
                  </a:lnTo>
                  <a:lnTo>
                    <a:pt x="546" y="984"/>
                  </a:lnTo>
                  <a:lnTo>
                    <a:pt x="540" y="978"/>
                  </a:lnTo>
                  <a:lnTo>
                    <a:pt x="540" y="978"/>
                  </a:lnTo>
                  <a:lnTo>
                    <a:pt x="533" y="971"/>
                  </a:lnTo>
                  <a:lnTo>
                    <a:pt x="525" y="963"/>
                  </a:lnTo>
                  <a:lnTo>
                    <a:pt x="525" y="963"/>
                  </a:lnTo>
                  <a:lnTo>
                    <a:pt x="518" y="959"/>
                  </a:lnTo>
                  <a:lnTo>
                    <a:pt x="508" y="957"/>
                  </a:lnTo>
                  <a:lnTo>
                    <a:pt x="485" y="954"/>
                  </a:lnTo>
                  <a:lnTo>
                    <a:pt x="485" y="954"/>
                  </a:lnTo>
                  <a:lnTo>
                    <a:pt x="475" y="950"/>
                  </a:lnTo>
                  <a:lnTo>
                    <a:pt x="468" y="945"/>
                  </a:lnTo>
                  <a:lnTo>
                    <a:pt x="456" y="934"/>
                  </a:lnTo>
                  <a:lnTo>
                    <a:pt x="456" y="934"/>
                  </a:lnTo>
                  <a:lnTo>
                    <a:pt x="447" y="923"/>
                  </a:lnTo>
                  <a:lnTo>
                    <a:pt x="437" y="902"/>
                  </a:lnTo>
                  <a:lnTo>
                    <a:pt x="419" y="870"/>
                  </a:lnTo>
                  <a:lnTo>
                    <a:pt x="419" y="870"/>
                  </a:lnTo>
                  <a:lnTo>
                    <a:pt x="417" y="859"/>
                  </a:lnTo>
                  <a:lnTo>
                    <a:pt x="414" y="846"/>
                  </a:lnTo>
                  <a:lnTo>
                    <a:pt x="411" y="828"/>
                  </a:lnTo>
                  <a:lnTo>
                    <a:pt x="411" y="828"/>
                  </a:lnTo>
                  <a:lnTo>
                    <a:pt x="407" y="821"/>
                  </a:lnTo>
                  <a:lnTo>
                    <a:pt x="401" y="812"/>
                  </a:lnTo>
                  <a:lnTo>
                    <a:pt x="401" y="812"/>
                  </a:lnTo>
                  <a:lnTo>
                    <a:pt x="394" y="800"/>
                  </a:lnTo>
                  <a:lnTo>
                    <a:pt x="392" y="794"/>
                  </a:lnTo>
                  <a:lnTo>
                    <a:pt x="391" y="788"/>
                  </a:lnTo>
                  <a:lnTo>
                    <a:pt x="391" y="788"/>
                  </a:lnTo>
                  <a:lnTo>
                    <a:pt x="391" y="785"/>
                  </a:lnTo>
                  <a:lnTo>
                    <a:pt x="392" y="782"/>
                  </a:lnTo>
                  <a:lnTo>
                    <a:pt x="397" y="778"/>
                  </a:lnTo>
                  <a:lnTo>
                    <a:pt x="401" y="775"/>
                  </a:lnTo>
                  <a:lnTo>
                    <a:pt x="402" y="772"/>
                  </a:lnTo>
                  <a:lnTo>
                    <a:pt x="402" y="772"/>
                  </a:lnTo>
                  <a:lnTo>
                    <a:pt x="402" y="763"/>
                  </a:lnTo>
                  <a:lnTo>
                    <a:pt x="402" y="757"/>
                  </a:lnTo>
                  <a:lnTo>
                    <a:pt x="404" y="753"/>
                  </a:lnTo>
                  <a:lnTo>
                    <a:pt x="404" y="753"/>
                  </a:lnTo>
                  <a:lnTo>
                    <a:pt x="405" y="750"/>
                  </a:lnTo>
                  <a:lnTo>
                    <a:pt x="410" y="750"/>
                  </a:lnTo>
                  <a:lnTo>
                    <a:pt x="420" y="748"/>
                  </a:lnTo>
                  <a:lnTo>
                    <a:pt x="420" y="748"/>
                  </a:lnTo>
                  <a:lnTo>
                    <a:pt x="429" y="747"/>
                  </a:lnTo>
                  <a:lnTo>
                    <a:pt x="444" y="742"/>
                  </a:lnTo>
                  <a:lnTo>
                    <a:pt x="444" y="742"/>
                  </a:lnTo>
                  <a:lnTo>
                    <a:pt x="451" y="742"/>
                  </a:lnTo>
                  <a:lnTo>
                    <a:pt x="456" y="742"/>
                  </a:lnTo>
                  <a:lnTo>
                    <a:pt x="465" y="745"/>
                  </a:lnTo>
                  <a:lnTo>
                    <a:pt x="465" y="745"/>
                  </a:lnTo>
                  <a:lnTo>
                    <a:pt x="477" y="750"/>
                  </a:lnTo>
                  <a:lnTo>
                    <a:pt x="488" y="753"/>
                  </a:lnTo>
                  <a:lnTo>
                    <a:pt x="488" y="753"/>
                  </a:lnTo>
                  <a:lnTo>
                    <a:pt x="494" y="754"/>
                  </a:lnTo>
                  <a:lnTo>
                    <a:pt x="500" y="759"/>
                  </a:lnTo>
                  <a:lnTo>
                    <a:pt x="506" y="763"/>
                  </a:lnTo>
                  <a:lnTo>
                    <a:pt x="514" y="766"/>
                  </a:lnTo>
                  <a:lnTo>
                    <a:pt x="514" y="766"/>
                  </a:lnTo>
                  <a:lnTo>
                    <a:pt x="518" y="768"/>
                  </a:lnTo>
                  <a:lnTo>
                    <a:pt x="519" y="766"/>
                  </a:lnTo>
                  <a:lnTo>
                    <a:pt x="521" y="765"/>
                  </a:lnTo>
                  <a:lnTo>
                    <a:pt x="521" y="760"/>
                  </a:lnTo>
                  <a:lnTo>
                    <a:pt x="521" y="760"/>
                  </a:lnTo>
                  <a:lnTo>
                    <a:pt x="521" y="759"/>
                  </a:lnTo>
                  <a:lnTo>
                    <a:pt x="519" y="756"/>
                  </a:lnTo>
                  <a:lnTo>
                    <a:pt x="512" y="750"/>
                  </a:lnTo>
                  <a:lnTo>
                    <a:pt x="503" y="745"/>
                  </a:lnTo>
                  <a:lnTo>
                    <a:pt x="499" y="742"/>
                  </a:lnTo>
                  <a:lnTo>
                    <a:pt x="499" y="742"/>
                  </a:lnTo>
                  <a:lnTo>
                    <a:pt x="481" y="737"/>
                  </a:lnTo>
                  <a:lnTo>
                    <a:pt x="463" y="728"/>
                  </a:lnTo>
                  <a:lnTo>
                    <a:pt x="463" y="728"/>
                  </a:lnTo>
                  <a:lnTo>
                    <a:pt x="450" y="722"/>
                  </a:lnTo>
                  <a:lnTo>
                    <a:pt x="434" y="710"/>
                  </a:lnTo>
                  <a:lnTo>
                    <a:pt x="434" y="710"/>
                  </a:lnTo>
                  <a:lnTo>
                    <a:pt x="407" y="691"/>
                  </a:lnTo>
                  <a:lnTo>
                    <a:pt x="392" y="680"/>
                  </a:lnTo>
                  <a:lnTo>
                    <a:pt x="379" y="671"/>
                  </a:lnTo>
                  <a:lnTo>
                    <a:pt x="379" y="671"/>
                  </a:lnTo>
                  <a:lnTo>
                    <a:pt x="364" y="663"/>
                  </a:lnTo>
                  <a:lnTo>
                    <a:pt x="343" y="649"/>
                  </a:lnTo>
                  <a:lnTo>
                    <a:pt x="324" y="634"/>
                  </a:lnTo>
                  <a:lnTo>
                    <a:pt x="311" y="624"/>
                  </a:lnTo>
                  <a:lnTo>
                    <a:pt x="311" y="624"/>
                  </a:lnTo>
                  <a:lnTo>
                    <a:pt x="297" y="609"/>
                  </a:lnTo>
                  <a:lnTo>
                    <a:pt x="291" y="602"/>
                  </a:lnTo>
                  <a:lnTo>
                    <a:pt x="285" y="599"/>
                  </a:lnTo>
                  <a:lnTo>
                    <a:pt x="285" y="599"/>
                  </a:lnTo>
                  <a:lnTo>
                    <a:pt x="280" y="594"/>
                  </a:lnTo>
                  <a:lnTo>
                    <a:pt x="274" y="590"/>
                  </a:lnTo>
                  <a:lnTo>
                    <a:pt x="262" y="580"/>
                  </a:lnTo>
                  <a:lnTo>
                    <a:pt x="262" y="580"/>
                  </a:lnTo>
                  <a:lnTo>
                    <a:pt x="257" y="574"/>
                  </a:lnTo>
                  <a:lnTo>
                    <a:pt x="254" y="571"/>
                  </a:lnTo>
                  <a:lnTo>
                    <a:pt x="250" y="571"/>
                  </a:lnTo>
                  <a:lnTo>
                    <a:pt x="246" y="572"/>
                  </a:lnTo>
                  <a:lnTo>
                    <a:pt x="246" y="572"/>
                  </a:lnTo>
                  <a:lnTo>
                    <a:pt x="241" y="574"/>
                  </a:lnTo>
                  <a:lnTo>
                    <a:pt x="240" y="575"/>
                  </a:lnTo>
                  <a:lnTo>
                    <a:pt x="237" y="577"/>
                  </a:lnTo>
                  <a:lnTo>
                    <a:pt x="235" y="575"/>
                  </a:lnTo>
                  <a:lnTo>
                    <a:pt x="235" y="575"/>
                  </a:lnTo>
                  <a:lnTo>
                    <a:pt x="234" y="572"/>
                  </a:lnTo>
                  <a:lnTo>
                    <a:pt x="231" y="566"/>
                  </a:lnTo>
                  <a:lnTo>
                    <a:pt x="228" y="560"/>
                  </a:lnTo>
                  <a:lnTo>
                    <a:pt x="223" y="553"/>
                  </a:lnTo>
                  <a:lnTo>
                    <a:pt x="223" y="553"/>
                  </a:lnTo>
                  <a:lnTo>
                    <a:pt x="217" y="550"/>
                  </a:lnTo>
                  <a:lnTo>
                    <a:pt x="213" y="548"/>
                  </a:lnTo>
                  <a:lnTo>
                    <a:pt x="210" y="548"/>
                  </a:lnTo>
                  <a:lnTo>
                    <a:pt x="206" y="548"/>
                  </a:lnTo>
                  <a:lnTo>
                    <a:pt x="206" y="548"/>
                  </a:lnTo>
                  <a:lnTo>
                    <a:pt x="201" y="546"/>
                  </a:lnTo>
                  <a:lnTo>
                    <a:pt x="198" y="541"/>
                  </a:lnTo>
                  <a:lnTo>
                    <a:pt x="197" y="531"/>
                  </a:lnTo>
                  <a:lnTo>
                    <a:pt x="197" y="531"/>
                  </a:lnTo>
                  <a:lnTo>
                    <a:pt x="192" y="525"/>
                  </a:lnTo>
                  <a:lnTo>
                    <a:pt x="188" y="520"/>
                  </a:lnTo>
                  <a:lnTo>
                    <a:pt x="182" y="516"/>
                  </a:lnTo>
                  <a:lnTo>
                    <a:pt x="176" y="514"/>
                  </a:lnTo>
                  <a:lnTo>
                    <a:pt x="176" y="514"/>
                  </a:lnTo>
                  <a:lnTo>
                    <a:pt x="171" y="511"/>
                  </a:lnTo>
                  <a:lnTo>
                    <a:pt x="167" y="507"/>
                  </a:lnTo>
                  <a:lnTo>
                    <a:pt x="160" y="497"/>
                  </a:lnTo>
                  <a:lnTo>
                    <a:pt x="160" y="497"/>
                  </a:lnTo>
                  <a:lnTo>
                    <a:pt x="158" y="494"/>
                  </a:lnTo>
                  <a:lnTo>
                    <a:pt x="158" y="492"/>
                  </a:lnTo>
                  <a:lnTo>
                    <a:pt x="161" y="491"/>
                  </a:lnTo>
                  <a:lnTo>
                    <a:pt x="173" y="486"/>
                  </a:lnTo>
                  <a:lnTo>
                    <a:pt x="173" y="486"/>
                  </a:lnTo>
                  <a:lnTo>
                    <a:pt x="174" y="485"/>
                  </a:lnTo>
                  <a:lnTo>
                    <a:pt x="174" y="482"/>
                  </a:lnTo>
                  <a:lnTo>
                    <a:pt x="169" y="477"/>
                  </a:lnTo>
                  <a:lnTo>
                    <a:pt x="152" y="464"/>
                  </a:lnTo>
                  <a:lnTo>
                    <a:pt x="152" y="464"/>
                  </a:lnTo>
                  <a:lnTo>
                    <a:pt x="136" y="454"/>
                  </a:lnTo>
                  <a:lnTo>
                    <a:pt x="118" y="445"/>
                  </a:lnTo>
                  <a:lnTo>
                    <a:pt x="118" y="445"/>
                  </a:lnTo>
                  <a:lnTo>
                    <a:pt x="114" y="442"/>
                  </a:lnTo>
                  <a:lnTo>
                    <a:pt x="114" y="440"/>
                  </a:lnTo>
                  <a:lnTo>
                    <a:pt x="114" y="439"/>
                  </a:lnTo>
                  <a:lnTo>
                    <a:pt x="118" y="437"/>
                  </a:lnTo>
                  <a:lnTo>
                    <a:pt x="126" y="437"/>
                  </a:lnTo>
                  <a:lnTo>
                    <a:pt x="126" y="437"/>
                  </a:lnTo>
                  <a:lnTo>
                    <a:pt x="129" y="436"/>
                  </a:lnTo>
                  <a:lnTo>
                    <a:pt x="130" y="434"/>
                  </a:lnTo>
                  <a:lnTo>
                    <a:pt x="130" y="433"/>
                  </a:lnTo>
                  <a:lnTo>
                    <a:pt x="129" y="431"/>
                  </a:lnTo>
                  <a:lnTo>
                    <a:pt x="124" y="429"/>
                  </a:lnTo>
                  <a:lnTo>
                    <a:pt x="117" y="424"/>
                  </a:lnTo>
                  <a:lnTo>
                    <a:pt x="117" y="424"/>
                  </a:lnTo>
                  <a:lnTo>
                    <a:pt x="106" y="418"/>
                  </a:lnTo>
                  <a:lnTo>
                    <a:pt x="94" y="409"/>
                  </a:lnTo>
                  <a:lnTo>
                    <a:pt x="72" y="393"/>
                  </a:lnTo>
                  <a:lnTo>
                    <a:pt x="72" y="393"/>
                  </a:lnTo>
                  <a:lnTo>
                    <a:pt x="65" y="387"/>
                  </a:lnTo>
                  <a:lnTo>
                    <a:pt x="60" y="383"/>
                  </a:lnTo>
                  <a:lnTo>
                    <a:pt x="57" y="377"/>
                  </a:lnTo>
                  <a:lnTo>
                    <a:pt x="54" y="371"/>
                  </a:lnTo>
                  <a:lnTo>
                    <a:pt x="54" y="371"/>
                  </a:lnTo>
                  <a:lnTo>
                    <a:pt x="52" y="365"/>
                  </a:lnTo>
                  <a:lnTo>
                    <a:pt x="49" y="362"/>
                  </a:lnTo>
                  <a:lnTo>
                    <a:pt x="41" y="357"/>
                  </a:lnTo>
                  <a:lnTo>
                    <a:pt x="41" y="357"/>
                  </a:lnTo>
                  <a:lnTo>
                    <a:pt x="26" y="351"/>
                  </a:lnTo>
                  <a:lnTo>
                    <a:pt x="19" y="350"/>
                  </a:lnTo>
                  <a:lnTo>
                    <a:pt x="13" y="350"/>
                  </a:lnTo>
                  <a:lnTo>
                    <a:pt x="13" y="350"/>
                  </a:lnTo>
                  <a:lnTo>
                    <a:pt x="12" y="351"/>
                  </a:lnTo>
                  <a:lnTo>
                    <a:pt x="10" y="353"/>
                  </a:lnTo>
                  <a:lnTo>
                    <a:pt x="12" y="357"/>
                  </a:lnTo>
                  <a:lnTo>
                    <a:pt x="15" y="363"/>
                  </a:lnTo>
                  <a:lnTo>
                    <a:pt x="15" y="363"/>
                  </a:lnTo>
                  <a:lnTo>
                    <a:pt x="15" y="366"/>
                  </a:lnTo>
                  <a:lnTo>
                    <a:pt x="13" y="368"/>
                  </a:lnTo>
                  <a:lnTo>
                    <a:pt x="9" y="371"/>
                  </a:lnTo>
                  <a:lnTo>
                    <a:pt x="4" y="372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5"/>
                  </a:lnTo>
                  <a:lnTo>
                    <a:pt x="1" y="377"/>
                  </a:lnTo>
                  <a:lnTo>
                    <a:pt x="4" y="380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28" y="387"/>
                  </a:lnTo>
                  <a:lnTo>
                    <a:pt x="41" y="391"/>
                  </a:lnTo>
                  <a:lnTo>
                    <a:pt x="41" y="391"/>
                  </a:lnTo>
                  <a:lnTo>
                    <a:pt x="46" y="394"/>
                  </a:lnTo>
                  <a:lnTo>
                    <a:pt x="49" y="403"/>
                  </a:lnTo>
                  <a:lnTo>
                    <a:pt x="54" y="418"/>
                  </a:lnTo>
                  <a:lnTo>
                    <a:pt x="54" y="418"/>
                  </a:lnTo>
                  <a:lnTo>
                    <a:pt x="57" y="423"/>
                  </a:lnTo>
                  <a:lnTo>
                    <a:pt x="60" y="426"/>
                  </a:lnTo>
                  <a:lnTo>
                    <a:pt x="68" y="429"/>
                  </a:lnTo>
                  <a:lnTo>
                    <a:pt x="68" y="429"/>
                  </a:lnTo>
                  <a:lnTo>
                    <a:pt x="72" y="431"/>
                  </a:lnTo>
                  <a:lnTo>
                    <a:pt x="72" y="436"/>
                  </a:lnTo>
                  <a:lnTo>
                    <a:pt x="72" y="440"/>
                  </a:lnTo>
                  <a:lnTo>
                    <a:pt x="71" y="448"/>
                  </a:lnTo>
                  <a:lnTo>
                    <a:pt x="71" y="448"/>
                  </a:lnTo>
                  <a:lnTo>
                    <a:pt x="69" y="454"/>
                  </a:lnTo>
                  <a:lnTo>
                    <a:pt x="66" y="457"/>
                  </a:lnTo>
                  <a:lnTo>
                    <a:pt x="63" y="457"/>
                  </a:lnTo>
                  <a:lnTo>
                    <a:pt x="59" y="455"/>
                  </a:lnTo>
                  <a:lnTo>
                    <a:pt x="59" y="455"/>
                  </a:lnTo>
                  <a:lnTo>
                    <a:pt x="54" y="452"/>
                  </a:lnTo>
                  <a:lnTo>
                    <a:pt x="52" y="451"/>
                  </a:lnTo>
                  <a:lnTo>
                    <a:pt x="49" y="451"/>
                  </a:lnTo>
                  <a:lnTo>
                    <a:pt x="49" y="451"/>
                  </a:lnTo>
                  <a:lnTo>
                    <a:pt x="47" y="452"/>
                  </a:lnTo>
                  <a:lnTo>
                    <a:pt x="46" y="455"/>
                  </a:lnTo>
                  <a:lnTo>
                    <a:pt x="44" y="464"/>
                  </a:lnTo>
                  <a:lnTo>
                    <a:pt x="43" y="482"/>
                  </a:lnTo>
                  <a:lnTo>
                    <a:pt x="43" y="482"/>
                  </a:lnTo>
                  <a:lnTo>
                    <a:pt x="44" y="485"/>
                  </a:lnTo>
                  <a:lnTo>
                    <a:pt x="46" y="488"/>
                  </a:lnTo>
                  <a:lnTo>
                    <a:pt x="52" y="491"/>
                  </a:lnTo>
                  <a:lnTo>
                    <a:pt x="57" y="492"/>
                  </a:lnTo>
                  <a:lnTo>
                    <a:pt x="62" y="494"/>
                  </a:lnTo>
                  <a:lnTo>
                    <a:pt x="62" y="494"/>
                  </a:lnTo>
                  <a:lnTo>
                    <a:pt x="65" y="497"/>
                  </a:lnTo>
                  <a:lnTo>
                    <a:pt x="69" y="501"/>
                  </a:lnTo>
                  <a:lnTo>
                    <a:pt x="74" y="508"/>
                  </a:lnTo>
                  <a:lnTo>
                    <a:pt x="75" y="513"/>
                  </a:lnTo>
                  <a:lnTo>
                    <a:pt x="75" y="517"/>
                  </a:lnTo>
                  <a:lnTo>
                    <a:pt x="75" y="517"/>
                  </a:lnTo>
                  <a:lnTo>
                    <a:pt x="75" y="522"/>
                  </a:lnTo>
                  <a:lnTo>
                    <a:pt x="77" y="526"/>
                  </a:lnTo>
                  <a:lnTo>
                    <a:pt x="81" y="534"/>
                  </a:lnTo>
                  <a:lnTo>
                    <a:pt x="89" y="540"/>
                  </a:lnTo>
                  <a:lnTo>
                    <a:pt x="94" y="546"/>
                  </a:lnTo>
                  <a:lnTo>
                    <a:pt x="94" y="546"/>
                  </a:lnTo>
                  <a:lnTo>
                    <a:pt x="96" y="548"/>
                  </a:lnTo>
                  <a:lnTo>
                    <a:pt x="97" y="553"/>
                  </a:lnTo>
                  <a:lnTo>
                    <a:pt x="99" y="563"/>
                  </a:lnTo>
                  <a:lnTo>
                    <a:pt x="97" y="578"/>
                  </a:lnTo>
                  <a:lnTo>
                    <a:pt x="97" y="578"/>
                  </a:lnTo>
                  <a:lnTo>
                    <a:pt x="142" y="627"/>
                  </a:lnTo>
                  <a:lnTo>
                    <a:pt x="142" y="627"/>
                  </a:lnTo>
                  <a:lnTo>
                    <a:pt x="148" y="631"/>
                  </a:lnTo>
                  <a:lnTo>
                    <a:pt x="155" y="633"/>
                  </a:lnTo>
                  <a:lnTo>
                    <a:pt x="173" y="633"/>
                  </a:lnTo>
                  <a:lnTo>
                    <a:pt x="173" y="633"/>
                  </a:lnTo>
                  <a:lnTo>
                    <a:pt x="179" y="634"/>
                  </a:lnTo>
                  <a:lnTo>
                    <a:pt x="183" y="637"/>
                  </a:lnTo>
                  <a:lnTo>
                    <a:pt x="194" y="643"/>
                  </a:lnTo>
                  <a:lnTo>
                    <a:pt x="204" y="651"/>
                  </a:lnTo>
                  <a:lnTo>
                    <a:pt x="210" y="657"/>
                  </a:lnTo>
                  <a:lnTo>
                    <a:pt x="210" y="65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5" name="Freeform 24">
              <a:extLst>
                <a:ext uri="{FF2B5EF4-FFF2-40B4-BE49-F238E27FC236}">
                  <a16:creationId xmlns:a16="http://schemas.microsoft.com/office/drawing/2014/main" id="{C52F7C40-08C2-484B-B8B2-B45B45658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200" y="5462588"/>
              <a:ext cx="674688" cy="776287"/>
            </a:xfrm>
            <a:custGeom>
              <a:avLst/>
              <a:gdLst>
                <a:gd name="T0" fmla="*/ 376 w 425"/>
                <a:gd name="T1" fmla="*/ 228 h 489"/>
                <a:gd name="T2" fmla="*/ 358 w 425"/>
                <a:gd name="T3" fmla="*/ 215 h 489"/>
                <a:gd name="T4" fmla="*/ 345 w 425"/>
                <a:gd name="T5" fmla="*/ 206 h 489"/>
                <a:gd name="T6" fmla="*/ 308 w 425"/>
                <a:gd name="T7" fmla="*/ 194 h 489"/>
                <a:gd name="T8" fmla="*/ 299 w 425"/>
                <a:gd name="T9" fmla="*/ 171 h 489"/>
                <a:gd name="T10" fmla="*/ 272 w 425"/>
                <a:gd name="T11" fmla="*/ 147 h 489"/>
                <a:gd name="T12" fmla="*/ 249 w 425"/>
                <a:gd name="T13" fmla="*/ 151 h 489"/>
                <a:gd name="T14" fmla="*/ 225 w 425"/>
                <a:gd name="T15" fmla="*/ 135 h 489"/>
                <a:gd name="T16" fmla="*/ 229 w 425"/>
                <a:gd name="T17" fmla="*/ 125 h 489"/>
                <a:gd name="T18" fmla="*/ 191 w 425"/>
                <a:gd name="T19" fmla="*/ 105 h 489"/>
                <a:gd name="T20" fmla="*/ 189 w 425"/>
                <a:gd name="T21" fmla="*/ 82 h 489"/>
                <a:gd name="T22" fmla="*/ 169 w 425"/>
                <a:gd name="T23" fmla="*/ 80 h 489"/>
                <a:gd name="T24" fmla="*/ 152 w 425"/>
                <a:gd name="T25" fmla="*/ 65 h 489"/>
                <a:gd name="T26" fmla="*/ 118 w 425"/>
                <a:gd name="T27" fmla="*/ 31 h 489"/>
                <a:gd name="T28" fmla="*/ 114 w 425"/>
                <a:gd name="T29" fmla="*/ 11 h 489"/>
                <a:gd name="T30" fmla="*/ 102 w 425"/>
                <a:gd name="T31" fmla="*/ 0 h 489"/>
                <a:gd name="T32" fmla="*/ 80 w 425"/>
                <a:gd name="T33" fmla="*/ 3 h 489"/>
                <a:gd name="T34" fmla="*/ 55 w 425"/>
                <a:gd name="T35" fmla="*/ 14 h 489"/>
                <a:gd name="T36" fmla="*/ 22 w 425"/>
                <a:gd name="T37" fmla="*/ 23 h 489"/>
                <a:gd name="T38" fmla="*/ 19 w 425"/>
                <a:gd name="T39" fmla="*/ 54 h 489"/>
                <a:gd name="T40" fmla="*/ 9 w 425"/>
                <a:gd name="T41" fmla="*/ 83 h 489"/>
                <a:gd name="T42" fmla="*/ 12 w 425"/>
                <a:gd name="T43" fmla="*/ 123 h 489"/>
                <a:gd name="T44" fmla="*/ 37 w 425"/>
                <a:gd name="T45" fmla="*/ 135 h 489"/>
                <a:gd name="T46" fmla="*/ 59 w 425"/>
                <a:gd name="T47" fmla="*/ 153 h 489"/>
                <a:gd name="T48" fmla="*/ 90 w 425"/>
                <a:gd name="T49" fmla="*/ 185 h 489"/>
                <a:gd name="T50" fmla="*/ 81 w 425"/>
                <a:gd name="T51" fmla="*/ 236 h 489"/>
                <a:gd name="T52" fmla="*/ 58 w 425"/>
                <a:gd name="T53" fmla="*/ 251 h 489"/>
                <a:gd name="T54" fmla="*/ 62 w 425"/>
                <a:gd name="T55" fmla="*/ 273 h 489"/>
                <a:gd name="T56" fmla="*/ 86 w 425"/>
                <a:gd name="T57" fmla="*/ 285 h 489"/>
                <a:gd name="T58" fmla="*/ 100 w 425"/>
                <a:gd name="T59" fmla="*/ 273 h 489"/>
                <a:gd name="T60" fmla="*/ 108 w 425"/>
                <a:gd name="T61" fmla="*/ 288 h 489"/>
                <a:gd name="T62" fmla="*/ 95 w 425"/>
                <a:gd name="T63" fmla="*/ 307 h 489"/>
                <a:gd name="T64" fmla="*/ 111 w 425"/>
                <a:gd name="T65" fmla="*/ 320 h 489"/>
                <a:gd name="T66" fmla="*/ 132 w 425"/>
                <a:gd name="T67" fmla="*/ 319 h 489"/>
                <a:gd name="T68" fmla="*/ 129 w 425"/>
                <a:gd name="T69" fmla="*/ 344 h 489"/>
                <a:gd name="T70" fmla="*/ 138 w 425"/>
                <a:gd name="T71" fmla="*/ 356 h 489"/>
                <a:gd name="T72" fmla="*/ 136 w 425"/>
                <a:gd name="T73" fmla="*/ 368 h 489"/>
                <a:gd name="T74" fmla="*/ 136 w 425"/>
                <a:gd name="T75" fmla="*/ 387 h 489"/>
                <a:gd name="T76" fmla="*/ 136 w 425"/>
                <a:gd name="T77" fmla="*/ 465 h 489"/>
                <a:gd name="T78" fmla="*/ 163 w 425"/>
                <a:gd name="T79" fmla="*/ 489 h 489"/>
                <a:gd name="T80" fmla="*/ 188 w 425"/>
                <a:gd name="T81" fmla="*/ 474 h 489"/>
                <a:gd name="T82" fmla="*/ 209 w 425"/>
                <a:gd name="T83" fmla="*/ 448 h 489"/>
                <a:gd name="T84" fmla="*/ 225 w 425"/>
                <a:gd name="T85" fmla="*/ 440 h 489"/>
                <a:gd name="T86" fmla="*/ 278 w 425"/>
                <a:gd name="T87" fmla="*/ 446 h 489"/>
                <a:gd name="T88" fmla="*/ 308 w 425"/>
                <a:gd name="T89" fmla="*/ 436 h 489"/>
                <a:gd name="T90" fmla="*/ 361 w 425"/>
                <a:gd name="T91" fmla="*/ 448 h 489"/>
                <a:gd name="T92" fmla="*/ 411 w 425"/>
                <a:gd name="T93" fmla="*/ 430 h 489"/>
                <a:gd name="T94" fmla="*/ 422 w 425"/>
                <a:gd name="T95" fmla="*/ 419 h 489"/>
                <a:gd name="T96" fmla="*/ 420 w 425"/>
                <a:gd name="T97" fmla="*/ 393 h 489"/>
                <a:gd name="T98" fmla="*/ 407 w 425"/>
                <a:gd name="T99" fmla="*/ 387 h 489"/>
                <a:gd name="T100" fmla="*/ 416 w 425"/>
                <a:gd name="T101" fmla="*/ 375 h 489"/>
                <a:gd name="T102" fmla="*/ 404 w 425"/>
                <a:gd name="T103" fmla="*/ 353 h 489"/>
                <a:gd name="T104" fmla="*/ 413 w 425"/>
                <a:gd name="T105" fmla="*/ 331 h 489"/>
                <a:gd name="T106" fmla="*/ 397 w 425"/>
                <a:gd name="T107" fmla="*/ 317 h 489"/>
                <a:gd name="T108" fmla="*/ 391 w 425"/>
                <a:gd name="T109" fmla="*/ 298 h 489"/>
                <a:gd name="T110" fmla="*/ 376 w 425"/>
                <a:gd name="T111" fmla="*/ 289 h 489"/>
                <a:gd name="T112" fmla="*/ 383 w 425"/>
                <a:gd name="T113" fmla="*/ 274 h 489"/>
                <a:gd name="T114" fmla="*/ 376 w 425"/>
                <a:gd name="T115" fmla="*/ 25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5" h="489">
                  <a:moveTo>
                    <a:pt x="376" y="254"/>
                  </a:moveTo>
                  <a:lnTo>
                    <a:pt x="376" y="254"/>
                  </a:lnTo>
                  <a:lnTo>
                    <a:pt x="373" y="249"/>
                  </a:lnTo>
                  <a:lnTo>
                    <a:pt x="373" y="245"/>
                  </a:lnTo>
                  <a:lnTo>
                    <a:pt x="373" y="236"/>
                  </a:lnTo>
                  <a:lnTo>
                    <a:pt x="376" y="228"/>
                  </a:lnTo>
                  <a:lnTo>
                    <a:pt x="377" y="227"/>
                  </a:lnTo>
                  <a:lnTo>
                    <a:pt x="377" y="227"/>
                  </a:lnTo>
                  <a:lnTo>
                    <a:pt x="366" y="222"/>
                  </a:lnTo>
                  <a:lnTo>
                    <a:pt x="366" y="222"/>
                  </a:lnTo>
                  <a:lnTo>
                    <a:pt x="361" y="220"/>
                  </a:lnTo>
                  <a:lnTo>
                    <a:pt x="358" y="215"/>
                  </a:lnTo>
                  <a:lnTo>
                    <a:pt x="355" y="209"/>
                  </a:lnTo>
                  <a:lnTo>
                    <a:pt x="352" y="205"/>
                  </a:lnTo>
                  <a:lnTo>
                    <a:pt x="352" y="205"/>
                  </a:lnTo>
                  <a:lnTo>
                    <a:pt x="351" y="203"/>
                  </a:lnTo>
                  <a:lnTo>
                    <a:pt x="348" y="203"/>
                  </a:lnTo>
                  <a:lnTo>
                    <a:pt x="345" y="206"/>
                  </a:lnTo>
                  <a:lnTo>
                    <a:pt x="340" y="209"/>
                  </a:lnTo>
                  <a:lnTo>
                    <a:pt x="337" y="212"/>
                  </a:lnTo>
                  <a:lnTo>
                    <a:pt x="337" y="212"/>
                  </a:lnTo>
                  <a:lnTo>
                    <a:pt x="333" y="211"/>
                  </a:lnTo>
                  <a:lnTo>
                    <a:pt x="324" y="206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5" y="191"/>
                  </a:lnTo>
                  <a:lnTo>
                    <a:pt x="303" y="188"/>
                  </a:lnTo>
                  <a:lnTo>
                    <a:pt x="300" y="181"/>
                  </a:lnTo>
                  <a:lnTo>
                    <a:pt x="299" y="171"/>
                  </a:lnTo>
                  <a:lnTo>
                    <a:pt x="299" y="171"/>
                  </a:lnTo>
                  <a:lnTo>
                    <a:pt x="296" y="169"/>
                  </a:lnTo>
                  <a:lnTo>
                    <a:pt x="296" y="169"/>
                  </a:lnTo>
                  <a:lnTo>
                    <a:pt x="289" y="160"/>
                  </a:lnTo>
                  <a:lnTo>
                    <a:pt x="281" y="153"/>
                  </a:lnTo>
                  <a:lnTo>
                    <a:pt x="275" y="148"/>
                  </a:lnTo>
                  <a:lnTo>
                    <a:pt x="272" y="147"/>
                  </a:lnTo>
                  <a:lnTo>
                    <a:pt x="269" y="145"/>
                  </a:lnTo>
                  <a:lnTo>
                    <a:pt x="269" y="145"/>
                  </a:lnTo>
                  <a:lnTo>
                    <a:pt x="263" y="147"/>
                  </a:lnTo>
                  <a:lnTo>
                    <a:pt x="259" y="148"/>
                  </a:lnTo>
                  <a:lnTo>
                    <a:pt x="254" y="151"/>
                  </a:lnTo>
                  <a:lnTo>
                    <a:pt x="249" y="151"/>
                  </a:lnTo>
                  <a:lnTo>
                    <a:pt x="249" y="151"/>
                  </a:lnTo>
                  <a:lnTo>
                    <a:pt x="241" y="150"/>
                  </a:lnTo>
                  <a:lnTo>
                    <a:pt x="232" y="144"/>
                  </a:lnTo>
                  <a:lnTo>
                    <a:pt x="225" y="140"/>
                  </a:lnTo>
                  <a:lnTo>
                    <a:pt x="225" y="137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34" y="132"/>
                  </a:lnTo>
                  <a:lnTo>
                    <a:pt x="235" y="131"/>
                  </a:lnTo>
                  <a:lnTo>
                    <a:pt x="234" y="129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10" y="117"/>
                  </a:lnTo>
                  <a:lnTo>
                    <a:pt x="204" y="114"/>
                  </a:lnTo>
                  <a:lnTo>
                    <a:pt x="198" y="110"/>
                  </a:lnTo>
                  <a:lnTo>
                    <a:pt x="198" y="110"/>
                  </a:lnTo>
                  <a:lnTo>
                    <a:pt x="194" y="107"/>
                  </a:lnTo>
                  <a:lnTo>
                    <a:pt x="191" y="105"/>
                  </a:lnTo>
                  <a:lnTo>
                    <a:pt x="189" y="103"/>
                  </a:lnTo>
                  <a:lnTo>
                    <a:pt x="189" y="97"/>
                  </a:lnTo>
                  <a:lnTo>
                    <a:pt x="189" y="97"/>
                  </a:lnTo>
                  <a:lnTo>
                    <a:pt x="191" y="91"/>
                  </a:lnTo>
                  <a:lnTo>
                    <a:pt x="191" y="83"/>
                  </a:lnTo>
                  <a:lnTo>
                    <a:pt x="189" y="82"/>
                  </a:lnTo>
                  <a:lnTo>
                    <a:pt x="188" y="79"/>
                  </a:lnTo>
                  <a:lnTo>
                    <a:pt x="186" y="79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75" y="79"/>
                  </a:lnTo>
                  <a:lnTo>
                    <a:pt x="169" y="80"/>
                  </a:lnTo>
                  <a:lnTo>
                    <a:pt x="164" y="82"/>
                  </a:lnTo>
                  <a:lnTo>
                    <a:pt x="163" y="82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58" y="73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42" y="52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21" y="34"/>
                  </a:lnTo>
                  <a:lnTo>
                    <a:pt x="118" y="31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20" y="18"/>
                  </a:lnTo>
                  <a:lnTo>
                    <a:pt x="118" y="14"/>
                  </a:lnTo>
                  <a:lnTo>
                    <a:pt x="117" y="12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06" y="11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95" y="0"/>
                  </a:lnTo>
                  <a:lnTo>
                    <a:pt x="89" y="2"/>
                  </a:lnTo>
                  <a:lnTo>
                    <a:pt x="84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75" y="2"/>
                  </a:lnTo>
                  <a:lnTo>
                    <a:pt x="69" y="3"/>
                  </a:lnTo>
                  <a:lnTo>
                    <a:pt x="65" y="6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5" y="14"/>
                  </a:lnTo>
                  <a:lnTo>
                    <a:pt x="47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1" y="15"/>
                  </a:lnTo>
                  <a:lnTo>
                    <a:pt x="28" y="17"/>
                  </a:lnTo>
                  <a:lnTo>
                    <a:pt x="22" y="2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9" y="37"/>
                  </a:lnTo>
                  <a:lnTo>
                    <a:pt x="19" y="43"/>
                  </a:lnTo>
                  <a:lnTo>
                    <a:pt x="18" y="48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61"/>
                  </a:lnTo>
                  <a:lnTo>
                    <a:pt x="18" y="70"/>
                  </a:lnTo>
                  <a:lnTo>
                    <a:pt x="13" y="77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6" y="85"/>
                  </a:lnTo>
                  <a:lnTo>
                    <a:pt x="0" y="8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6" y="122"/>
                  </a:lnTo>
                  <a:lnTo>
                    <a:pt x="12" y="123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3" y="131"/>
                  </a:lnTo>
                  <a:lnTo>
                    <a:pt x="28" y="134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41" y="137"/>
                  </a:lnTo>
                  <a:lnTo>
                    <a:pt x="44" y="140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53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69" y="159"/>
                  </a:lnTo>
                  <a:lnTo>
                    <a:pt x="75" y="165"/>
                  </a:lnTo>
                  <a:lnTo>
                    <a:pt x="75" y="165"/>
                  </a:lnTo>
                  <a:lnTo>
                    <a:pt x="84" y="177"/>
                  </a:lnTo>
                  <a:lnTo>
                    <a:pt x="90" y="185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200"/>
                  </a:lnTo>
                  <a:lnTo>
                    <a:pt x="92" y="206"/>
                  </a:lnTo>
                  <a:lnTo>
                    <a:pt x="89" y="218"/>
                  </a:lnTo>
                  <a:lnTo>
                    <a:pt x="81" y="236"/>
                  </a:lnTo>
                  <a:lnTo>
                    <a:pt x="81" y="236"/>
                  </a:lnTo>
                  <a:lnTo>
                    <a:pt x="78" y="239"/>
                  </a:lnTo>
                  <a:lnTo>
                    <a:pt x="74" y="242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58" y="251"/>
                  </a:lnTo>
                  <a:lnTo>
                    <a:pt x="53" y="254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2" y="264"/>
                  </a:lnTo>
                  <a:lnTo>
                    <a:pt x="55" y="267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75" y="283"/>
                  </a:lnTo>
                  <a:lnTo>
                    <a:pt x="75" y="283"/>
                  </a:lnTo>
                  <a:lnTo>
                    <a:pt x="80" y="288"/>
                  </a:lnTo>
                  <a:lnTo>
                    <a:pt x="83" y="288"/>
                  </a:lnTo>
                  <a:lnTo>
                    <a:pt x="86" y="285"/>
                  </a:lnTo>
                  <a:lnTo>
                    <a:pt x="86" y="285"/>
                  </a:lnTo>
                  <a:lnTo>
                    <a:pt x="90" y="279"/>
                  </a:lnTo>
                  <a:lnTo>
                    <a:pt x="93" y="274"/>
                  </a:lnTo>
                  <a:lnTo>
                    <a:pt x="96" y="273"/>
                  </a:lnTo>
                  <a:lnTo>
                    <a:pt x="99" y="273"/>
                  </a:lnTo>
                  <a:lnTo>
                    <a:pt x="100" y="273"/>
                  </a:lnTo>
                  <a:lnTo>
                    <a:pt x="100" y="273"/>
                  </a:lnTo>
                  <a:lnTo>
                    <a:pt x="106" y="277"/>
                  </a:lnTo>
                  <a:lnTo>
                    <a:pt x="109" y="280"/>
                  </a:lnTo>
                  <a:lnTo>
                    <a:pt x="109" y="283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98" y="294"/>
                  </a:lnTo>
                  <a:lnTo>
                    <a:pt x="95" y="298"/>
                  </a:lnTo>
                  <a:lnTo>
                    <a:pt x="93" y="301"/>
                  </a:lnTo>
                  <a:lnTo>
                    <a:pt x="93" y="304"/>
                  </a:lnTo>
                  <a:lnTo>
                    <a:pt x="93" y="304"/>
                  </a:lnTo>
                  <a:lnTo>
                    <a:pt x="95" y="307"/>
                  </a:lnTo>
                  <a:lnTo>
                    <a:pt x="98" y="310"/>
                  </a:lnTo>
                  <a:lnTo>
                    <a:pt x="100" y="313"/>
                  </a:lnTo>
                  <a:lnTo>
                    <a:pt x="105" y="316"/>
                  </a:lnTo>
                  <a:lnTo>
                    <a:pt x="105" y="316"/>
                  </a:lnTo>
                  <a:lnTo>
                    <a:pt x="108" y="319"/>
                  </a:lnTo>
                  <a:lnTo>
                    <a:pt x="111" y="320"/>
                  </a:lnTo>
                  <a:lnTo>
                    <a:pt x="114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24" y="316"/>
                  </a:lnTo>
                  <a:lnTo>
                    <a:pt x="127" y="316"/>
                  </a:lnTo>
                  <a:lnTo>
                    <a:pt x="132" y="319"/>
                  </a:lnTo>
                  <a:lnTo>
                    <a:pt x="132" y="319"/>
                  </a:lnTo>
                  <a:lnTo>
                    <a:pt x="138" y="328"/>
                  </a:lnTo>
                  <a:lnTo>
                    <a:pt x="139" y="331"/>
                  </a:lnTo>
                  <a:lnTo>
                    <a:pt x="138" y="335"/>
                  </a:lnTo>
                  <a:lnTo>
                    <a:pt x="138" y="335"/>
                  </a:lnTo>
                  <a:lnTo>
                    <a:pt x="129" y="344"/>
                  </a:lnTo>
                  <a:lnTo>
                    <a:pt x="127" y="348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27" y="351"/>
                  </a:lnTo>
                  <a:lnTo>
                    <a:pt x="135" y="354"/>
                  </a:lnTo>
                  <a:lnTo>
                    <a:pt x="138" y="356"/>
                  </a:lnTo>
                  <a:lnTo>
                    <a:pt x="140" y="357"/>
                  </a:lnTo>
                  <a:lnTo>
                    <a:pt x="140" y="357"/>
                  </a:lnTo>
                  <a:lnTo>
                    <a:pt x="140" y="360"/>
                  </a:lnTo>
                  <a:lnTo>
                    <a:pt x="140" y="362"/>
                  </a:lnTo>
                  <a:lnTo>
                    <a:pt x="136" y="368"/>
                  </a:lnTo>
                  <a:lnTo>
                    <a:pt x="136" y="368"/>
                  </a:lnTo>
                  <a:lnTo>
                    <a:pt x="135" y="372"/>
                  </a:lnTo>
                  <a:lnTo>
                    <a:pt x="135" y="378"/>
                  </a:lnTo>
                  <a:lnTo>
                    <a:pt x="133" y="385"/>
                  </a:lnTo>
                  <a:lnTo>
                    <a:pt x="133" y="385"/>
                  </a:lnTo>
                  <a:lnTo>
                    <a:pt x="135" y="385"/>
                  </a:lnTo>
                  <a:lnTo>
                    <a:pt x="136" y="387"/>
                  </a:lnTo>
                  <a:lnTo>
                    <a:pt x="138" y="394"/>
                  </a:lnTo>
                  <a:lnTo>
                    <a:pt x="138" y="394"/>
                  </a:lnTo>
                  <a:lnTo>
                    <a:pt x="136" y="414"/>
                  </a:lnTo>
                  <a:lnTo>
                    <a:pt x="135" y="440"/>
                  </a:lnTo>
                  <a:lnTo>
                    <a:pt x="135" y="454"/>
                  </a:lnTo>
                  <a:lnTo>
                    <a:pt x="136" y="465"/>
                  </a:lnTo>
                  <a:lnTo>
                    <a:pt x="138" y="474"/>
                  </a:lnTo>
                  <a:lnTo>
                    <a:pt x="140" y="477"/>
                  </a:lnTo>
                  <a:lnTo>
                    <a:pt x="142" y="480"/>
                  </a:lnTo>
                  <a:lnTo>
                    <a:pt x="142" y="480"/>
                  </a:lnTo>
                  <a:lnTo>
                    <a:pt x="154" y="486"/>
                  </a:lnTo>
                  <a:lnTo>
                    <a:pt x="163" y="489"/>
                  </a:lnTo>
                  <a:lnTo>
                    <a:pt x="169" y="489"/>
                  </a:lnTo>
                  <a:lnTo>
                    <a:pt x="172" y="488"/>
                  </a:lnTo>
                  <a:lnTo>
                    <a:pt x="176" y="485"/>
                  </a:lnTo>
                  <a:lnTo>
                    <a:pt x="180" y="482"/>
                  </a:lnTo>
                  <a:lnTo>
                    <a:pt x="180" y="482"/>
                  </a:lnTo>
                  <a:lnTo>
                    <a:pt x="188" y="474"/>
                  </a:lnTo>
                  <a:lnTo>
                    <a:pt x="194" y="470"/>
                  </a:lnTo>
                  <a:lnTo>
                    <a:pt x="200" y="465"/>
                  </a:lnTo>
                  <a:lnTo>
                    <a:pt x="203" y="462"/>
                  </a:lnTo>
                  <a:lnTo>
                    <a:pt x="204" y="456"/>
                  </a:lnTo>
                  <a:lnTo>
                    <a:pt x="204" y="456"/>
                  </a:lnTo>
                  <a:lnTo>
                    <a:pt x="209" y="448"/>
                  </a:lnTo>
                  <a:lnTo>
                    <a:pt x="213" y="440"/>
                  </a:lnTo>
                  <a:lnTo>
                    <a:pt x="216" y="439"/>
                  </a:lnTo>
                  <a:lnTo>
                    <a:pt x="219" y="437"/>
                  </a:lnTo>
                  <a:lnTo>
                    <a:pt x="222" y="439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34" y="443"/>
                  </a:lnTo>
                  <a:lnTo>
                    <a:pt x="250" y="448"/>
                  </a:lnTo>
                  <a:lnTo>
                    <a:pt x="266" y="448"/>
                  </a:lnTo>
                  <a:lnTo>
                    <a:pt x="274" y="448"/>
                  </a:lnTo>
                  <a:lnTo>
                    <a:pt x="278" y="446"/>
                  </a:lnTo>
                  <a:lnTo>
                    <a:pt x="278" y="446"/>
                  </a:lnTo>
                  <a:lnTo>
                    <a:pt x="287" y="440"/>
                  </a:lnTo>
                  <a:lnTo>
                    <a:pt x="293" y="436"/>
                  </a:lnTo>
                  <a:lnTo>
                    <a:pt x="296" y="434"/>
                  </a:lnTo>
                  <a:lnTo>
                    <a:pt x="299" y="433"/>
                  </a:lnTo>
                  <a:lnTo>
                    <a:pt x="303" y="434"/>
                  </a:lnTo>
                  <a:lnTo>
                    <a:pt x="308" y="436"/>
                  </a:lnTo>
                  <a:lnTo>
                    <a:pt x="308" y="436"/>
                  </a:lnTo>
                  <a:lnTo>
                    <a:pt x="320" y="440"/>
                  </a:lnTo>
                  <a:lnTo>
                    <a:pt x="333" y="445"/>
                  </a:lnTo>
                  <a:lnTo>
                    <a:pt x="348" y="448"/>
                  </a:lnTo>
                  <a:lnTo>
                    <a:pt x="361" y="448"/>
                  </a:lnTo>
                  <a:lnTo>
                    <a:pt x="361" y="448"/>
                  </a:lnTo>
                  <a:lnTo>
                    <a:pt x="369" y="446"/>
                  </a:lnTo>
                  <a:lnTo>
                    <a:pt x="376" y="443"/>
                  </a:lnTo>
                  <a:lnTo>
                    <a:pt x="392" y="436"/>
                  </a:lnTo>
                  <a:lnTo>
                    <a:pt x="400" y="431"/>
                  </a:lnTo>
                  <a:lnTo>
                    <a:pt x="406" y="430"/>
                  </a:lnTo>
                  <a:lnTo>
                    <a:pt x="411" y="430"/>
                  </a:lnTo>
                  <a:lnTo>
                    <a:pt x="413" y="430"/>
                  </a:lnTo>
                  <a:lnTo>
                    <a:pt x="414" y="431"/>
                  </a:lnTo>
                  <a:lnTo>
                    <a:pt x="414" y="431"/>
                  </a:lnTo>
                  <a:lnTo>
                    <a:pt x="416" y="430"/>
                  </a:lnTo>
                  <a:lnTo>
                    <a:pt x="419" y="425"/>
                  </a:lnTo>
                  <a:lnTo>
                    <a:pt x="422" y="419"/>
                  </a:lnTo>
                  <a:lnTo>
                    <a:pt x="425" y="416"/>
                  </a:lnTo>
                  <a:lnTo>
                    <a:pt x="425" y="416"/>
                  </a:lnTo>
                  <a:lnTo>
                    <a:pt x="425" y="412"/>
                  </a:lnTo>
                  <a:lnTo>
                    <a:pt x="425" y="406"/>
                  </a:lnTo>
                  <a:lnTo>
                    <a:pt x="423" y="399"/>
                  </a:lnTo>
                  <a:lnTo>
                    <a:pt x="420" y="393"/>
                  </a:lnTo>
                  <a:lnTo>
                    <a:pt x="420" y="393"/>
                  </a:lnTo>
                  <a:lnTo>
                    <a:pt x="417" y="390"/>
                  </a:lnTo>
                  <a:lnTo>
                    <a:pt x="414" y="388"/>
                  </a:lnTo>
                  <a:lnTo>
                    <a:pt x="411" y="388"/>
                  </a:lnTo>
                  <a:lnTo>
                    <a:pt x="407" y="387"/>
                  </a:lnTo>
                  <a:lnTo>
                    <a:pt x="407" y="387"/>
                  </a:lnTo>
                  <a:lnTo>
                    <a:pt x="406" y="385"/>
                  </a:lnTo>
                  <a:lnTo>
                    <a:pt x="406" y="384"/>
                  </a:lnTo>
                  <a:lnTo>
                    <a:pt x="408" y="381"/>
                  </a:lnTo>
                  <a:lnTo>
                    <a:pt x="414" y="376"/>
                  </a:lnTo>
                  <a:lnTo>
                    <a:pt x="414" y="376"/>
                  </a:lnTo>
                  <a:lnTo>
                    <a:pt x="416" y="375"/>
                  </a:lnTo>
                  <a:lnTo>
                    <a:pt x="414" y="374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4" y="362"/>
                  </a:lnTo>
                  <a:lnTo>
                    <a:pt x="403" y="357"/>
                  </a:lnTo>
                  <a:lnTo>
                    <a:pt x="404" y="353"/>
                  </a:lnTo>
                  <a:lnTo>
                    <a:pt x="403" y="347"/>
                  </a:lnTo>
                  <a:lnTo>
                    <a:pt x="403" y="347"/>
                  </a:lnTo>
                  <a:lnTo>
                    <a:pt x="403" y="344"/>
                  </a:lnTo>
                  <a:lnTo>
                    <a:pt x="403" y="341"/>
                  </a:lnTo>
                  <a:lnTo>
                    <a:pt x="406" y="337"/>
                  </a:lnTo>
                  <a:lnTo>
                    <a:pt x="413" y="331"/>
                  </a:lnTo>
                  <a:lnTo>
                    <a:pt x="413" y="331"/>
                  </a:lnTo>
                  <a:lnTo>
                    <a:pt x="414" y="328"/>
                  </a:lnTo>
                  <a:lnTo>
                    <a:pt x="413" y="326"/>
                  </a:lnTo>
                  <a:lnTo>
                    <a:pt x="404" y="322"/>
                  </a:lnTo>
                  <a:lnTo>
                    <a:pt x="404" y="322"/>
                  </a:lnTo>
                  <a:lnTo>
                    <a:pt x="397" y="317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88" y="305"/>
                  </a:lnTo>
                  <a:lnTo>
                    <a:pt x="388" y="302"/>
                  </a:lnTo>
                  <a:lnTo>
                    <a:pt x="391" y="301"/>
                  </a:lnTo>
                  <a:lnTo>
                    <a:pt x="391" y="298"/>
                  </a:lnTo>
                  <a:lnTo>
                    <a:pt x="391" y="297"/>
                  </a:lnTo>
                  <a:lnTo>
                    <a:pt x="391" y="297"/>
                  </a:lnTo>
                  <a:lnTo>
                    <a:pt x="388" y="294"/>
                  </a:lnTo>
                  <a:lnTo>
                    <a:pt x="385" y="292"/>
                  </a:lnTo>
                  <a:lnTo>
                    <a:pt x="380" y="291"/>
                  </a:lnTo>
                  <a:lnTo>
                    <a:pt x="376" y="289"/>
                  </a:lnTo>
                  <a:lnTo>
                    <a:pt x="376" y="289"/>
                  </a:lnTo>
                  <a:lnTo>
                    <a:pt x="373" y="288"/>
                  </a:lnTo>
                  <a:lnTo>
                    <a:pt x="373" y="285"/>
                  </a:lnTo>
                  <a:lnTo>
                    <a:pt x="374" y="282"/>
                  </a:lnTo>
                  <a:lnTo>
                    <a:pt x="383" y="274"/>
                  </a:lnTo>
                  <a:lnTo>
                    <a:pt x="383" y="274"/>
                  </a:lnTo>
                  <a:lnTo>
                    <a:pt x="385" y="273"/>
                  </a:lnTo>
                  <a:lnTo>
                    <a:pt x="385" y="271"/>
                  </a:lnTo>
                  <a:lnTo>
                    <a:pt x="385" y="265"/>
                  </a:lnTo>
                  <a:lnTo>
                    <a:pt x="380" y="259"/>
                  </a:lnTo>
                  <a:lnTo>
                    <a:pt x="376" y="254"/>
                  </a:lnTo>
                  <a:lnTo>
                    <a:pt x="376" y="25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6" name="Freeform 25">
              <a:extLst>
                <a:ext uri="{FF2B5EF4-FFF2-40B4-BE49-F238E27FC236}">
                  <a16:creationId xmlns:a16="http://schemas.microsoft.com/office/drawing/2014/main" id="{897B0FCE-0B21-4F4C-9D5A-CA7236F61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5707063"/>
              <a:ext cx="519113" cy="449262"/>
            </a:xfrm>
            <a:custGeom>
              <a:avLst/>
              <a:gdLst>
                <a:gd name="T0" fmla="*/ 287 w 327"/>
                <a:gd name="T1" fmla="*/ 73 h 283"/>
                <a:gd name="T2" fmla="*/ 271 w 327"/>
                <a:gd name="T3" fmla="*/ 58 h 283"/>
                <a:gd name="T4" fmla="*/ 249 w 327"/>
                <a:gd name="T5" fmla="*/ 70 h 283"/>
                <a:gd name="T6" fmla="*/ 240 w 327"/>
                <a:gd name="T7" fmla="*/ 67 h 283"/>
                <a:gd name="T8" fmla="*/ 232 w 327"/>
                <a:gd name="T9" fmla="*/ 31 h 283"/>
                <a:gd name="T10" fmla="*/ 224 w 327"/>
                <a:gd name="T11" fmla="*/ 24 h 283"/>
                <a:gd name="T12" fmla="*/ 212 w 327"/>
                <a:gd name="T13" fmla="*/ 45 h 283"/>
                <a:gd name="T14" fmla="*/ 198 w 327"/>
                <a:gd name="T15" fmla="*/ 54 h 283"/>
                <a:gd name="T16" fmla="*/ 176 w 327"/>
                <a:gd name="T17" fmla="*/ 71 h 283"/>
                <a:gd name="T18" fmla="*/ 163 w 327"/>
                <a:gd name="T19" fmla="*/ 66 h 283"/>
                <a:gd name="T20" fmla="*/ 147 w 327"/>
                <a:gd name="T21" fmla="*/ 71 h 283"/>
                <a:gd name="T22" fmla="*/ 142 w 327"/>
                <a:gd name="T23" fmla="*/ 57 h 283"/>
                <a:gd name="T24" fmla="*/ 127 w 327"/>
                <a:gd name="T25" fmla="*/ 33 h 283"/>
                <a:gd name="T26" fmla="*/ 107 w 327"/>
                <a:gd name="T27" fmla="*/ 24 h 283"/>
                <a:gd name="T28" fmla="*/ 95 w 327"/>
                <a:gd name="T29" fmla="*/ 8 h 283"/>
                <a:gd name="T30" fmla="*/ 84 w 327"/>
                <a:gd name="T31" fmla="*/ 2 h 283"/>
                <a:gd name="T32" fmla="*/ 68 w 327"/>
                <a:gd name="T33" fmla="*/ 17 h 283"/>
                <a:gd name="T34" fmla="*/ 38 w 327"/>
                <a:gd name="T35" fmla="*/ 17 h 283"/>
                <a:gd name="T36" fmla="*/ 22 w 327"/>
                <a:gd name="T37" fmla="*/ 26 h 283"/>
                <a:gd name="T38" fmla="*/ 6 w 327"/>
                <a:gd name="T39" fmla="*/ 54 h 283"/>
                <a:gd name="T40" fmla="*/ 10 w 327"/>
                <a:gd name="T41" fmla="*/ 71 h 283"/>
                <a:gd name="T42" fmla="*/ 3 w 327"/>
                <a:gd name="T43" fmla="*/ 74 h 283"/>
                <a:gd name="T44" fmla="*/ 3 w 327"/>
                <a:gd name="T45" fmla="*/ 100 h 283"/>
                <a:gd name="T46" fmla="*/ 10 w 327"/>
                <a:gd name="T47" fmla="*/ 120 h 283"/>
                <a:gd name="T48" fmla="*/ 3 w 327"/>
                <a:gd name="T49" fmla="*/ 135 h 283"/>
                <a:gd name="T50" fmla="*/ 18 w 327"/>
                <a:gd name="T51" fmla="*/ 143 h 283"/>
                <a:gd name="T52" fmla="*/ 15 w 327"/>
                <a:gd name="T53" fmla="*/ 151 h 283"/>
                <a:gd name="T54" fmla="*/ 31 w 327"/>
                <a:gd name="T55" fmla="*/ 168 h 283"/>
                <a:gd name="T56" fmla="*/ 33 w 327"/>
                <a:gd name="T57" fmla="*/ 183 h 283"/>
                <a:gd name="T58" fmla="*/ 31 w 327"/>
                <a:gd name="T59" fmla="*/ 199 h 283"/>
                <a:gd name="T60" fmla="*/ 41 w 327"/>
                <a:gd name="T61" fmla="*/ 220 h 283"/>
                <a:gd name="T62" fmla="*/ 33 w 327"/>
                <a:gd name="T63" fmla="*/ 230 h 283"/>
                <a:gd name="T64" fmla="*/ 41 w 327"/>
                <a:gd name="T65" fmla="*/ 234 h 283"/>
                <a:gd name="T66" fmla="*/ 52 w 327"/>
                <a:gd name="T67" fmla="*/ 252 h 283"/>
                <a:gd name="T68" fmla="*/ 46 w 327"/>
                <a:gd name="T69" fmla="*/ 271 h 283"/>
                <a:gd name="T70" fmla="*/ 52 w 327"/>
                <a:gd name="T71" fmla="*/ 279 h 283"/>
                <a:gd name="T72" fmla="*/ 89 w 327"/>
                <a:gd name="T73" fmla="*/ 283 h 283"/>
                <a:gd name="T74" fmla="*/ 115 w 327"/>
                <a:gd name="T75" fmla="*/ 264 h 283"/>
                <a:gd name="T76" fmla="*/ 130 w 327"/>
                <a:gd name="T77" fmla="*/ 254 h 283"/>
                <a:gd name="T78" fmla="*/ 138 w 327"/>
                <a:gd name="T79" fmla="*/ 237 h 283"/>
                <a:gd name="T80" fmla="*/ 150 w 327"/>
                <a:gd name="T81" fmla="*/ 246 h 283"/>
                <a:gd name="T82" fmla="*/ 167 w 327"/>
                <a:gd name="T83" fmla="*/ 236 h 283"/>
                <a:gd name="T84" fmla="*/ 181 w 327"/>
                <a:gd name="T85" fmla="*/ 237 h 283"/>
                <a:gd name="T86" fmla="*/ 204 w 327"/>
                <a:gd name="T87" fmla="*/ 242 h 283"/>
                <a:gd name="T88" fmla="*/ 207 w 327"/>
                <a:gd name="T89" fmla="*/ 233 h 283"/>
                <a:gd name="T90" fmla="*/ 215 w 327"/>
                <a:gd name="T91" fmla="*/ 220 h 283"/>
                <a:gd name="T92" fmla="*/ 229 w 327"/>
                <a:gd name="T93" fmla="*/ 199 h 283"/>
                <a:gd name="T94" fmla="*/ 241 w 327"/>
                <a:gd name="T95" fmla="*/ 193 h 283"/>
                <a:gd name="T96" fmla="*/ 281 w 327"/>
                <a:gd name="T97" fmla="*/ 178 h 283"/>
                <a:gd name="T98" fmla="*/ 304 w 327"/>
                <a:gd name="T99" fmla="*/ 156 h 283"/>
                <a:gd name="T100" fmla="*/ 323 w 327"/>
                <a:gd name="T101" fmla="*/ 151 h 283"/>
                <a:gd name="T102" fmla="*/ 326 w 327"/>
                <a:gd name="T103" fmla="*/ 141 h 283"/>
                <a:gd name="T104" fmla="*/ 308 w 327"/>
                <a:gd name="T105" fmla="*/ 119 h 283"/>
                <a:gd name="T106" fmla="*/ 292 w 327"/>
                <a:gd name="T107" fmla="*/ 10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7" h="283">
                  <a:moveTo>
                    <a:pt x="292" y="100"/>
                  </a:moveTo>
                  <a:lnTo>
                    <a:pt x="292" y="100"/>
                  </a:lnTo>
                  <a:lnTo>
                    <a:pt x="290" y="92"/>
                  </a:lnTo>
                  <a:lnTo>
                    <a:pt x="289" y="83"/>
                  </a:lnTo>
                  <a:lnTo>
                    <a:pt x="287" y="73"/>
                  </a:lnTo>
                  <a:lnTo>
                    <a:pt x="284" y="64"/>
                  </a:lnTo>
                  <a:lnTo>
                    <a:pt x="284" y="64"/>
                  </a:lnTo>
                  <a:lnTo>
                    <a:pt x="283" y="61"/>
                  </a:lnTo>
                  <a:lnTo>
                    <a:pt x="280" y="60"/>
                  </a:lnTo>
                  <a:lnTo>
                    <a:pt x="271" y="58"/>
                  </a:lnTo>
                  <a:lnTo>
                    <a:pt x="262" y="60"/>
                  </a:lnTo>
                  <a:lnTo>
                    <a:pt x="258" y="61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49" y="70"/>
                  </a:lnTo>
                  <a:lnTo>
                    <a:pt x="247" y="71"/>
                  </a:lnTo>
                  <a:lnTo>
                    <a:pt x="244" y="73"/>
                  </a:lnTo>
                  <a:lnTo>
                    <a:pt x="244" y="73"/>
                  </a:lnTo>
                  <a:lnTo>
                    <a:pt x="243" y="70"/>
                  </a:lnTo>
                  <a:lnTo>
                    <a:pt x="240" y="67"/>
                  </a:lnTo>
                  <a:lnTo>
                    <a:pt x="237" y="54"/>
                  </a:lnTo>
                  <a:lnTo>
                    <a:pt x="237" y="54"/>
                  </a:lnTo>
                  <a:lnTo>
                    <a:pt x="234" y="42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1" y="27"/>
                  </a:lnTo>
                  <a:lnTo>
                    <a:pt x="227" y="24"/>
                  </a:lnTo>
                  <a:lnTo>
                    <a:pt x="222" y="20"/>
                  </a:lnTo>
                  <a:lnTo>
                    <a:pt x="222" y="20"/>
                  </a:lnTo>
                  <a:lnTo>
                    <a:pt x="224" y="24"/>
                  </a:lnTo>
                  <a:lnTo>
                    <a:pt x="222" y="28"/>
                  </a:lnTo>
                  <a:lnTo>
                    <a:pt x="222" y="28"/>
                  </a:lnTo>
                  <a:lnTo>
                    <a:pt x="218" y="34"/>
                  </a:lnTo>
                  <a:lnTo>
                    <a:pt x="212" y="45"/>
                  </a:lnTo>
                  <a:lnTo>
                    <a:pt x="212" y="45"/>
                  </a:lnTo>
                  <a:lnTo>
                    <a:pt x="209" y="48"/>
                  </a:lnTo>
                  <a:lnTo>
                    <a:pt x="206" y="49"/>
                  </a:lnTo>
                  <a:lnTo>
                    <a:pt x="203" y="51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88" y="64"/>
                  </a:lnTo>
                  <a:lnTo>
                    <a:pt x="182" y="68"/>
                  </a:lnTo>
                  <a:lnTo>
                    <a:pt x="179" y="70"/>
                  </a:lnTo>
                  <a:lnTo>
                    <a:pt x="176" y="71"/>
                  </a:lnTo>
                  <a:lnTo>
                    <a:pt x="176" y="71"/>
                  </a:lnTo>
                  <a:lnTo>
                    <a:pt x="172" y="70"/>
                  </a:lnTo>
                  <a:lnTo>
                    <a:pt x="167" y="68"/>
                  </a:lnTo>
                  <a:lnTo>
                    <a:pt x="164" y="66"/>
                  </a:lnTo>
                  <a:lnTo>
                    <a:pt x="163" y="66"/>
                  </a:lnTo>
                  <a:lnTo>
                    <a:pt x="163" y="66"/>
                  </a:lnTo>
                  <a:lnTo>
                    <a:pt x="158" y="71"/>
                  </a:lnTo>
                  <a:lnTo>
                    <a:pt x="154" y="73"/>
                  </a:lnTo>
                  <a:lnTo>
                    <a:pt x="150" y="73"/>
                  </a:lnTo>
                  <a:lnTo>
                    <a:pt x="150" y="73"/>
                  </a:lnTo>
                  <a:lnTo>
                    <a:pt x="147" y="71"/>
                  </a:lnTo>
                  <a:lnTo>
                    <a:pt x="147" y="68"/>
                  </a:lnTo>
                  <a:lnTo>
                    <a:pt x="147" y="66"/>
                  </a:lnTo>
                  <a:lnTo>
                    <a:pt x="145" y="61"/>
                  </a:lnTo>
                  <a:lnTo>
                    <a:pt x="145" y="61"/>
                  </a:lnTo>
                  <a:lnTo>
                    <a:pt x="142" y="57"/>
                  </a:lnTo>
                  <a:lnTo>
                    <a:pt x="138" y="52"/>
                  </a:lnTo>
                  <a:lnTo>
                    <a:pt x="133" y="46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27" y="33"/>
                  </a:lnTo>
                  <a:lnTo>
                    <a:pt x="126" y="30"/>
                  </a:lnTo>
                  <a:lnTo>
                    <a:pt x="123" y="28"/>
                  </a:lnTo>
                  <a:lnTo>
                    <a:pt x="118" y="27"/>
                  </a:lnTo>
                  <a:lnTo>
                    <a:pt x="111" y="26"/>
                  </a:lnTo>
                  <a:lnTo>
                    <a:pt x="107" y="24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96" y="17"/>
                  </a:lnTo>
                  <a:lnTo>
                    <a:pt x="95" y="12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89" y="2"/>
                  </a:lnTo>
                  <a:lnTo>
                    <a:pt x="87" y="0"/>
                  </a:lnTo>
                  <a:lnTo>
                    <a:pt x="84" y="2"/>
                  </a:lnTo>
                  <a:lnTo>
                    <a:pt x="83" y="3"/>
                  </a:lnTo>
                  <a:lnTo>
                    <a:pt x="78" y="9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68" y="17"/>
                  </a:lnTo>
                  <a:lnTo>
                    <a:pt x="59" y="20"/>
                  </a:lnTo>
                  <a:lnTo>
                    <a:pt x="50" y="20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38" y="17"/>
                  </a:lnTo>
                  <a:lnTo>
                    <a:pt x="35" y="15"/>
                  </a:lnTo>
                  <a:lnTo>
                    <a:pt x="30" y="17"/>
                  </a:lnTo>
                  <a:lnTo>
                    <a:pt x="25" y="21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5" y="39"/>
                  </a:lnTo>
                  <a:lnTo>
                    <a:pt x="12" y="46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4"/>
                  </a:lnTo>
                  <a:lnTo>
                    <a:pt x="7" y="58"/>
                  </a:lnTo>
                  <a:lnTo>
                    <a:pt x="9" y="63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71"/>
                  </a:lnTo>
                  <a:lnTo>
                    <a:pt x="9" y="73"/>
                  </a:lnTo>
                  <a:lnTo>
                    <a:pt x="7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3" y="74"/>
                  </a:lnTo>
                  <a:lnTo>
                    <a:pt x="0" y="82"/>
                  </a:lnTo>
                  <a:lnTo>
                    <a:pt x="0" y="91"/>
                  </a:lnTo>
                  <a:lnTo>
                    <a:pt x="0" y="95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7" y="105"/>
                  </a:lnTo>
                  <a:lnTo>
                    <a:pt x="12" y="111"/>
                  </a:lnTo>
                  <a:lnTo>
                    <a:pt x="12" y="117"/>
                  </a:lnTo>
                  <a:lnTo>
                    <a:pt x="12" y="119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" y="128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7" y="137"/>
                  </a:lnTo>
                  <a:lnTo>
                    <a:pt x="12" y="138"/>
                  </a:lnTo>
                  <a:lnTo>
                    <a:pt x="15" y="140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8" y="144"/>
                  </a:lnTo>
                  <a:lnTo>
                    <a:pt x="18" y="147"/>
                  </a:lnTo>
                  <a:lnTo>
                    <a:pt x="15" y="148"/>
                  </a:lnTo>
                  <a:lnTo>
                    <a:pt x="15" y="151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24" y="163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40" y="172"/>
                  </a:lnTo>
                  <a:lnTo>
                    <a:pt x="41" y="174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33" y="183"/>
                  </a:lnTo>
                  <a:lnTo>
                    <a:pt x="30" y="187"/>
                  </a:lnTo>
                  <a:lnTo>
                    <a:pt x="30" y="190"/>
                  </a:lnTo>
                  <a:lnTo>
                    <a:pt x="30" y="193"/>
                  </a:lnTo>
                  <a:lnTo>
                    <a:pt x="30" y="193"/>
                  </a:lnTo>
                  <a:lnTo>
                    <a:pt x="31" y="199"/>
                  </a:lnTo>
                  <a:lnTo>
                    <a:pt x="30" y="203"/>
                  </a:lnTo>
                  <a:lnTo>
                    <a:pt x="31" y="208"/>
                  </a:lnTo>
                  <a:lnTo>
                    <a:pt x="34" y="212"/>
                  </a:lnTo>
                  <a:lnTo>
                    <a:pt x="34" y="212"/>
                  </a:lnTo>
                  <a:lnTo>
                    <a:pt x="41" y="220"/>
                  </a:lnTo>
                  <a:lnTo>
                    <a:pt x="43" y="221"/>
                  </a:lnTo>
                  <a:lnTo>
                    <a:pt x="41" y="222"/>
                  </a:lnTo>
                  <a:lnTo>
                    <a:pt x="41" y="222"/>
                  </a:lnTo>
                  <a:lnTo>
                    <a:pt x="35" y="228"/>
                  </a:lnTo>
                  <a:lnTo>
                    <a:pt x="33" y="230"/>
                  </a:lnTo>
                  <a:lnTo>
                    <a:pt x="33" y="231"/>
                  </a:lnTo>
                  <a:lnTo>
                    <a:pt x="34" y="233"/>
                  </a:lnTo>
                  <a:lnTo>
                    <a:pt x="34" y="233"/>
                  </a:lnTo>
                  <a:lnTo>
                    <a:pt x="38" y="234"/>
                  </a:lnTo>
                  <a:lnTo>
                    <a:pt x="41" y="234"/>
                  </a:lnTo>
                  <a:lnTo>
                    <a:pt x="44" y="236"/>
                  </a:lnTo>
                  <a:lnTo>
                    <a:pt x="47" y="239"/>
                  </a:lnTo>
                  <a:lnTo>
                    <a:pt x="47" y="239"/>
                  </a:lnTo>
                  <a:lnTo>
                    <a:pt x="50" y="245"/>
                  </a:lnTo>
                  <a:lnTo>
                    <a:pt x="52" y="252"/>
                  </a:lnTo>
                  <a:lnTo>
                    <a:pt x="52" y="258"/>
                  </a:lnTo>
                  <a:lnTo>
                    <a:pt x="52" y="262"/>
                  </a:lnTo>
                  <a:lnTo>
                    <a:pt x="52" y="262"/>
                  </a:lnTo>
                  <a:lnTo>
                    <a:pt x="49" y="265"/>
                  </a:lnTo>
                  <a:lnTo>
                    <a:pt x="46" y="271"/>
                  </a:lnTo>
                  <a:lnTo>
                    <a:pt x="43" y="276"/>
                  </a:lnTo>
                  <a:lnTo>
                    <a:pt x="41" y="277"/>
                  </a:lnTo>
                  <a:lnTo>
                    <a:pt x="41" y="277"/>
                  </a:lnTo>
                  <a:lnTo>
                    <a:pt x="44" y="279"/>
                  </a:lnTo>
                  <a:lnTo>
                    <a:pt x="52" y="279"/>
                  </a:lnTo>
                  <a:lnTo>
                    <a:pt x="59" y="280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74" y="283"/>
                  </a:lnTo>
                  <a:lnTo>
                    <a:pt x="89" y="283"/>
                  </a:lnTo>
                  <a:lnTo>
                    <a:pt x="110" y="282"/>
                  </a:lnTo>
                  <a:lnTo>
                    <a:pt x="110" y="282"/>
                  </a:lnTo>
                  <a:lnTo>
                    <a:pt x="110" y="274"/>
                  </a:lnTo>
                  <a:lnTo>
                    <a:pt x="112" y="268"/>
                  </a:lnTo>
                  <a:lnTo>
                    <a:pt x="115" y="264"/>
                  </a:lnTo>
                  <a:lnTo>
                    <a:pt x="115" y="264"/>
                  </a:lnTo>
                  <a:lnTo>
                    <a:pt x="123" y="260"/>
                  </a:lnTo>
                  <a:lnTo>
                    <a:pt x="129" y="257"/>
                  </a:lnTo>
                  <a:lnTo>
                    <a:pt x="129" y="257"/>
                  </a:lnTo>
                  <a:lnTo>
                    <a:pt x="130" y="254"/>
                  </a:lnTo>
                  <a:lnTo>
                    <a:pt x="130" y="251"/>
                  </a:lnTo>
                  <a:lnTo>
                    <a:pt x="133" y="243"/>
                  </a:lnTo>
                  <a:lnTo>
                    <a:pt x="133" y="243"/>
                  </a:lnTo>
                  <a:lnTo>
                    <a:pt x="136" y="240"/>
                  </a:lnTo>
                  <a:lnTo>
                    <a:pt x="138" y="237"/>
                  </a:lnTo>
                  <a:lnTo>
                    <a:pt x="139" y="237"/>
                  </a:lnTo>
                  <a:lnTo>
                    <a:pt x="142" y="240"/>
                  </a:lnTo>
                  <a:lnTo>
                    <a:pt x="142" y="240"/>
                  </a:lnTo>
                  <a:lnTo>
                    <a:pt x="144" y="243"/>
                  </a:lnTo>
                  <a:lnTo>
                    <a:pt x="150" y="246"/>
                  </a:lnTo>
                  <a:lnTo>
                    <a:pt x="154" y="248"/>
                  </a:lnTo>
                  <a:lnTo>
                    <a:pt x="157" y="246"/>
                  </a:lnTo>
                  <a:lnTo>
                    <a:pt x="160" y="245"/>
                  </a:lnTo>
                  <a:lnTo>
                    <a:pt x="160" y="245"/>
                  </a:lnTo>
                  <a:lnTo>
                    <a:pt x="167" y="236"/>
                  </a:lnTo>
                  <a:lnTo>
                    <a:pt x="170" y="234"/>
                  </a:lnTo>
                  <a:lnTo>
                    <a:pt x="172" y="234"/>
                  </a:lnTo>
                  <a:lnTo>
                    <a:pt x="172" y="234"/>
                  </a:lnTo>
                  <a:lnTo>
                    <a:pt x="176" y="236"/>
                  </a:lnTo>
                  <a:lnTo>
                    <a:pt x="181" y="237"/>
                  </a:lnTo>
                  <a:lnTo>
                    <a:pt x="191" y="237"/>
                  </a:lnTo>
                  <a:lnTo>
                    <a:pt x="191" y="237"/>
                  </a:lnTo>
                  <a:lnTo>
                    <a:pt x="195" y="239"/>
                  </a:lnTo>
                  <a:lnTo>
                    <a:pt x="201" y="240"/>
                  </a:lnTo>
                  <a:lnTo>
                    <a:pt x="204" y="242"/>
                  </a:lnTo>
                  <a:lnTo>
                    <a:pt x="207" y="242"/>
                  </a:lnTo>
                  <a:lnTo>
                    <a:pt x="207" y="240"/>
                  </a:lnTo>
                  <a:lnTo>
                    <a:pt x="207" y="240"/>
                  </a:lnTo>
                  <a:lnTo>
                    <a:pt x="209" y="236"/>
                  </a:lnTo>
                  <a:lnTo>
                    <a:pt x="207" y="233"/>
                  </a:lnTo>
                  <a:lnTo>
                    <a:pt x="207" y="228"/>
                  </a:lnTo>
                  <a:lnTo>
                    <a:pt x="209" y="224"/>
                  </a:lnTo>
                  <a:lnTo>
                    <a:pt x="209" y="224"/>
                  </a:lnTo>
                  <a:lnTo>
                    <a:pt x="212" y="221"/>
                  </a:lnTo>
                  <a:lnTo>
                    <a:pt x="215" y="220"/>
                  </a:lnTo>
                  <a:lnTo>
                    <a:pt x="221" y="215"/>
                  </a:lnTo>
                  <a:lnTo>
                    <a:pt x="221" y="215"/>
                  </a:lnTo>
                  <a:lnTo>
                    <a:pt x="225" y="211"/>
                  </a:lnTo>
                  <a:lnTo>
                    <a:pt x="228" y="206"/>
                  </a:lnTo>
                  <a:lnTo>
                    <a:pt x="229" y="199"/>
                  </a:lnTo>
                  <a:lnTo>
                    <a:pt x="229" y="199"/>
                  </a:lnTo>
                  <a:lnTo>
                    <a:pt x="234" y="196"/>
                  </a:lnTo>
                  <a:lnTo>
                    <a:pt x="237" y="194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52" y="190"/>
                  </a:lnTo>
                  <a:lnTo>
                    <a:pt x="268" y="185"/>
                  </a:lnTo>
                  <a:lnTo>
                    <a:pt x="268" y="185"/>
                  </a:lnTo>
                  <a:lnTo>
                    <a:pt x="275" y="183"/>
                  </a:lnTo>
                  <a:lnTo>
                    <a:pt x="281" y="178"/>
                  </a:lnTo>
                  <a:lnTo>
                    <a:pt x="287" y="174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301" y="160"/>
                  </a:lnTo>
                  <a:lnTo>
                    <a:pt x="304" y="156"/>
                  </a:lnTo>
                  <a:lnTo>
                    <a:pt x="308" y="156"/>
                  </a:lnTo>
                  <a:lnTo>
                    <a:pt x="308" y="156"/>
                  </a:lnTo>
                  <a:lnTo>
                    <a:pt x="317" y="154"/>
                  </a:lnTo>
                  <a:lnTo>
                    <a:pt x="320" y="154"/>
                  </a:lnTo>
                  <a:lnTo>
                    <a:pt x="323" y="151"/>
                  </a:lnTo>
                  <a:lnTo>
                    <a:pt x="323" y="151"/>
                  </a:lnTo>
                  <a:lnTo>
                    <a:pt x="327" y="147"/>
                  </a:lnTo>
                  <a:lnTo>
                    <a:pt x="327" y="145"/>
                  </a:lnTo>
                  <a:lnTo>
                    <a:pt x="327" y="145"/>
                  </a:lnTo>
                  <a:lnTo>
                    <a:pt x="326" y="141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15" y="129"/>
                  </a:lnTo>
                  <a:lnTo>
                    <a:pt x="312" y="125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5" y="113"/>
                  </a:lnTo>
                  <a:lnTo>
                    <a:pt x="301" y="108"/>
                  </a:lnTo>
                  <a:lnTo>
                    <a:pt x="296" y="105"/>
                  </a:lnTo>
                  <a:lnTo>
                    <a:pt x="292" y="100"/>
                  </a:lnTo>
                  <a:lnTo>
                    <a:pt x="292" y="10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7" name="Freeform 26">
              <a:extLst>
                <a:ext uri="{FF2B5EF4-FFF2-40B4-BE49-F238E27FC236}">
                  <a16:creationId xmlns:a16="http://schemas.microsoft.com/office/drawing/2014/main" id="{A0A794EC-7D89-4347-8652-C07DA0C9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3238" y="4865688"/>
              <a:ext cx="407988" cy="376237"/>
            </a:xfrm>
            <a:custGeom>
              <a:avLst/>
              <a:gdLst>
                <a:gd name="T0" fmla="*/ 54 w 257"/>
                <a:gd name="T1" fmla="*/ 22 h 237"/>
                <a:gd name="T2" fmla="*/ 42 w 257"/>
                <a:gd name="T3" fmla="*/ 33 h 237"/>
                <a:gd name="T4" fmla="*/ 14 w 257"/>
                <a:gd name="T5" fmla="*/ 68 h 237"/>
                <a:gd name="T6" fmla="*/ 3 w 257"/>
                <a:gd name="T7" fmla="*/ 71 h 237"/>
                <a:gd name="T8" fmla="*/ 9 w 257"/>
                <a:gd name="T9" fmla="*/ 83 h 237"/>
                <a:gd name="T10" fmla="*/ 3 w 257"/>
                <a:gd name="T11" fmla="*/ 93 h 237"/>
                <a:gd name="T12" fmla="*/ 0 w 257"/>
                <a:gd name="T13" fmla="*/ 99 h 237"/>
                <a:gd name="T14" fmla="*/ 3 w 257"/>
                <a:gd name="T15" fmla="*/ 105 h 237"/>
                <a:gd name="T16" fmla="*/ 17 w 257"/>
                <a:gd name="T17" fmla="*/ 110 h 237"/>
                <a:gd name="T18" fmla="*/ 33 w 257"/>
                <a:gd name="T19" fmla="*/ 108 h 237"/>
                <a:gd name="T20" fmla="*/ 39 w 257"/>
                <a:gd name="T21" fmla="*/ 116 h 237"/>
                <a:gd name="T22" fmla="*/ 42 w 257"/>
                <a:gd name="T23" fmla="*/ 126 h 237"/>
                <a:gd name="T24" fmla="*/ 32 w 257"/>
                <a:gd name="T25" fmla="*/ 153 h 237"/>
                <a:gd name="T26" fmla="*/ 30 w 257"/>
                <a:gd name="T27" fmla="*/ 160 h 237"/>
                <a:gd name="T28" fmla="*/ 36 w 257"/>
                <a:gd name="T29" fmla="*/ 162 h 237"/>
                <a:gd name="T30" fmla="*/ 48 w 257"/>
                <a:gd name="T31" fmla="*/ 163 h 237"/>
                <a:gd name="T32" fmla="*/ 58 w 257"/>
                <a:gd name="T33" fmla="*/ 160 h 237"/>
                <a:gd name="T34" fmla="*/ 66 w 257"/>
                <a:gd name="T35" fmla="*/ 166 h 237"/>
                <a:gd name="T36" fmla="*/ 73 w 257"/>
                <a:gd name="T37" fmla="*/ 169 h 237"/>
                <a:gd name="T38" fmla="*/ 77 w 257"/>
                <a:gd name="T39" fmla="*/ 179 h 237"/>
                <a:gd name="T40" fmla="*/ 76 w 257"/>
                <a:gd name="T41" fmla="*/ 190 h 237"/>
                <a:gd name="T42" fmla="*/ 80 w 257"/>
                <a:gd name="T43" fmla="*/ 199 h 237"/>
                <a:gd name="T44" fmla="*/ 80 w 257"/>
                <a:gd name="T45" fmla="*/ 209 h 237"/>
                <a:gd name="T46" fmla="*/ 85 w 257"/>
                <a:gd name="T47" fmla="*/ 215 h 237"/>
                <a:gd name="T48" fmla="*/ 100 w 257"/>
                <a:gd name="T49" fmla="*/ 213 h 237"/>
                <a:gd name="T50" fmla="*/ 120 w 257"/>
                <a:gd name="T51" fmla="*/ 197 h 237"/>
                <a:gd name="T52" fmla="*/ 131 w 257"/>
                <a:gd name="T53" fmla="*/ 194 h 237"/>
                <a:gd name="T54" fmla="*/ 156 w 257"/>
                <a:gd name="T55" fmla="*/ 227 h 237"/>
                <a:gd name="T56" fmla="*/ 169 w 257"/>
                <a:gd name="T57" fmla="*/ 236 h 237"/>
                <a:gd name="T58" fmla="*/ 174 w 257"/>
                <a:gd name="T59" fmla="*/ 237 h 237"/>
                <a:gd name="T60" fmla="*/ 181 w 257"/>
                <a:gd name="T61" fmla="*/ 230 h 237"/>
                <a:gd name="T62" fmla="*/ 190 w 257"/>
                <a:gd name="T63" fmla="*/ 228 h 237"/>
                <a:gd name="T64" fmla="*/ 196 w 257"/>
                <a:gd name="T65" fmla="*/ 228 h 237"/>
                <a:gd name="T66" fmla="*/ 203 w 257"/>
                <a:gd name="T67" fmla="*/ 216 h 237"/>
                <a:gd name="T68" fmla="*/ 211 w 257"/>
                <a:gd name="T69" fmla="*/ 212 h 237"/>
                <a:gd name="T70" fmla="*/ 227 w 257"/>
                <a:gd name="T71" fmla="*/ 212 h 237"/>
                <a:gd name="T72" fmla="*/ 240 w 257"/>
                <a:gd name="T73" fmla="*/ 202 h 237"/>
                <a:gd name="T74" fmla="*/ 245 w 257"/>
                <a:gd name="T75" fmla="*/ 194 h 237"/>
                <a:gd name="T76" fmla="*/ 246 w 257"/>
                <a:gd name="T77" fmla="*/ 179 h 237"/>
                <a:gd name="T78" fmla="*/ 254 w 257"/>
                <a:gd name="T79" fmla="*/ 178 h 237"/>
                <a:gd name="T80" fmla="*/ 252 w 257"/>
                <a:gd name="T81" fmla="*/ 169 h 237"/>
                <a:gd name="T82" fmla="*/ 248 w 257"/>
                <a:gd name="T83" fmla="*/ 165 h 237"/>
                <a:gd name="T84" fmla="*/ 243 w 257"/>
                <a:gd name="T85" fmla="*/ 144 h 237"/>
                <a:gd name="T86" fmla="*/ 252 w 257"/>
                <a:gd name="T87" fmla="*/ 119 h 237"/>
                <a:gd name="T88" fmla="*/ 254 w 257"/>
                <a:gd name="T89" fmla="*/ 104 h 237"/>
                <a:gd name="T90" fmla="*/ 248 w 257"/>
                <a:gd name="T91" fmla="*/ 86 h 237"/>
                <a:gd name="T92" fmla="*/ 239 w 257"/>
                <a:gd name="T93" fmla="*/ 67 h 237"/>
                <a:gd name="T94" fmla="*/ 228 w 257"/>
                <a:gd name="T95" fmla="*/ 58 h 237"/>
                <a:gd name="T96" fmla="*/ 223 w 257"/>
                <a:gd name="T97" fmla="*/ 52 h 237"/>
                <a:gd name="T98" fmla="*/ 223 w 257"/>
                <a:gd name="T99" fmla="*/ 37 h 237"/>
                <a:gd name="T100" fmla="*/ 212 w 257"/>
                <a:gd name="T101" fmla="*/ 9 h 237"/>
                <a:gd name="T102" fmla="*/ 196 w 257"/>
                <a:gd name="T103" fmla="*/ 12 h 237"/>
                <a:gd name="T104" fmla="*/ 183 w 257"/>
                <a:gd name="T105" fmla="*/ 9 h 237"/>
                <a:gd name="T106" fmla="*/ 168 w 257"/>
                <a:gd name="T107" fmla="*/ 12 h 237"/>
                <a:gd name="T108" fmla="*/ 135 w 257"/>
                <a:gd name="T109" fmla="*/ 11 h 237"/>
                <a:gd name="T110" fmla="*/ 109 w 257"/>
                <a:gd name="T111" fmla="*/ 13 h 237"/>
                <a:gd name="T112" fmla="*/ 94 w 257"/>
                <a:gd name="T113" fmla="*/ 5 h 237"/>
                <a:gd name="T114" fmla="*/ 80 w 257"/>
                <a:gd name="T115" fmla="*/ 0 h 237"/>
                <a:gd name="T116" fmla="*/ 74 w 257"/>
                <a:gd name="T117" fmla="*/ 11 h 237"/>
                <a:gd name="T118" fmla="*/ 66 w 257"/>
                <a:gd name="T119" fmla="*/ 13 h 237"/>
                <a:gd name="T120" fmla="*/ 58 w 257"/>
                <a:gd name="T121" fmla="*/ 12 h 237"/>
                <a:gd name="T122" fmla="*/ 55 w 257"/>
                <a:gd name="T123" fmla="*/ 5 h 237"/>
                <a:gd name="T124" fmla="*/ 55 w 257"/>
                <a:gd name="T125" fmla="*/ 19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7" h="237">
                  <a:moveTo>
                    <a:pt x="55" y="19"/>
                  </a:moveTo>
                  <a:lnTo>
                    <a:pt x="55" y="19"/>
                  </a:lnTo>
                  <a:lnTo>
                    <a:pt x="54" y="22"/>
                  </a:lnTo>
                  <a:lnTo>
                    <a:pt x="52" y="25"/>
                  </a:lnTo>
                  <a:lnTo>
                    <a:pt x="48" y="28"/>
                  </a:lnTo>
                  <a:lnTo>
                    <a:pt x="42" y="33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9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6" y="77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8" y="89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98"/>
                  </a:lnTo>
                  <a:lnTo>
                    <a:pt x="0" y="99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3" y="105"/>
                  </a:lnTo>
                  <a:lnTo>
                    <a:pt x="8" y="108"/>
                  </a:lnTo>
                  <a:lnTo>
                    <a:pt x="12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6" y="110"/>
                  </a:lnTo>
                  <a:lnTo>
                    <a:pt x="39" y="116"/>
                  </a:lnTo>
                  <a:lnTo>
                    <a:pt x="40" y="120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0" y="133"/>
                  </a:lnTo>
                  <a:lnTo>
                    <a:pt x="36" y="144"/>
                  </a:lnTo>
                  <a:lnTo>
                    <a:pt x="32" y="153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30" y="160"/>
                  </a:lnTo>
                  <a:lnTo>
                    <a:pt x="33" y="160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9" y="165"/>
                  </a:lnTo>
                  <a:lnTo>
                    <a:pt x="42" y="165"/>
                  </a:lnTo>
                  <a:lnTo>
                    <a:pt x="48" y="163"/>
                  </a:lnTo>
                  <a:lnTo>
                    <a:pt x="54" y="162"/>
                  </a:lnTo>
                  <a:lnTo>
                    <a:pt x="58" y="160"/>
                  </a:lnTo>
                  <a:lnTo>
                    <a:pt x="58" y="160"/>
                  </a:lnTo>
                  <a:lnTo>
                    <a:pt x="61" y="162"/>
                  </a:lnTo>
                  <a:lnTo>
                    <a:pt x="64" y="165"/>
                  </a:lnTo>
                  <a:lnTo>
                    <a:pt x="66" y="166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3" y="169"/>
                  </a:lnTo>
                  <a:lnTo>
                    <a:pt x="76" y="170"/>
                  </a:lnTo>
                  <a:lnTo>
                    <a:pt x="77" y="175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6" y="187"/>
                  </a:lnTo>
                  <a:lnTo>
                    <a:pt x="76" y="190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0" y="209"/>
                  </a:lnTo>
                  <a:lnTo>
                    <a:pt x="80" y="209"/>
                  </a:lnTo>
                  <a:lnTo>
                    <a:pt x="80" y="210"/>
                  </a:lnTo>
                  <a:lnTo>
                    <a:pt x="82" y="212"/>
                  </a:lnTo>
                  <a:lnTo>
                    <a:pt x="85" y="215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100" y="213"/>
                  </a:lnTo>
                  <a:lnTo>
                    <a:pt x="104" y="212"/>
                  </a:lnTo>
                  <a:lnTo>
                    <a:pt x="113" y="205"/>
                  </a:lnTo>
                  <a:lnTo>
                    <a:pt x="120" y="197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31" y="194"/>
                  </a:lnTo>
                  <a:lnTo>
                    <a:pt x="135" y="197"/>
                  </a:lnTo>
                  <a:lnTo>
                    <a:pt x="144" y="209"/>
                  </a:lnTo>
                  <a:lnTo>
                    <a:pt x="156" y="227"/>
                  </a:lnTo>
                  <a:lnTo>
                    <a:pt x="156" y="227"/>
                  </a:lnTo>
                  <a:lnTo>
                    <a:pt x="162" y="231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2" y="237"/>
                  </a:lnTo>
                  <a:lnTo>
                    <a:pt x="174" y="237"/>
                  </a:lnTo>
                  <a:lnTo>
                    <a:pt x="174" y="237"/>
                  </a:lnTo>
                  <a:lnTo>
                    <a:pt x="177" y="234"/>
                  </a:lnTo>
                  <a:lnTo>
                    <a:pt x="181" y="230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90" y="228"/>
                  </a:lnTo>
                  <a:lnTo>
                    <a:pt x="190" y="228"/>
                  </a:lnTo>
                  <a:lnTo>
                    <a:pt x="193" y="230"/>
                  </a:lnTo>
                  <a:lnTo>
                    <a:pt x="196" y="228"/>
                  </a:lnTo>
                  <a:lnTo>
                    <a:pt x="199" y="227"/>
                  </a:lnTo>
                  <a:lnTo>
                    <a:pt x="202" y="222"/>
                  </a:lnTo>
                  <a:lnTo>
                    <a:pt x="203" y="216"/>
                  </a:lnTo>
                  <a:lnTo>
                    <a:pt x="203" y="216"/>
                  </a:lnTo>
                  <a:lnTo>
                    <a:pt x="206" y="213"/>
                  </a:lnTo>
                  <a:lnTo>
                    <a:pt x="211" y="212"/>
                  </a:lnTo>
                  <a:lnTo>
                    <a:pt x="221" y="213"/>
                  </a:lnTo>
                  <a:lnTo>
                    <a:pt x="221" y="213"/>
                  </a:lnTo>
                  <a:lnTo>
                    <a:pt x="227" y="212"/>
                  </a:lnTo>
                  <a:lnTo>
                    <a:pt x="231" y="209"/>
                  </a:lnTo>
                  <a:lnTo>
                    <a:pt x="236" y="205"/>
                  </a:lnTo>
                  <a:lnTo>
                    <a:pt x="240" y="202"/>
                  </a:lnTo>
                  <a:lnTo>
                    <a:pt x="240" y="202"/>
                  </a:lnTo>
                  <a:lnTo>
                    <a:pt x="243" y="200"/>
                  </a:lnTo>
                  <a:lnTo>
                    <a:pt x="245" y="194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6" y="179"/>
                  </a:lnTo>
                  <a:lnTo>
                    <a:pt x="249" y="178"/>
                  </a:lnTo>
                  <a:lnTo>
                    <a:pt x="254" y="178"/>
                  </a:lnTo>
                  <a:lnTo>
                    <a:pt x="254" y="178"/>
                  </a:lnTo>
                  <a:lnTo>
                    <a:pt x="254" y="173"/>
                  </a:lnTo>
                  <a:lnTo>
                    <a:pt x="254" y="170"/>
                  </a:lnTo>
                  <a:lnTo>
                    <a:pt x="252" y="169"/>
                  </a:lnTo>
                  <a:lnTo>
                    <a:pt x="251" y="166"/>
                  </a:lnTo>
                  <a:lnTo>
                    <a:pt x="251" y="166"/>
                  </a:lnTo>
                  <a:lnTo>
                    <a:pt x="248" y="165"/>
                  </a:lnTo>
                  <a:lnTo>
                    <a:pt x="246" y="162"/>
                  </a:lnTo>
                  <a:lnTo>
                    <a:pt x="243" y="153"/>
                  </a:lnTo>
                  <a:lnTo>
                    <a:pt x="243" y="144"/>
                  </a:lnTo>
                  <a:lnTo>
                    <a:pt x="246" y="135"/>
                  </a:lnTo>
                  <a:lnTo>
                    <a:pt x="246" y="135"/>
                  </a:lnTo>
                  <a:lnTo>
                    <a:pt x="252" y="119"/>
                  </a:lnTo>
                  <a:lnTo>
                    <a:pt x="257" y="108"/>
                  </a:lnTo>
                  <a:lnTo>
                    <a:pt x="257" y="108"/>
                  </a:lnTo>
                  <a:lnTo>
                    <a:pt x="254" y="104"/>
                  </a:lnTo>
                  <a:lnTo>
                    <a:pt x="251" y="98"/>
                  </a:lnTo>
                  <a:lnTo>
                    <a:pt x="248" y="86"/>
                  </a:lnTo>
                  <a:lnTo>
                    <a:pt x="248" y="86"/>
                  </a:lnTo>
                  <a:lnTo>
                    <a:pt x="245" y="77"/>
                  </a:lnTo>
                  <a:lnTo>
                    <a:pt x="239" y="67"/>
                  </a:lnTo>
                  <a:lnTo>
                    <a:pt x="239" y="67"/>
                  </a:lnTo>
                  <a:lnTo>
                    <a:pt x="234" y="62"/>
                  </a:lnTo>
                  <a:lnTo>
                    <a:pt x="231" y="61"/>
                  </a:lnTo>
                  <a:lnTo>
                    <a:pt x="228" y="58"/>
                  </a:lnTo>
                  <a:lnTo>
                    <a:pt x="224" y="55"/>
                  </a:lnTo>
                  <a:lnTo>
                    <a:pt x="224" y="55"/>
                  </a:lnTo>
                  <a:lnTo>
                    <a:pt x="223" y="52"/>
                  </a:lnTo>
                  <a:lnTo>
                    <a:pt x="223" y="49"/>
                  </a:lnTo>
                  <a:lnTo>
                    <a:pt x="223" y="43"/>
                  </a:lnTo>
                  <a:lnTo>
                    <a:pt x="223" y="37"/>
                  </a:lnTo>
                  <a:lnTo>
                    <a:pt x="223" y="33"/>
                  </a:lnTo>
                  <a:lnTo>
                    <a:pt x="223" y="33"/>
                  </a:lnTo>
                  <a:lnTo>
                    <a:pt x="212" y="9"/>
                  </a:lnTo>
                  <a:lnTo>
                    <a:pt x="212" y="9"/>
                  </a:lnTo>
                  <a:lnTo>
                    <a:pt x="202" y="12"/>
                  </a:lnTo>
                  <a:lnTo>
                    <a:pt x="196" y="12"/>
                  </a:lnTo>
                  <a:lnTo>
                    <a:pt x="190" y="11"/>
                  </a:lnTo>
                  <a:lnTo>
                    <a:pt x="190" y="11"/>
                  </a:lnTo>
                  <a:lnTo>
                    <a:pt x="183" y="9"/>
                  </a:lnTo>
                  <a:lnTo>
                    <a:pt x="177" y="9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53" y="12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23" y="12"/>
                  </a:lnTo>
                  <a:lnTo>
                    <a:pt x="116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1" y="11"/>
                  </a:lnTo>
                  <a:lnTo>
                    <a:pt x="94" y="5"/>
                  </a:lnTo>
                  <a:lnTo>
                    <a:pt x="86" y="2"/>
                  </a:lnTo>
                  <a:lnTo>
                    <a:pt x="83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7" y="5"/>
                  </a:lnTo>
                  <a:lnTo>
                    <a:pt x="74" y="11"/>
                  </a:lnTo>
                  <a:lnTo>
                    <a:pt x="70" y="13"/>
                  </a:lnTo>
                  <a:lnTo>
                    <a:pt x="69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1" y="12"/>
                  </a:lnTo>
                  <a:lnTo>
                    <a:pt x="58" y="12"/>
                  </a:lnTo>
                  <a:lnTo>
                    <a:pt x="55" y="11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11"/>
                  </a:lnTo>
                  <a:lnTo>
                    <a:pt x="55" y="19"/>
                  </a:lnTo>
                  <a:lnTo>
                    <a:pt x="55" y="1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8" name="Freeform 27">
              <a:extLst>
                <a:ext uri="{FF2B5EF4-FFF2-40B4-BE49-F238E27FC236}">
                  <a16:creationId xmlns:a16="http://schemas.microsoft.com/office/drawing/2014/main" id="{720B956C-8A1B-2146-9225-5179B9454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388" y="5486400"/>
              <a:ext cx="660400" cy="752475"/>
            </a:xfrm>
            <a:custGeom>
              <a:avLst/>
              <a:gdLst>
                <a:gd name="T0" fmla="*/ 197 w 416"/>
                <a:gd name="T1" fmla="*/ 470 h 474"/>
                <a:gd name="T2" fmla="*/ 222 w 416"/>
                <a:gd name="T3" fmla="*/ 471 h 474"/>
                <a:gd name="T4" fmla="*/ 239 w 416"/>
                <a:gd name="T5" fmla="*/ 446 h 474"/>
                <a:gd name="T6" fmla="*/ 271 w 416"/>
                <a:gd name="T7" fmla="*/ 455 h 474"/>
                <a:gd name="T8" fmla="*/ 329 w 416"/>
                <a:gd name="T9" fmla="*/ 404 h 474"/>
                <a:gd name="T10" fmla="*/ 314 w 416"/>
                <a:gd name="T11" fmla="*/ 404 h 474"/>
                <a:gd name="T12" fmla="*/ 293 w 416"/>
                <a:gd name="T13" fmla="*/ 413 h 474"/>
                <a:gd name="T14" fmla="*/ 295 w 416"/>
                <a:gd name="T15" fmla="*/ 388 h 474"/>
                <a:gd name="T16" fmla="*/ 285 w 416"/>
                <a:gd name="T17" fmla="*/ 367 h 474"/>
                <a:gd name="T18" fmla="*/ 273 w 416"/>
                <a:gd name="T19" fmla="*/ 342 h 474"/>
                <a:gd name="T20" fmla="*/ 273 w 416"/>
                <a:gd name="T21" fmla="*/ 304 h 474"/>
                <a:gd name="T22" fmla="*/ 285 w 416"/>
                <a:gd name="T23" fmla="*/ 274 h 474"/>
                <a:gd name="T24" fmla="*/ 271 w 416"/>
                <a:gd name="T25" fmla="*/ 253 h 474"/>
                <a:gd name="T26" fmla="*/ 280 w 416"/>
                <a:gd name="T27" fmla="*/ 231 h 474"/>
                <a:gd name="T28" fmla="*/ 320 w 416"/>
                <a:gd name="T29" fmla="*/ 227 h 474"/>
                <a:gd name="T30" fmla="*/ 342 w 416"/>
                <a:gd name="T31" fmla="*/ 239 h 474"/>
                <a:gd name="T32" fmla="*/ 367 w 416"/>
                <a:gd name="T33" fmla="*/ 212 h 474"/>
                <a:gd name="T34" fmla="*/ 370 w 416"/>
                <a:gd name="T35" fmla="*/ 181 h 474"/>
                <a:gd name="T36" fmla="*/ 375 w 416"/>
                <a:gd name="T37" fmla="*/ 159 h 474"/>
                <a:gd name="T38" fmla="*/ 406 w 416"/>
                <a:gd name="T39" fmla="*/ 136 h 474"/>
                <a:gd name="T40" fmla="*/ 412 w 416"/>
                <a:gd name="T41" fmla="*/ 105 h 474"/>
                <a:gd name="T42" fmla="*/ 413 w 416"/>
                <a:gd name="T43" fmla="*/ 86 h 474"/>
                <a:gd name="T44" fmla="*/ 413 w 416"/>
                <a:gd name="T45" fmla="*/ 62 h 474"/>
                <a:gd name="T46" fmla="*/ 402 w 416"/>
                <a:gd name="T47" fmla="*/ 55 h 474"/>
                <a:gd name="T48" fmla="*/ 382 w 416"/>
                <a:gd name="T49" fmla="*/ 52 h 474"/>
                <a:gd name="T50" fmla="*/ 373 w 416"/>
                <a:gd name="T51" fmla="*/ 65 h 474"/>
                <a:gd name="T52" fmla="*/ 338 w 416"/>
                <a:gd name="T53" fmla="*/ 56 h 474"/>
                <a:gd name="T54" fmla="*/ 305 w 416"/>
                <a:gd name="T55" fmla="*/ 15 h 474"/>
                <a:gd name="T56" fmla="*/ 283 w 416"/>
                <a:gd name="T57" fmla="*/ 28 h 474"/>
                <a:gd name="T58" fmla="*/ 271 w 416"/>
                <a:gd name="T59" fmla="*/ 39 h 474"/>
                <a:gd name="T60" fmla="*/ 240 w 416"/>
                <a:gd name="T61" fmla="*/ 31 h 474"/>
                <a:gd name="T62" fmla="*/ 230 w 416"/>
                <a:gd name="T63" fmla="*/ 55 h 474"/>
                <a:gd name="T64" fmla="*/ 206 w 416"/>
                <a:gd name="T65" fmla="*/ 61 h 474"/>
                <a:gd name="T66" fmla="*/ 179 w 416"/>
                <a:gd name="T67" fmla="*/ 99 h 474"/>
                <a:gd name="T68" fmla="*/ 157 w 416"/>
                <a:gd name="T69" fmla="*/ 107 h 474"/>
                <a:gd name="T70" fmla="*/ 147 w 416"/>
                <a:gd name="T71" fmla="*/ 119 h 474"/>
                <a:gd name="T72" fmla="*/ 120 w 416"/>
                <a:gd name="T73" fmla="*/ 70 h 474"/>
                <a:gd name="T74" fmla="*/ 82 w 416"/>
                <a:gd name="T75" fmla="*/ 65 h 474"/>
                <a:gd name="T76" fmla="*/ 36 w 416"/>
                <a:gd name="T77" fmla="*/ 52 h 474"/>
                <a:gd name="T78" fmla="*/ 15 w 416"/>
                <a:gd name="T79" fmla="*/ 71 h 474"/>
                <a:gd name="T80" fmla="*/ 67 w 416"/>
                <a:gd name="T81" fmla="*/ 119 h 474"/>
                <a:gd name="T82" fmla="*/ 79 w 416"/>
                <a:gd name="T83" fmla="*/ 147 h 474"/>
                <a:gd name="T84" fmla="*/ 68 w 416"/>
                <a:gd name="T85" fmla="*/ 156 h 474"/>
                <a:gd name="T86" fmla="*/ 25 w 416"/>
                <a:gd name="T87" fmla="*/ 130 h 474"/>
                <a:gd name="T88" fmla="*/ 6 w 416"/>
                <a:gd name="T89" fmla="*/ 122 h 474"/>
                <a:gd name="T90" fmla="*/ 11 w 416"/>
                <a:gd name="T91" fmla="*/ 136 h 474"/>
                <a:gd name="T92" fmla="*/ 5 w 416"/>
                <a:gd name="T93" fmla="*/ 154 h 474"/>
                <a:gd name="T94" fmla="*/ 20 w 416"/>
                <a:gd name="T95" fmla="*/ 162 h 474"/>
                <a:gd name="T96" fmla="*/ 40 w 416"/>
                <a:gd name="T97" fmla="*/ 170 h 474"/>
                <a:gd name="T98" fmla="*/ 65 w 416"/>
                <a:gd name="T99" fmla="*/ 206 h 474"/>
                <a:gd name="T100" fmla="*/ 55 w 416"/>
                <a:gd name="T101" fmla="*/ 231 h 474"/>
                <a:gd name="T102" fmla="*/ 34 w 416"/>
                <a:gd name="T103" fmla="*/ 255 h 474"/>
                <a:gd name="T104" fmla="*/ 51 w 416"/>
                <a:gd name="T105" fmla="*/ 282 h 474"/>
                <a:gd name="T106" fmla="*/ 70 w 416"/>
                <a:gd name="T107" fmla="*/ 284 h 474"/>
                <a:gd name="T108" fmla="*/ 54 w 416"/>
                <a:gd name="T109" fmla="*/ 313 h 474"/>
                <a:gd name="T110" fmla="*/ 55 w 416"/>
                <a:gd name="T111" fmla="*/ 344 h 474"/>
                <a:gd name="T112" fmla="*/ 86 w 416"/>
                <a:gd name="T113" fmla="*/ 359 h 474"/>
                <a:gd name="T114" fmla="*/ 111 w 416"/>
                <a:gd name="T115" fmla="*/ 369 h 474"/>
                <a:gd name="T116" fmla="*/ 159 w 416"/>
                <a:gd name="T117" fmla="*/ 360 h 474"/>
                <a:gd name="T118" fmla="*/ 156 w 416"/>
                <a:gd name="T119" fmla="*/ 393 h 474"/>
                <a:gd name="T120" fmla="*/ 165 w 416"/>
                <a:gd name="T121" fmla="*/ 410 h 474"/>
                <a:gd name="T122" fmla="*/ 176 w 416"/>
                <a:gd name="T123" fmla="*/ 415 h 474"/>
                <a:gd name="T124" fmla="*/ 184 w 416"/>
                <a:gd name="T125" fmla="*/ 450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6" h="474">
                  <a:moveTo>
                    <a:pt x="184" y="450"/>
                  </a:moveTo>
                  <a:lnTo>
                    <a:pt x="184" y="450"/>
                  </a:lnTo>
                  <a:lnTo>
                    <a:pt x="185" y="456"/>
                  </a:lnTo>
                  <a:lnTo>
                    <a:pt x="188" y="462"/>
                  </a:lnTo>
                  <a:lnTo>
                    <a:pt x="193" y="467"/>
                  </a:lnTo>
                  <a:lnTo>
                    <a:pt x="197" y="470"/>
                  </a:lnTo>
                  <a:lnTo>
                    <a:pt x="203" y="473"/>
                  </a:lnTo>
                  <a:lnTo>
                    <a:pt x="209" y="474"/>
                  </a:lnTo>
                  <a:lnTo>
                    <a:pt x="213" y="474"/>
                  </a:lnTo>
                  <a:lnTo>
                    <a:pt x="218" y="474"/>
                  </a:lnTo>
                  <a:lnTo>
                    <a:pt x="218" y="474"/>
                  </a:lnTo>
                  <a:lnTo>
                    <a:pt x="222" y="471"/>
                  </a:lnTo>
                  <a:lnTo>
                    <a:pt x="227" y="465"/>
                  </a:lnTo>
                  <a:lnTo>
                    <a:pt x="231" y="459"/>
                  </a:lnTo>
                  <a:lnTo>
                    <a:pt x="233" y="452"/>
                  </a:lnTo>
                  <a:lnTo>
                    <a:pt x="233" y="452"/>
                  </a:lnTo>
                  <a:lnTo>
                    <a:pt x="236" y="447"/>
                  </a:lnTo>
                  <a:lnTo>
                    <a:pt x="239" y="446"/>
                  </a:lnTo>
                  <a:lnTo>
                    <a:pt x="243" y="447"/>
                  </a:lnTo>
                  <a:lnTo>
                    <a:pt x="248" y="449"/>
                  </a:lnTo>
                  <a:lnTo>
                    <a:pt x="259" y="455"/>
                  </a:lnTo>
                  <a:lnTo>
                    <a:pt x="267" y="456"/>
                  </a:lnTo>
                  <a:lnTo>
                    <a:pt x="271" y="455"/>
                  </a:lnTo>
                  <a:lnTo>
                    <a:pt x="271" y="455"/>
                  </a:lnTo>
                  <a:lnTo>
                    <a:pt x="285" y="446"/>
                  </a:lnTo>
                  <a:lnTo>
                    <a:pt x="304" y="431"/>
                  </a:lnTo>
                  <a:lnTo>
                    <a:pt x="322" y="416"/>
                  </a:lnTo>
                  <a:lnTo>
                    <a:pt x="328" y="409"/>
                  </a:lnTo>
                  <a:lnTo>
                    <a:pt x="329" y="406"/>
                  </a:lnTo>
                  <a:lnTo>
                    <a:pt x="329" y="404"/>
                  </a:lnTo>
                  <a:lnTo>
                    <a:pt x="329" y="404"/>
                  </a:lnTo>
                  <a:lnTo>
                    <a:pt x="328" y="401"/>
                  </a:lnTo>
                  <a:lnTo>
                    <a:pt x="326" y="400"/>
                  </a:lnTo>
                  <a:lnTo>
                    <a:pt x="323" y="400"/>
                  </a:lnTo>
                  <a:lnTo>
                    <a:pt x="320" y="401"/>
                  </a:lnTo>
                  <a:lnTo>
                    <a:pt x="314" y="404"/>
                  </a:lnTo>
                  <a:lnTo>
                    <a:pt x="310" y="407"/>
                  </a:lnTo>
                  <a:lnTo>
                    <a:pt x="310" y="407"/>
                  </a:lnTo>
                  <a:lnTo>
                    <a:pt x="302" y="413"/>
                  </a:lnTo>
                  <a:lnTo>
                    <a:pt x="298" y="415"/>
                  </a:lnTo>
                  <a:lnTo>
                    <a:pt x="293" y="413"/>
                  </a:lnTo>
                  <a:lnTo>
                    <a:pt x="293" y="413"/>
                  </a:lnTo>
                  <a:lnTo>
                    <a:pt x="292" y="412"/>
                  </a:lnTo>
                  <a:lnTo>
                    <a:pt x="292" y="410"/>
                  </a:lnTo>
                  <a:lnTo>
                    <a:pt x="292" y="404"/>
                  </a:lnTo>
                  <a:lnTo>
                    <a:pt x="293" y="397"/>
                  </a:lnTo>
                  <a:lnTo>
                    <a:pt x="295" y="388"/>
                  </a:lnTo>
                  <a:lnTo>
                    <a:pt x="295" y="388"/>
                  </a:lnTo>
                  <a:lnTo>
                    <a:pt x="295" y="382"/>
                  </a:lnTo>
                  <a:lnTo>
                    <a:pt x="293" y="376"/>
                  </a:lnTo>
                  <a:lnTo>
                    <a:pt x="293" y="376"/>
                  </a:lnTo>
                  <a:lnTo>
                    <a:pt x="290" y="372"/>
                  </a:lnTo>
                  <a:lnTo>
                    <a:pt x="285" y="367"/>
                  </a:lnTo>
                  <a:lnTo>
                    <a:pt x="285" y="367"/>
                  </a:lnTo>
                  <a:lnTo>
                    <a:pt x="279" y="363"/>
                  </a:lnTo>
                  <a:lnTo>
                    <a:pt x="274" y="359"/>
                  </a:lnTo>
                  <a:lnTo>
                    <a:pt x="273" y="353"/>
                  </a:lnTo>
                  <a:lnTo>
                    <a:pt x="273" y="348"/>
                  </a:lnTo>
                  <a:lnTo>
                    <a:pt x="273" y="348"/>
                  </a:lnTo>
                  <a:lnTo>
                    <a:pt x="273" y="342"/>
                  </a:lnTo>
                  <a:lnTo>
                    <a:pt x="273" y="336"/>
                  </a:lnTo>
                  <a:lnTo>
                    <a:pt x="271" y="329"/>
                  </a:lnTo>
                  <a:lnTo>
                    <a:pt x="271" y="322"/>
                  </a:lnTo>
                  <a:lnTo>
                    <a:pt x="271" y="322"/>
                  </a:lnTo>
                  <a:lnTo>
                    <a:pt x="271" y="313"/>
                  </a:lnTo>
                  <a:lnTo>
                    <a:pt x="273" y="304"/>
                  </a:lnTo>
                  <a:lnTo>
                    <a:pt x="276" y="292"/>
                  </a:lnTo>
                  <a:lnTo>
                    <a:pt x="276" y="292"/>
                  </a:lnTo>
                  <a:lnTo>
                    <a:pt x="277" y="286"/>
                  </a:lnTo>
                  <a:lnTo>
                    <a:pt x="283" y="277"/>
                  </a:lnTo>
                  <a:lnTo>
                    <a:pt x="283" y="277"/>
                  </a:lnTo>
                  <a:lnTo>
                    <a:pt x="285" y="274"/>
                  </a:lnTo>
                  <a:lnTo>
                    <a:pt x="285" y="271"/>
                  </a:lnTo>
                  <a:lnTo>
                    <a:pt x="283" y="267"/>
                  </a:lnTo>
                  <a:lnTo>
                    <a:pt x="279" y="262"/>
                  </a:lnTo>
                  <a:lnTo>
                    <a:pt x="274" y="258"/>
                  </a:lnTo>
                  <a:lnTo>
                    <a:pt x="274" y="258"/>
                  </a:lnTo>
                  <a:lnTo>
                    <a:pt x="271" y="253"/>
                  </a:lnTo>
                  <a:lnTo>
                    <a:pt x="270" y="247"/>
                  </a:lnTo>
                  <a:lnTo>
                    <a:pt x="270" y="242"/>
                  </a:lnTo>
                  <a:lnTo>
                    <a:pt x="271" y="237"/>
                  </a:lnTo>
                  <a:lnTo>
                    <a:pt x="271" y="237"/>
                  </a:lnTo>
                  <a:lnTo>
                    <a:pt x="274" y="233"/>
                  </a:lnTo>
                  <a:lnTo>
                    <a:pt x="280" y="231"/>
                  </a:lnTo>
                  <a:lnTo>
                    <a:pt x="296" y="225"/>
                  </a:lnTo>
                  <a:lnTo>
                    <a:pt x="296" y="225"/>
                  </a:lnTo>
                  <a:lnTo>
                    <a:pt x="304" y="222"/>
                  </a:lnTo>
                  <a:lnTo>
                    <a:pt x="310" y="222"/>
                  </a:lnTo>
                  <a:lnTo>
                    <a:pt x="314" y="224"/>
                  </a:lnTo>
                  <a:lnTo>
                    <a:pt x="320" y="227"/>
                  </a:lnTo>
                  <a:lnTo>
                    <a:pt x="320" y="227"/>
                  </a:lnTo>
                  <a:lnTo>
                    <a:pt x="325" y="230"/>
                  </a:lnTo>
                  <a:lnTo>
                    <a:pt x="329" y="233"/>
                  </a:lnTo>
                  <a:lnTo>
                    <a:pt x="335" y="236"/>
                  </a:lnTo>
                  <a:lnTo>
                    <a:pt x="342" y="239"/>
                  </a:lnTo>
                  <a:lnTo>
                    <a:pt x="342" y="239"/>
                  </a:lnTo>
                  <a:lnTo>
                    <a:pt x="347" y="239"/>
                  </a:lnTo>
                  <a:lnTo>
                    <a:pt x="351" y="236"/>
                  </a:lnTo>
                  <a:lnTo>
                    <a:pt x="356" y="234"/>
                  </a:lnTo>
                  <a:lnTo>
                    <a:pt x="359" y="230"/>
                  </a:lnTo>
                  <a:lnTo>
                    <a:pt x="365" y="221"/>
                  </a:lnTo>
                  <a:lnTo>
                    <a:pt x="367" y="212"/>
                  </a:lnTo>
                  <a:lnTo>
                    <a:pt x="367" y="212"/>
                  </a:lnTo>
                  <a:lnTo>
                    <a:pt x="369" y="200"/>
                  </a:lnTo>
                  <a:lnTo>
                    <a:pt x="370" y="190"/>
                  </a:lnTo>
                  <a:lnTo>
                    <a:pt x="370" y="190"/>
                  </a:lnTo>
                  <a:lnTo>
                    <a:pt x="372" y="184"/>
                  </a:lnTo>
                  <a:lnTo>
                    <a:pt x="370" y="181"/>
                  </a:lnTo>
                  <a:lnTo>
                    <a:pt x="367" y="175"/>
                  </a:lnTo>
                  <a:lnTo>
                    <a:pt x="367" y="175"/>
                  </a:lnTo>
                  <a:lnTo>
                    <a:pt x="369" y="172"/>
                  </a:lnTo>
                  <a:lnTo>
                    <a:pt x="370" y="167"/>
                  </a:lnTo>
                  <a:lnTo>
                    <a:pt x="373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9" y="154"/>
                  </a:lnTo>
                  <a:lnTo>
                    <a:pt x="387" y="147"/>
                  </a:lnTo>
                  <a:lnTo>
                    <a:pt x="396" y="141"/>
                  </a:lnTo>
                  <a:lnTo>
                    <a:pt x="406" y="136"/>
                  </a:lnTo>
                  <a:lnTo>
                    <a:pt x="406" y="136"/>
                  </a:lnTo>
                  <a:lnTo>
                    <a:pt x="410" y="133"/>
                  </a:lnTo>
                  <a:lnTo>
                    <a:pt x="412" y="130"/>
                  </a:lnTo>
                  <a:lnTo>
                    <a:pt x="415" y="127"/>
                  </a:lnTo>
                  <a:lnTo>
                    <a:pt x="415" y="123"/>
                  </a:lnTo>
                  <a:lnTo>
                    <a:pt x="413" y="114"/>
                  </a:lnTo>
                  <a:lnTo>
                    <a:pt x="412" y="105"/>
                  </a:lnTo>
                  <a:lnTo>
                    <a:pt x="412" y="105"/>
                  </a:lnTo>
                  <a:lnTo>
                    <a:pt x="409" y="98"/>
                  </a:lnTo>
                  <a:lnTo>
                    <a:pt x="409" y="93"/>
                  </a:lnTo>
                  <a:lnTo>
                    <a:pt x="410" y="90"/>
                  </a:lnTo>
                  <a:lnTo>
                    <a:pt x="413" y="86"/>
                  </a:lnTo>
                  <a:lnTo>
                    <a:pt x="413" y="86"/>
                  </a:lnTo>
                  <a:lnTo>
                    <a:pt x="415" y="82"/>
                  </a:lnTo>
                  <a:lnTo>
                    <a:pt x="415" y="77"/>
                  </a:lnTo>
                  <a:lnTo>
                    <a:pt x="415" y="73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3" y="62"/>
                  </a:lnTo>
                  <a:lnTo>
                    <a:pt x="415" y="56"/>
                  </a:lnTo>
                  <a:lnTo>
                    <a:pt x="416" y="49"/>
                  </a:lnTo>
                  <a:lnTo>
                    <a:pt x="416" y="49"/>
                  </a:lnTo>
                  <a:lnTo>
                    <a:pt x="412" y="50"/>
                  </a:lnTo>
                  <a:lnTo>
                    <a:pt x="407" y="52"/>
                  </a:lnTo>
                  <a:lnTo>
                    <a:pt x="402" y="55"/>
                  </a:lnTo>
                  <a:lnTo>
                    <a:pt x="402" y="55"/>
                  </a:lnTo>
                  <a:lnTo>
                    <a:pt x="399" y="55"/>
                  </a:lnTo>
                  <a:lnTo>
                    <a:pt x="393" y="55"/>
                  </a:lnTo>
                  <a:lnTo>
                    <a:pt x="388" y="53"/>
                  </a:lnTo>
                  <a:lnTo>
                    <a:pt x="382" y="52"/>
                  </a:lnTo>
                  <a:lnTo>
                    <a:pt x="382" y="52"/>
                  </a:lnTo>
                  <a:lnTo>
                    <a:pt x="381" y="53"/>
                  </a:lnTo>
                  <a:lnTo>
                    <a:pt x="379" y="53"/>
                  </a:lnTo>
                  <a:lnTo>
                    <a:pt x="376" y="58"/>
                  </a:lnTo>
                  <a:lnTo>
                    <a:pt x="375" y="62"/>
                  </a:lnTo>
                  <a:lnTo>
                    <a:pt x="373" y="65"/>
                  </a:lnTo>
                  <a:lnTo>
                    <a:pt x="373" y="65"/>
                  </a:lnTo>
                  <a:lnTo>
                    <a:pt x="370" y="65"/>
                  </a:lnTo>
                  <a:lnTo>
                    <a:pt x="367" y="67"/>
                  </a:lnTo>
                  <a:lnTo>
                    <a:pt x="359" y="65"/>
                  </a:lnTo>
                  <a:lnTo>
                    <a:pt x="348" y="62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2" y="50"/>
                  </a:lnTo>
                  <a:lnTo>
                    <a:pt x="326" y="42"/>
                  </a:lnTo>
                  <a:lnTo>
                    <a:pt x="320" y="33"/>
                  </a:lnTo>
                  <a:lnTo>
                    <a:pt x="314" y="24"/>
                  </a:lnTo>
                  <a:lnTo>
                    <a:pt x="314" y="24"/>
                  </a:lnTo>
                  <a:lnTo>
                    <a:pt x="305" y="15"/>
                  </a:lnTo>
                  <a:lnTo>
                    <a:pt x="296" y="8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5" y="12"/>
                  </a:lnTo>
                  <a:lnTo>
                    <a:pt x="285" y="12"/>
                  </a:lnTo>
                  <a:lnTo>
                    <a:pt x="283" y="28"/>
                  </a:lnTo>
                  <a:lnTo>
                    <a:pt x="280" y="37"/>
                  </a:lnTo>
                  <a:lnTo>
                    <a:pt x="279" y="40"/>
                  </a:lnTo>
                  <a:lnTo>
                    <a:pt x="277" y="42"/>
                  </a:lnTo>
                  <a:lnTo>
                    <a:pt x="274" y="42"/>
                  </a:lnTo>
                  <a:lnTo>
                    <a:pt x="271" y="39"/>
                  </a:lnTo>
                  <a:lnTo>
                    <a:pt x="271" y="39"/>
                  </a:lnTo>
                  <a:lnTo>
                    <a:pt x="264" y="33"/>
                  </a:lnTo>
                  <a:lnTo>
                    <a:pt x="255" y="28"/>
                  </a:lnTo>
                  <a:lnTo>
                    <a:pt x="252" y="27"/>
                  </a:lnTo>
                  <a:lnTo>
                    <a:pt x="248" y="27"/>
                  </a:lnTo>
                  <a:lnTo>
                    <a:pt x="243" y="28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7" y="36"/>
                  </a:lnTo>
                  <a:lnTo>
                    <a:pt x="236" y="40"/>
                  </a:lnTo>
                  <a:lnTo>
                    <a:pt x="234" y="48"/>
                  </a:lnTo>
                  <a:lnTo>
                    <a:pt x="231" y="53"/>
                  </a:lnTo>
                  <a:lnTo>
                    <a:pt x="230" y="55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18" y="56"/>
                  </a:lnTo>
                  <a:lnTo>
                    <a:pt x="212" y="56"/>
                  </a:lnTo>
                  <a:lnTo>
                    <a:pt x="209" y="58"/>
                  </a:lnTo>
                  <a:lnTo>
                    <a:pt x="206" y="61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194" y="80"/>
                  </a:lnTo>
                  <a:lnTo>
                    <a:pt x="190" y="89"/>
                  </a:lnTo>
                  <a:lnTo>
                    <a:pt x="179" y="99"/>
                  </a:lnTo>
                  <a:lnTo>
                    <a:pt x="179" y="99"/>
                  </a:lnTo>
                  <a:lnTo>
                    <a:pt x="178" y="101"/>
                  </a:lnTo>
                  <a:lnTo>
                    <a:pt x="175" y="102"/>
                  </a:lnTo>
                  <a:lnTo>
                    <a:pt x="169" y="104"/>
                  </a:lnTo>
                  <a:lnTo>
                    <a:pt x="162" y="104"/>
                  </a:lnTo>
                  <a:lnTo>
                    <a:pt x="159" y="105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3" y="113"/>
                  </a:lnTo>
                  <a:lnTo>
                    <a:pt x="151" y="119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7" y="119"/>
                  </a:lnTo>
                  <a:lnTo>
                    <a:pt x="142" y="116"/>
                  </a:lnTo>
                  <a:lnTo>
                    <a:pt x="142" y="116"/>
                  </a:lnTo>
                  <a:lnTo>
                    <a:pt x="136" y="102"/>
                  </a:lnTo>
                  <a:lnTo>
                    <a:pt x="131" y="88"/>
                  </a:lnTo>
                  <a:lnTo>
                    <a:pt x="123" y="74"/>
                  </a:lnTo>
                  <a:lnTo>
                    <a:pt x="120" y="70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08" y="65"/>
                  </a:lnTo>
                  <a:lnTo>
                    <a:pt x="98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76" y="62"/>
                  </a:lnTo>
                  <a:lnTo>
                    <a:pt x="65" y="55"/>
                  </a:lnTo>
                  <a:lnTo>
                    <a:pt x="58" y="52"/>
                  </a:lnTo>
                  <a:lnTo>
                    <a:pt x="51" y="49"/>
                  </a:lnTo>
                  <a:lnTo>
                    <a:pt x="43" y="49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27" y="58"/>
                  </a:lnTo>
                  <a:lnTo>
                    <a:pt x="21" y="62"/>
                  </a:lnTo>
                  <a:lnTo>
                    <a:pt x="18" y="65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25" y="82"/>
                  </a:lnTo>
                  <a:lnTo>
                    <a:pt x="33" y="86"/>
                  </a:lnTo>
                  <a:lnTo>
                    <a:pt x="39" y="9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67" y="119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9" y="132"/>
                  </a:lnTo>
                  <a:lnTo>
                    <a:pt x="80" y="135"/>
                  </a:lnTo>
                  <a:lnTo>
                    <a:pt x="80" y="142"/>
                  </a:lnTo>
                  <a:lnTo>
                    <a:pt x="79" y="147"/>
                  </a:lnTo>
                  <a:lnTo>
                    <a:pt x="77" y="148"/>
                  </a:lnTo>
                  <a:lnTo>
                    <a:pt x="77" y="148"/>
                  </a:lnTo>
                  <a:lnTo>
                    <a:pt x="77" y="150"/>
                  </a:lnTo>
                  <a:lnTo>
                    <a:pt x="74" y="154"/>
                  </a:lnTo>
                  <a:lnTo>
                    <a:pt x="73" y="156"/>
                  </a:lnTo>
                  <a:lnTo>
                    <a:pt x="68" y="156"/>
                  </a:lnTo>
                  <a:lnTo>
                    <a:pt x="64" y="154"/>
                  </a:lnTo>
                  <a:lnTo>
                    <a:pt x="58" y="151"/>
                  </a:lnTo>
                  <a:lnTo>
                    <a:pt x="58" y="151"/>
                  </a:lnTo>
                  <a:lnTo>
                    <a:pt x="37" y="139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2" y="126"/>
                  </a:lnTo>
                  <a:lnTo>
                    <a:pt x="20" y="126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8" y="125"/>
                  </a:lnTo>
                  <a:lnTo>
                    <a:pt x="11" y="129"/>
                  </a:lnTo>
                  <a:lnTo>
                    <a:pt x="12" y="132"/>
                  </a:lnTo>
                  <a:lnTo>
                    <a:pt x="12" y="135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6" y="139"/>
                  </a:lnTo>
                  <a:lnTo>
                    <a:pt x="2" y="142"/>
                  </a:lnTo>
                  <a:lnTo>
                    <a:pt x="0" y="144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5" y="154"/>
                  </a:lnTo>
                  <a:lnTo>
                    <a:pt x="8" y="160"/>
                  </a:lnTo>
                  <a:lnTo>
                    <a:pt x="11" y="165"/>
                  </a:lnTo>
                  <a:lnTo>
                    <a:pt x="12" y="165"/>
                  </a:lnTo>
                  <a:lnTo>
                    <a:pt x="15" y="165"/>
                  </a:lnTo>
                  <a:lnTo>
                    <a:pt x="15" y="165"/>
                  </a:lnTo>
                  <a:lnTo>
                    <a:pt x="20" y="162"/>
                  </a:lnTo>
                  <a:lnTo>
                    <a:pt x="22" y="159"/>
                  </a:lnTo>
                  <a:lnTo>
                    <a:pt x="24" y="157"/>
                  </a:lnTo>
                  <a:lnTo>
                    <a:pt x="25" y="157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40" y="170"/>
                  </a:lnTo>
                  <a:lnTo>
                    <a:pt x="52" y="184"/>
                  </a:lnTo>
                  <a:lnTo>
                    <a:pt x="52" y="184"/>
                  </a:lnTo>
                  <a:lnTo>
                    <a:pt x="62" y="197"/>
                  </a:lnTo>
                  <a:lnTo>
                    <a:pt x="65" y="202"/>
                  </a:lnTo>
                  <a:lnTo>
                    <a:pt x="65" y="206"/>
                  </a:lnTo>
                  <a:lnTo>
                    <a:pt x="65" y="206"/>
                  </a:lnTo>
                  <a:lnTo>
                    <a:pt x="64" y="209"/>
                  </a:lnTo>
                  <a:lnTo>
                    <a:pt x="61" y="212"/>
                  </a:lnTo>
                  <a:lnTo>
                    <a:pt x="58" y="215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5" y="231"/>
                  </a:lnTo>
                  <a:lnTo>
                    <a:pt x="54" y="236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39" y="247"/>
                  </a:lnTo>
                  <a:lnTo>
                    <a:pt x="34" y="252"/>
                  </a:lnTo>
                  <a:lnTo>
                    <a:pt x="34" y="255"/>
                  </a:lnTo>
                  <a:lnTo>
                    <a:pt x="34" y="258"/>
                  </a:lnTo>
                  <a:lnTo>
                    <a:pt x="34" y="258"/>
                  </a:lnTo>
                  <a:lnTo>
                    <a:pt x="42" y="271"/>
                  </a:lnTo>
                  <a:lnTo>
                    <a:pt x="46" y="277"/>
                  </a:lnTo>
                  <a:lnTo>
                    <a:pt x="51" y="282"/>
                  </a:lnTo>
                  <a:lnTo>
                    <a:pt x="51" y="282"/>
                  </a:lnTo>
                  <a:lnTo>
                    <a:pt x="57" y="283"/>
                  </a:lnTo>
                  <a:lnTo>
                    <a:pt x="62" y="283"/>
                  </a:lnTo>
                  <a:lnTo>
                    <a:pt x="67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0" y="284"/>
                  </a:lnTo>
                  <a:lnTo>
                    <a:pt x="71" y="286"/>
                  </a:lnTo>
                  <a:lnTo>
                    <a:pt x="70" y="289"/>
                  </a:lnTo>
                  <a:lnTo>
                    <a:pt x="67" y="293"/>
                  </a:lnTo>
                  <a:lnTo>
                    <a:pt x="58" y="307"/>
                  </a:lnTo>
                  <a:lnTo>
                    <a:pt x="58" y="307"/>
                  </a:lnTo>
                  <a:lnTo>
                    <a:pt x="54" y="313"/>
                  </a:lnTo>
                  <a:lnTo>
                    <a:pt x="48" y="319"/>
                  </a:lnTo>
                  <a:lnTo>
                    <a:pt x="45" y="324"/>
                  </a:lnTo>
                  <a:lnTo>
                    <a:pt x="43" y="327"/>
                  </a:lnTo>
                  <a:lnTo>
                    <a:pt x="43" y="329"/>
                  </a:lnTo>
                  <a:lnTo>
                    <a:pt x="43" y="329"/>
                  </a:lnTo>
                  <a:lnTo>
                    <a:pt x="55" y="344"/>
                  </a:lnTo>
                  <a:lnTo>
                    <a:pt x="65" y="354"/>
                  </a:lnTo>
                  <a:lnTo>
                    <a:pt x="76" y="360"/>
                  </a:lnTo>
                  <a:lnTo>
                    <a:pt x="76" y="360"/>
                  </a:lnTo>
                  <a:lnTo>
                    <a:pt x="79" y="361"/>
                  </a:lnTo>
                  <a:lnTo>
                    <a:pt x="82" y="361"/>
                  </a:lnTo>
                  <a:lnTo>
                    <a:pt x="86" y="359"/>
                  </a:lnTo>
                  <a:lnTo>
                    <a:pt x="91" y="354"/>
                  </a:lnTo>
                  <a:lnTo>
                    <a:pt x="91" y="354"/>
                  </a:lnTo>
                  <a:lnTo>
                    <a:pt x="99" y="360"/>
                  </a:lnTo>
                  <a:lnTo>
                    <a:pt x="110" y="369"/>
                  </a:lnTo>
                  <a:lnTo>
                    <a:pt x="110" y="369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7" y="366"/>
                  </a:lnTo>
                  <a:lnTo>
                    <a:pt x="128" y="354"/>
                  </a:lnTo>
                  <a:lnTo>
                    <a:pt x="141" y="336"/>
                  </a:lnTo>
                  <a:lnTo>
                    <a:pt x="141" y="336"/>
                  </a:lnTo>
                  <a:lnTo>
                    <a:pt x="159" y="360"/>
                  </a:lnTo>
                  <a:lnTo>
                    <a:pt x="159" y="360"/>
                  </a:lnTo>
                  <a:lnTo>
                    <a:pt x="160" y="361"/>
                  </a:lnTo>
                  <a:lnTo>
                    <a:pt x="160" y="366"/>
                  </a:lnTo>
                  <a:lnTo>
                    <a:pt x="159" y="375"/>
                  </a:lnTo>
                  <a:lnTo>
                    <a:pt x="157" y="385"/>
                  </a:lnTo>
                  <a:lnTo>
                    <a:pt x="156" y="393"/>
                  </a:lnTo>
                  <a:lnTo>
                    <a:pt x="156" y="393"/>
                  </a:lnTo>
                  <a:lnTo>
                    <a:pt x="157" y="400"/>
                  </a:lnTo>
                  <a:lnTo>
                    <a:pt x="160" y="407"/>
                  </a:lnTo>
                  <a:lnTo>
                    <a:pt x="163" y="412"/>
                  </a:lnTo>
                  <a:lnTo>
                    <a:pt x="165" y="413"/>
                  </a:lnTo>
                  <a:lnTo>
                    <a:pt x="165" y="410"/>
                  </a:lnTo>
                  <a:lnTo>
                    <a:pt x="165" y="410"/>
                  </a:lnTo>
                  <a:lnTo>
                    <a:pt x="165" y="409"/>
                  </a:lnTo>
                  <a:lnTo>
                    <a:pt x="166" y="409"/>
                  </a:lnTo>
                  <a:lnTo>
                    <a:pt x="169" y="409"/>
                  </a:lnTo>
                  <a:lnTo>
                    <a:pt x="174" y="412"/>
                  </a:lnTo>
                  <a:lnTo>
                    <a:pt x="176" y="415"/>
                  </a:lnTo>
                  <a:lnTo>
                    <a:pt x="176" y="415"/>
                  </a:lnTo>
                  <a:lnTo>
                    <a:pt x="179" y="421"/>
                  </a:lnTo>
                  <a:lnTo>
                    <a:pt x="182" y="430"/>
                  </a:lnTo>
                  <a:lnTo>
                    <a:pt x="184" y="440"/>
                  </a:lnTo>
                  <a:lnTo>
                    <a:pt x="184" y="450"/>
                  </a:lnTo>
                  <a:lnTo>
                    <a:pt x="184" y="45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49" name="Freeform 28">
              <a:extLst>
                <a:ext uri="{FF2B5EF4-FFF2-40B4-BE49-F238E27FC236}">
                  <a16:creationId xmlns:a16="http://schemas.microsoft.com/office/drawing/2014/main" id="{F6F929B8-1886-DB44-9BC9-04872B87D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4075" y="7419975"/>
              <a:ext cx="484188" cy="700087"/>
            </a:xfrm>
            <a:custGeom>
              <a:avLst/>
              <a:gdLst>
                <a:gd name="T0" fmla="*/ 137 w 305"/>
                <a:gd name="T1" fmla="*/ 159 h 441"/>
                <a:gd name="T2" fmla="*/ 131 w 305"/>
                <a:gd name="T3" fmla="*/ 170 h 441"/>
                <a:gd name="T4" fmla="*/ 105 w 305"/>
                <a:gd name="T5" fmla="*/ 205 h 441"/>
                <a:gd name="T6" fmla="*/ 101 w 305"/>
                <a:gd name="T7" fmla="*/ 213 h 441"/>
                <a:gd name="T8" fmla="*/ 114 w 305"/>
                <a:gd name="T9" fmla="*/ 234 h 441"/>
                <a:gd name="T10" fmla="*/ 104 w 305"/>
                <a:gd name="T11" fmla="*/ 250 h 441"/>
                <a:gd name="T12" fmla="*/ 101 w 305"/>
                <a:gd name="T13" fmla="*/ 262 h 441"/>
                <a:gd name="T14" fmla="*/ 111 w 305"/>
                <a:gd name="T15" fmla="*/ 269 h 441"/>
                <a:gd name="T16" fmla="*/ 105 w 305"/>
                <a:gd name="T17" fmla="*/ 287 h 441"/>
                <a:gd name="T18" fmla="*/ 97 w 305"/>
                <a:gd name="T19" fmla="*/ 302 h 441"/>
                <a:gd name="T20" fmla="*/ 67 w 305"/>
                <a:gd name="T21" fmla="*/ 334 h 441"/>
                <a:gd name="T22" fmla="*/ 46 w 305"/>
                <a:gd name="T23" fmla="*/ 340 h 441"/>
                <a:gd name="T24" fmla="*/ 33 w 305"/>
                <a:gd name="T25" fmla="*/ 343 h 441"/>
                <a:gd name="T26" fmla="*/ 24 w 305"/>
                <a:gd name="T27" fmla="*/ 351 h 441"/>
                <a:gd name="T28" fmla="*/ 12 w 305"/>
                <a:gd name="T29" fmla="*/ 370 h 441"/>
                <a:gd name="T30" fmla="*/ 15 w 305"/>
                <a:gd name="T31" fmla="*/ 389 h 441"/>
                <a:gd name="T32" fmla="*/ 0 w 305"/>
                <a:gd name="T33" fmla="*/ 395 h 441"/>
                <a:gd name="T34" fmla="*/ 9 w 305"/>
                <a:gd name="T35" fmla="*/ 410 h 441"/>
                <a:gd name="T36" fmla="*/ 17 w 305"/>
                <a:gd name="T37" fmla="*/ 426 h 441"/>
                <a:gd name="T38" fmla="*/ 39 w 305"/>
                <a:gd name="T39" fmla="*/ 439 h 441"/>
                <a:gd name="T40" fmla="*/ 49 w 305"/>
                <a:gd name="T41" fmla="*/ 433 h 441"/>
                <a:gd name="T42" fmla="*/ 54 w 305"/>
                <a:gd name="T43" fmla="*/ 414 h 441"/>
                <a:gd name="T44" fmla="*/ 71 w 305"/>
                <a:gd name="T45" fmla="*/ 414 h 441"/>
                <a:gd name="T46" fmla="*/ 88 w 305"/>
                <a:gd name="T47" fmla="*/ 407 h 441"/>
                <a:gd name="T48" fmla="*/ 100 w 305"/>
                <a:gd name="T49" fmla="*/ 414 h 441"/>
                <a:gd name="T50" fmla="*/ 110 w 305"/>
                <a:gd name="T51" fmla="*/ 416 h 441"/>
                <a:gd name="T52" fmla="*/ 128 w 305"/>
                <a:gd name="T53" fmla="*/ 422 h 441"/>
                <a:gd name="T54" fmla="*/ 131 w 305"/>
                <a:gd name="T55" fmla="*/ 414 h 441"/>
                <a:gd name="T56" fmla="*/ 144 w 305"/>
                <a:gd name="T57" fmla="*/ 407 h 441"/>
                <a:gd name="T58" fmla="*/ 160 w 305"/>
                <a:gd name="T59" fmla="*/ 391 h 441"/>
                <a:gd name="T60" fmla="*/ 156 w 305"/>
                <a:gd name="T61" fmla="*/ 374 h 441"/>
                <a:gd name="T62" fmla="*/ 169 w 305"/>
                <a:gd name="T63" fmla="*/ 358 h 441"/>
                <a:gd name="T64" fmla="*/ 187 w 305"/>
                <a:gd name="T65" fmla="*/ 370 h 441"/>
                <a:gd name="T66" fmla="*/ 196 w 305"/>
                <a:gd name="T67" fmla="*/ 361 h 441"/>
                <a:gd name="T68" fmla="*/ 208 w 305"/>
                <a:gd name="T69" fmla="*/ 337 h 441"/>
                <a:gd name="T70" fmla="*/ 242 w 305"/>
                <a:gd name="T71" fmla="*/ 321 h 441"/>
                <a:gd name="T72" fmla="*/ 252 w 305"/>
                <a:gd name="T73" fmla="*/ 302 h 441"/>
                <a:gd name="T74" fmla="*/ 268 w 305"/>
                <a:gd name="T75" fmla="*/ 276 h 441"/>
                <a:gd name="T76" fmla="*/ 280 w 305"/>
                <a:gd name="T77" fmla="*/ 266 h 441"/>
                <a:gd name="T78" fmla="*/ 305 w 305"/>
                <a:gd name="T79" fmla="*/ 242 h 441"/>
                <a:gd name="T80" fmla="*/ 295 w 305"/>
                <a:gd name="T81" fmla="*/ 216 h 441"/>
                <a:gd name="T82" fmla="*/ 271 w 305"/>
                <a:gd name="T83" fmla="*/ 194 h 441"/>
                <a:gd name="T84" fmla="*/ 279 w 305"/>
                <a:gd name="T85" fmla="*/ 177 h 441"/>
                <a:gd name="T86" fmla="*/ 277 w 305"/>
                <a:gd name="T87" fmla="*/ 124 h 441"/>
                <a:gd name="T88" fmla="*/ 268 w 305"/>
                <a:gd name="T89" fmla="*/ 109 h 441"/>
                <a:gd name="T90" fmla="*/ 258 w 305"/>
                <a:gd name="T91" fmla="*/ 93 h 441"/>
                <a:gd name="T92" fmla="*/ 255 w 305"/>
                <a:gd name="T93" fmla="*/ 66 h 441"/>
                <a:gd name="T94" fmla="*/ 231 w 305"/>
                <a:gd name="T95" fmla="*/ 41 h 441"/>
                <a:gd name="T96" fmla="*/ 209 w 305"/>
                <a:gd name="T97" fmla="*/ 26 h 441"/>
                <a:gd name="T98" fmla="*/ 200 w 305"/>
                <a:gd name="T99" fmla="*/ 37 h 441"/>
                <a:gd name="T100" fmla="*/ 154 w 305"/>
                <a:gd name="T101" fmla="*/ 32 h 441"/>
                <a:gd name="T102" fmla="*/ 147 w 305"/>
                <a:gd name="T103" fmla="*/ 8 h 441"/>
                <a:gd name="T104" fmla="*/ 120 w 305"/>
                <a:gd name="T105" fmla="*/ 0 h 441"/>
                <a:gd name="T106" fmla="*/ 114 w 305"/>
                <a:gd name="T107" fmla="*/ 13 h 441"/>
                <a:gd name="T108" fmla="*/ 129 w 305"/>
                <a:gd name="T109" fmla="*/ 42 h 441"/>
                <a:gd name="T110" fmla="*/ 108 w 305"/>
                <a:gd name="T111" fmla="*/ 84 h 441"/>
                <a:gd name="T112" fmla="*/ 92 w 305"/>
                <a:gd name="T113" fmla="*/ 91 h 441"/>
                <a:gd name="T114" fmla="*/ 104 w 305"/>
                <a:gd name="T115" fmla="*/ 106 h 441"/>
                <a:gd name="T116" fmla="*/ 119 w 305"/>
                <a:gd name="T117" fmla="*/ 103 h 441"/>
                <a:gd name="T118" fmla="*/ 129 w 305"/>
                <a:gd name="T119" fmla="*/ 114 h 441"/>
                <a:gd name="T120" fmla="*/ 143 w 305"/>
                <a:gd name="T121" fmla="*/ 119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5" h="441">
                  <a:moveTo>
                    <a:pt x="143" y="127"/>
                  </a:moveTo>
                  <a:lnTo>
                    <a:pt x="143" y="127"/>
                  </a:lnTo>
                  <a:lnTo>
                    <a:pt x="140" y="136"/>
                  </a:lnTo>
                  <a:lnTo>
                    <a:pt x="137" y="148"/>
                  </a:lnTo>
                  <a:lnTo>
                    <a:pt x="137" y="159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7"/>
                  </a:lnTo>
                  <a:lnTo>
                    <a:pt x="135" y="167"/>
                  </a:lnTo>
                  <a:lnTo>
                    <a:pt x="131" y="170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17" y="179"/>
                  </a:lnTo>
                  <a:lnTo>
                    <a:pt x="111" y="189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0" y="208"/>
                  </a:lnTo>
                  <a:lnTo>
                    <a:pt x="98" y="210"/>
                  </a:lnTo>
                  <a:lnTo>
                    <a:pt x="101" y="213"/>
                  </a:lnTo>
                  <a:lnTo>
                    <a:pt x="101" y="213"/>
                  </a:lnTo>
                  <a:lnTo>
                    <a:pt x="108" y="220"/>
                  </a:lnTo>
                  <a:lnTo>
                    <a:pt x="113" y="225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4" y="234"/>
                  </a:lnTo>
                  <a:lnTo>
                    <a:pt x="114" y="238"/>
                  </a:lnTo>
                  <a:lnTo>
                    <a:pt x="113" y="241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4" y="250"/>
                  </a:lnTo>
                  <a:lnTo>
                    <a:pt x="100" y="254"/>
                  </a:lnTo>
                  <a:lnTo>
                    <a:pt x="100" y="259"/>
                  </a:lnTo>
                  <a:lnTo>
                    <a:pt x="100" y="262"/>
                  </a:lnTo>
                  <a:lnTo>
                    <a:pt x="101" y="262"/>
                  </a:lnTo>
                  <a:lnTo>
                    <a:pt x="101" y="262"/>
                  </a:lnTo>
                  <a:lnTo>
                    <a:pt x="105" y="262"/>
                  </a:lnTo>
                  <a:lnTo>
                    <a:pt x="108" y="262"/>
                  </a:lnTo>
                  <a:lnTo>
                    <a:pt x="110" y="262"/>
                  </a:lnTo>
                  <a:lnTo>
                    <a:pt x="111" y="263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75"/>
                  </a:lnTo>
                  <a:lnTo>
                    <a:pt x="110" y="278"/>
                  </a:lnTo>
                  <a:lnTo>
                    <a:pt x="107" y="281"/>
                  </a:lnTo>
                  <a:lnTo>
                    <a:pt x="105" y="287"/>
                  </a:lnTo>
                  <a:lnTo>
                    <a:pt x="105" y="287"/>
                  </a:lnTo>
                  <a:lnTo>
                    <a:pt x="103" y="296"/>
                  </a:lnTo>
                  <a:lnTo>
                    <a:pt x="101" y="299"/>
                  </a:lnTo>
                  <a:lnTo>
                    <a:pt x="97" y="302"/>
                  </a:lnTo>
                  <a:lnTo>
                    <a:pt x="97" y="302"/>
                  </a:lnTo>
                  <a:lnTo>
                    <a:pt x="91" y="308"/>
                  </a:lnTo>
                  <a:lnTo>
                    <a:pt x="82" y="318"/>
                  </a:lnTo>
                  <a:lnTo>
                    <a:pt x="74" y="328"/>
                  </a:lnTo>
                  <a:lnTo>
                    <a:pt x="70" y="331"/>
                  </a:lnTo>
                  <a:lnTo>
                    <a:pt x="67" y="334"/>
                  </a:lnTo>
                  <a:lnTo>
                    <a:pt x="67" y="334"/>
                  </a:lnTo>
                  <a:lnTo>
                    <a:pt x="52" y="342"/>
                  </a:lnTo>
                  <a:lnTo>
                    <a:pt x="48" y="343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6" y="340"/>
                  </a:lnTo>
                  <a:lnTo>
                    <a:pt x="43" y="342"/>
                  </a:lnTo>
                  <a:lnTo>
                    <a:pt x="37" y="343"/>
                  </a:lnTo>
                  <a:lnTo>
                    <a:pt x="37" y="343"/>
                  </a:lnTo>
                  <a:lnTo>
                    <a:pt x="33" y="343"/>
                  </a:lnTo>
                  <a:lnTo>
                    <a:pt x="28" y="343"/>
                  </a:lnTo>
                  <a:lnTo>
                    <a:pt x="26" y="346"/>
                  </a:lnTo>
                  <a:lnTo>
                    <a:pt x="24" y="348"/>
                  </a:lnTo>
                  <a:lnTo>
                    <a:pt x="24" y="351"/>
                  </a:lnTo>
                  <a:lnTo>
                    <a:pt x="24" y="351"/>
                  </a:lnTo>
                  <a:lnTo>
                    <a:pt x="24" y="353"/>
                  </a:lnTo>
                  <a:lnTo>
                    <a:pt x="23" y="355"/>
                  </a:lnTo>
                  <a:lnTo>
                    <a:pt x="18" y="361"/>
                  </a:lnTo>
                  <a:lnTo>
                    <a:pt x="15" y="365"/>
                  </a:lnTo>
                  <a:lnTo>
                    <a:pt x="12" y="370"/>
                  </a:lnTo>
                  <a:lnTo>
                    <a:pt x="12" y="370"/>
                  </a:lnTo>
                  <a:lnTo>
                    <a:pt x="14" y="376"/>
                  </a:lnTo>
                  <a:lnTo>
                    <a:pt x="15" y="382"/>
                  </a:lnTo>
                  <a:lnTo>
                    <a:pt x="17" y="386"/>
                  </a:lnTo>
                  <a:lnTo>
                    <a:pt x="15" y="389"/>
                  </a:lnTo>
                  <a:lnTo>
                    <a:pt x="15" y="389"/>
                  </a:lnTo>
                  <a:lnTo>
                    <a:pt x="11" y="392"/>
                  </a:lnTo>
                  <a:lnTo>
                    <a:pt x="6" y="392"/>
                  </a:lnTo>
                  <a:lnTo>
                    <a:pt x="2" y="393"/>
                  </a:lnTo>
                  <a:lnTo>
                    <a:pt x="0" y="395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2" y="401"/>
                  </a:lnTo>
                  <a:lnTo>
                    <a:pt x="3" y="404"/>
                  </a:lnTo>
                  <a:lnTo>
                    <a:pt x="9" y="410"/>
                  </a:lnTo>
                  <a:lnTo>
                    <a:pt x="14" y="416"/>
                  </a:lnTo>
                  <a:lnTo>
                    <a:pt x="15" y="419"/>
                  </a:lnTo>
                  <a:lnTo>
                    <a:pt x="15" y="422"/>
                  </a:lnTo>
                  <a:lnTo>
                    <a:pt x="15" y="422"/>
                  </a:lnTo>
                  <a:lnTo>
                    <a:pt x="17" y="426"/>
                  </a:lnTo>
                  <a:lnTo>
                    <a:pt x="21" y="431"/>
                  </a:lnTo>
                  <a:lnTo>
                    <a:pt x="26" y="433"/>
                  </a:lnTo>
                  <a:lnTo>
                    <a:pt x="33" y="436"/>
                  </a:lnTo>
                  <a:lnTo>
                    <a:pt x="33" y="436"/>
                  </a:lnTo>
                  <a:lnTo>
                    <a:pt x="39" y="439"/>
                  </a:lnTo>
                  <a:lnTo>
                    <a:pt x="43" y="441"/>
                  </a:lnTo>
                  <a:lnTo>
                    <a:pt x="46" y="439"/>
                  </a:lnTo>
                  <a:lnTo>
                    <a:pt x="48" y="439"/>
                  </a:lnTo>
                  <a:lnTo>
                    <a:pt x="49" y="433"/>
                  </a:lnTo>
                  <a:lnTo>
                    <a:pt x="49" y="433"/>
                  </a:lnTo>
                  <a:lnTo>
                    <a:pt x="49" y="426"/>
                  </a:lnTo>
                  <a:lnTo>
                    <a:pt x="48" y="420"/>
                  </a:lnTo>
                  <a:lnTo>
                    <a:pt x="49" y="416"/>
                  </a:lnTo>
                  <a:lnTo>
                    <a:pt x="51" y="414"/>
                  </a:lnTo>
                  <a:lnTo>
                    <a:pt x="54" y="414"/>
                  </a:lnTo>
                  <a:lnTo>
                    <a:pt x="54" y="414"/>
                  </a:lnTo>
                  <a:lnTo>
                    <a:pt x="60" y="413"/>
                  </a:lnTo>
                  <a:lnTo>
                    <a:pt x="66" y="416"/>
                  </a:lnTo>
                  <a:lnTo>
                    <a:pt x="66" y="416"/>
                  </a:lnTo>
                  <a:lnTo>
                    <a:pt x="71" y="414"/>
                  </a:lnTo>
                  <a:lnTo>
                    <a:pt x="76" y="413"/>
                  </a:lnTo>
                  <a:lnTo>
                    <a:pt x="80" y="411"/>
                  </a:lnTo>
                  <a:lnTo>
                    <a:pt x="80" y="411"/>
                  </a:lnTo>
                  <a:lnTo>
                    <a:pt x="83" y="408"/>
                  </a:lnTo>
                  <a:lnTo>
                    <a:pt x="88" y="407"/>
                  </a:lnTo>
                  <a:lnTo>
                    <a:pt x="91" y="407"/>
                  </a:lnTo>
                  <a:lnTo>
                    <a:pt x="94" y="410"/>
                  </a:lnTo>
                  <a:lnTo>
                    <a:pt x="94" y="410"/>
                  </a:lnTo>
                  <a:lnTo>
                    <a:pt x="97" y="413"/>
                  </a:lnTo>
                  <a:lnTo>
                    <a:pt x="100" y="414"/>
                  </a:lnTo>
                  <a:lnTo>
                    <a:pt x="104" y="414"/>
                  </a:lnTo>
                  <a:lnTo>
                    <a:pt x="105" y="414"/>
                  </a:lnTo>
                  <a:lnTo>
                    <a:pt x="105" y="414"/>
                  </a:lnTo>
                  <a:lnTo>
                    <a:pt x="108" y="414"/>
                  </a:lnTo>
                  <a:lnTo>
                    <a:pt x="110" y="416"/>
                  </a:lnTo>
                  <a:lnTo>
                    <a:pt x="113" y="419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22" y="422"/>
                  </a:lnTo>
                  <a:lnTo>
                    <a:pt x="128" y="422"/>
                  </a:lnTo>
                  <a:lnTo>
                    <a:pt x="132" y="420"/>
                  </a:lnTo>
                  <a:lnTo>
                    <a:pt x="132" y="420"/>
                  </a:lnTo>
                  <a:lnTo>
                    <a:pt x="132" y="417"/>
                  </a:lnTo>
                  <a:lnTo>
                    <a:pt x="132" y="417"/>
                  </a:lnTo>
                  <a:lnTo>
                    <a:pt x="131" y="414"/>
                  </a:lnTo>
                  <a:lnTo>
                    <a:pt x="128" y="413"/>
                  </a:lnTo>
                  <a:lnTo>
                    <a:pt x="126" y="413"/>
                  </a:lnTo>
                  <a:lnTo>
                    <a:pt x="129" y="411"/>
                  </a:lnTo>
                  <a:lnTo>
                    <a:pt x="129" y="411"/>
                  </a:lnTo>
                  <a:lnTo>
                    <a:pt x="144" y="407"/>
                  </a:lnTo>
                  <a:lnTo>
                    <a:pt x="151" y="404"/>
                  </a:lnTo>
                  <a:lnTo>
                    <a:pt x="156" y="401"/>
                  </a:lnTo>
                  <a:lnTo>
                    <a:pt x="156" y="401"/>
                  </a:lnTo>
                  <a:lnTo>
                    <a:pt x="160" y="393"/>
                  </a:lnTo>
                  <a:lnTo>
                    <a:pt x="160" y="391"/>
                  </a:lnTo>
                  <a:lnTo>
                    <a:pt x="159" y="388"/>
                  </a:lnTo>
                  <a:lnTo>
                    <a:pt x="159" y="388"/>
                  </a:lnTo>
                  <a:lnTo>
                    <a:pt x="157" y="380"/>
                  </a:lnTo>
                  <a:lnTo>
                    <a:pt x="156" y="374"/>
                  </a:lnTo>
                  <a:lnTo>
                    <a:pt x="156" y="374"/>
                  </a:lnTo>
                  <a:lnTo>
                    <a:pt x="157" y="370"/>
                  </a:lnTo>
                  <a:lnTo>
                    <a:pt x="162" y="364"/>
                  </a:lnTo>
                  <a:lnTo>
                    <a:pt x="166" y="359"/>
                  </a:lnTo>
                  <a:lnTo>
                    <a:pt x="168" y="358"/>
                  </a:lnTo>
                  <a:lnTo>
                    <a:pt x="169" y="358"/>
                  </a:lnTo>
                  <a:lnTo>
                    <a:pt x="169" y="358"/>
                  </a:lnTo>
                  <a:lnTo>
                    <a:pt x="177" y="365"/>
                  </a:lnTo>
                  <a:lnTo>
                    <a:pt x="181" y="368"/>
                  </a:lnTo>
                  <a:lnTo>
                    <a:pt x="184" y="370"/>
                  </a:lnTo>
                  <a:lnTo>
                    <a:pt x="187" y="370"/>
                  </a:lnTo>
                  <a:lnTo>
                    <a:pt x="187" y="370"/>
                  </a:lnTo>
                  <a:lnTo>
                    <a:pt x="190" y="367"/>
                  </a:lnTo>
                  <a:lnTo>
                    <a:pt x="191" y="365"/>
                  </a:lnTo>
                  <a:lnTo>
                    <a:pt x="196" y="361"/>
                  </a:lnTo>
                  <a:lnTo>
                    <a:pt x="196" y="361"/>
                  </a:lnTo>
                  <a:lnTo>
                    <a:pt x="199" y="351"/>
                  </a:lnTo>
                  <a:lnTo>
                    <a:pt x="202" y="343"/>
                  </a:lnTo>
                  <a:lnTo>
                    <a:pt x="205" y="340"/>
                  </a:lnTo>
                  <a:lnTo>
                    <a:pt x="208" y="337"/>
                  </a:lnTo>
                  <a:lnTo>
                    <a:pt x="208" y="337"/>
                  </a:lnTo>
                  <a:lnTo>
                    <a:pt x="217" y="333"/>
                  </a:lnTo>
                  <a:lnTo>
                    <a:pt x="225" y="330"/>
                  </a:lnTo>
                  <a:lnTo>
                    <a:pt x="234" y="325"/>
                  </a:lnTo>
                  <a:lnTo>
                    <a:pt x="242" y="321"/>
                  </a:lnTo>
                  <a:lnTo>
                    <a:pt x="242" y="321"/>
                  </a:lnTo>
                  <a:lnTo>
                    <a:pt x="248" y="315"/>
                  </a:lnTo>
                  <a:lnTo>
                    <a:pt x="248" y="311"/>
                  </a:lnTo>
                  <a:lnTo>
                    <a:pt x="249" y="306"/>
                  </a:lnTo>
                  <a:lnTo>
                    <a:pt x="252" y="302"/>
                  </a:lnTo>
                  <a:lnTo>
                    <a:pt x="252" y="302"/>
                  </a:lnTo>
                  <a:lnTo>
                    <a:pt x="258" y="297"/>
                  </a:lnTo>
                  <a:lnTo>
                    <a:pt x="264" y="290"/>
                  </a:lnTo>
                  <a:lnTo>
                    <a:pt x="268" y="284"/>
                  </a:lnTo>
                  <a:lnTo>
                    <a:pt x="268" y="281"/>
                  </a:lnTo>
                  <a:lnTo>
                    <a:pt x="268" y="276"/>
                  </a:lnTo>
                  <a:lnTo>
                    <a:pt x="268" y="276"/>
                  </a:lnTo>
                  <a:lnTo>
                    <a:pt x="268" y="274"/>
                  </a:lnTo>
                  <a:lnTo>
                    <a:pt x="268" y="272"/>
                  </a:lnTo>
                  <a:lnTo>
                    <a:pt x="273" y="269"/>
                  </a:lnTo>
                  <a:lnTo>
                    <a:pt x="280" y="266"/>
                  </a:lnTo>
                  <a:lnTo>
                    <a:pt x="292" y="260"/>
                  </a:lnTo>
                  <a:lnTo>
                    <a:pt x="292" y="260"/>
                  </a:lnTo>
                  <a:lnTo>
                    <a:pt x="301" y="251"/>
                  </a:lnTo>
                  <a:lnTo>
                    <a:pt x="304" y="247"/>
                  </a:lnTo>
                  <a:lnTo>
                    <a:pt x="305" y="242"/>
                  </a:lnTo>
                  <a:lnTo>
                    <a:pt x="305" y="238"/>
                  </a:lnTo>
                  <a:lnTo>
                    <a:pt x="305" y="234"/>
                  </a:lnTo>
                  <a:lnTo>
                    <a:pt x="301" y="225"/>
                  </a:lnTo>
                  <a:lnTo>
                    <a:pt x="301" y="225"/>
                  </a:lnTo>
                  <a:lnTo>
                    <a:pt x="295" y="216"/>
                  </a:lnTo>
                  <a:lnTo>
                    <a:pt x="289" y="210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3" y="197"/>
                  </a:lnTo>
                  <a:lnTo>
                    <a:pt x="271" y="194"/>
                  </a:lnTo>
                  <a:lnTo>
                    <a:pt x="271" y="192"/>
                  </a:lnTo>
                  <a:lnTo>
                    <a:pt x="273" y="191"/>
                  </a:lnTo>
                  <a:lnTo>
                    <a:pt x="276" y="185"/>
                  </a:lnTo>
                  <a:lnTo>
                    <a:pt x="279" y="177"/>
                  </a:lnTo>
                  <a:lnTo>
                    <a:pt x="279" y="177"/>
                  </a:lnTo>
                  <a:lnTo>
                    <a:pt x="280" y="165"/>
                  </a:lnTo>
                  <a:lnTo>
                    <a:pt x="280" y="151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7" y="124"/>
                  </a:lnTo>
                  <a:lnTo>
                    <a:pt x="274" y="122"/>
                  </a:lnTo>
                  <a:lnTo>
                    <a:pt x="270" y="119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09"/>
                  </a:lnTo>
                  <a:lnTo>
                    <a:pt x="265" y="103"/>
                  </a:lnTo>
                  <a:lnTo>
                    <a:pt x="262" y="99"/>
                  </a:lnTo>
                  <a:lnTo>
                    <a:pt x="262" y="99"/>
                  </a:lnTo>
                  <a:lnTo>
                    <a:pt x="259" y="96"/>
                  </a:lnTo>
                  <a:lnTo>
                    <a:pt x="258" y="93"/>
                  </a:lnTo>
                  <a:lnTo>
                    <a:pt x="259" y="88"/>
                  </a:lnTo>
                  <a:lnTo>
                    <a:pt x="259" y="82"/>
                  </a:lnTo>
                  <a:lnTo>
                    <a:pt x="259" y="82"/>
                  </a:lnTo>
                  <a:lnTo>
                    <a:pt x="258" y="75"/>
                  </a:lnTo>
                  <a:lnTo>
                    <a:pt x="255" y="66"/>
                  </a:lnTo>
                  <a:lnTo>
                    <a:pt x="251" y="59"/>
                  </a:lnTo>
                  <a:lnTo>
                    <a:pt x="243" y="53"/>
                  </a:lnTo>
                  <a:lnTo>
                    <a:pt x="243" y="53"/>
                  </a:lnTo>
                  <a:lnTo>
                    <a:pt x="237" y="48"/>
                  </a:lnTo>
                  <a:lnTo>
                    <a:pt x="231" y="41"/>
                  </a:lnTo>
                  <a:lnTo>
                    <a:pt x="218" y="26"/>
                  </a:lnTo>
                  <a:lnTo>
                    <a:pt x="218" y="26"/>
                  </a:lnTo>
                  <a:lnTo>
                    <a:pt x="215" y="25"/>
                  </a:lnTo>
                  <a:lnTo>
                    <a:pt x="212" y="25"/>
                  </a:lnTo>
                  <a:lnTo>
                    <a:pt x="209" y="26"/>
                  </a:lnTo>
                  <a:lnTo>
                    <a:pt x="208" y="28"/>
                  </a:lnTo>
                  <a:lnTo>
                    <a:pt x="203" y="34"/>
                  </a:lnTo>
                  <a:lnTo>
                    <a:pt x="202" y="35"/>
                  </a:lnTo>
                  <a:lnTo>
                    <a:pt x="200" y="37"/>
                  </a:lnTo>
                  <a:lnTo>
                    <a:pt x="200" y="37"/>
                  </a:lnTo>
                  <a:lnTo>
                    <a:pt x="181" y="37"/>
                  </a:lnTo>
                  <a:lnTo>
                    <a:pt x="169" y="37"/>
                  </a:lnTo>
                  <a:lnTo>
                    <a:pt x="157" y="35"/>
                  </a:lnTo>
                  <a:lnTo>
                    <a:pt x="157" y="35"/>
                  </a:lnTo>
                  <a:lnTo>
                    <a:pt x="154" y="32"/>
                  </a:lnTo>
                  <a:lnTo>
                    <a:pt x="151" y="31"/>
                  </a:lnTo>
                  <a:lnTo>
                    <a:pt x="151" y="25"/>
                  </a:lnTo>
                  <a:lnTo>
                    <a:pt x="151" y="16"/>
                  </a:lnTo>
                  <a:lnTo>
                    <a:pt x="150" y="11"/>
                  </a:lnTo>
                  <a:lnTo>
                    <a:pt x="147" y="8"/>
                  </a:lnTo>
                  <a:lnTo>
                    <a:pt x="147" y="8"/>
                  </a:lnTo>
                  <a:lnTo>
                    <a:pt x="143" y="4"/>
                  </a:lnTo>
                  <a:lnTo>
                    <a:pt x="138" y="1"/>
                  </a:lnTo>
                  <a:lnTo>
                    <a:pt x="129" y="0"/>
                  </a:lnTo>
                  <a:lnTo>
                    <a:pt x="120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6" y="4"/>
                  </a:lnTo>
                  <a:lnTo>
                    <a:pt x="114" y="8"/>
                  </a:lnTo>
                  <a:lnTo>
                    <a:pt x="114" y="13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26" y="37"/>
                  </a:lnTo>
                  <a:lnTo>
                    <a:pt x="128" y="40"/>
                  </a:lnTo>
                  <a:lnTo>
                    <a:pt x="129" y="42"/>
                  </a:lnTo>
                  <a:lnTo>
                    <a:pt x="129" y="42"/>
                  </a:lnTo>
                  <a:lnTo>
                    <a:pt x="126" y="50"/>
                  </a:lnTo>
                  <a:lnTo>
                    <a:pt x="120" y="62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5" y="85"/>
                  </a:lnTo>
                  <a:lnTo>
                    <a:pt x="104" y="88"/>
                  </a:lnTo>
                  <a:lnTo>
                    <a:pt x="98" y="90"/>
                  </a:lnTo>
                  <a:lnTo>
                    <a:pt x="94" y="90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4" y="97"/>
                  </a:lnTo>
                  <a:lnTo>
                    <a:pt x="100" y="102"/>
                  </a:lnTo>
                  <a:lnTo>
                    <a:pt x="104" y="106"/>
                  </a:lnTo>
                  <a:lnTo>
                    <a:pt x="110" y="109"/>
                  </a:lnTo>
                  <a:lnTo>
                    <a:pt x="110" y="109"/>
                  </a:lnTo>
                  <a:lnTo>
                    <a:pt x="113" y="108"/>
                  </a:lnTo>
                  <a:lnTo>
                    <a:pt x="116" y="105"/>
                  </a:lnTo>
                  <a:lnTo>
                    <a:pt x="119" y="103"/>
                  </a:lnTo>
                  <a:lnTo>
                    <a:pt x="120" y="103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6" y="111"/>
                  </a:lnTo>
                  <a:lnTo>
                    <a:pt x="129" y="114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7" y="117"/>
                  </a:lnTo>
                  <a:lnTo>
                    <a:pt x="141" y="118"/>
                  </a:lnTo>
                  <a:lnTo>
                    <a:pt x="143" y="119"/>
                  </a:lnTo>
                  <a:lnTo>
                    <a:pt x="144" y="121"/>
                  </a:lnTo>
                  <a:lnTo>
                    <a:pt x="144" y="124"/>
                  </a:lnTo>
                  <a:lnTo>
                    <a:pt x="143" y="127"/>
                  </a:lnTo>
                  <a:lnTo>
                    <a:pt x="143" y="12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0" name="Freeform 29">
              <a:extLst>
                <a:ext uri="{FF2B5EF4-FFF2-40B4-BE49-F238E27FC236}">
                  <a16:creationId xmlns:a16="http://schemas.microsoft.com/office/drawing/2014/main" id="{F21930C4-9CE7-D54B-9D49-CA84A47DE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5675" y="7791450"/>
              <a:ext cx="1173163" cy="711200"/>
            </a:xfrm>
            <a:custGeom>
              <a:avLst/>
              <a:gdLst>
                <a:gd name="T0" fmla="*/ 153 w 739"/>
                <a:gd name="T1" fmla="*/ 151 h 448"/>
                <a:gd name="T2" fmla="*/ 135 w 739"/>
                <a:gd name="T3" fmla="*/ 127 h 448"/>
                <a:gd name="T4" fmla="*/ 117 w 739"/>
                <a:gd name="T5" fmla="*/ 134 h 448"/>
                <a:gd name="T6" fmla="*/ 93 w 739"/>
                <a:gd name="T7" fmla="*/ 136 h 448"/>
                <a:gd name="T8" fmla="*/ 96 w 739"/>
                <a:gd name="T9" fmla="*/ 159 h 448"/>
                <a:gd name="T10" fmla="*/ 62 w 739"/>
                <a:gd name="T11" fmla="*/ 179 h 448"/>
                <a:gd name="T12" fmla="*/ 64 w 739"/>
                <a:gd name="T13" fmla="*/ 188 h 448"/>
                <a:gd name="T14" fmla="*/ 41 w 739"/>
                <a:gd name="T15" fmla="*/ 180 h 448"/>
                <a:gd name="T16" fmla="*/ 27 w 739"/>
                <a:gd name="T17" fmla="*/ 173 h 448"/>
                <a:gd name="T18" fmla="*/ 2 w 739"/>
                <a:gd name="T19" fmla="*/ 182 h 448"/>
                <a:gd name="T20" fmla="*/ 4 w 739"/>
                <a:gd name="T21" fmla="*/ 205 h 448"/>
                <a:gd name="T22" fmla="*/ 9 w 739"/>
                <a:gd name="T23" fmla="*/ 234 h 448"/>
                <a:gd name="T24" fmla="*/ 33 w 739"/>
                <a:gd name="T25" fmla="*/ 282 h 448"/>
                <a:gd name="T26" fmla="*/ 53 w 739"/>
                <a:gd name="T27" fmla="*/ 309 h 448"/>
                <a:gd name="T28" fmla="*/ 36 w 739"/>
                <a:gd name="T29" fmla="*/ 312 h 448"/>
                <a:gd name="T30" fmla="*/ 27 w 739"/>
                <a:gd name="T31" fmla="*/ 336 h 448"/>
                <a:gd name="T32" fmla="*/ 36 w 739"/>
                <a:gd name="T33" fmla="*/ 379 h 448"/>
                <a:gd name="T34" fmla="*/ 59 w 739"/>
                <a:gd name="T35" fmla="*/ 368 h 448"/>
                <a:gd name="T36" fmla="*/ 89 w 739"/>
                <a:gd name="T37" fmla="*/ 362 h 448"/>
                <a:gd name="T38" fmla="*/ 121 w 739"/>
                <a:gd name="T39" fmla="*/ 336 h 448"/>
                <a:gd name="T40" fmla="*/ 163 w 739"/>
                <a:gd name="T41" fmla="*/ 340 h 448"/>
                <a:gd name="T42" fmla="*/ 194 w 739"/>
                <a:gd name="T43" fmla="*/ 311 h 448"/>
                <a:gd name="T44" fmla="*/ 250 w 739"/>
                <a:gd name="T45" fmla="*/ 308 h 448"/>
                <a:gd name="T46" fmla="*/ 292 w 739"/>
                <a:gd name="T47" fmla="*/ 333 h 448"/>
                <a:gd name="T48" fmla="*/ 364 w 739"/>
                <a:gd name="T49" fmla="*/ 339 h 448"/>
                <a:gd name="T50" fmla="*/ 372 w 739"/>
                <a:gd name="T51" fmla="*/ 382 h 448"/>
                <a:gd name="T52" fmla="*/ 422 w 739"/>
                <a:gd name="T53" fmla="*/ 429 h 448"/>
                <a:gd name="T54" fmla="*/ 481 w 739"/>
                <a:gd name="T55" fmla="*/ 422 h 448"/>
                <a:gd name="T56" fmla="*/ 542 w 739"/>
                <a:gd name="T57" fmla="*/ 441 h 448"/>
                <a:gd name="T58" fmla="*/ 585 w 739"/>
                <a:gd name="T59" fmla="*/ 447 h 448"/>
                <a:gd name="T60" fmla="*/ 616 w 739"/>
                <a:gd name="T61" fmla="*/ 441 h 448"/>
                <a:gd name="T62" fmla="*/ 660 w 739"/>
                <a:gd name="T63" fmla="*/ 417 h 448"/>
                <a:gd name="T64" fmla="*/ 671 w 739"/>
                <a:gd name="T65" fmla="*/ 382 h 448"/>
                <a:gd name="T66" fmla="*/ 644 w 739"/>
                <a:gd name="T67" fmla="*/ 324 h 448"/>
                <a:gd name="T68" fmla="*/ 646 w 739"/>
                <a:gd name="T69" fmla="*/ 279 h 448"/>
                <a:gd name="T70" fmla="*/ 668 w 739"/>
                <a:gd name="T71" fmla="*/ 271 h 448"/>
                <a:gd name="T72" fmla="*/ 697 w 739"/>
                <a:gd name="T73" fmla="*/ 228 h 448"/>
                <a:gd name="T74" fmla="*/ 714 w 739"/>
                <a:gd name="T75" fmla="*/ 201 h 448"/>
                <a:gd name="T76" fmla="*/ 712 w 739"/>
                <a:gd name="T77" fmla="*/ 174 h 448"/>
                <a:gd name="T78" fmla="*/ 711 w 739"/>
                <a:gd name="T79" fmla="*/ 152 h 448"/>
                <a:gd name="T80" fmla="*/ 718 w 739"/>
                <a:gd name="T81" fmla="*/ 119 h 448"/>
                <a:gd name="T82" fmla="*/ 714 w 739"/>
                <a:gd name="T83" fmla="*/ 99 h 448"/>
                <a:gd name="T84" fmla="*/ 723 w 739"/>
                <a:gd name="T85" fmla="*/ 90 h 448"/>
                <a:gd name="T86" fmla="*/ 711 w 739"/>
                <a:gd name="T87" fmla="*/ 69 h 448"/>
                <a:gd name="T88" fmla="*/ 675 w 739"/>
                <a:gd name="T89" fmla="*/ 66 h 448"/>
                <a:gd name="T90" fmla="*/ 650 w 739"/>
                <a:gd name="T91" fmla="*/ 47 h 448"/>
                <a:gd name="T92" fmla="*/ 616 w 739"/>
                <a:gd name="T93" fmla="*/ 29 h 448"/>
                <a:gd name="T94" fmla="*/ 589 w 739"/>
                <a:gd name="T95" fmla="*/ 2 h 448"/>
                <a:gd name="T96" fmla="*/ 567 w 739"/>
                <a:gd name="T97" fmla="*/ 4 h 448"/>
                <a:gd name="T98" fmla="*/ 561 w 739"/>
                <a:gd name="T99" fmla="*/ 22 h 448"/>
                <a:gd name="T100" fmla="*/ 545 w 739"/>
                <a:gd name="T101" fmla="*/ 14 h 448"/>
                <a:gd name="T102" fmla="*/ 517 w 739"/>
                <a:gd name="T103" fmla="*/ 25 h 448"/>
                <a:gd name="T104" fmla="*/ 489 w 739"/>
                <a:gd name="T105" fmla="*/ 35 h 448"/>
                <a:gd name="T106" fmla="*/ 465 w 739"/>
                <a:gd name="T107" fmla="*/ 29 h 448"/>
                <a:gd name="T108" fmla="*/ 422 w 739"/>
                <a:gd name="T109" fmla="*/ 72 h 448"/>
                <a:gd name="T110" fmla="*/ 395 w 739"/>
                <a:gd name="T111" fmla="*/ 96 h 448"/>
                <a:gd name="T112" fmla="*/ 361 w 739"/>
                <a:gd name="T113" fmla="*/ 137 h 448"/>
                <a:gd name="T114" fmla="*/ 333 w 739"/>
                <a:gd name="T115" fmla="*/ 158 h 448"/>
                <a:gd name="T116" fmla="*/ 310 w 739"/>
                <a:gd name="T117" fmla="*/ 180 h 448"/>
                <a:gd name="T118" fmla="*/ 287 w 739"/>
                <a:gd name="T119" fmla="*/ 188 h 448"/>
                <a:gd name="T120" fmla="*/ 244 w 739"/>
                <a:gd name="T121" fmla="*/ 186 h 448"/>
                <a:gd name="T122" fmla="*/ 201 w 739"/>
                <a:gd name="T123" fmla="*/ 183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9" h="448">
                  <a:moveTo>
                    <a:pt x="197" y="183"/>
                  </a:moveTo>
                  <a:lnTo>
                    <a:pt x="197" y="183"/>
                  </a:lnTo>
                  <a:lnTo>
                    <a:pt x="188" y="179"/>
                  </a:lnTo>
                  <a:lnTo>
                    <a:pt x="175" y="171"/>
                  </a:lnTo>
                  <a:lnTo>
                    <a:pt x="161" y="161"/>
                  </a:lnTo>
                  <a:lnTo>
                    <a:pt x="156" y="155"/>
                  </a:lnTo>
                  <a:lnTo>
                    <a:pt x="153" y="151"/>
                  </a:lnTo>
                  <a:lnTo>
                    <a:pt x="153" y="151"/>
                  </a:lnTo>
                  <a:lnTo>
                    <a:pt x="150" y="142"/>
                  </a:lnTo>
                  <a:lnTo>
                    <a:pt x="147" y="134"/>
                  </a:lnTo>
                  <a:lnTo>
                    <a:pt x="141" y="130"/>
                  </a:lnTo>
                  <a:lnTo>
                    <a:pt x="136" y="127"/>
                  </a:lnTo>
                  <a:lnTo>
                    <a:pt x="136" y="127"/>
                  </a:lnTo>
                  <a:lnTo>
                    <a:pt x="135" y="127"/>
                  </a:lnTo>
                  <a:lnTo>
                    <a:pt x="132" y="127"/>
                  </a:lnTo>
                  <a:lnTo>
                    <a:pt x="129" y="128"/>
                  </a:lnTo>
                  <a:lnTo>
                    <a:pt x="126" y="133"/>
                  </a:lnTo>
                  <a:lnTo>
                    <a:pt x="123" y="136"/>
                  </a:lnTo>
                  <a:lnTo>
                    <a:pt x="123" y="136"/>
                  </a:lnTo>
                  <a:lnTo>
                    <a:pt x="120" y="136"/>
                  </a:lnTo>
                  <a:lnTo>
                    <a:pt x="117" y="134"/>
                  </a:lnTo>
                  <a:lnTo>
                    <a:pt x="113" y="131"/>
                  </a:lnTo>
                  <a:lnTo>
                    <a:pt x="105" y="124"/>
                  </a:lnTo>
                  <a:lnTo>
                    <a:pt x="105" y="124"/>
                  </a:lnTo>
                  <a:lnTo>
                    <a:pt x="104" y="124"/>
                  </a:lnTo>
                  <a:lnTo>
                    <a:pt x="102" y="125"/>
                  </a:lnTo>
                  <a:lnTo>
                    <a:pt x="98" y="130"/>
                  </a:lnTo>
                  <a:lnTo>
                    <a:pt x="93" y="136"/>
                  </a:lnTo>
                  <a:lnTo>
                    <a:pt x="93" y="140"/>
                  </a:lnTo>
                  <a:lnTo>
                    <a:pt x="93" y="140"/>
                  </a:lnTo>
                  <a:lnTo>
                    <a:pt x="93" y="146"/>
                  </a:lnTo>
                  <a:lnTo>
                    <a:pt x="95" y="154"/>
                  </a:lnTo>
                  <a:lnTo>
                    <a:pt x="95" y="154"/>
                  </a:lnTo>
                  <a:lnTo>
                    <a:pt x="96" y="157"/>
                  </a:lnTo>
                  <a:lnTo>
                    <a:pt x="96" y="159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87" y="170"/>
                  </a:lnTo>
                  <a:lnTo>
                    <a:pt x="80" y="173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2" y="179"/>
                  </a:lnTo>
                  <a:lnTo>
                    <a:pt x="64" y="179"/>
                  </a:lnTo>
                  <a:lnTo>
                    <a:pt x="67" y="180"/>
                  </a:lnTo>
                  <a:lnTo>
                    <a:pt x="68" y="183"/>
                  </a:lnTo>
                  <a:lnTo>
                    <a:pt x="68" y="183"/>
                  </a:lnTo>
                  <a:lnTo>
                    <a:pt x="68" y="186"/>
                  </a:lnTo>
                  <a:lnTo>
                    <a:pt x="68" y="186"/>
                  </a:lnTo>
                  <a:lnTo>
                    <a:pt x="64" y="188"/>
                  </a:lnTo>
                  <a:lnTo>
                    <a:pt x="58" y="188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49" y="185"/>
                  </a:lnTo>
                  <a:lnTo>
                    <a:pt x="46" y="182"/>
                  </a:lnTo>
                  <a:lnTo>
                    <a:pt x="44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0" y="180"/>
                  </a:lnTo>
                  <a:lnTo>
                    <a:pt x="36" y="180"/>
                  </a:lnTo>
                  <a:lnTo>
                    <a:pt x="33" y="179"/>
                  </a:lnTo>
                  <a:lnTo>
                    <a:pt x="30" y="176"/>
                  </a:lnTo>
                  <a:lnTo>
                    <a:pt x="30" y="176"/>
                  </a:lnTo>
                  <a:lnTo>
                    <a:pt x="27" y="173"/>
                  </a:lnTo>
                  <a:lnTo>
                    <a:pt x="24" y="173"/>
                  </a:lnTo>
                  <a:lnTo>
                    <a:pt x="19" y="174"/>
                  </a:lnTo>
                  <a:lnTo>
                    <a:pt x="16" y="177"/>
                  </a:lnTo>
                  <a:lnTo>
                    <a:pt x="16" y="177"/>
                  </a:lnTo>
                  <a:lnTo>
                    <a:pt x="12" y="179"/>
                  </a:lnTo>
                  <a:lnTo>
                    <a:pt x="7" y="180"/>
                  </a:lnTo>
                  <a:lnTo>
                    <a:pt x="2" y="182"/>
                  </a:lnTo>
                  <a:lnTo>
                    <a:pt x="2" y="182"/>
                  </a:lnTo>
                  <a:lnTo>
                    <a:pt x="3" y="185"/>
                  </a:lnTo>
                  <a:lnTo>
                    <a:pt x="6" y="191"/>
                  </a:lnTo>
                  <a:lnTo>
                    <a:pt x="6" y="191"/>
                  </a:lnTo>
                  <a:lnTo>
                    <a:pt x="6" y="198"/>
                  </a:lnTo>
                  <a:lnTo>
                    <a:pt x="6" y="201"/>
                  </a:lnTo>
                  <a:lnTo>
                    <a:pt x="4" y="205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0" y="214"/>
                  </a:lnTo>
                  <a:lnTo>
                    <a:pt x="2" y="21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9" y="234"/>
                  </a:lnTo>
                  <a:lnTo>
                    <a:pt x="10" y="239"/>
                  </a:lnTo>
                  <a:lnTo>
                    <a:pt x="13" y="245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4" y="265"/>
                  </a:lnTo>
                  <a:lnTo>
                    <a:pt x="28" y="275"/>
                  </a:lnTo>
                  <a:lnTo>
                    <a:pt x="33" y="282"/>
                  </a:lnTo>
                  <a:lnTo>
                    <a:pt x="39" y="288"/>
                  </a:lnTo>
                  <a:lnTo>
                    <a:pt x="39" y="288"/>
                  </a:lnTo>
                  <a:lnTo>
                    <a:pt x="46" y="296"/>
                  </a:lnTo>
                  <a:lnTo>
                    <a:pt x="52" y="302"/>
                  </a:lnTo>
                  <a:lnTo>
                    <a:pt x="53" y="305"/>
                  </a:lnTo>
                  <a:lnTo>
                    <a:pt x="53" y="308"/>
                  </a:lnTo>
                  <a:lnTo>
                    <a:pt x="53" y="309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44" y="311"/>
                  </a:lnTo>
                  <a:lnTo>
                    <a:pt x="41" y="309"/>
                  </a:lnTo>
                  <a:lnTo>
                    <a:pt x="40" y="309"/>
                  </a:lnTo>
                  <a:lnTo>
                    <a:pt x="36" y="312"/>
                  </a:lnTo>
                  <a:lnTo>
                    <a:pt x="36" y="312"/>
                  </a:lnTo>
                  <a:lnTo>
                    <a:pt x="24" y="316"/>
                  </a:lnTo>
                  <a:lnTo>
                    <a:pt x="21" y="319"/>
                  </a:lnTo>
                  <a:lnTo>
                    <a:pt x="19" y="322"/>
                  </a:lnTo>
                  <a:lnTo>
                    <a:pt x="19" y="322"/>
                  </a:lnTo>
                  <a:lnTo>
                    <a:pt x="21" y="327"/>
                  </a:lnTo>
                  <a:lnTo>
                    <a:pt x="22" y="330"/>
                  </a:lnTo>
                  <a:lnTo>
                    <a:pt x="27" y="336"/>
                  </a:lnTo>
                  <a:lnTo>
                    <a:pt x="27" y="336"/>
                  </a:lnTo>
                  <a:lnTo>
                    <a:pt x="28" y="343"/>
                  </a:lnTo>
                  <a:lnTo>
                    <a:pt x="28" y="356"/>
                  </a:lnTo>
                  <a:lnTo>
                    <a:pt x="28" y="356"/>
                  </a:lnTo>
                  <a:lnTo>
                    <a:pt x="28" y="361"/>
                  </a:lnTo>
                  <a:lnTo>
                    <a:pt x="30" y="368"/>
                  </a:lnTo>
                  <a:lnTo>
                    <a:pt x="36" y="379"/>
                  </a:lnTo>
                  <a:lnTo>
                    <a:pt x="36" y="379"/>
                  </a:lnTo>
                  <a:lnTo>
                    <a:pt x="39" y="376"/>
                  </a:lnTo>
                  <a:lnTo>
                    <a:pt x="39" y="376"/>
                  </a:lnTo>
                  <a:lnTo>
                    <a:pt x="44" y="374"/>
                  </a:lnTo>
                  <a:lnTo>
                    <a:pt x="50" y="373"/>
                  </a:lnTo>
                  <a:lnTo>
                    <a:pt x="55" y="371"/>
                  </a:lnTo>
                  <a:lnTo>
                    <a:pt x="59" y="368"/>
                  </a:lnTo>
                  <a:lnTo>
                    <a:pt x="59" y="368"/>
                  </a:lnTo>
                  <a:lnTo>
                    <a:pt x="64" y="362"/>
                  </a:lnTo>
                  <a:lnTo>
                    <a:pt x="70" y="361"/>
                  </a:lnTo>
                  <a:lnTo>
                    <a:pt x="77" y="361"/>
                  </a:lnTo>
                  <a:lnTo>
                    <a:pt x="84" y="362"/>
                  </a:lnTo>
                  <a:lnTo>
                    <a:pt x="84" y="362"/>
                  </a:lnTo>
                  <a:lnTo>
                    <a:pt x="89" y="362"/>
                  </a:lnTo>
                  <a:lnTo>
                    <a:pt x="95" y="361"/>
                  </a:lnTo>
                  <a:lnTo>
                    <a:pt x="99" y="359"/>
                  </a:lnTo>
                  <a:lnTo>
                    <a:pt x="104" y="355"/>
                  </a:lnTo>
                  <a:lnTo>
                    <a:pt x="113" y="348"/>
                  </a:lnTo>
                  <a:lnTo>
                    <a:pt x="117" y="340"/>
                  </a:lnTo>
                  <a:lnTo>
                    <a:pt x="117" y="340"/>
                  </a:lnTo>
                  <a:lnTo>
                    <a:pt x="121" y="336"/>
                  </a:lnTo>
                  <a:lnTo>
                    <a:pt x="129" y="333"/>
                  </a:lnTo>
                  <a:lnTo>
                    <a:pt x="136" y="330"/>
                  </a:lnTo>
                  <a:lnTo>
                    <a:pt x="141" y="330"/>
                  </a:lnTo>
                  <a:lnTo>
                    <a:pt x="144" y="330"/>
                  </a:lnTo>
                  <a:lnTo>
                    <a:pt x="144" y="330"/>
                  </a:lnTo>
                  <a:lnTo>
                    <a:pt x="157" y="336"/>
                  </a:lnTo>
                  <a:lnTo>
                    <a:pt x="163" y="340"/>
                  </a:lnTo>
                  <a:lnTo>
                    <a:pt x="163" y="340"/>
                  </a:lnTo>
                  <a:lnTo>
                    <a:pt x="167" y="337"/>
                  </a:lnTo>
                  <a:lnTo>
                    <a:pt x="176" y="330"/>
                  </a:lnTo>
                  <a:lnTo>
                    <a:pt x="185" y="321"/>
                  </a:lnTo>
                  <a:lnTo>
                    <a:pt x="191" y="312"/>
                  </a:lnTo>
                  <a:lnTo>
                    <a:pt x="191" y="312"/>
                  </a:lnTo>
                  <a:lnTo>
                    <a:pt x="194" y="311"/>
                  </a:lnTo>
                  <a:lnTo>
                    <a:pt x="197" y="308"/>
                  </a:lnTo>
                  <a:lnTo>
                    <a:pt x="206" y="306"/>
                  </a:lnTo>
                  <a:lnTo>
                    <a:pt x="216" y="305"/>
                  </a:lnTo>
                  <a:lnTo>
                    <a:pt x="227" y="306"/>
                  </a:lnTo>
                  <a:lnTo>
                    <a:pt x="227" y="306"/>
                  </a:lnTo>
                  <a:lnTo>
                    <a:pt x="237" y="306"/>
                  </a:lnTo>
                  <a:lnTo>
                    <a:pt x="250" y="308"/>
                  </a:lnTo>
                  <a:lnTo>
                    <a:pt x="262" y="311"/>
                  </a:lnTo>
                  <a:lnTo>
                    <a:pt x="267" y="314"/>
                  </a:lnTo>
                  <a:lnTo>
                    <a:pt x="270" y="316"/>
                  </a:lnTo>
                  <a:lnTo>
                    <a:pt x="270" y="316"/>
                  </a:lnTo>
                  <a:lnTo>
                    <a:pt x="277" y="322"/>
                  </a:lnTo>
                  <a:lnTo>
                    <a:pt x="286" y="330"/>
                  </a:lnTo>
                  <a:lnTo>
                    <a:pt x="292" y="333"/>
                  </a:lnTo>
                  <a:lnTo>
                    <a:pt x="299" y="334"/>
                  </a:lnTo>
                  <a:lnTo>
                    <a:pt x="307" y="336"/>
                  </a:lnTo>
                  <a:lnTo>
                    <a:pt x="317" y="336"/>
                  </a:lnTo>
                  <a:lnTo>
                    <a:pt x="317" y="336"/>
                  </a:lnTo>
                  <a:lnTo>
                    <a:pt x="336" y="336"/>
                  </a:lnTo>
                  <a:lnTo>
                    <a:pt x="352" y="336"/>
                  </a:lnTo>
                  <a:lnTo>
                    <a:pt x="364" y="339"/>
                  </a:lnTo>
                  <a:lnTo>
                    <a:pt x="367" y="342"/>
                  </a:lnTo>
                  <a:lnTo>
                    <a:pt x="370" y="345"/>
                  </a:lnTo>
                  <a:lnTo>
                    <a:pt x="370" y="345"/>
                  </a:lnTo>
                  <a:lnTo>
                    <a:pt x="370" y="349"/>
                  </a:lnTo>
                  <a:lnTo>
                    <a:pt x="370" y="355"/>
                  </a:lnTo>
                  <a:lnTo>
                    <a:pt x="370" y="373"/>
                  </a:lnTo>
                  <a:lnTo>
                    <a:pt x="372" y="382"/>
                  </a:lnTo>
                  <a:lnTo>
                    <a:pt x="373" y="392"/>
                  </a:lnTo>
                  <a:lnTo>
                    <a:pt x="378" y="399"/>
                  </a:lnTo>
                  <a:lnTo>
                    <a:pt x="382" y="405"/>
                  </a:lnTo>
                  <a:lnTo>
                    <a:pt x="382" y="405"/>
                  </a:lnTo>
                  <a:lnTo>
                    <a:pt x="395" y="414"/>
                  </a:lnTo>
                  <a:lnTo>
                    <a:pt x="409" y="423"/>
                  </a:lnTo>
                  <a:lnTo>
                    <a:pt x="422" y="429"/>
                  </a:lnTo>
                  <a:lnTo>
                    <a:pt x="428" y="432"/>
                  </a:lnTo>
                  <a:lnTo>
                    <a:pt x="435" y="432"/>
                  </a:lnTo>
                  <a:lnTo>
                    <a:pt x="435" y="432"/>
                  </a:lnTo>
                  <a:lnTo>
                    <a:pt x="450" y="431"/>
                  </a:lnTo>
                  <a:lnTo>
                    <a:pt x="465" y="426"/>
                  </a:lnTo>
                  <a:lnTo>
                    <a:pt x="481" y="422"/>
                  </a:lnTo>
                  <a:lnTo>
                    <a:pt x="481" y="422"/>
                  </a:lnTo>
                  <a:lnTo>
                    <a:pt x="489" y="426"/>
                  </a:lnTo>
                  <a:lnTo>
                    <a:pt x="498" y="431"/>
                  </a:lnTo>
                  <a:lnTo>
                    <a:pt x="509" y="435"/>
                  </a:lnTo>
                  <a:lnTo>
                    <a:pt x="509" y="435"/>
                  </a:lnTo>
                  <a:lnTo>
                    <a:pt x="530" y="442"/>
                  </a:lnTo>
                  <a:lnTo>
                    <a:pt x="539" y="442"/>
                  </a:lnTo>
                  <a:lnTo>
                    <a:pt x="542" y="441"/>
                  </a:lnTo>
                  <a:lnTo>
                    <a:pt x="548" y="439"/>
                  </a:lnTo>
                  <a:lnTo>
                    <a:pt x="548" y="439"/>
                  </a:lnTo>
                  <a:lnTo>
                    <a:pt x="552" y="438"/>
                  </a:lnTo>
                  <a:lnTo>
                    <a:pt x="557" y="436"/>
                  </a:lnTo>
                  <a:lnTo>
                    <a:pt x="566" y="439"/>
                  </a:lnTo>
                  <a:lnTo>
                    <a:pt x="576" y="444"/>
                  </a:lnTo>
                  <a:lnTo>
                    <a:pt x="585" y="447"/>
                  </a:lnTo>
                  <a:lnTo>
                    <a:pt x="585" y="447"/>
                  </a:lnTo>
                  <a:lnTo>
                    <a:pt x="594" y="448"/>
                  </a:lnTo>
                  <a:lnTo>
                    <a:pt x="601" y="448"/>
                  </a:lnTo>
                  <a:lnTo>
                    <a:pt x="607" y="447"/>
                  </a:lnTo>
                  <a:lnTo>
                    <a:pt x="612" y="444"/>
                  </a:lnTo>
                  <a:lnTo>
                    <a:pt x="612" y="444"/>
                  </a:lnTo>
                  <a:lnTo>
                    <a:pt x="616" y="441"/>
                  </a:lnTo>
                  <a:lnTo>
                    <a:pt x="620" y="441"/>
                  </a:lnTo>
                  <a:lnTo>
                    <a:pt x="628" y="442"/>
                  </a:lnTo>
                  <a:lnTo>
                    <a:pt x="628" y="442"/>
                  </a:lnTo>
                  <a:lnTo>
                    <a:pt x="631" y="442"/>
                  </a:lnTo>
                  <a:lnTo>
                    <a:pt x="635" y="441"/>
                  </a:lnTo>
                  <a:lnTo>
                    <a:pt x="644" y="433"/>
                  </a:lnTo>
                  <a:lnTo>
                    <a:pt x="660" y="417"/>
                  </a:lnTo>
                  <a:lnTo>
                    <a:pt x="660" y="417"/>
                  </a:lnTo>
                  <a:lnTo>
                    <a:pt x="666" y="410"/>
                  </a:lnTo>
                  <a:lnTo>
                    <a:pt x="669" y="402"/>
                  </a:lnTo>
                  <a:lnTo>
                    <a:pt x="671" y="395"/>
                  </a:lnTo>
                  <a:lnTo>
                    <a:pt x="671" y="386"/>
                  </a:lnTo>
                  <a:lnTo>
                    <a:pt x="671" y="386"/>
                  </a:lnTo>
                  <a:lnTo>
                    <a:pt x="671" y="382"/>
                  </a:lnTo>
                  <a:lnTo>
                    <a:pt x="669" y="376"/>
                  </a:lnTo>
                  <a:lnTo>
                    <a:pt x="663" y="365"/>
                  </a:lnTo>
                  <a:lnTo>
                    <a:pt x="657" y="356"/>
                  </a:lnTo>
                  <a:lnTo>
                    <a:pt x="655" y="349"/>
                  </a:lnTo>
                  <a:lnTo>
                    <a:pt x="655" y="349"/>
                  </a:lnTo>
                  <a:lnTo>
                    <a:pt x="647" y="334"/>
                  </a:lnTo>
                  <a:lnTo>
                    <a:pt x="644" y="324"/>
                  </a:lnTo>
                  <a:lnTo>
                    <a:pt x="641" y="314"/>
                  </a:lnTo>
                  <a:lnTo>
                    <a:pt x="641" y="314"/>
                  </a:lnTo>
                  <a:lnTo>
                    <a:pt x="640" y="302"/>
                  </a:lnTo>
                  <a:lnTo>
                    <a:pt x="640" y="290"/>
                  </a:lnTo>
                  <a:lnTo>
                    <a:pt x="641" y="285"/>
                  </a:lnTo>
                  <a:lnTo>
                    <a:pt x="643" y="282"/>
                  </a:lnTo>
                  <a:lnTo>
                    <a:pt x="646" y="279"/>
                  </a:lnTo>
                  <a:lnTo>
                    <a:pt x="649" y="276"/>
                  </a:lnTo>
                  <a:lnTo>
                    <a:pt x="649" y="276"/>
                  </a:lnTo>
                  <a:lnTo>
                    <a:pt x="656" y="274"/>
                  </a:lnTo>
                  <a:lnTo>
                    <a:pt x="662" y="274"/>
                  </a:lnTo>
                  <a:lnTo>
                    <a:pt x="665" y="274"/>
                  </a:lnTo>
                  <a:lnTo>
                    <a:pt x="668" y="271"/>
                  </a:lnTo>
                  <a:lnTo>
                    <a:pt x="668" y="271"/>
                  </a:lnTo>
                  <a:lnTo>
                    <a:pt x="671" y="265"/>
                  </a:lnTo>
                  <a:lnTo>
                    <a:pt x="672" y="253"/>
                  </a:lnTo>
                  <a:lnTo>
                    <a:pt x="675" y="238"/>
                  </a:lnTo>
                  <a:lnTo>
                    <a:pt x="675" y="238"/>
                  </a:lnTo>
                  <a:lnTo>
                    <a:pt x="686" y="235"/>
                  </a:lnTo>
                  <a:lnTo>
                    <a:pt x="695" y="231"/>
                  </a:lnTo>
                  <a:lnTo>
                    <a:pt x="697" y="228"/>
                  </a:lnTo>
                  <a:lnTo>
                    <a:pt x="702" y="225"/>
                  </a:lnTo>
                  <a:lnTo>
                    <a:pt x="702" y="225"/>
                  </a:lnTo>
                  <a:lnTo>
                    <a:pt x="705" y="217"/>
                  </a:lnTo>
                  <a:lnTo>
                    <a:pt x="708" y="210"/>
                  </a:lnTo>
                  <a:lnTo>
                    <a:pt x="711" y="204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09" y="192"/>
                  </a:lnTo>
                  <a:lnTo>
                    <a:pt x="709" y="192"/>
                  </a:lnTo>
                  <a:lnTo>
                    <a:pt x="708" y="189"/>
                  </a:lnTo>
                  <a:lnTo>
                    <a:pt x="708" y="185"/>
                  </a:lnTo>
                  <a:lnTo>
                    <a:pt x="709" y="180"/>
                  </a:lnTo>
                  <a:lnTo>
                    <a:pt x="712" y="174"/>
                  </a:lnTo>
                  <a:lnTo>
                    <a:pt x="712" y="174"/>
                  </a:lnTo>
                  <a:lnTo>
                    <a:pt x="714" y="170"/>
                  </a:lnTo>
                  <a:lnTo>
                    <a:pt x="714" y="168"/>
                  </a:lnTo>
                  <a:lnTo>
                    <a:pt x="711" y="165"/>
                  </a:lnTo>
                  <a:lnTo>
                    <a:pt x="709" y="161"/>
                  </a:lnTo>
                  <a:lnTo>
                    <a:pt x="709" y="161"/>
                  </a:lnTo>
                  <a:lnTo>
                    <a:pt x="709" y="157"/>
                  </a:lnTo>
                  <a:lnTo>
                    <a:pt x="711" y="152"/>
                  </a:lnTo>
                  <a:lnTo>
                    <a:pt x="711" y="148"/>
                  </a:lnTo>
                  <a:lnTo>
                    <a:pt x="711" y="140"/>
                  </a:lnTo>
                  <a:lnTo>
                    <a:pt x="711" y="140"/>
                  </a:lnTo>
                  <a:lnTo>
                    <a:pt x="709" y="133"/>
                  </a:lnTo>
                  <a:lnTo>
                    <a:pt x="711" y="127"/>
                  </a:lnTo>
                  <a:lnTo>
                    <a:pt x="714" y="122"/>
                  </a:lnTo>
                  <a:lnTo>
                    <a:pt x="718" y="119"/>
                  </a:lnTo>
                  <a:lnTo>
                    <a:pt x="718" y="119"/>
                  </a:lnTo>
                  <a:lnTo>
                    <a:pt x="721" y="117"/>
                  </a:lnTo>
                  <a:lnTo>
                    <a:pt x="723" y="114"/>
                  </a:lnTo>
                  <a:lnTo>
                    <a:pt x="721" y="111"/>
                  </a:lnTo>
                  <a:lnTo>
                    <a:pt x="720" y="108"/>
                  </a:lnTo>
                  <a:lnTo>
                    <a:pt x="720" y="108"/>
                  </a:lnTo>
                  <a:lnTo>
                    <a:pt x="714" y="99"/>
                  </a:lnTo>
                  <a:lnTo>
                    <a:pt x="712" y="94"/>
                  </a:lnTo>
                  <a:lnTo>
                    <a:pt x="712" y="88"/>
                  </a:lnTo>
                  <a:lnTo>
                    <a:pt x="712" y="88"/>
                  </a:lnTo>
                  <a:lnTo>
                    <a:pt x="714" y="85"/>
                  </a:lnTo>
                  <a:lnTo>
                    <a:pt x="717" y="85"/>
                  </a:lnTo>
                  <a:lnTo>
                    <a:pt x="718" y="87"/>
                  </a:lnTo>
                  <a:lnTo>
                    <a:pt x="723" y="90"/>
                  </a:lnTo>
                  <a:lnTo>
                    <a:pt x="723" y="90"/>
                  </a:lnTo>
                  <a:lnTo>
                    <a:pt x="739" y="93"/>
                  </a:lnTo>
                  <a:lnTo>
                    <a:pt x="739" y="93"/>
                  </a:lnTo>
                  <a:lnTo>
                    <a:pt x="726" y="82"/>
                  </a:lnTo>
                  <a:lnTo>
                    <a:pt x="717" y="74"/>
                  </a:lnTo>
                  <a:lnTo>
                    <a:pt x="711" y="69"/>
                  </a:lnTo>
                  <a:lnTo>
                    <a:pt x="711" y="69"/>
                  </a:lnTo>
                  <a:lnTo>
                    <a:pt x="705" y="68"/>
                  </a:lnTo>
                  <a:lnTo>
                    <a:pt x="699" y="69"/>
                  </a:lnTo>
                  <a:lnTo>
                    <a:pt x="690" y="74"/>
                  </a:lnTo>
                  <a:lnTo>
                    <a:pt x="690" y="74"/>
                  </a:lnTo>
                  <a:lnTo>
                    <a:pt x="686" y="75"/>
                  </a:lnTo>
                  <a:lnTo>
                    <a:pt x="681" y="74"/>
                  </a:lnTo>
                  <a:lnTo>
                    <a:pt x="675" y="66"/>
                  </a:lnTo>
                  <a:lnTo>
                    <a:pt x="675" y="66"/>
                  </a:lnTo>
                  <a:lnTo>
                    <a:pt x="665" y="59"/>
                  </a:lnTo>
                  <a:lnTo>
                    <a:pt x="660" y="56"/>
                  </a:lnTo>
                  <a:lnTo>
                    <a:pt x="656" y="51"/>
                  </a:lnTo>
                  <a:lnTo>
                    <a:pt x="656" y="51"/>
                  </a:lnTo>
                  <a:lnTo>
                    <a:pt x="653" y="48"/>
                  </a:lnTo>
                  <a:lnTo>
                    <a:pt x="650" y="47"/>
                  </a:lnTo>
                  <a:lnTo>
                    <a:pt x="638" y="44"/>
                  </a:lnTo>
                  <a:lnTo>
                    <a:pt x="638" y="44"/>
                  </a:lnTo>
                  <a:lnTo>
                    <a:pt x="626" y="40"/>
                  </a:lnTo>
                  <a:lnTo>
                    <a:pt x="622" y="37"/>
                  </a:lnTo>
                  <a:lnTo>
                    <a:pt x="619" y="34"/>
                  </a:lnTo>
                  <a:lnTo>
                    <a:pt x="619" y="34"/>
                  </a:lnTo>
                  <a:lnTo>
                    <a:pt x="616" y="29"/>
                  </a:lnTo>
                  <a:lnTo>
                    <a:pt x="615" y="25"/>
                  </a:lnTo>
                  <a:lnTo>
                    <a:pt x="616" y="22"/>
                  </a:lnTo>
                  <a:lnTo>
                    <a:pt x="616" y="19"/>
                  </a:lnTo>
                  <a:lnTo>
                    <a:pt x="616" y="19"/>
                  </a:lnTo>
                  <a:lnTo>
                    <a:pt x="612" y="16"/>
                  </a:lnTo>
                  <a:lnTo>
                    <a:pt x="606" y="11"/>
                  </a:lnTo>
                  <a:lnTo>
                    <a:pt x="589" y="2"/>
                  </a:lnTo>
                  <a:lnTo>
                    <a:pt x="589" y="2"/>
                  </a:lnTo>
                  <a:lnTo>
                    <a:pt x="585" y="0"/>
                  </a:lnTo>
                  <a:lnTo>
                    <a:pt x="582" y="0"/>
                  </a:lnTo>
                  <a:lnTo>
                    <a:pt x="575" y="0"/>
                  </a:lnTo>
                  <a:lnTo>
                    <a:pt x="570" y="1"/>
                  </a:lnTo>
                  <a:lnTo>
                    <a:pt x="567" y="4"/>
                  </a:lnTo>
                  <a:lnTo>
                    <a:pt x="567" y="4"/>
                  </a:lnTo>
                  <a:lnTo>
                    <a:pt x="566" y="7"/>
                  </a:lnTo>
                  <a:lnTo>
                    <a:pt x="566" y="11"/>
                  </a:lnTo>
                  <a:lnTo>
                    <a:pt x="567" y="17"/>
                  </a:lnTo>
                  <a:lnTo>
                    <a:pt x="567" y="17"/>
                  </a:lnTo>
                  <a:lnTo>
                    <a:pt x="567" y="20"/>
                  </a:lnTo>
                  <a:lnTo>
                    <a:pt x="566" y="20"/>
                  </a:lnTo>
                  <a:lnTo>
                    <a:pt x="561" y="22"/>
                  </a:lnTo>
                  <a:lnTo>
                    <a:pt x="561" y="22"/>
                  </a:lnTo>
                  <a:lnTo>
                    <a:pt x="560" y="22"/>
                  </a:lnTo>
                  <a:lnTo>
                    <a:pt x="557" y="20"/>
                  </a:lnTo>
                  <a:lnTo>
                    <a:pt x="554" y="17"/>
                  </a:lnTo>
                  <a:lnTo>
                    <a:pt x="549" y="14"/>
                  </a:lnTo>
                  <a:lnTo>
                    <a:pt x="549" y="14"/>
                  </a:lnTo>
                  <a:lnTo>
                    <a:pt x="545" y="14"/>
                  </a:lnTo>
                  <a:lnTo>
                    <a:pt x="542" y="16"/>
                  </a:lnTo>
                  <a:lnTo>
                    <a:pt x="541" y="19"/>
                  </a:lnTo>
                  <a:lnTo>
                    <a:pt x="541" y="22"/>
                  </a:lnTo>
                  <a:lnTo>
                    <a:pt x="541" y="22"/>
                  </a:lnTo>
                  <a:lnTo>
                    <a:pt x="538" y="23"/>
                  </a:lnTo>
                  <a:lnTo>
                    <a:pt x="533" y="25"/>
                  </a:lnTo>
                  <a:lnTo>
                    <a:pt x="517" y="25"/>
                  </a:lnTo>
                  <a:lnTo>
                    <a:pt x="517" y="25"/>
                  </a:lnTo>
                  <a:lnTo>
                    <a:pt x="502" y="26"/>
                  </a:lnTo>
                  <a:lnTo>
                    <a:pt x="496" y="28"/>
                  </a:lnTo>
                  <a:lnTo>
                    <a:pt x="493" y="31"/>
                  </a:lnTo>
                  <a:lnTo>
                    <a:pt x="493" y="31"/>
                  </a:lnTo>
                  <a:lnTo>
                    <a:pt x="492" y="34"/>
                  </a:lnTo>
                  <a:lnTo>
                    <a:pt x="489" y="35"/>
                  </a:lnTo>
                  <a:lnTo>
                    <a:pt x="480" y="35"/>
                  </a:lnTo>
                  <a:lnTo>
                    <a:pt x="480" y="35"/>
                  </a:lnTo>
                  <a:lnTo>
                    <a:pt x="474" y="34"/>
                  </a:lnTo>
                  <a:lnTo>
                    <a:pt x="471" y="32"/>
                  </a:lnTo>
                  <a:lnTo>
                    <a:pt x="469" y="31"/>
                  </a:lnTo>
                  <a:lnTo>
                    <a:pt x="465" y="29"/>
                  </a:lnTo>
                  <a:lnTo>
                    <a:pt x="465" y="29"/>
                  </a:lnTo>
                  <a:lnTo>
                    <a:pt x="456" y="29"/>
                  </a:lnTo>
                  <a:lnTo>
                    <a:pt x="444" y="31"/>
                  </a:lnTo>
                  <a:lnTo>
                    <a:pt x="428" y="34"/>
                  </a:lnTo>
                  <a:lnTo>
                    <a:pt x="428" y="34"/>
                  </a:lnTo>
                  <a:lnTo>
                    <a:pt x="426" y="41"/>
                  </a:lnTo>
                  <a:lnTo>
                    <a:pt x="424" y="57"/>
                  </a:lnTo>
                  <a:lnTo>
                    <a:pt x="422" y="72"/>
                  </a:lnTo>
                  <a:lnTo>
                    <a:pt x="419" y="81"/>
                  </a:lnTo>
                  <a:lnTo>
                    <a:pt x="419" y="81"/>
                  </a:lnTo>
                  <a:lnTo>
                    <a:pt x="412" y="84"/>
                  </a:lnTo>
                  <a:lnTo>
                    <a:pt x="407" y="85"/>
                  </a:lnTo>
                  <a:lnTo>
                    <a:pt x="403" y="88"/>
                  </a:lnTo>
                  <a:lnTo>
                    <a:pt x="403" y="88"/>
                  </a:lnTo>
                  <a:lnTo>
                    <a:pt x="395" y="96"/>
                  </a:lnTo>
                  <a:lnTo>
                    <a:pt x="382" y="108"/>
                  </a:lnTo>
                  <a:lnTo>
                    <a:pt x="382" y="108"/>
                  </a:lnTo>
                  <a:lnTo>
                    <a:pt x="375" y="115"/>
                  </a:lnTo>
                  <a:lnTo>
                    <a:pt x="367" y="122"/>
                  </a:lnTo>
                  <a:lnTo>
                    <a:pt x="363" y="130"/>
                  </a:lnTo>
                  <a:lnTo>
                    <a:pt x="361" y="134"/>
                  </a:lnTo>
                  <a:lnTo>
                    <a:pt x="361" y="137"/>
                  </a:lnTo>
                  <a:lnTo>
                    <a:pt x="361" y="137"/>
                  </a:lnTo>
                  <a:lnTo>
                    <a:pt x="361" y="140"/>
                  </a:lnTo>
                  <a:lnTo>
                    <a:pt x="361" y="143"/>
                  </a:lnTo>
                  <a:lnTo>
                    <a:pt x="357" y="146"/>
                  </a:lnTo>
                  <a:lnTo>
                    <a:pt x="341" y="154"/>
                  </a:lnTo>
                  <a:lnTo>
                    <a:pt x="341" y="154"/>
                  </a:lnTo>
                  <a:lnTo>
                    <a:pt x="333" y="158"/>
                  </a:lnTo>
                  <a:lnTo>
                    <a:pt x="329" y="162"/>
                  </a:lnTo>
                  <a:lnTo>
                    <a:pt x="326" y="168"/>
                  </a:lnTo>
                  <a:lnTo>
                    <a:pt x="318" y="176"/>
                  </a:lnTo>
                  <a:lnTo>
                    <a:pt x="318" y="176"/>
                  </a:lnTo>
                  <a:lnTo>
                    <a:pt x="312" y="182"/>
                  </a:lnTo>
                  <a:lnTo>
                    <a:pt x="311" y="182"/>
                  </a:lnTo>
                  <a:lnTo>
                    <a:pt x="310" y="180"/>
                  </a:lnTo>
                  <a:lnTo>
                    <a:pt x="307" y="179"/>
                  </a:lnTo>
                  <a:lnTo>
                    <a:pt x="305" y="179"/>
                  </a:lnTo>
                  <a:lnTo>
                    <a:pt x="302" y="179"/>
                  </a:lnTo>
                  <a:lnTo>
                    <a:pt x="302" y="179"/>
                  </a:lnTo>
                  <a:lnTo>
                    <a:pt x="295" y="182"/>
                  </a:lnTo>
                  <a:lnTo>
                    <a:pt x="290" y="185"/>
                  </a:lnTo>
                  <a:lnTo>
                    <a:pt x="287" y="188"/>
                  </a:lnTo>
                  <a:lnTo>
                    <a:pt x="281" y="191"/>
                  </a:lnTo>
                  <a:lnTo>
                    <a:pt x="281" y="191"/>
                  </a:lnTo>
                  <a:lnTo>
                    <a:pt x="274" y="189"/>
                  </a:lnTo>
                  <a:lnTo>
                    <a:pt x="262" y="188"/>
                  </a:lnTo>
                  <a:lnTo>
                    <a:pt x="252" y="186"/>
                  </a:lnTo>
                  <a:lnTo>
                    <a:pt x="244" y="186"/>
                  </a:lnTo>
                  <a:lnTo>
                    <a:pt x="244" y="186"/>
                  </a:lnTo>
                  <a:lnTo>
                    <a:pt x="237" y="186"/>
                  </a:lnTo>
                  <a:lnTo>
                    <a:pt x="231" y="183"/>
                  </a:lnTo>
                  <a:lnTo>
                    <a:pt x="218" y="179"/>
                  </a:lnTo>
                  <a:lnTo>
                    <a:pt x="218" y="179"/>
                  </a:lnTo>
                  <a:lnTo>
                    <a:pt x="210" y="179"/>
                  </a:lnTo>
                  <a:lnTo>
                    <a:pt x="204" y="180"/>
                  </a:lnTo>
                  <a:lnTo>
                    <a:pt x="201" y="183"/>
                  </a:lnTo>
                  <a:lnTo>
                    <a:pt x="197" y="183"/>
                  </a:lnTo>
                  <a:lnTo>
                    <a:pt x="197" y="18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1" name="Freeform 30">
              <a:extLst>
                <a:ext uri="{FF2B5EF4-FFF2-40B4-BE49-F238E27FC236}">
                  <a16:creationId xmlns:a16="http://schemas.microsoft.com/office/drawing/2014/main" id="{80BEB0A2-9445-E648-A380-A32B7085A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5" y="5441950"/>
              <a:ext cx="681038" cy="611187"/>
            </a:xfrm>
            <a:custGeom>
              <a:avLst/>
              <a:gdLst>
                <a:gd name="T0" fmla="*/ 382 w 429"/>
                <a:gd name="T1" fmla="*/ 178 h 385"/>
                <a:gd name="T2" fmla="*/ 399 w 429"/>
                <a:gd name="T3" fmla="*/ 158 h 385"/>
                <a:gd name="T4" fmla="*/ 389 w 429"/>
                <a:gd name="T5" fmla="*/ 153 h 385"/>
                <a:gd name="T6" fmla="*/ 367 w 429"/>
                <a:gd name="T7" fmla="*/ 150 h 385"/>
                <a:gd name="T8" fmla="*/ 359 w 429"/>
                <a:gd name="T9" fmla="*/ 163 h 385"/>
                <a:gd name="T10" fmla="*/ 343 w 429"/>
                <a:gd name="T11" fmla="*/ 170 h 385"/>
                <a:gd name="T12" fmla="*/ 315 w 429"/>
                <a:gd name="T13" fmla="*/ 166 h 385"/>
                <a:gd name="T14" fmla="*/ 302 w 429"/>
                <a:gd name="T15" fmla="*/ 153 h 385"/>
                <a:gd name="T16" fmla="*/ 287 w 429"/>
                <a:gd name="T17" fmla="*/ 132 h 385"/>
                <a:gd name="T18" fmla="*/ 303 w 429"/>
                <a:gd name="T19" fmla="*/ 127 h 385"/>
                <a:gd name="T20" fmla="*/ 297 w 429"/>
                <a:gd name="T21" fmla="*/ 113 h 385"/>
                <a:gd name="T22" fmla="*/ 278 w 429"/>
                <a:gd name="T23" fmla="*/ 107 h 385"/>
                <a:gd name="T24" fmla="*/ 280 w 429"/>
                <a:gd name="T25" fmla="*/ 71 h 385"/>
                <a:gd name="T26" fmla="*/ 275 w 429"/>
                <a:gd name="T27" fmla="*/ 61 h 385"/>
                <a:gd name="T28" fmla="*/ 291 w 429"/>
                <a:gd name="T29" fmla="*/ 36 h 385"/>
                <a:gd name="T30" fmla="*/ 268 w 429"/>
                <a:gd name="T31" fmla="*/ 36 h 385"/>
                <a:gd name="T32" fmla="*/ 250 w 429"/>
                <a:gd name="T33" fmla="*/ 24 h 385"/>
                <a:gd name="T34" fmla="*/ 231 w 429"/>
                <a:gd name="T35" fmla="*/ 9 h 385"/>
                <a:gd name="T36" fmla="*/ 168 w 429"/>
                <a:gd name="T37" fmla="*/ 12 h 385"/>
                <a:gd name="T38" fmla="*/ 139 w 429"/>
                <a:gd name="T39" fmla="*/ 0 h 385"/>
                <a:gd name="T40" fmla="*/ 128 w 429"/>
                <a:gd name="T41" fmla="*/ 9 h 385"/>
                <a:gd name="T42" fmla="*/ 100 w 429"/>
                <a:gd name="T43" fmla="*/ 12 h 385"/>
                <a:gd name="T44" fmla="*/ 77 w 429"/>
                <a:gd name="T45" fmla="*/ 18 h 385"/>
                <a:gd name="T46" fmla="*/ 60 w 429"/>
                <a:gd name="T47" fmla="*/ 25 h 385"/>
                <a:gd name="T48" fmla="*/ 83 w 429"/>
                <a:gd name="T49" fmla="*/ 37 h 385"/>
                <a:gd name="T50" fmla="*/ 78 w 429"/>
                <a:gd name="T51" fmla="*/ 49 h 385"/>
                <a:gd name="T52" fmla="*/ 50 w 429"/>
                <a:gd name="T53" fmla="*/ 46 h 385"/>
                <a:gd name="T54" fmla="*/ 32 w 429"/>
                <a:gd name="T55" fmla="*/ 46 h 385"/>
                <a:gd name="T56" fmla="*/ 14 w 429"/>
                <a:gd name="T57" fmla="*/ 37 h 385"/>
                <a:gd name="T58" fmla="*/ 1 w 429"/>
                <a:gd name="T59" fmla="*/ 52 h 385"/>
                <a:gd name="T60" fmla="*/ 14 w 429"/>
                <a:gd name="T61" fmla="*/ 70 h 385"/>
                <a:gd name="T62" fmla="*/ 40 w 429"/>
                <a:gd name="T63" fmla="*/ 81 h 385"/>
                <a:gd name="T64" fmla="*/ 56 w 429"/>
                <a:gd name="T65" fmla="*/ 110 h 385"/>
                <a:gd name="T66" fmla="*/ 91 w 429"/>
                <a:gd name="T67" fmla="*/ 118 h 385"/>
                <a:gd name="T68" fmla="*/ 118 w 429"/>
                <a:gd name="T69" fmla="*/ 138 h 385"/>
                <a:gd name="T70" fmla="*/ 105 w 429"/>
                <a:gd name="T71" fmla="*/ 154 h 385"/>
                <a:gd name="T72" fmla="*/ 115 w 429"/>
                <a:gd name="T73" fmla="*/ 178 h 385"/>
                <a:gd name="T74" fmla="*/ 131 w 429"/>
                <a:gd name="T75" fmla="*/ 198 h 385"/>
                <a:gd name="T76" fmla="*/ 142 w 429"/>
                <a:gd name="T77" fmla="*/ 237 h 385"/>
                <a:gd name="T78" fmla="*/ 155 w 429"/>
                <a:gd name="T79" fmla="*/ 230 h 385"/>
                <a:gd name="T80" fmla="*/ 183 w 429"/>
                <a:gd name="T81" fmla="*/ 231 h 385"/>
                <a:gd name="T82" fmla="*/ 191 w 429"/>
                <a:gd name="T83" fmla="*/ 267 h 385"/>
                <a:gd name="T84" fmla="*/ 211 w 429"/>
                <a:gd name="T85" fmla="*/ 292 h 385"/>
                <a:gd name="T86" fmla="*/ 228 w 429"/>
                <a:gd name="T87" fmla="*/ 317 h 385"/>
                <a:gd name="T88" fmla="*/ 232 w 429"/>
                <a:gd name="T89" fmla="*/ 352 h 385"/>
                <a:gd name="T90" fmla="*/ 235 w 429"/>
                <a:gd name="T91" fmla="*/ 370 h 385"/>
                <a:gd name="T92" fmla="*/ 238 w 429"/>
                <a:gd name="T93" fmla="*/ 385 h 385"/>
                <a:gd name="T94" fmla="*/ 302 w 429"/>
                <a:gd name="T95" fmla="*/ 326 h 385"/>
                <a:gd name="T96" fmla="*/ 308 w 429"/>
                <a:gd name="T97" fmla="*/ 293 h 385"/>
                <a:gd name="T98" fmla="*/ 318 w 429"/>
                <a:gd name="T99" fmla="*/ 281 h 385"/>
                <a:gd name="T100" fmla="*/ 348 w 429"/>
                <a:gd name="T101" fmla="*/ 290 h 385"/>
                <a:gd name="T102" fmla="*/ 374 w 429"/>
                <a:gd name="T103" fmla="*/ 287 h 385"/>
                <a:gd name="T104" fmla="*/ 395 w 429"/>
                <a:gd name="T105" fmla="*/ 262 h 385"/>
                <a:gd name="T106" fmla="*/ 395 w 429"/>
                <a:gd name="T107" fmla="*/ 230 h 385"/>
                <a:gd name="T108" fmla="*/ 429 w 429"/>
                <a:gd name="T109" fmla="*/ 224 h 385"/>
                <a:gd name="T110" fmla="*/ 425 w 429"/>
                <a:gd name="T111" fmla="*/ 216 h 385"/>
                <a:gd name="T112" fmla="*/ 408 w 429"/>
                <a:gd name="T113" fmla="*/ 209 h 385"/>
                <a:gd name="T114" fmla="*/ 401 w 429"/>
                <a:gd name="T115" fmla="*/ 193 h 385"/>
                <a:gd name="T116" fmla="*/ 386 w 429"/>
                <a:gd name="T117" fmla="*/ 204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29" h="385">
                  <a:moveTo>
                    <a:pt x="386" y="201"/>
                  </a:moveTo>
                  <a:lnTo>
                    <a:pt x="386" y="201"/>
                  </a:lnTo>
                  <a:lnTo>
                    <a:pt x="380" y="188"/>
                  </a:lnTo>
                  <a:lnTo>
                    <a:pt x="380" y="185"/>
                  </a:lnTo>
                  <a:lnTo>
                    <a:pt x="380" y="181"/>
                  </a:lnTo>
                  <a:lnTo>
                    <a:pt x="382" y="178"/>
                  </a:lnTo>
                  <a:lnTo>
                    <a:pt x="383" y="173"/>
                  </a:lnTo>
                  <a:lnTo>
                    <a:pt x="383" y="173"/>
                  </a:lnTo>
                  <a:lnTo>
                    <a:pt x="391" y="169"/>
                  </a:lnTo>
                  <a:lnTo>
                    <a:pt x="395" y="164"/>
                  </a:lnTo>
                  <a:lnTo>
                    <a:pt x="398" y="163"/>
                  </a:lnTo>
                  <a:lnTo>
                    <a:pt x="399" y="158"/>
                  </a:lnTo>
                  <a:lnTo>
                    <a:pt x="399" y="158"/>
                  </a:lnTo>
                  <a:lnTo>
                    <a:pt x="401" y="150"/>
                  </a:lnTo>
                  <a:lnTo>
                    <a:pt x="399" y="148"/>
                  </a:lnTo>
                  <a:lnTo>
                    <a:pt x="396" y="148"/>
                  </a:lnTo>
                  <a:lnTo>
                    <a:pt x="396" y="148"/>
                  </a:lnTo>
                  <a:lnTo>
                    <a:pt x="389" y="153"/>
                  </a:lnTo>
                  <a:lnTo>
                    <a:pt x="383" y="155"/>
                  </a:lnTo>
                  <a:lnTo>
                    <a:pt x="379" y="155"/>
                  </a:lnTo>
                  <a:lnTo>
                    <a:pt x="379" y="155"/>
                  </a:lnTo>
                  <a:lnTo>
                    <a:pt x="374" y="153"/>
                  </a:lnTo>
                  <a:lnTo>
                    <a:pt x="370" y="151"/>
                  </a:lnTo>
                  <a:lnTo>
                    <a:pt x="367" y="150"/>
                  </a:lnTo>
                  <a:lnTo>
                    <a:pt x="365" y="150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59" y="158"/>
                  </a:lnTo>
                  <a:lnTo>
                    <a:pt x="358" y="161"/>
                  </a:lnTo>
                  <a:lnTo>
                    <a:pt x="359" y="163"/>
                  </a:lnTo>
                  <a:lnTo>
                    <a:pt x="359" y="163"/>
                  </a:lnTo>
                  <a:lnTo>
                    <a:pt x="361" y="164"/>
                  </a:lnTo>
                  <a:lnTo>
                    <a:pt x="361" y="166"/>
                  </a:lnTo>
                  <a:lnTo>
                    <a:pt x="357" y="170"/>
                  </a:lnTo>
                  <a:lnTo>
                    <a:pt x="351" y="172"/>
                  </a:lnTo>
                  <a:lnTo>
                    <a:pt x="343" y="170"/>
                  </a:lnTo>
                  <a:lnTo>
                    <a:pt x="343" y="170"/>
                  </a:lnTo>
                  <a:lnTo>
                    <a:pt x="333" y="166"/>
                  </a:lnTo>
                  <a:lnTo>
                    <a:pt x="328" y="166"/>
                  </a:lnTo>
                  <a:lnTo>
                    <a:pt x="321" y="166"/>
                  </a:lnTo>
                  <a:lnTo>
                    <a:pt x="321" y="166"/>
                  </a:lnTo>
                  <a:lnTo>
                    <a:pt x="315" y="166"/>
                  </a:lnTo>
                  <a:lnTo>
                    <a:pt x="311" y="164"/>
                  </a:lnTo>
                  <a:lnTo>
                    <a:pt x="308" y="161"/>
                  </a:lnTo>
                  <a:lnTo>
                    <a:pt x="306" y="157"/>
                  </a:lnTo>
                  <a:lnTo>
                    <a:pt x="306" y="157"/>
                  </a:lnTo>
                  <a:lnTo>
                    <a:pt x="305" y="154"/>
                  </a:lnTo>
                  <a:lnTo>
                    <a:pt x="302" y="153"/>
                  </a:lnTo>
                  <a:lnTo>
                    <a:pt x="296" y="148"/>
                  </a:lnTo>
                  <a:lnTo>
                    <a:pt x="290" y="145"/>
                  </a:lnTo>
                  <a:lnTo>
                    <a:pt x="288" y="142"/>
                  </a:lnTo>
                  <a:lnTo>
                    <a:pt x="288" y="141"/>
                  </a:lnTo>
                  <a:lnTo>
                    <a:pt x="288" y="141"/>
                  </a:lnTo>
                  <a:lnTo>
                    <a:pt x="287" y="132"/>
                  </a:lnTo>
                  <a:lnTo>
                    <a:pt x="288" y="129"/>
                  </a:lnTo>
                  <a:lnTo>
                    <a:pt x="291" y="127"/>
                  </a:lnTo>
                  <a:lnTo>
                    <a:pt x="291" y="127"/>
                  </a:lnTo>
                  <a:lnTo>
                    <a:pt x="296" y="127"/>
                  </a:lnTo>
                  <a:lnTo>
                    <a:pt x="300" y="129"/>
                  </a:lnTo>
                  <a:lnTo>
                    <a:pt x="303" y="127"/>
                  </a:lnTo>
                  <a:lnTo>
                    <a:pt x="305" y="123"/>
                  </a:lnTo>
                  <a:lnTo>
                    <a:pt x="305" y="123"/>
                  </a:lnTo>
                  <a:lnTo>
                    <a:pt x="305" y="117"/>
                  </a:lnTo>
                  <a:lnTo>
                    <a:pt x="302" y="114"/>
                  </a:lnTo>
                  <a:lnTo>
                    <a:pt x="302" y="114"/>
                  </a:lnTo>
                  <a:lnTo>
                    <a:pt x="297" y="113"/>
                  </a:lnTo>
                  <a:lnTo>
                    <a:pt x="291" y="111"/>
                  </a:lnTo>
                  <a:lnTo>
                    <a:pt x="291" y="111"/>
                  </a:lnTo>
                  <a:lnTo>
                    <a:pt x="285" y="111"/>
                  </a:lnTo>
                  <a:lnTo>
                    <a:pt x="281" y="110"/>
                  </a:lnTo>
                  <a:lnTo>
                    <a:pt x="278" y="110"/>
                  </a:lnTo>
                  <a:lnTo>
                    <a:pt x="278" y="107"/>
                  </a:lnTo>
                  <a:lnTo>
                    <a:pt x="277" y="105"/>
                  </a:lnTo>
                  <a:lnTo>
                    <a:pt x="278" y="102"/>
                  </a:lnTo>
                  <a:lnTo>
                    <a:pt x="278" y="102"/>
                  </a:lnTo>
                  <a:lnTo>
                    <a:pt x="281" y="86"/>
                  </a:lnTo>
                  <a:lnTo>
                    <a:pt x="282" y="77"/>
                  </a:lnTo>
                  <a:lnTo>
                    <a:pt x="280" y="71"/>
                  </a:lnTo>
                  <a:lnTo>
                    <a:pt x="280" y="71"/>
                  </a:lnTo>
                  <a:lnTo>
                    <a:pt x="277" y="68"/>
                  </a:lnTo>
                  <a:lnTo>
                    <a:pt x="274" y="67"/>
                  </a:lnTo>
                  <a:lnTo>
                    <a:pt x="272" y="65"/>
                  </a:lnTo>
                  <a:lnTo>
                    <a:pt x="275" y="61"/>
                  </a:lnTo>
                  <a:lnTo>
                    <a:pt x="275" y="61"/>
                  </a:lnTo>
                  <a:lnTo>
                    <a:pt x="285" y="53"/>
                  </a:lnTo>
                  <a:lnTo>
                    <a:pt x="290" y="47"/>
                  </a:lnTo>
                  <a:lnTo>
                    <a:pt x="291" y="41"/>
                  </a:lnTo>
                  <a:lnTo>
                    <a:pt x="291" y="41"/>
                  </a:lnTo>
                  <a:lnTo>
                    <a:pt x="291" y="38"/>
                  </a:lnTo>
                  <a:lnTo>
                    <a:pt x="291" y="36"/>
                  </a:lnTo>
                  <a:lnTo>
                    <a:pt x="288" y="33"/>
                  </a:lnTo>
                  <a:lnTo>
                    <a:pt x="284" y="28"/>
                  </a:lnTo>
                  <a:lnTo>
                    <a:pt x="277" y="30"/>
                  </a:lnTo>
                  <a:lnTo>
                    <a:pt x="277" y="30"/>
                  </a:lnTo>
                  <a:lnTo>
                    <a:pt x="272" y="33"/>
                  </a:lnTo>
                  <a:lnTo>
                    <a:pt x="268" y="36"/>
                  </a:lnTo>
                  <a:lnTo>
                    <a:pt x="268" y="36"/>
                  </a:lnTo>
                  <a:lnTo>
                    <a:pt x="265" y="37"/>
                  </a:lnTo>
                  <a:lnTo>
                    <a:pt x="262" y="37"/>
                  </a:lnTo>
                  <a:lnTo>
                    <a:pt x="257" y="36"/>
                  </a:lnTo>
                  <a:lnTo>
                    <a:pt x="253" y="31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48" y="15"/>
                  </a:lnTo>
                  <a:lnTo>
                    <a:pt x="247" y="12"/>
                  </a:lnTo>
                  <a:lnTo>
                    <a:pt x="245" y="12"/>
                  </a:lnTo>
                  <a:lnTo>
                    <a:pt x="245" y="12"/>
                  </a:lnTo>
                  <a:lnTo>
                    <a:pt x="231" y="9"/>
                  </a:lnTo>
                  <a:lnTo>
                    <a:pt x="222" y="7"/>
                  </a:lnTo>
                  <a:lnTo>
                    <a:pt x="214" y="7"/>
                  </a:lnTo>
                  <a:lnTo>
                    <a:pt x="214" y="7"/>
                  </a:lnTo>
                  <a:lnTo>
                    <a:pt x="177" y="12"/>
                  </a:lnTo>
                  <a:lnTo>
                    <a:pt x="177" y="12"/>
                  </a:lnTo>
                  <a:lnTo>
                    <a:pt x="168" y="12"/>
                  </a:lnTo>
                  <a:lnTo>
                    <a:pt x="164" y="9"/>
                  </a:lnTo>
                  <a:lnTo>
                    <a:pt x="163" y="7"/>
                  </a:lnTo>
                  <a:lnTo>
                    <a:pt x="158" y="6"/>
                  </a:lnTo>
                  <a:lnTo>
                    <a:pt x="158" y="6"/>
                  </a:lnTo>
                  <a:lnTo>
                    <a:pt x="146" y="1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0" y="0"/>
                  </a:lnTo>
                  <a:lnTo>
                    <a:pt x="140" y="1"/>
                  </a:lnTo>
                  <a:lnTo>
                    <a:pt x="140" y="1"/>
                  </a:lnTo>
                  <a:lnTo>
                    <a:pt x="133" y="6"/>
                  </a:lnTo>
                  <a:lnTo>
                    <a:pt x="128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09" y="10"/>
                  </a:lnTo>
                  <a:lnTo>
                    <a:pt x="103" y="10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6" y="13"/>
                  </a:lnTo>
                  <a:lnTo>
                    <a:pt x="88" y="16"/>
                  </a:lnTo>
                  <a:lnTo>
                    <a:pt x="81" y="19"/>
                  </a:lnTo>
                  <a:lnTo>
                    <a:pt x="78" y="19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68" y="19"/>
                  </a:lnTo>
                  <a:lnTo>
                    <a:pt x="63" y="22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9" y="27"/>
                  </a:lnTo>
                  <a:lnTo>
                    <a:pt x="60" y="28"/>
                  </a:lnTo>
                  <a:lnTo>
                    <a:pt x="63" y="30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3" y="38"/>
                  </a:lnTo>
                  <a:lnTo>
                    <a:pt x="81" y="43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8" y="49"/>
                  </a:lnTo>
                  <a:lnTo>
                    <a:pt x="77" y="50"/>
                  </a:lnTo>
                  <a:lnTo>
                    <a:pt x="71" y="49"/>
                  </a:lnTo>
                  <a:lnTo>
                    <a:pt x="65" y="47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0" y="46"/>
                  </a:lnTo>
                  <a:lnTo>
                    <a:pt x="46" y="47"/>
                  </a:lnTo>
                  <a:lnTo>
                    <a:pt x="43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4" y="47"/>
                  </a:lnTo>
                  <a:lnTo>
                    <a:pt x="32" y="46"/>
                  </a:lnTo>
                  <a:lnTo>
                    <a:pt x="31" y="41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0" y="36"/>
                  </a:lnTo>
                  <a:lnTo>
                    <a:pt x="17" y="36"/>
                  </a:lnTo>
                  <a:lnTo>
                    <a:pt x="14" y="37"/>
                  </a:lnTo>
                  <a:lnTo>
                    <a:pt x="13" y="40"/>
                  </a:lnTo>
                  <a:lnTo>
                    <a:pt x="9" y="4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8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3" y="68"/>
                  </a:lnTo>
                  <a:lnTo>
                    <a:pt x="6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9" y="70"/>
                  </a:lnTo>
                  <a:lnTo>
                    <a:pt x="23" y="73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3" y="84"/>
                  </a:lnTo>
                  <a:lnTo>
                    <a:pt x="49" y="92"/>
                  </a:lnTo>
                  <a:lnTo>
                    <a:pt x="51" y="101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6" y="110"/>
                  </a:lnTo>
                  <a:lnTo>
                    <a:pt x="60" y="111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81" y="117"/>
                  </a:lnTo>
                  <a:lnTo>
                    <a:pt x="87" y="118"/>
                  </a:lnTo>
                  <a:lnTo>
                    <a:pt x="91" y="118"/>
                  </a:lnTo>
                  <a:lnTo>
                    <a:pt x="94" y="118"/>
                  </a:lnTo>
                  <a:lnTo>
                    <a:pt x="94" y="118"/>
                  </a:lnTo>
                  <a:lnTo>
                    <a:pt x="106" y="127"/>
                  </a:lnTo>
                  <a:lnTo>
                    <a:pt x="114" y="133"/>
                  </a:lnTo>
                  <a:lnTo>
                    <a:pt x="118" y="138"/>
                  </a:lnTo>
                  <a:lnTo>
                    <a:pt x="118" y="138"/>
                  </a:lnTo>
                  <a:lnTo>
                    <a:pt x="120" y="139"/>
                  </a:lnTo>
                  <a:lnTo>
                    <a:pt x="118" y="141"/>
                  </a:lnTo>
                  <a:lnTo>
                    <a:pt x="114" y="145"/>
                  </a:lnTo>
                  <a:lnTo>
                    <a:pt x="108" y="150"/>
                  </a:lnTo>
                  <a:lnTo>
                    <a:pt x="106" y="151"/>
                  </a:lnTo>
                  <a:lnTo>
                    <a:pt x="105" y="154"/>
                  </a:lnTo>
                  <a:lnTo>
                    <a:pt x="105" y="154"/>
                  </a:lnTo>
                  <a:lnTo>
                    <a:pt x="105" y="160"/>
                  </a:lnTo>
                  <a:lnTo>
                    <a:pt x="106" y="167"/>
                  </a:lnTo>
                  <a:lnTo>
                    <a:pt x="111" y="173"/>
                  </a:lnTo>
                  <a:lnTo>
                    <a:pt x="115" y="178"/>
                  </a:lnTo>
                  <a:lnTo>
                    <a:pt x="115" y="178"/>
                  </a:lnTo>
                  <a:lnTo>
                    <a:pt x="118" y="182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6" y="191"/>
                  </a:lnTo>
                  <a:lnTo>
                    <a:pt x="130" y="194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3" y="209"/>
                  </a:lnTo>
                  <a:lnTo>
                    <a:pt x="136" y="221"/>
                  </a:lnTo>
                  <a:lnTo>
                    <a:pt x="136" y="221"/>
                  </a:lnTo>
                  <a:lnTo>
                    <a:pt x="139" y="234"/>
                  </a:lnTo>
                  <a:lnTo>
                    <a:pt x="142" y="237"/>
                  </a:lnTo>
                  <a:lnTo>
                    <a:pt x="143" y="240"/>
                  </a:lnTo>
                  <a:lnTo>
                    <a:pt x="143" y="240"/>
                  </a:lnTo>
                  <a:lnTo>
                    <a:pt x="145" y="238"/>
                  </a:lnTo>
                  <a:lnTo>
                    <a:pt x="148" y="237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7" y="228"/>
                  </a:lnTo>
                  <a:lnTo>
                    <a:pt x="161" y="227"/>
                  </a:lnTo>
                  <a:lnTo>
                    <a:pt x="170" y="225"/>
                  </a:lnTo>
                  <a:lnTo>
                    <a:pt x="179" y="227"/>
                  </a:lnTo>
                  <a:lnTo>
                    <a:pt x="182" y="228"/>
                  </a:lnTo>
                  <a:lnTo>
                    <a:pt x="183" y="231"/>
                  </a:lnTo>
                  <a:lnTo>
                    <a:pt x="183" y="231"/>
                  </a:lnTo>
                  <a:lnTo>
                    <a:pt x="186" y="240"/>
                  </a:lnTo>
                  <a:lnTo>
                    <a:pt x="188" y="250"/>
                  </a:lnTo>
                  <a:lnTo>
                    <a:pt x="189" y="259"/>
                  </a:lnTo>
                  <a:lnTo>
                    <a:pt x="191" y="267"/>
                  </a:lnTo>
                  <a:lnTo>
                    <a:pt x="191" y="267"/>
                  </a:lnTo>
                  <a:lnTo>
                    <a:pt x="195" y="272"/>
                  </a:lnTo>
                  <a:lnTo>
                    <a:pt x="200" y="275"/>
                  </a:lnTo>
                  <a:lnTo>
                    <a:pt x="204" y="280"/>
                  </a:lnTo>
                  <a:lnTo>
                    <a:pt x="207" y="286"/>
                  </a:lnTo>
                  <a:lnTo>
                    <a:pt x="207" y="286"/>
                  </a:lnTo>
                  <a:lnTo>
                    <a:pt x="211" y="292"/>
                  </a:lnTo>
                  <a:lnTo>
                    <a:pt x="214" y="296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5" y="308"/>
                  </a:lnTo>
                  <a:lnTo>
                    <a:pt x="226" y="312"/>
                  </a:lnTo>
                  <a:lnTo>
                    <a:pt x="228" y="317"/>
                  </a:lnTo>
                  <a:lnTo>
                    <a:pt x="228" y="317"/>
                  </a:lnTo>
                  <a:lnTo>
                    <a:pt x="232" y="332"/>
                  </a:lnTo>
                  <a:lnTo>
                    <a:pt x="234" y="339"/>
                  </a:lnTo>
                  <a:lnTo>
                    <a:pt x="234" y="347"/>
                  </a:lnTo>
                  <a:lnTo>
                    <a:pt x="234" y="347"/>
                  </a:lnTo>
                  <a:lnTo>
                    <a:pt x="232" y="352"/>
                  </a:lnTo>
                  <a:lnTo>
                    <a:pt x="229" y="357"/>
                  </a:lnTo>
                  <a:lnTo>
                    <a:pt x="229" y="360"/>
                  </a:lnTo>
                  <a:lnTo>
                    <a:pt x="231" y="364"/>
                  </a:lnTo>
                  <a:lnTo>
                    <a:pt x="231" y="364"/>
                  </a:lnTo>
                  <a:lnTo>
                    <a:pt x="234" y="367"/>
                  </a:lnTo>
                  <a:lnTo>
                    <a:pt x="235" y="370"/>
                  </a:lnTo>
                  <a:lnTo>
                    <a:pt x="235" y="378"/>
                  </a:lnTo>
                  <a:lnTo>
                    <a:pt x="235" y="378"/>
                  </a:lnTo>
                  <a:lnTo>
                    <a:pt x="235" y="384"/>
                  </a:lnTo>
                  <a:lnTo>
                    <a:pt x="235" y="385"/>
                  </a:lnTo>
                  <a:lnTo>
                    <a:pt x="238" y="385"/>
                  </a:lnTo>
                  <a:lnTo>
                    <a:pt x="238" y="385"/>
                  </a:lnTo>
                  <a:lnTo>
                    <a:pt x="259" y="357"/>
                  </a:lnTo>
                  <a:lnTo>
                    <a:pt x="274" y="338"/>
                  </a:lnTo>
                  <a:lnTo>
                    <a:pt x="280" y="330"/>
                  </a:lnTo>
                  <a:lnTo>
                    <a:pt x="280" y="330"/>
                  </a:lnTo>
                  <a:lnTo>
                    <a:pt x="293" y="329"/>
                  </a:lnTo>
                  <a:lnTo>
                    <a:pt x="302" y="326"/>
                  </a:lnTo>
                  <a:lnTo>
                    <a:pt x="305" y="323"/>
                  </a:lnTo>
                  <a:lnTo>
                    <a:pt x="306" y="321"/>
                  </a:lnTo>
                  <a:lnTo>
                    <a:pt x="306" y="321"/>
                  </a:lnTo>
                  <a:lnTo>
                    <a:pt x="309" y="315"/>
                  </a:lnTo>
                  <a:lnTo>
                    <a:pt x="309" y="310"/>
                  </a:lnTo>
                  <a:lnTo>
                    <a:pt x="308" y="293"/>
                  </a:lnTo>
                  <a:lnTo>
                    <a:pt x="308" y="293"/>
                  </a:lnTo>
                  <a:lnTo>
                    <a:pt x="308" y="286"/>
                  </a:lnTo>
                  <a:lnTo>
                    <a:pt x="311" y="281"/>
                  </a:lnTo>
                  <a:lnTo>
                    <a:pt x="314" y="280"/>
                  </a:lnTo>
                  <a:lnTo>
                    <a:pt x="318" y="281"/>
                  </a:lnTo>
                  <a:lnTo>
                    <a:pt x="318" y="281"/>
                  </a:lnTo>
                  <a:lnTo>
                    <a:pt x="325" y="286"/>
                  </a:lnTo>
                  <a:lnTo>
                    <a:pt x="334" y="290"/>
                  </a:lnTo>
                  <a:lnTo>
                    <a:pt x="334" y="290"/>
                  </a:lnTo>
                  <a:lnTo>
                    <a:pt x="339" y="293"/>
                  </a:lnTo>
                  <a:lnTo>
                    <a:pt x="343" y="292"/>
                  </a:lnTo>
                  <a:lnTo>
                    <a:pt x="348" y="290"/>
                  </a:lnTo>
                  <a:lnTo>
                    <a:pt x="348" y="290"/>
                  </a:lnTo>
                  <a:lnTo>
                    <a:pt x="358" y="292"/>
                  </a:lnTo>
                  <a:lnTo>
                    <a:pt x="365" y="293"/>
                  </a:lnTo>
                  <a:lnTo>
                    <a:pt x="370" y="292"/>
                  </a:lnTo>
                  <a:lnTo>
                    <a:pt x="370" y="292"/>
                  </a:lnTo>
                  <a:lnTo>
                    <a:pt x="374" y="287"/>
                  </a:lnTo>
                  <a:lnTo>
                    <a:pt x="382" y="278"/>
                  </a:lnTo>
                  <a:lnTo>
                    <a:pt x="382" y="278"/>
                  </a:lnTo>
                  <a:lnTo>
                    <a:pt x="389" y="268"/>
                  </a:lnTo>
                  <a:lnTo>
                    <a:pt x="395" y="264"/>
                  </a:lnTo>
                  <a:lnTo>
                    <a:pt x="395" y="264"/>
                  </a:lnTo>
                  <a:lnTo>
                    <a:pt x="395" y="262"/>
                  </a:lnTo>
                  <a:lnTo>
                    <a:pt x="396" y="259"/>
                  </a:lnTo>
                  <a:lnTo>
                    <a:pt x="395" y="252"/>
                  </a:lnTo>
                  <a:lnTo>
                    <a:pt x="394" y="238"/>
                  </a:lnTo>
                  <a:lnTo>
                    <a:pt x="394" y="238"/>
                  </a:lnTo>
                  <a:lnTo>
                    <a:pt x="394" y="233"/>
                  </a:lnTo>
                  <a:lnTo>
                    <a:pt x="395" y="230"/>
                  </a:lnTo>
                  <a:lnTo>
                    <a:pt x="401" y="228"/>
                  </a:lnTo>
                  <a:lnTo>
                    <a:pt x="401" y="228"/>
                  </a:lnTo>
                  <a:lnTo>
                    <a:pt x="410" y="228"/>
                  </a:lnTo>
                  <a:lnTo>
                    <a:pt x="420" y="227"/>
                  </a:lnTo>
                  <a:lnTo>
                    <a:pt x="428" y="225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8" y="218"/>
                  </a:lnTo>
                  <a:lnTo>
                    <a:pt x="426" y="216"/>
                  </a:lnTo>
                  <a:lnTo>
                    <a:pt x="425" y="216"/>
                  </a:lnTo>
                  <a:lnTo>
                    <a:pt x="425" y="216"/>
                  </a:lnTo>
                  <a:lnTo>
                    <a:pt x="414" y="213"/>
                  </a:lnTo>
                  <a:lnTo>
                    <a:pt x="408" y="212"/>
                  </a:lnTo>
                  <a:lnTo>
                    <a:pt x="408" y="210"/>
                  </a:lnTo>
                  <a:lnTo>
                    <a:pt x="408" y="209"/>
                  </a:lnTo>
                  <a:lnTo>
                    <a:pt x="408" y="209"/>
                  </a:lnTo>
                  <a:lnTo>
                    <a:pt x="408" y="206"/>
                  </a:lnTo>
                  <a:lnTo>
                    <a:pt x="407" y="198"/>
                  </a:lnTo>
                  <a:lnTo>
                    <a:pt x="404" y="190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1" y="193"/>
                  </a:lnTo>
                  <a:lnTo>
                    <a:pt x="399" y="198"/>
                  </a:lnTo>
                  <a:lnTo>
                    <a:pt x="399" y="198"/>
                  </a:lnTo>
                  <a:lnTo>
                    <a:pt x="396" y="201"/>
                  </a:lnTo>
                  <a:lnTo>
                    <a:pt x="392" y="204"/>
                  </a:lnTo>
                  <a:lnTo>
                    <a:pt x="388" y="206"/>
                  </a:lnTo>
                  <a:lnTo>
                    <a:pt x="386" y="204"/>
                  </a:lnTo>
                  <a:lnTo>
                    <a:pt x="386" y="201"/>
                  </a:lnTo>
                  <a:lnTo>
                    <a:pt x="386" y="20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2" name="Freeform 31">
              <a:extLst>
                <a:ext uri="{FF2B5EF4-FFF2-40B4-BE49-F238E27FC236}">
                  <a16:creationId xmlns:a16="http://schemas.microsoft.com/office/drawing/2014/main" id="{3DBCF105-5D04-4148-94E4-FE226CD19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350" y="6565900"/>
              <a:ext cx="255588" cy="160337"/>
            </a:xfrm>
            <a:custGeom>
              <a:avLst/>
              <a:gdLst>
                <a:gd name="T0" fmla="*/ 108 w 161"/>
                <a:gd name="T1" fmla="*/ 52 h 101"/>
                <a:gd name="T2" fmla="*/ 111 w 161"/>
                <a:gd name="T3" fmla="*/ 41 h 101"/>
                <a:gd name="T4" fmla="*/ 120 w 161"/>
                <a:gd name="T5" fmla="*/ 35 h 101"/>
                <a:gd name="T6" fmla="*/ 124 w 161"/>
                <a:gd name="T7" fmla="*/ 35 h 101"/>
                <a:gd name="T8" fmla="*/ 142 w 161"/>
                <a:gd name="T9" fmla="*/ 46 h 101"/>
                <a:gd name="T10" fmla="*/ 145 w 161"/>
                <a:gd name="T11" fmla="*/ 46 h 101"/>
                <a:gd name="T12" fmla="*/ 152 w 161"/>
                <a:gd name="T13" fmla="*/ 40 h 101"/>
                <a:gd name="T14" fmla="*/ 155 w 161"/>
                <a:gd name="T15" fmla="*/ 35 h 101"/>
                <a:gd name="T16" fmla="*/ 161 w 161"/>
                <a:gd name="T17" fmla="*/ 24 h 101"/>
                <a:gd name="T18" fmla="*/ 160 w 161"/>
                <a:gd name="T19" fmla="*/ 21 h 101"/>
                <a:gd name="T20" fmla="*/ 149 w 161"/>
                <a:gd name="T21" fmla="*/ 9 h 101"/>
                <a:gd name="T22" fmla="*/ 136 w 161"/>
                <a:gd name="T23" fmla="*/ 0 h 101"/>
                <a:gd name="T24" fmla="*/ 134 w 161"/>
                <a:gd name="T25" fmla="*/ 10 h 101"/>
                <a:gd name="T26" fmla="*/ 134 w 161"/>
                <a:gd name="T27" fmla="*/ 15 h 101"/>
                <a:gd name="T28" fmla="*/ 129 w 161"/>
                <a:gd name="T29" fmla="*/ 25 h 101"/>
                <a:gd name="T30" fmla="*/ 121 w 161"/>
                <a:gd name="T31" fmla="*/ 27 h 101"/>
                <a:gd name="T32" fmla="*/ 96 w 161"/>
                <a:gd name="T33" fmla="*/ 22 h 101"/>
                <a:gd name="T34" fmla="*/ 86 w 161"/>
                <a:gd name="T35" fmla="*/ 19 h 101"/>
                <a:gd name="T36" fmla="*/ 75 w 161"/>
                <a:gd name="T37" fmla="*/ 16 h 101"/>
                <a:gd name="T38" fmla="*/ 62 w 161"/>
                <a:gd name="T39" fmla="*/ 18 h 101"/>
                <a:gd name="T40" fmla="*/ 52 w 161"/>
                <a:gd name="T41" fmla="*/ 16 h 101"/>
                <a:gd name="T42" fmla="*/ 47 w 161"/>
                <a:gd name="T43" fmla="*/ 15 h 101"/>
                <a:gd name="T44" fmla="*/ 31 w 161"/>
                <a:gd name="T45" fmla="*/ 12 h 101"/>
                <a:gd name="T46" fmla="*/ 25 w 161"/>
                <a:gd name="T47" fmla="*/ 10 h 101"/>
                <a:gd name="T48" fmla="*/ 4 w 161"/>
                <a:gd name="T49" fmla="*/ 0 h 101"/>
                <a:gd name="T50" fmla="*/ 1 w 161"/>
                <a:gd name="T51" fmla="*/ 19 h 101"/>
                <a:gd name="T52" fmla="*/ 0 w 161"/>
                <a:gd name="T53" fmla="*/ 49 h 101"/>
                <a:gd name="T54" fmla="*/ 4 w 161"/>
                <a:gd name="T55" fmla="*/ 64 h 101"/>
                <a:gd name="T56" fmla="*/ 10 w 161"/>
                <a:gd name="T57" fmla="*/ 70 h 101"/>
                <a:gd name="T58" fmla="*/ 25 w 161"/>
                <a:gd name="T59" fmla="*/ 84 h 101"/>
                <a:gd name="T60" fmla="*/ 37 w 161"/>
                <a:gd name="T61" fmla="*/ 98 h 101"/>
                <a:gd name="T62" fmla="*/ 77 w 161"/>
                <a:gd name="T63" fmla="*/ 93 h 101"/>
                <a:gd name="T64" fmla="*/ 89 w 161"/>
                <a:gd name="T65" fmla="*/ 99 h 101"/>
                <a:gd name="T66" fmla="*/ 94 w 161"/>
                <a:gd name="T67" fmla="*/ 101 h 101"/>
                <a:gd name="T68" fmla="*/ 99 w 161"/>
                <a:gd name="T69" fmla="*/ 93 h 101"/>
                <a:gd name="T70" fmla="*/ 108 w 161"/>
                <a:gd name="T71" fmla="*/ 61 h 101"/>
                <a:gd name="T72" fmla="*/ 108 w 161"/>
                <a:gd name="T73" fmla="*/ 5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1" h="101">
                  <a:moveTo>
                    <a:pt x="108" y="52"/>
                  </a:moveTo>
                  <a:lnTo>
                    <a:pt x="108" y="52"/>
                  </a:lnTo>
                  <a:lnTo>
                    <a:pt x="108" y="46"/>
                  </a:lnTo>
                  <a:lnTo>
                    <a:pt x="111" y="41"/>
                  </a:lnTo>
                  <a:lnTo>
                    <a:pt x="115" y="38"/>
                  </a:lnTo>
                  <a:lnTo>
                    <a:pt x="120" y="35"/>
                  </a:lnTo>
                  <a:lnTo>
                    <a:pt x="120" y="35"/>
                  </a:lnTo>
                  <a:lnTo>
                    <a:pt x="124" y="35"/>
                  </a:lnTo>
                  <a:lnTo>
                    <a:pt x="130" y="38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5" y="46"/>
                  </a:lnTo>
                  <a:lnTo>
                    <a:pt x="149" y="44"/>
                  </a:lnTo>
                  <a:lnTo>
                    <a:pt x="152" y="40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8" y="30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0" y="21"/>
                  </a:lnTo>
                  <a:lnTo>
                    <a:pt x="158" y="18"/>
                  </a:lnTo>
                  <a:lnTo>
                    <a:pt x="149" y="9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4" y="4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5"/>
                  </a:lnTo>
                  <a:lnTo>
                    <a:pt x="133" y="21"/>
                  </a:lnTo>
                  <a:lnTo>
                    <a:pt x="129" y="25"/>
                  </a:lnTo>
                  <a:lnTo>
                    <a:pt x="126" y="25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86" y="19"/>
                  </a:lnTo>
                  <a:lnTo>
                    <a:pt x="80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62" y="18"/>
                  </a:lnTo>
                  <a:lnTo>
                    <a:pt x="54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7" y="15"/>
                  </a:lnTo>
                  <a:lnTo>
                    <a:pt x="38" y="13"/>
                  </a:lnTo>
                  <a:lnTo>
                    <a:pt x="31" y="12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13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1" y="19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" y="58"/>
                  </a:lnTo>
                  <a:lnTo>
                    <a:pt x="4" y="64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7" y="77"/>
                  </a:lnTo>
                  <a:lnTo>
                    <a:pt x="25" y="84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83" y="96"/>
                  </a:lnTo>
                  <a:lnTo>
                    <a:pt x="89" y="99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6" y="98"/>
                  </a:lnTo>
                  <a:lnTo>
                    <a:pt x="99" y="93"/>
                  </a:lnTo>
                  <a:lnTo>
                    <a:pt x="105" y="77"/>
                  </a:lnTo>
                  <a:lnTo>
                    <a:pt x="108" y="61"/>
                  </a:lnTo>
                  <a:lnTo>
                    <a:pt x="108" y="52"/>
                  </a:lnTo>
                  <a:lnTo>
                    <a:pt x="108" y="5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3" name="Freeform 32">
              <a:extLst>
                <a:ext uri="{FF2B5EF4-FFF2-40B4-BE49-F238E27FC236}">
                  <a16:creationId xmlns:a16="http://schemas.microsoft.com/office/drawing/2014/main" id="{B627454E-40D1-C643-B704-70EB34E50A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9688" y="2962275"/>
              <a:ext cx="3221038" cy="3981450"/>
            </a:xfrm>
            <a:custGeom>
              <a:avLst/>
              <a:gdLst>
                <a:gd name="T0" fmla="*/ 1976 w 2029"/>
                <a:gd name="T1" fmla="*/ 608 h 2508"/>
                <a:gd name="T2" fmla="*/ 1995 w 2029"/>
                <a:gd name="T3" fmla="*/ 491 h 2508"/>
                <a:gd name="T4" fmla="*/ 1904 w 2029"/>
                <a:gd name="T5" fmla="*/ 287 h 2508"/>
                <a:gd name="T6" fmla="*/ 1808 w 2029"/>
                <a:gd name="T7" fmla="*/ 213 h 2508"/>
                <a:gd name="T8" fmla="*/ 1693 w 2029"/>
                <a:gd name="T9" fmla="*/ 201 h 2508"/>
                <a:gd name="T10" fmla="*/ 1346 w 2029"/>
                <a:gd name="T11" fmla="*/ 388 h 2508"/>
                <a:gd name="T12" fmla="*/ 1229 w 2029"/>
                <a:gd name="T13" fmla="*/ 447 h 2508"/>
                <a:gd name="T14" fmla="*/ 1158 w 2029"/>
                <a:gd name="T15" fmla="*/ 479 h 2508"/>
                <a:gd name="T16" fmla="*/ 1020 w 2029"/>
                <a:gd name="T17" fmla="*/ 497 h 2508"/>
                <a:gd name="T18" fmla="*/ 1081 w 2029"/>
                <a:gd name="T19" fmla="*/ 620 h 2508"/>
                <a:gd name="T20" fmla="*/ 1007 w 2029"/>
                <a:gd name="T21" fmla="*/ 697 h 2508"/>
                <a:gd name="T22" fmla="*/ 869 w 2029"/>
                <a:gd name="T23" fmla="*/ 848 h 2508"/>
                <a:gd name="T24" fmla="*/ 714 w 2029"/>
                <a:gd name="T25" fmla="*/ 789 h 2508"/>
                <a:gd name="T26" fmla="*/ 672 w 2029"/>
                <a:gd name="T27" fmla="*/ 706 h 2508"/>
                <a:gd name="T28" fmla="*/ 547 w 2029"/>
                <a:gd name="T29" fmla="*/ 681 h 2508"/>
                <a:gd name="T30" fmla="*/ 476 w 2029"/>
                <a:gd name="T31" fmla="*/ 786 h 2508"/>
                <a:gd name="T32" fmla="*/ 200 w 2029"/>
                <a:gd name="T33" fmla="*/ 804 h 2508"/>
                <a:gd name="T34" fmla="*/ 113 w 2029"/>
                <a:gd name="T35" fmla="*/ 770 h 2508"/>
                <a:gd name="T36" fmla="*/ 102 w 2029"/>
                <a:gd name="T37" fmla="*/ 829 h 2508"/>
                <a:gd name="T38" fmla="*/ 176 w 2029"/>
                <a:gd name="T39" fmla="*/ 950 h 2508"/>
                <a:gd name="T40" fmla="*/ 134 w 2029"/>
                <a:gd name="T41" fmla="*/ 1128 h 2508"/>
                <a:gd name="T42" fmla="*/ 77 w 2029"/>
                <a:gd name="T43" fmla="*/ 1226 h 2508"/>
                <a:gd name="T44" fmla="*/ 30 w 2029"/>
                <a:gd name="T45" fmla="*/ 1522 h 2508"/>
                <a:gd name="T46" fmla="*/ 46 w 2029"/>
                <a:gd name="T47" fmla="*/ 1655 h 2508"/>
                <a:gd name="T48" fmla="*/ 28 w 2029"/>
                <a:gd name="T49" fmla="*/ 1824 h 2508"/>
                <a:gd name="T50" fmla="*/ 150 w 2029"/>
                <a:gd name="T51" fmla="*/ 1851 h 2508"/>
                <a:gd name="T52" fmla="*/ 175 w 2029"/>
                <a:gd name="T53" fmla="*/ 1916 h 2508"/>
                <a:gd name="T54" fmla="*/ 259 w 2029"/>
                <a:gd name="T55" fmla="*/ 2092 h 2508"/>
                <a:gd name="T56" fmla="*/ 322 w 2029"/>
                <a:gd name="T57" fmla="*/ 2217 h 2508"/>
                <a:gd name="T58" fmla="*/ 305 w 2029"/>
                <a:gd name="T59" fmla="*/ 2403 h 2508"/>
                <a:gd name="T60" fmla="*/ 425 w 2029"/>
                <a:gd name="T61" fmla="*/ 2362 h 2508"/>
                <a:gd name="T62" fmla="*/ 516 w 2029"/>
                <a:gd name="T63" fmla="*/ 2326 h 2508"/>
                <a:gd name="T64" fmla="*/ 601 w 2029"/>
                <a:gd name="T65" fmla="*/ 2180 h 2508"/>
                <a:gd name="T66" fmla="*/ 744 w 2029"/>
                <a:gd name="T67" fmla="*/ 2260 h 2508"/>
                <a:gd name="T68" fmla="*/ 832 w 2029"/>
                <a:gd name="T69" fmla="*/ 2338 h 2508"/>
                <a:gd name="T70" fmla="*/ 924 w 2029"/>
                <a:gd name="T71" fmla="*/ 2474 h 2508"/>
                <a:gd name="T72" fmla="*/ 1132 w 2029"/>
                <a:gd name="T73" fmla="*/ 2485 h 2508"/>
                <a:gd name="T74" fmla="*/ 1364 w 2029"/>
                <a:gd name="T75" fmla="*/ 2495 h 2508"/>
                <a:gd name="T76" fmla="*/ 1545 w 2029"/>
                <a:gd name="T77" fmla="*/ 2403 h 2508"/>
                <a:gd name="T78" fmla="*/ 1634 w 2029"/>
                <a:gd name="T79" fmla="*/ 2245 h 2508"/>
                <a:gd name="T80" fmla="*/ 1530 w 2029"/>
                <a:gd name="T81" fmla="*/ 2098 h 2508"/>
                <a:gd name="T82" fmla="*/ 1571 w 2029"/>
                <a:gd name="T83" fmla="*/ 1940 h 2508"/>
                <a:gd name="T84" fmla="*/ 1743 w 2029"/>
                <a:gd name="T85" fmla="*/ 1783 h 2508"/>
                <a:gd name="T86" fmla="*/ 1700 w 2029"/>
                <a:gd name="T87" fmla="*/ 1646 h 2508"/>
                <a:gd name="T88" fmla="*/ 1699 w 2029"/>
                <a:gd name="T89" fmla="*/ 1408 h 2508"/>
                <a:gd name="T90" fmla="*/ 1851 w 2029"/>
                <a:gd name="T91" fmla="*/ 1369 h 2508"/>
                <a:gd name="T92" fmla="*/ 1881 w 2029"/>
                <a:gd name="T93" fmla="*/ 1258 h 2508"/>
                <a:gd name="T94" fmla="*/ 1844 w 2029"/>
                <a:gd name="T95" fmla="*/ 1060 h 2508"/>
                <a:gd name="T96" fmla="*/ 1894 w 2029"/>
                <a:gd name="T97" fmla="*/ 940 h 2508"/>
                <a:gd name="T98" fmla="*/ 1995 w 2029"/>
                <a:gd name="T99" fmla="*/ 869 h 2508"/>
                <a:gd name="T100" fmla="*/ 923 w 2029"/>
                <a:gd name="T101" fmla="*/ 5 h 2508"/>
                <a:gd name="T102" fmla="*/ 951 w 2029"/>
                <a:gd name="T103" fmla="*/ 149 h 2508"/>
                <a:gd name="T104" fmla="*/ 1038 w 2029"/>
                <a:gd name="T105" fmla="*/ 119 h 2508"/>
                <a:gd name="T106" fmla="*/ 809 w 2029"/>
                <a:gd name="T107" fmla="*/ 225 h 2508"/>
                <a:gd name="T108" fmla="*/ 738 w 2029"/>
                <a:gd name="T109" fmla="*/ 260 h 2508"/>
                <a:gd name="T110" fmla="*/ 834 w 2029"/>
                <a:gd name="T111" fmla="*/ 373 h 2508"/>
                <a:gd name="T112" fmla="*/ 905 w 2029"/>
                <a:gd name="T113" fmla="*/ 294 h 2508"/>
                <a:gd name="T114" fmla="*/ 881 w 2029"/>
                <a:gd name="T115" fmla="*/ 201 h 2508"/>
                <a:gd name="T116" fmla="*/ 699 w 2029"/>
                <a:gd name="T117" fmla="*/ 308 h 2508"/>
                <a:gd name="T118" fmla="*/ 810 w 2029"/>
                <a:gd name="T119" fmla="*/ 462 h 2508"/>
                <a:gd name="T120" fmla="*/ 963 w 2029"/>
                <a:gd name="T121" fmla="*/ 445 h 2508"/>
                <a:gd name="T122" fmla="*/ 958 w 2029"/>
                <a:gd name="T123" fmla="*/ 388 h 2508"/>
                <a:gd name="T124" fmla="*/ 119 w 2029"/>
                <a:gd name="T125" fmla="*/ 721 h 2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9" h="2508">
                  <a:moveTo>
                    <a:pt x="1947" y="752"/>
                  </a:moveTo>
                  <a:lnTo>
                    <a:pt x="1947" y="752"/>
                  </a:lnTo>
                  <a:lnTo>
                    <a:pt x="1939" y="749"/>
                  </a:lnTo>
                  <a:lnTo>
                    <a:pt x="1930" y="743"/>
                  </a:lnTo>
                  <a:lnTo>
                    <a:pt x="1921" y="737"/>
                  </a:lnTo>
                  <a:lnTo>
                    <a:pt x="1916" y="730"/>
                  </a:lnTo>
                  <a:lnTo>
                    <a:pt x="1916" y="730"/>
                  </a:lnTo>
                  <a:lnTo>
                    <a:pt x="1913" y="722"/>
                  </a:lnTo>
                  <a:lnTo>
                    <a:pt x="1912" y="713"/>
                  </a:lnTo>
                  <a:lnTo>
                    <a:pt x="1912" y="706"/>
                  </a:lnTo>
                  <a:lnTo>
                    <a:pt x="1913" y="703"/>
                  </a:lnTo>
                  <a:lnTo>
                    <a:pt x="1916" y="702"/>
                  </a:lnTo>
                  <a:lnTo>
                    <a:pt x="1916" y="702"/>
                  </a:lnTo>
                  <a:lnTo>
                    <a:pt x="1921" y="700"/>
                  </a:lnTo>
                  <a:lnTo>
                    <a:pt x="1922" y="702"/>
                  </a:lnTo>
                  <a:lnTo>
                    <a:pt x="1925" y="702"/>
                  </a:lnTo>
                  <a:lnTo>
                    <a:pt x="1928" y="700"/>
                  </a:lnTo>
                  <a:lnTo>
                    <a:pt x="1928" y="700"/>
                  </a:lnTo>
                  <a:lnTo>
                    <a:pt x="1934" y="697"/>
                  </a:lnTo>
                  <a:lnTo>
                    <a:pt x="1934" y="694"/>
                  </a:lnTo>
                  <a:lnTo>
                    <a:pt x="1933" y="691"/>
                  </a:lnTo>
                  <a:lnTo>
                    <a:pt x="1933" y="691"/>
                  </a:lnTo>
                  <a:lnTo>
                    <a:pt x="1927" y="685"/>
                  </a:lnTo>
                  <a:lnTo>
                    <a:pt x="1918" y="679"/>
                  </a:lnTo>
                  <a:lnTo>
                    <a:pt x="1910" y="675"/>
                  </a:lnTo>
                  <a:lnTo>
                    <a:pt x="1909" y="672"/>
                  </a:lnTo>
                  <a:lnTo>
                    <a:pt x="1907" y="670"/>
                  </a:lnTo>
                  <a:lnTo>
                    <a:pt x="1907" y="670"/>
                  </a:lnTo>
                  <a:lnTo>
                    <a:pt x="1907" y="666"/>
                  </a:lnTo>
                  <a:lnTo>
                    <a:pt x="1909" y="659"/>
                  </a:lnTo>
                  <a:lnTo>
                    <a:pt x="1910" y="656"/>
                  </a:lnTo>
                  <a:lnTo>
                    <a:pt x="1913" y="651"/>
                  </a:lnTo>
                  <a:lnTo>
                    <a:pt x="1918" y="648"/>
                  </a:lnTo>
                  <a:lnTo>
                    <a:pt x="1924" y="645"/>
                  </a:lnTo>
                  <a:lnTo>
                    <a:pt x="1924" y="645"/>
                  </a:lnTo>
                  <a:lnTo>
                    <a:pt x="1934" y="642"/>
                  </a:lnTo>
                  <a:lnTo>
                    <a:pt x="1940" y="638"/>
                  </a:lnTo>
                  <a:lnTo>
                    <a:pt x="1943" y="633"/>
                  </a:lnTo>
                  <a:lnTo>
                    <a:pt x="1947" y="629"/>
                  </a:lnTo>
                  <a:lnTo>
                    <a:pt x="1947" y="629"/>
                  </a:lnTo>
                  <a:lnTo>
                    <a:pt x="1962" y="619"/>
                  </a:lnTo>
                  <a:lnTo>
                    <a:pt x="1976" y="608"/>
                  </a:lnTo>
                  <a:lnTo>
                    <a:pt x="1976" y="608"/>
                  </a:lnTo>
                  <a:lnTo>
                    <a:pt x="1981" y="605"/>
                  </a:lnTo>
                  <a:lnTo>
                    <a:pt x="1984" y="601"/>
                  </a:lnTo>
                  <a:lnTo>
                    <a:pt x="1986" y="596"/>
                  </a:lnTo>
                  <a:lnTo>
                    <a:pt x="1986" y="590"/>
                  </a:lnTo>
                  <a:lnTo>
                    <a:pt x="1986" y="590"/>
                  </a:lnTo>
                  <a:lnTo>
                    <a:pt x="1984" y="585"/>
                  </a:lnTo>
                  <a:lnTo>
                    <a:pt x="1984" y="580"/>
                  </a:lnTo>
                  <a:lnTo>
                    <a:pt x="1987" y="579"/>
                  </a:lnTo>
                  <a:lnTo>
                    <a:pt x="1990" y="579"/>
                  </a:lnTo>
                  <a:lnTo>
                    <a:pt x="1990" y="579"/>
                  </a:lnTo>
                  <a:lnTo>
                    <a:pt x="1999" y="585"/>
                  </a:lnTo>
                  <a:lnTo>
                    <a:pt x="2005" y="587"/>
                  </a:lnTo>
                  <a:lnTo>
                    <a:pt x="2010" y="587"/>
                  </a:lnTo>
                  <a:lnTo>
                    <a:pt x="2010" y="587"/>
                  </a:lnTo>
                  <a:lnTo>
                    <a:pt x="2013" y="585"/>
                  </a:lnTo>
                  <a:lnTo>
                    <a:pt x="2017" y="582"/>
                  </a:lnTo>
                  <a:lnTo>
                    <a:pt x="2020" y="576"/>
                  </a:lnTo>
                  <a:lnTo>
                    <a:pt x="2020" y="573"/>
                  </a:lnTo>
                  <a:lnTo>
                    <a:pt x="2019" y="568"/>
                  </a:lnTo>
                  <a:lnTo>
                    <a:pt x="2019" y="568"/>
                  </a:lnTo>
                  <a:lnTo>
                    <a:pt x="2016" y="561"/>
                  </a:lnTo>
                  <a:lnTo>
                    <a:pt x="2016" y="555"/>
                  </a:lnTo>
                  <a:lnTo>
                    <a:pt x="2017" y="549"/>
                  </a:lnTo>
                  <a:lnTo>
                    <a:pt x="2020" y="543"/>
                  </a:lnTo>
                  <a:lnTo>
                    <a:pt x="2020" y="543"/>
                  </a:lnTo>
                  <a:lnTo>
                    <a:pt x="2029" y="534"/>
                  </a:lnTo>
                  <a:lnTo>
                    <a:pt x="2029" y="531"/>
                  </a:lnTo>
                  <a:lnTo>
                    <a:pt x="2026" y="528"/>
                  </a:lnTo>
                  <a:lnTo>
                    <a:pt x="2026" y="528"/>
                  </a:lnTo>
                  <a:lnTo>
                    <a:pt x="2020" y="524"/>
                  </a:lnTo>
                  <a:lnTo>
                    <a:pt x="2017" y="522"/>
                  </a:lnTo>
                  <a:lnTo>
                    <a:pt x="2017" y="519"/>
                  </a:lnTo>
                  <a:lnTo>
                    <a:pt x="2017" y="519"/>
                  </a:lnTo>
                  <a:lnTo>
                    <a:pt x="2017" y="518"/>
                  </a:lnTo>
                  <a:lnTo>
                    <a:pt x="2017" y="518"/>
                  </a:lnTo>
                  <a:lnTo>
                    <a:pt x="2007" y="509"/>
                  </a:lnTo>
                  <a:lnTo>
                    <a:pt x="2001" y="500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95" y="491"/>
                  </a:lnTo>
                  <a:lnTo>
                    <a:pt x="1987" y="481"/>
                  </a:lnTo>
                  <a:lnTo>
                    <a:pt x="1979" y="473"/>
                  </a:lnTo>
                  <a:lnTo>
                    <a:pt x="1968" y="469"/>
                  </a:lnTo>
                  <a:lnTo>
                    <a:pt x="1958" y="466"/>
                  </a:lnTo>
                  <a:lnTo>
                    <a:pt x="1958" y="466"/>
                  </a:lnTo>
                  <a:lnTo>
                    <a:pt x="1942" y="468"/>
                  </a:lnTo>
                  <a:lnTo>
                    <a:pt x="1922" y="470"/>
                  </a:lnTo>
                  <a:lnTo>
                    <a:pt x="1922" y="470"/>
                  </a:lnTo>
                  <a:lnTo>
                    <a:pt x="1912" y="470"/>
                  </a:lnTo>
                  <a:lnTo>
                    <a:pt x="1906" y="468"/>
                  </a:lnTo>
                  <a:lnTo>
                    <a:pt x="1893" y="457"/>
                  </a:lnTo>
                  <a:lnTo>
                    <a:pt x="1893" y="457"/>
                  </a:lnTo>
                  <a:lnTo>
                    <a:pt x="1885" y="451"/>
                  </a:lnTo>
                  <a:lnTo>
                    <a:pt x="1881" y="447"/>
                  </a:lnTo>
                  <a:lnTo>
                    <a:pt x="1878" y="442"/>
                  </a:lnTo>
                  <a:lnTo>
                    <a:pt x="1878" y="438"/>
                  </a:lnTo>
                  <a:lnTo>
                    <a:pt x="1878" y="438"/>
                  </a:lnTo>
                  <a:lnTo>
                    <a:pt x="1881" y="429"/>
                  </a:lnTo>
                  <a:lnTo>
                    <a:pt x="1881" y="426"/>
                  </a:lnTo>
                  <a:lnTo>
                    <a:pt x="1879" y="425"/>
                  </a:lnTo>
                  <a:lnTo>
                    <a:pt x="1879" y="425"/>
                  </a:lnTo>
                  <a:lnTo>
                    <a:pt x="1872" y="425"/>
                  </a:lnTo>
                  <a:lnTo>
                    <a:pt x="1867" y="425"/>
                  </a:lnTo>
                  <a:lnTo>
                    <a:pt x="1865" y="422"/>
                  </a:lnTo>
                  <a:lnTo>
                    <a:pt x="1865" y="422"/>
                  </a:lnTo>
                  <a:lnTo>
                    <a:pt x="1862" y="417"/>
                  </a:lnTo>
                  <a:lnTo>
                    <a:pt x="1859" y="407"/>
                  </a:lnTo>
                  <a:lnTo>
                    <a:pt x="1859" y="396"/>
                  </a:lnTo>
                  <a:lnTo>
                    <a:pt x="1860" y="392"/>
                  </a:lnTo>
                  <a:lnTo>
                    <a:pt x="1862" y="388"/>
                  </a:lnTo>
                  <a:lnTo>
                    <a:pt x="1862" y="388"/>
                  </a:lnTo>
                  <a:lnTo>
                    <a:pt x="1869" y="374"/>
                  </a:lnTo>
                  <a:lnTo>
                    <a:pt x="1872" y="364"/>
                  </a:lnTo>
                  <a:lnTo>
                    <a:pt x="1872" y="364"/>
                  </a:lnTo>
                  <a:lnTo>
                    <a:pt x="1875" y="355"/>
                  </a:lnTo>
                  <a:lnTo>
                    <a:pt x="1884" y="343"/>
                  </a:lnTo>
                  <a:lnTo>
                    <a:pt x="1899" y="324"/>
                  </a:lnTo>
                  <a:lnTo>
                    <a:pt x="1899" y="324"/>
                  </a:lnTo>
                  <a:lnTo>
                    <a:pt x="1902" y="318"/>
                  </a:lnTo>
                  <a:lnTo>
                    <a:pt x="1904" y="309"/>
                  </a:lnTo>
                  <a:lnTo>
                    <a:pt x="1904" y="299"/>
                  </a:lnTo>
                  <a:lnTo>
                    <a:pt x="1904" y="287"/>
                  </a:lnTo>
                  <a:lnTo>
                    <a:pt x="1904" y="287"/>
                  </a:lnTo>
                  <a:lnTo>
                    <a:pt x="1904" y="282"/>
                  </a:lnTo>
                  <a:lnTo>
                    <a:pt x="1904" y="278"/>
                  </a:lnTo>
                  <a:lnTo>
                    <a:pt x="1909" y="272"/>
                  </a:lnTo>
                  <a:lnTo>
                    <a:pt x="1913" y="268"/>
                  </a:lnTo>
                  <a:lnTo>
                    <a:pt x="1918" y="262"/>
                  </a:lnTo>
                  <a:lnTo>
                    <a:pt x="1918" y="262"/>
                  </a:lnTo>
                  <a:lnTo>
                    <a:pt x="1922" y="257"/>
                  </a:lnTo>
                  <a:lnTo>
                    <a:pt x="1927" y="254"/>
                  </a:lnTo>
                  <a:lnTo>
                    <a:pt x="1931" y="253"/>
                  </a:lnTo>
                  <a:lnTo>
                    <a:pt x="1931" y="251"/>
                  </a:lnTo>
                  <a:lnTo>
                    <a:pt x="1931" y="251"/>
                  </a:lnTo>
                  <a:lnTo>
                    <a:pt x="1924" y="242"/>
                  </a:lnTo>
                  <a:lnTo>
                    <a:pt x="1907" y="228"/>
                  </a:lnTo>
                  <a:lnTo>
                    <a:pt x="1888" y="214"/>
                  </a:lnTo>
                  <a:lnTo>
                    <a:pt x="1881" y="210"/>
                  </a:lnTo>
                  <a:lnTo>
                    <a:pt x="1876" y="208"/>
                  </a:lnTo>
                  <a:lnTo>
                    <a:pt x="1876" y="208"/>
                  </a:lnTo>
                  <a:lnTo>
                    <a:pt x="1870" y="207"/>
                  </a:lnTo>
                  <a:lnTo>
                    <a:pt x="1866" y="205"/>
                  </a:lnTo>
                  <a:lnTo>
                    <a:pt x="1865" y="201"/>
                  </a:lnTo>
                  <a:lnTo>
                    <a:pt x="1865" y="195"/>
                  </a:lnTo>
                  <a:lnTo>
                    <a:pt x="1865" y="195"/>
                  </a:lnTo>
                  <a:lnTo>
                    <a:pt x="1863" y="189"/>
                  </a:lnTo>
                  <a:lnTo>
                    <a:pt x="1862" y="188"/>
                  </a:lnTo>
                  <a:lnTo>
                    <a:pt x="1859" y="186"/>
                  </a:lnTo>
                  <a:lnTo>
                    <a:pt x="1857" y="188"/>
                  </a:lnTo>
                  <a:lnTo>
                    <a:pt x="1857" y="188"/>
                  </a:lnTo>
                  <a:lnTo>
                    <a:pt x="1854" y="189"/>
                  </a:lnTo>
                  <a:lnTo>
                    <a:pt x="1850" y="191"/>
                  </a:lnTo>
                  <a:lnTo>
                    <a:pt x="1842" y="192"/>
                  </a:lnTo>
                  <a:lnTo>
                    <a:pt x="1833" y="191"/>
                  </a:lnTo>
                  <a:lnTo>
                    <a:pt x="1833" y="191"/>
                  </a:lnTo>
                  <a:lnTo>
                    <a:pt x="1829" y="189"/>
                  </a:lnTo>
                  <a:lnTo>
                    <a:pt x="1825" y="186"/>
                  </a:lnTo>
                  <a:lnTo>
                    <a:pt x="1817" y="180"/>
                  </a:lnTo>
                  <a:lnTo>
                    <a:pt x="1810" y="171"/>
                  </a:lnTo>
                  <a:lnTo>
                    <a:pt x="1810" y="171"/>
                  </a:lnTo>
                  <a:lnTo>
                    <a:pt x="1808" y="177"/>
                  </a:lnTo>
                  <a:lnTo>
                    <a:pt x="1808" y="177"/>
                  </a:lnTo>
                  <a:lnTo>
                    <a:pt x="1808" y="195"/>
                  </a:lnTo>
                  <a:lnTo>
                    <a:pt x="1808" y="213"/>
                  </a:lnTo>
                  <a:lnTo>
                    <a:pt x="1808" y="213"/>
                  </a:lnTo>
                  <a:lnTo>
                    <a:pt x="1807" y="214"/>
                  </a:lnTo>
                  <a:lnTo>
                    <a:pt x="1805" y="216"/>
                  </a:lnTo>
                  <a:lnTo>
                    <a:pt x="1799" y="213"/>
                  </a:lnTo>
                  <a:lnTo>
                    <a:pt x="1799" y="213"/>
                  </a:lnTo>
                  <a:lnTo>
                    <a:pt x="1795" y="208"/>
                  </a:lnTo>
                  <a:lnTo>
                    <a:pt x="1792" y="208"/>
                  </a:lnTo>
                  <a:lnTo>
                    <a:pt x="1790" y="210"/>
                  </a:lnTo>
                  <a:lnTo>
                    <a:pt x="1790" y="210"/>
                  </a:lnTo>
                  <a:lnTo>
                    <a:pt x="1790" y="214"/>
                  </a:lnTo>
                  <a:lnTo>
                    <a:pt x="1790" y="220"/>
                  </a:lnTo>
                  <a:lnTo>
                    <a:pt x="1792" y="226"/>
                  </a:lnTo>
                  <a:lnTo>
                    <a:pt x="1790" y="231"/>
                  </a:lnTo>
                  <a:lnTo>
                    <a:pt x="1790" y="231"/>
                  </a:lnTo>
                  <a:lnTo>
                    <a:pt x="1790" y="232"/>
                  </a:lnTo>
                  <a:lnTo>
                    <a:pt x="1789" y="232"/>
                  </a:lnTo>
                  <a:lnTo>
                    <a:pt x="1785" y="229"/>
                  </a:lnTo>
                  <a:lnTo>
                    <a:pt x="1777" y="222"/>
                  </a:lnTo>
                  <a:lnTo>
                    <a:pt x="1777" y="222"/>
                  </a:lnTo>
                  <a:lnTo>
                    <a:pt x="1774" y="220"/>
                  </a:lnTo>
                  <a:lnTo>
                    <a:pt x="1771" y="219"/>
                  </a:lnTo>
                  <a:lnTo>
                    <a:pt x="1768" y="219"/>
                  </a:lnTo>
                  <a:lnTo>
                    <a:pt x="1767" y="220"/>
                  </a:lnTo>
                  <a:lnTo>
                    <a:pt x="1767" y="220"/>
                  </a:lnTo>
                  <a:lnTo>
                    <a:pt x="1768" y="231"/>
                  </a:lnTo>
                  <a:lnTo>
                    <a:pt x="1768" y="236"/>
                  </a:lnTo>
                  <a:lnTo>
                    <a:pt x="1767" y="242"/>
                  </a:lnTo>
                  <a:lnTo>
                    <a:pt x="1767" y="242"/>
                  </a:lnTo>
                  <a:lnTo>
                    <a:pt x="1765" y="244"/>
                  </a:lnTo>
                  <a:lnTo>
                    <a:pt x="1762" y="245"/>
                  </a:lnTo>
                  <a:lnTo>
                    <a:pt x="1752" y="247"/>
                  </a:lnTo>
                  <a:lnTo>
                    <a:pt x="1740" y="247"/>
                  </a:lnTo>
                  <a:lnTo>
                    <a:pt x="1733" y="245"/>
                  </a:lnTo>
                  <a:lnTo>
                    <a:pt x="1733" y="245"/>
                  </a:lnTo>
                  <a:lnTo>
                    <a:pt x="1730" y="244"/>
                  </a:lnTo>
                  <a:lnTo>
                    <a:pt x="1727" y="241"/>
                  </a:lnTo>
                  <a:lnTo>
                    <a:pt x="1725" y="235"/>
                  </a:lnTo>
                  <a:lnTo>
                    <a:pt x="1721" y="223"/>
                  </a:lnTo>
                  <a:lnTo>
                    <a:pt x="1721" y="223"/>
                  </a:lnTo>
                  <a:lnTo>
                    <a:pt x="1715" y="216"/>
                  </a:lnTo>
                  <a:lnTo>
                    <a:pt x="1705" y="208"/>
                  </a:lnTo>
                  <a:lnTo>
                    <a:pt x="1693" y="201"/>
                  </a:lnTo>
                  <a:lnTo>
                    <a:pt x="1685" y="196"/>
                  </a:lnTo>
                  <a:lnTo>
                    <a:pt x="1685" y="196"/>
                  </a:lnTo>
                  <a:lnTo>
                    <a:pt x="1679" y="195"/>
                  </a:lnTo>
                  <a:lnTo>
                    <a:pt x="1671" y="195"/>
                  </a:lnTo>
                  <a:lnTo>
                    <a:pt x="1641" y="195"/>
                  </a:lnTo>
                  <a:lnTo>
                    <a:pt x="1641" y="195"/>
                  </a:lnTo>
                  <a:lnTo>
                    <a:pt x="1632" y="196"/>
                  </a:lnTo>
                  <a:lnTo>
                    <a:pt x="1620" y="201"/>
                  </a:lnTo>
                  <a:lnTo>
                    <a:pt x="1596" y="213"/>
                  </a:lnTo>
                  <a:lnTo>
                    <a:pt x="1576" y="226"/>
                  </a:lnTo>
                  <a:lnTo>
                    <a:pt x="1562" y="235"/>
                  </a:lnTo>
                  <a:lnTo>
                    <a:pt x="1562" y="235"/>
                  </a:lnTo>
                  <a:lnTo>
                    <a:pt x="1558" y="239"/>
                  </a:lnTo>
                  <a:lnTo>
                    <a:pt x="1552" y="247"/>
                  </a:lnTo>
                  <a:lnTo>
                    <a:pt x="1537" y="268"/>
                  </a:lnTo>
                  <a:lnTo>
                    <a:pt x="1514" y="300"/>
                  </a:lnTo>
                  <a:lnTo>
                    <a:pt x="1514" y="300"/>
                  </a:lnTo>
                  <a:lnTo>
                    <a:pt x="1454" y="391"/>
                  </a:lnTo>
                  <a:lnTo>
                    <a:pt x="1454" y="391"/>
                  </a:lnTo>
                  <a:lnTo>
                    <a:pt x="1453" y="392"/>
                  </a:lnTo>
                  <a:lnTo>
                    <a:pt x="1450" y="391"/>
                  </a:lnTo>
                  <a:lnTo>
                    <a:pt x="1447" y="389"/>
                  </a:lnTo>
                  <a:lnTo>
                    <a:pt x="1445" y="386"/>
                  </a:lnTo>
                  <a:lnTo>
                    <a:pt x="1445" y="386"/>
                  </a:lnTo>
                  <a:lnTo>
                    <a:pt x="1442" y="382"/>
                  </a:lnTo>
                  <a:lnTo>
                    <a:pt x="1437" y="377"/>
                  </a:lnTo>
                  <a:lnTo>
                    <a:pt x="1431" y="373"/>
                  </a:lnTo>
                  <a:lnTo>
                    <a:pt x="1425" y="370"/>
                  </a:lnTo>
                  <a:lnTo>
                    <a:pt x="1425" y="370"/>
                  </a:lnTo>
                  <a:lnTo>
                    <a:pt x="1417" y="368"/>
                  </a:lnTo>
                  <a:lnTo>
                    <a:pt x="1408" y="368"/>
                  </a:lnTo>
                  <a:lnTo>
                    <a:pt x="1394" y="368"/>
                  </a:lnTo>
                  <a:lnTo>
                    <a:pt x="1394" y="368"/>
                  </a:lnTo>
                  <a:lnTo>
                    <a:pt x="1389" y="371"/>
                  </a:lnTo>
                  <a:lnTo>
                    <a:pt x="1385" y="377"/>
                  </a:lnTo>
                  <a:lnTo>
                    <a:pt x="1374" y="389"/>
                  </a:lnTo>
                  <a:lnTo>
                    <a:pt x="1374" y="389"/>
                  </a:lnTo>
                  <a:lnTo>
                    <a:pt x="1373" y="391"/>
                  </a:lnTo>
                  <a:lnTo>
                    <a:pt x="1370" y="391"/>
                  </a:lnTo>
                  <a:lnTo>
                    <a:pt x="1361" y="391"/>
                  </a:lnTo>
                  <a:lnTo>
                    <a:pt x="1354" y="389"/>
                  </a:lnTo>
                  <a:lnTo>
                    <a:pt x="1346" y="388"/>
                  </a:lnTo>
                  <a:lnTo>
                    <a:pt x="1346" y="388"/>
                  </a:lnTo>
                  <a:lnTo>
                    <a:pt x="1340" y="391"/>
                  </a:lnTo>
                  <a:lnTo>
                    <a:pt x="1334" y="396"/>
                  </a:lnTo>
                  <a:lnTo>
                    <a:pt x="1324" y="407"/>
                  </a:lnTo>
                  <a:lnTo>
                    <a:pt x="1324" y="407"/>
                  </a:lnTo>
                  <a:lnTo>
                    <a:pt x="1320" y="408"/>
                  </a:lnTo>
                  <a:lnTo>
                    <a:pt x="1317" y="408"/>
                  </a:lnTo>
                  <a:lnTo>
                    <a:pt x="1314" y="405"/>
                  </a:lnTo>
                  <a:lnTo>
                    <a:pt x="1311" y="401"/>
                  </a:lnTo>
                  <a:lnTo>
                    <a:pt x="1311" y="401"/>
                  </a:lnTo>
                  <a:lnTo>
                    <a:pt x="1311" y="398"/>
                  </a:lnTo>
                  <a:lnTo>
                    <a:pt x="1312" y="393"/>
                  </a:lnTo>
                  <a:lnTo>
                    <a:pt x="1320" y="386"/>
                  </a:lnTo>
                  <a:lnTo>
                    <a:pt x="1320" y="386"/>
                  </a:lnTo>
                  <a:lnTo>
                    <a:pt x="1323" y="382"/>
                  </a:lnTo>
                  <a:lnTo>
                    <a:pt x="1324" y="376"/>
                  </a:lnTo>
                  <a:lnTo>
                    <a:pt x="1326" y="371"/>
                  </a:lnTo>
                  <a:lnTo>
                    <a:pt x="1324" y="367"/>
                  </a:lnTo>
                  <a:lnTo>
                    <a:pt x="1324" y="367"/>
                  </a:lnTo>
                  <a:lnTo>
                    <a:pt x="1318" y="362"/>
                  </a:lnTo>
                  <a:lnTo>
                    <a:pt x="1311" y="356"/>
                  </a:lnTo>
                  <a:lnTo>
                    <a:pt x="1300" y="352"/>
                  </a:lnTo>
                  <a:lnTo>
                    <a:pt x="1293" y="349"/>
                  </a:lnTo>
                  <a:lnTo>
                    <a:pt x="1293" y="349"/>
                  </a:lnTo>
                  <a:lnTo>
                    <a:pt x="1286" y="351"/>
                  </a:lnTo>
                  <a:lnTo>
                    <a:pt x="1277" y="353"/>
                  </a:lnTo>
                  <a:lnTo>
                    <a:pt x="1259" y="359"/>
                  </a:lnTo>
                  <a:lnTo>
                    <a:pt x="1259" y="359"/>
                  </a:lnTo>
                  <a:lnTo>
                    <a:pt x="1251" y="364"/>
                  </a:lnTo>
                  <a:lnTo>
                    <a:pt x="1243" y="370"/>
                  </a:lnTo>
                  <a:lnTo>
                    <a:pt x="1228" y="383"/>
                  </a:lnTo>
                  <a:lnTo>
                    <a:pt x="1228" y="383"/>
                  </a:lnTo>
                  <a:lnTo>
                    <a:pt x="1225" y="388"/>
                  </a:lnTo>
                  <a:lnTo>
                    <a:pt x="1220" y="393"/>
                  </a:lnTo>
                  <a:lnTo>
                    <a:pt x="1217" y="407"/>
                  </a:lnTo>
                  <a:lnTo>
                    <a:pt x="1217" y="407"/>
                  </a:lnTo>
                  <a:lnTo>
                    <a:pt x="1217" y="413"/>
                  </a:lnTo>
                  <a:lnTo>
                    <a:pt x="1219" y="420"/>
                  </a:lnTo>
                  <a:lnTo>
                    <a:pt x="1223" y="433"/>
                  </a:lnTo>
                  <a:lnTo>
                    <a:pt x="1223" y="433"/>
                  </a:lnTo>
                  <a:lnTo>
                    <a:pt x="1226" y="438"/>
                  </a:lnTo>
                  <a:lnTo>
                    <a:pt x="1229" y="447"/>
                  </a:lnTo>
                  <a:lnTo>
                    <a:pt x="1232" y="466"/>
                  </a:lnTo>
                  <a:lnTo>
                    <a:pt x="1232" y="466"/>
                  </a:lnTo>
                  <a:lnTo>
                    <a:pt x="1234" y="472"/>
                  </a:lnTo>
                  <a:lnTo>
                    <a:pt x="1232" y="476"/>
                  </a:lnTo>
                  <a:lnTo>
                    <a:pt x="1229" y="485"/>
                  </a:lnTo>
                  <a:lnTo>
                    <a:pt x="1226" y="493"/>
                  </a:lnTo>
                  <a:lnTo>
                    <a:pt x="1222" y="499"/>
                  </a:lnTo>
                  <a:lnTo>
                    <a:pt x="1222" y="499"/>
                  </a:lnTo>
                  <a:lnTo>
                    <a:pt x="1219" y="502"/>
                  </a:lnTo>
                  <a:lnTo>
                    <a:pt x="1214" y="502"/>
                  </a:lnTo>
                  <a:lnTo>
                    <a:pt x="1210" y="502"/>
                  </a:lnTo>
                  <a:lnTo>
                    <a:pt x="1207" y="500"/>
                  </a:lnTo>
                  <a:lnTo>
                    <a:pt x="1207" y="500"/>
                  </a:lnTo>
                  <a:lnTo>
                    <a:pt x="1204" y="497"/>
                  </a:lnTo>
                  <a:lnTo>
                    <a:pt x="1201" y="493"/>
                  </a:lnTo>
                  <a:lnTo>
                    <a:pt x="1195" y="481"/>
                  </a:lnTo>
                  <a:lnTo>
                    <a:pt x="1195" y="481"/>
                  </a:lnTo>
                  <a:lnTo>
                    <a:pt x="1195" y="476"/>
                  </a:lnTo>
                  <a:lnTo>
                    <a:pt x="1197" y="473"/>
                  </a:lnTo>
                  <a:lnTo>
                    <a:pt x="1203" y="466"/>
                  </a:lnTo>
                  <a:lnTo>
                    <a:pt x="1203" y="466"/>
                  </a:lnTo>
                  <a:lnTo>
                    <a:pt x="1206" y="463"/>
                  </a:lnTo>
                  <a:lnTo>
                    <a:pt x="1209" y="457"/>
                  </a:lnTo>
                  <a:lnTo>
                    <a:pt x="1211" y="447"/>
                  </a:lnTo>
                  <a:lnTo>
                    <a:pt x="1211" y="447"/>
                  </a:lnTo>
                  <a:lnTo>
                    <a:pt x="1211" y="442"/>
                  </a:lnTo>
                  <a:lnTo>
                    <a:pt x="1211" y="435"/>
                  </a:lnTo>
                  <a:lnTo>
                    <a:pt x="1210" y="429"/>
                  </a:lnTo>
                  <a:lnTo>
                    <a:pt x="1209" y="428"/>
                  </a:lnTo>
                  <a:lnTo>
                    <a:pt x="1207" y="426"/>
                  </a:lnTo>
                  <a:lnTo>
                    <a:pt x="1207" y="426"/>
                  </a:lnTo>
                  <a:lnTo>
                    <a:pt x="1203" y="426"/>
                  </a:lnTo>
                  <a:lnTo>
                    <a:pt x="1200" y="429"/>
                  </a:lnTo>
                  <a:lnTo>
                    <a:pt x="1197" y="433"/>
                  </a:lnTo>
                  <a:lnTo>
                    <a:pt x="1192" y="436"/>
                  </a:lnTo>
                  <a:lnTo>
                    <a:pt x="1192" y="436"/>
                  </a:lnTo>
                  <a:lnTo>
                    <a:pt x="1188" y="442"/>
                  </a:lnTo>
                  <a:lnTo>
                    <a:pt x="1180" y="450"/>
                  </a:lnTo>
                  <a:lnTo>
                    <a:pt x="1170" y="466"/>
                  </a:lnTo>
                  <a:lnTo>
                    <a:pt x="1170" y="466"/>
                  </a:lnTo>
                  <a:lnTo>
                    <a:pt x="1161" y="476"/>
                  </a:lnTo>
                  <a:lnTo>
                    <a:pt x="1158" y="479"/>
                  </a:lnTo>
                  <a:lnTo>
                    <a:pt x="1155" y="479"/>
                  </a:lnTo>
                  <a:lnTo>
                    <a:pt x="1154" y="479"/>
                  </a:lnTo>
                  <a:lnTo>
                    <a:pt x="1154" y="479"/>
                  </a:lnTo>
                  <a:lnTo>
                    <a:pt x="1152" y="476"/>
                  </a:lnTo>
                  <a:lnTo>
                    <a:pt x="1152" y="470"/>
                  </a:lnTo>
                  <a:lnTo>
                    <a:pt x="1154" y="460"/>
                  </a:lnTo>
                  <a:lnTo>
                    <a:pt x="1154" y="460"/>
                  </a:lnTo>
                  <a:lnTo>
                    <a:pt x="1155" y="456"/>
                  </a:lnTo>
                  <a:lnTo>
                    <a:pt x="1158" y="448"/>
                  </a:lnTo>
                  <a:lnTo>
                    <a:pt x="1163" y="439"/>
                  </a:lnTo>
                  <a:lnTo>
                    <a:pt x="1163" y="439"/>
                  </a:lnTo>
                  <a:lnTo>
                    <a:pt x="1174" y="430"/>
                  </a:lnTo>
                  <a:lnTo>
                    <a:pt x="1189" y="423"/>
                  </a:lnTo>
                  <a:lnTo>
                    <a:pt x="1189" y="423"/>
                  </a:lnTo>
                  <a:lnTo>
                    <a:pt x="1192" y="420"/>
                  </a:lnTo>
                  <a:lnTo>
                    <a:pt x="1194" y="417"/>
                  </a:lnTo>
                  <a:lnTo>
                    <a:pt x="1191" y="416"/>
                  </a:lnTo>
                  <a:lnTo>
                    <a:pt x="1186" y="413"/>
                  </a:lnTo>
                  <a:lnTo>
                    <a:pt x="1186" y="413"/>
                  </a:lnTo>
                  <a:lnTo>
                    <a:pt x="1180" y="413"/>
                  </a:lnTo>
                  <a:lnTo>
                    <a:pt x="1174" y="414"/>
                  </a:lnTo>
                  <a:lnTo>
                    <a:pt x="1161" y="419"/>
                  </a:lnTo>
                  <a:lnTo>
                    <a:pt x="1161" y="419"/>
                  </a:lnTo>
                  <a:lnTo>
                    <a:pt x="1143" y="425"/>
                  </a:lnTo>
                  <a:lnTo>
                    <a:pt x="1127" y="432"/>
                  </a:lnTo>
                  <a:lnTo>
                    <a:pt x="1127" y="432"/>
                  </a:lnTo>
                  <a:lnTo>
                    <a:pt x="1114" y="438"/>
                  </a:lnTo>
                  <a:lnTo>
                    <a:pt x="1096" y="450"/>
                  </a:lnTo>
                  <a:lnTo>
                    <a:pt x="1077" y="462"/>
                  </a:lnTo>
                  <a:lnTo>
                    <a:pt x="1065" y="468"/>
                  </a:lnTo>
                  <a:lnTo>
                    <a:pt x="1065" y="468"/>
                  </a:lnTo>
                  <a:lnTo>
                    <a:pt x="1046" y="475"/>
                  </a:lnTo>
                  <a:lnTo>
                    <a:pt x="1026" y="482"/>
                  </a:lnTo>
                  <a:lnTo>
                    <a:pt x="1026" y="482"/>
                  </a:lnTo>
                  <a:lnTo>
                    <a:pt x="1022" y="484"/>
                  </a:lnTo>
                  <a:lnTo>
                    <a:pt x="1018" y="487"/>
                  </a:lnTo>
                  <a:lnTo>
                    <a:pt x="1013" y="490"/>
                  </a:lnTo>
                  <a:lnTo>
                    <a:pt x="1012" y="493"/>
                  </a:lnTo>
                  <a:lnTo>
                    <a:pt x="1012" y="493"/>
                  </a:lnTo>
                  <a:lnTo>
                    <a:pt x="1012" y="494"/>
                  </a:lnTo>
                  <a:lnTo>
                    <a:pt x="1015" y="494"/>
                  </a:lnTo>
                  <a:lnTo>
                    <a:pt x="1020" y="497"/>
                  </a:lnTo>
                  <a:lnTo>
                    <a:pt x="1028" y="500"/>
                  </a:lnTo>
                  <a:lnTo>
                    <a:pt x="1035" y="503"/>
                  </a:lnTo>
                  <a:lnTo>
                    <a:pt x="1035" y="503"/>
                  </a:lnTo>
                  <a:lnTo>
                    <a:pt x="1038" y="506"/>
                  </a:lnTo>
                  <a:lnTo>
                    <a:pt x="1040" y="509"/>
                  </a:lnTo>
                  <a:lnTo>
                    <a:pt x="1041" y="516"/>
                  </a:lnTo>
                  <a:lnTo>
                    <a:pt x="1040" y="524"/>
                  </a:lnTo>
                  <a:lnTo>
                    <a:pt x="1038" y="530"/>
                  </a:lnTo>
                  <a:lnTo>
                    <a:pt x="1038" y="530"/>
                  </a:lnTo>
                  <a:lnTo>
                    <a:pt x="1032" y="533"/>
                  </a:lnTo>
                  <a:lnTo>
                    <a:pt x="1026" y="537"/>
                  </a:lnTo>
                  <a:lnTo>
                    <a:pt x="1012" y="545"/>
                  </a:lnTo>
                  <a:lnTo>
                    <a:pt x="1012" y="545"/>
                  </a:lnTo>
                  <a:lnTo>
                    <a:pt x="1007" y="547"/>
                  </a:lnTo>
                  <a:lnTo>
                    <a:pt x="1006" y="553"/>
                  </a:lnTo>
                  <a:lnTo>
                    <a:pt x="1004" y="567"/>
                  </a:lnTo>
                  <a:lnTo>
                    <a:pt x="1004" y="567"/>
                  </a:lnTo>
                  <a:lnTo>
                    <a:pt x="1006" y="571"/>
                  </a:lnTo>
                  <a:lnTo>
                    <a:pt x="1009" y="574"/>
                  </a:lnTo>
                  <a:lnTo>
                    <a:pt x="1013" y="576"/>
                  </a:lnTo>
                  <a:lnTo>
                    <a:pt x="1019" y="576"/>
                  </a:lnTo>
                  <a:lnTo>
                    <a:pt x="1019" y="576"/>
                  </a:lnTo>
                  <a:lnTo>
                    <a:pt x="1020" y="576"/>
                  </a:lnTo>
                  <a:lnTo>
                    <a:pt x="1022" y="574"/>
                  </a:lnTo>
                  <a:lnTo>
                    <a:pt x="1026" y="570"/>
                  </a:lnTo>
                  <a:lnTo>
                    <a:pt x="1032" y="561"/>
                  </a:lnTo>
                  <a:lnTo>
                    <a:pt x="1032" y="561"/>
                  </a:lnTo>
                  <a:lnTo>
                    <a:pt x="1037" y="553"/>
                  </a:lnTo>
                  <a:lnTo>
                    <a:pt x="1041" y="549"/>
                  </a:lnTo>
                  <a:lnTo>
                    <a:pt x="1044" y="547"/>
                  </a:lnTo>
                  <a:lnTo>
                    <a:pt x="1044" y="547"/>
                  </a:lnTo>
                  <a:lnTo>
                    <a:pt x="1046" y="547"/>
                  </a:lnTo>
                  <a:lnTo>
                    <a:pt x="1046" y="549"/>
                  </a:lnTo>
                  <a:lnTo>
                    <a:pt x="1047" y="555"/>
                  </a:lnTo>
                  <a:lnTo>
                    <a:pt x="1046" y="573"/>
                  </a:lnTo>
                  <a:lnTo>
                    <a:pt x="1046" y="573"/>
                  </a:lnTo>
                  <a:lnTo>
                    <a:pt x="1047" y="589"/>
                  </a:lnTo>
                  <a:lnTo>
                    <a:pt x="1050" y="601"/>
                  </a:lnTo>
                  <a:lnTo>
                    <a:pt x="1050" y="601"/>
                  </a:lnTo>
                  <a:lnTo>
                    <a:pt x="1055" y="605"/>
                  </a:lnTo>
                  <a:lnTo>
                    <a:pt x="1063" y="611"/>
                  </a:lnTo>
                  <a:lnTo>
                    <a:pt x="1081" y="620"/>
                  </a:lnTo>
                  <a:lnTo>
                    <a:pt x="1081" y="620"/>
                  </a:lnTo>
                  <a:lnTo>
                    <a:pt x="1086" y="623"/>
                  </a:lnTo>
                  <a:lnTo>
                    <a:pt x="1089" y="626"/>
                  </a:lnTo>
                  <a:lnTo>
                    <a:pt x="1092" y="629"/>
                  </a:lnTo>
                  <a:lnTo>
                    <a:pt x="1092" y="632"/>
                  </a:lnTo>
                  <a:lnTo>
                    <a:pt x="1092" y="632"/>
                  </a:lnTo>
                  <a:lnTo>
                    <a:pt x="1090" y="635"/>
                  </a:lnTo>
                  <a:lnTo>
                    <a:pt x="1086" y="638"/>
                  </a:lnTo>
                  <a:lnTo>
                    <a:pt x="1075" y="645"/>
                  </a:lnTo>
                  <a:lnTo>
                    <a:pt x="1075" y="645"/>
                  </a:lnTo>
                  <a:lnTo>
                    <a:pt x="1072" y="648"/>
                  </a:lnTo>
                  <a:lnTo>
                    <a:pt x="1071" y="651"/>
                  </a:lnTo>
                  <a:lnTo>
                    <a:pt x="1069" y="654"/>
                  </a:lnTo>
                  <a:lnTo>
                    <a:pt x="1068" y="654"/>
                  </a:lnTo>
                  <a:lnTo>
                    <a:pt x="1068" y="654"/>
                  </a:lnTo>
                  <a:lnTo>
                    <a:pt x="1059" y="651"/>
                  </a:lnTo>
                  <a:lnTo>
                    <a:pt x="1053" y="648"/>
                  </a:lnTo>
                  <a:lnTo>
                    <a:pt x="1046" y="647"/>
                  </a:lnTo>
                  <a:lnTo>
                    <a:pt x="1046" y="647"/>
                  </a:lnTo>
                  <a:lnTo>
                    <a:pt x="1043" y="647"/>
                  </a:lnTo>
                  <a:lnTo>
                    <a:pt x="1040" y="648"/>
                  </a:lnTo>
                  <a:lnTo>
                    <a:pt x="1037" y="650"/>
                  </a:lnTo>
                  <a:lnTo>
                    <a:pt x="1034" y="654"/>
                  </a:lnTo>
                  <a:lnTo>
                    <a:pt x="1032" y="662"/>
                  </a:lnTo>
                  <a:lnTo>
                    <a:pt x="1031" y="666"/>
                  </a:lnTo>
                  <a:lnTo>
                    <a:pt x="1031" y="666"/>
                  </a:lnTo>
                  <a:lnTo>
                    <a:pt x="1032" y="670"/>
                  </a:lnTo>
                  <a:lnTo>
                    <a:pt x="1035" y="675"/>
                  </a:lnTo>
                  <a:lnTo>
                    <a:pt x="1040" y="678"/>
                  </a:lnTo>
                  <a:lnTo>
                    <a:pt x="1044" y="681"/>
                  </a:lnTo>
                  <a:lnTo>
                    <a:pt x="1044" y="681"/>
                  </a:lnTo>
                  <a:lnTo>
                    <a:pt x="1047" y="682"/>
                  </a:lnTo>
                  <a:lnTo>
                    <a:pt x="1050" y="685"/>
                  </a:lnTo>
                  <a:lnTo>
                    <a:pt x="1050" y="688"/>
                  </a:lnTo>
                  <a:lnTo>
                    <a:pt x="1049" y="693"/>
                  </a:lnTo>
                  <a:lnTo>
                    <a:pt x="1049" y="693"/>
                  </a:lnTo>
                  <a:lnTo>
                    <a:pt x="1047" y="694"/>
                  </a:lnTo>
                  <a:lnTo>
                    <a:pt x="1044" y="696"/>
                  </a:lnTo>
                  <a:lnTo>
                    <a:pt x="1034" y="697"/>
                  </a:lnTo>
                  <a:lnTo>
                    <a:pt x="1020" y="697"/>
                  </a:lnTo>
                  <a:lnTo>
                    <a:pt x="1007" y="697"/>
                  </a:lnTo>
                  <a:lnTo>
                    <a:pt x="1007" y="697"/>
                  </a:lnTo>
                  <a:lnTo>
                    <a:pt x="979" y="696"/>
                  </a:lnTo>
                  <a:lnTo>
                    <a:pt x="958" y="694"/>
                  </a:lnTo>
                  <a:lnTo>
                    <a:pt x="958" y="694"/>
                  </a:lnTo>
                  <a:lnTo>
                    <a:pt x="955" y="696"/>
                  </a:lnTo>
                  <a:lnTo>
                    <a:pt x="952" y="697"/>
                  </a:lnTo>
                  <a:lnTo>
                    <a:pt x="945" y="704"/>
                  </a:lnTo>
                  <a:lnTo>
                    <a:pt x="939" y="712"/>
                  </a:lnTo>
                  <a:lnTo>
                    <a:pt x="936" y="718"/>
                  </a:lnTo>
                  <a:lnTo>
                    <a:pt x="936" y="718"/>
                  </a:lnTo>
                  <a:lnTo>
                    <a:pt x="930" y="739"/>
                  </a:lnTo>
                  <a:lnTo>
                    <a:pt x="924" y="752"/>
                  </a:lnTo>
                  <a:lnTo>
                    <a:pt x="921" y="756"/>
                  </a:lnTo>
                  <a:lnTo>
                    <a:pt x="920" y="758"/>
                  </a:lnTo>
                  <a:lnTo>
                    <a:pt x="920" y="758"/>
                  </a:lnTo>
                  <a:lnTo>
                    <a:pt x="914" y="761"/>
                  </a:lnTo>
                  <a:lnTo>
                    <a:pt x="906" y="761"/>
                  </a:lnTo>
                  <a:lnTo>
                    <a:pt x="898" y="761"/>
                  </a:lnTo>
                  <a:lnTo>
                    <a:pt x="890" y="759"/>
                  </a:lnTo>
                  <a:lnTo>
                    <a:pt x="890" y="759"/>
                  </a:lnTo>
                  <a:lnTo>
                    <a:pt x="883" y="756"/>
                  </a:lnTo>
                  <a:lnTo>
                    <a:pt x="875" y="750"/>
                  </a:lnTo>
                  <a:lnTo>
                    <a:pt x="864" y="740"/>
                  </a:lnTo>
                  <a:lnTo>
                    <a:pt x="864" y="740"/>
                  </a:lnTo>
                  <a:lnTo>
                    <a:pt x="858" y="736"/>
                  </a:lnTo>
                  <a:lnTo>
                    <a:pt x="852" y="733"/>
                  </a:lnTo>
                  <a:lnTo>
                    <a:pt x="847" y="731"/>
                  </a:lnTo>
                  <a:lnTo>
                    <a:pt x="844" y="731"/>
                  </a:lnTo>
                  <a:lnTo>
                    <a:pt x="844" y="731"/>
                  </a:lnTo>
                  <a:lnTo>
                    <a:pt x="843" y="733"/>
                  </a:lnTo>
                  <a:lnTo>
                    <a:pt x="841" y="734"/>
                  </a:lnTo>
                  <a:lnTo>
                    <a:pt x="841" y="740"/>
                  </a:lnTo>
                  <a:lnTo>
                    <a:pt x="843" y="755"/>
                  </a:lnTo>
                  <a:lnTo>
                    <a:pt x="843" y="755"/>
                  </a:lnTo>
                  <a:lnTo>
                    <a:pt x="846" y="767"/>
                  </a:lnTo>
                  <a:lnTo>
                    <a:pt x="850" y="783"/>
                  </a:lnTo>
                  <a:lnTo>
                    <a:pt x="856" y="799"/>
                  </a:lnTo>
                  <a:lnTo>
                    <a:pt x="861" y="808"/>
                  </a:lnTo>
                  <a:lnTo>
                    <a:pt x="861" y="808"/>
                  </a:lnTo>
                  <a:lnTo>
                    <a:pt x="864" y="814"/>
                  </a:lnTo>
                  <a:lnTo>
                    <a:pt x="866" y="826"/>
                  </a:lnTo>
                  <a:lnTo>
                    <a:pt x="868" y="838"/>
                  </a:lnTo>
                  <a:lnTo>
                    <a:pt x="869" y="848"/>
                  </a:lnTo>
                  <a:lnTo>
                    <a:pt x="869" y="848"/>
                  </a:lnTo>
                  <a:lnTo>
                    <a:pt x="868" y="856"/>
                  </a:lnTo>
                  <a:lnTo>
                    <a:pt x="864" y="860"/>
                  </a:lnTo>
                  <a:lnTo>
                    <a:pt x="859" y="861"/>
                  </a:lnTo>
                  <a:lnTo>
                    <a:pt x="853" y="863"/>
                  </a:lnTo>
                  <a:lnTo>
                    <a:pt x="853" y="863"/>
                  </a:lnTo>
                  <a:lnTo>
                    <a:pt x="844" y="861"/>
                  </a:lnTo>
                  <a:lnTo>
                    <a:pt x="832" y="859"/>
                  </a:lnTo>
                  <a:lnTo>
                    <a:pt x="810" y="850"/>
                  </a:lnTo>
                  <a:lnTo>
                    <a:pt x="810" y="850"/>
                  </a:lnTo>
                  <a:lnTo>
                    <a:pt x="784" y="839"/>
                  </a:lnTo>
                  <a:lnTo>
                    <a:pt x="769" y="833"/>
                  </a:lnTo>
                  <a:lnTo>
                    <a:pt x="761" y="829"/>
                  </a:lnTo>
                  <a:lnTo>
                    <a:pt x="761" y="829"/>
                  </a:lnTo>
                  <a:lnTo>
                    <a:pt x="755" y="824"/>
                  </a:lnTo>
                  <a:lnTo>
                    <a:pt x="749" y="819"/>
                  </a:lnTo>
                  <a:lnTo>
                    <a:pt x="749" y="819"/>
                  </a:lnTo>
                  <a:lnTo>
                    <a:pt x="749" y="816"/>
                  </a:lnTo>
                  <a:lnTo>
                    <a:pt x="751" y="813"/>
                  </a:lnTo>
                  <a:lnTo>
                    <a:pt x="754" y="807"/>
                  </a:lnTo>
                  <a:lnTo>
                    <a:pt x="754" y="807"/>
                  </a:lnTo>
                  <a:lnTo>
                    <a:pt x="755" y="799"/>
                  </a:lnTo>
                  <a:lnTo>
                    <a:pt x="755" y="790"/>
                  </a:lnTo>
                  <a:lnTo>
                    <a:pt x="755" y="790"/>
                  </a:lnTo>
                  <a:lnTo>
                    <a:pt x="754" y="789"/>
                  </a:lnTo>
                  <a:lnTo>
                    <a:pt x="752" y="787"/>
                  </a:lnTo>
                  <a:lnTo>
                    <a:pt x="749" y="787"/>
                  </a:lnTo>
                  <a:lnTo>
                    <a:pt x="747" y="789"/>
                  </a:lnTo>
                  <a:lnTo>
                    <a:pt x="747" y="789"/>
                  </a:lnTo>
                  <a:lnTo>
                    <a:pt x="745" y="793"/>
                  </a:lnTo>
                  <a:lnTo>
                    <a:pt x="744" y="799"/>
                  </a:lnTo>
                  <a:lnTo>
                    <a:pt x="741" y="811"/>
                  </a:lnTo>
                  <a:lnTo>
                    <a:pt x="741" y="811"/>
                  </a:lnTo>
                  <a:lnTo>
                    <a:pt x="739" y="813"/>
                  </a:lnTo>
                  <a:lnTo>
                    <a:pt x="735" y="813"/>
                  </a:lnTo>
                  <a:lnTo>
                    <a:pt x="732" y="813"/>
                  </a:lnTo>
                  <a:lnTo>
                    <a:pt x="729" y="810"/>
                  </a:lnTo>
                  <a:lnTo>
                    <a:pt x="729" y="810"/>
                  </a:lnTo>
                  <a:lnTo>
                    <a:pt x="723" y="804"/>
                  </a:lnTo>
                  <a:lnTo>
                    <a:pt x="718" y="793"/>
                  </a:lnTo>
                  <a:lnTo>
                    <a:pt x="718" y="793"/>
                  </a:lnTo>
                  <a:lnTo>
                    <a:pt x="714" y="789"/>
                  </a:lnTo>
                  <a:lnTo>
                    <a:pt x="711" y="786"/>
                  </a:lnTo>
                  <a:lnTo>
                    <a:pt x="704" y="783"/>
                  </a:lnTo>
                  <a:lnTo>
                    <a:pt x="704" y="783"/>
                  </a:lnTo>
                  <a:lnTo>
                    <a:pt x="689" y="779"/>
                  </a:lnTo>
                  <a:lnTo>
                    <a:pt x="675" y="771"/>
                  </a:lnTo>
                  <a:lnTo>
                    <a:pt x="675" y="771"/>
                  </a:lnTo>
                  <a:lnTo>
                    <a:pt x="674" y="768"/>
                  </a:lnTo>
                  <a:lnTo>
                    <a:pt x="674" y="765"/>
                  </a:lnTo>
                  <a:lnTo>
                    <a:pt x="677" y="762"/>
                  </a:lnTo>
                  <a:lnTo>
                    <a:pt x="680" y="758"/>
                  </a:lnTo>
                  <a:lnTo>
                    <a:pt x="680" y="758"/>
                  </a:lnTo>
                  <a:lnTo>
                    <a:pt x="681" y="758"/>
                  </a:lnTo>
                  <a:lnTo>
                    <a:pt x="686" y="756"/>
                  </a:lnTo>
                  <a:lnTo>
                    <a:pt x="696" y="756"/>
                  </a:lnTo>
                  <a:lnTo>
                    <a:pt x="707" y="756"/>
                  </a:lnTo>
                  <a:lnTo>
                    <a:pt x="714" y="756"/>
                  </a:lnTo>
                  <a:lnTo>
                    <a:pt x="714" y="756"/>
                  </a:lnTo>
                  <a:lnTo>
                    <a:pt x="717" y="753"/>
                  </a:lnTo>
                  <a:lnTo>
                    <a:pt x="720" y="749"/>
                  </a:lnTo>
                  <a:lnTo>
                    <a:pt x="721" y="743"/>
                  </a:lnTo>
                  <a:lnTo>
                    <a:pt x="721" y="739"/>
                  </a:lnTo>
                  <a:lnTo>
                    <a:pt x="721" y="739"/>
                  </a:lnTo>
                  <a:lnTo>
                    <a:pt x="720" y="737"/>
                  </a:lnTo>
                  <a:lnTo>
                    <a:pt x="718" y="737"/>
                  </a:lnTo>
                  <a:lnTo>
                    <a:pt x="712" y="737"/>
                  </a:lnTo>
                  <a:lnTo>
                    <a:pt x="701" y="740"/>
                  </a:lnTo>
                  <a:lnTo>
                    <a:pt x="701" y="740"/>
                  </a:lnTo>
                  <a:lnTo>
                    <a:pt x="695" y="740"/>
                  </a:lnTo>
                  <a:lnTo>
                    <a:pt x="695" y="739"/>
                  </a:lnTo>
                  <a:lnTo>
                    <a:pt x="696" y="733"/>
                  </a:lnTo>
                  <a:lnTo>
                    <a:pt x="696" y="733"/>
                  </a:lnTo>
                  <a:lnTo>
                    <a:pt x="698" y="725"/>
                  </a:lnTo>
                  <a:lnTo>
                    <a:pt x="699" y="721"/>
                  </a:lnTo>
                  <a:lnTo>
                    <a:pt x="699" y="716"/>
                  </a:lnTo>
                  <a:lnTo>
                    <a:pt x="699" y="716"/>
                  </a:lnTo>
                  <a:lnTo>
                    <a:pt x="696" y="713"/>
                  </a:lnTo>
                  <a:lnTo>
                    <a:pt x="692" y="712"/>
                  </a:lnTo>
                  <a:lnTo>
                    <a:pt x="680" y="712"/>
                  </a:lnTo>
                  <a:lnTo>
                    <a:pt x="680" y="712"/>
                  </a:lnTo>
                  <a:lnTo>
                    <a:pt x="675" y="710"/>
                  </a:lnTo>
                  <a:lnTo>
                    <a:pt x="672" y="709"/>
                  </a:lnTo>
                  <a:lnTo>
                    <a:pt x="672" y="706"/>
                  </a:lnTo>
                  <a:lnTo>
                    <a:pt x="672" y="703"/>
                  </a:lnTo>
                  <a:lnTo>
                    <a:pt x="672" y="703"/>
                  </a:lnTo>
                  <a:lnTo>
                    <a:pt x="674" y="700"/>
                  </a:lnTo>
                  <a:lnTo>
                    <a:pt x="677" y="696"/>
                  </a:lnTo>
                  <a:lnTo>
                    <a:pt x="683" y="688"/>
                  </a:lnTo>
                  <a:lnTo>
                    <a:pt x="683" y="688"/>
                  </a:lnTo>
                  <a:lnTo>
                    <a:pt x="687" y="681"/>
                  </a:lnTo>
                  <a:lnTo>
                    <a:pt x="689" y="678"/>
                  </a:lnTo>
                  <a:lnTo>
                    <a:pt x="687" y="673"/>
                  </a:lnTo>
                  <a:lnTo>
                    <a:pt x="687" y="673"/>
                  </a:lnTo>
                  <a:lnTo>
                    <a:pt x="686" y="670"/>
                  </a:lnTo>
                  <a:lnTo>
                    <a:pt x="683" y="670"/>
                  </a:lnTo>
                  <a:lnTo>
                    <a:pt x="674" y="669"/>
                  </a:lnTo>
                  <a:lnTo>
                    <a:pt x="674" y="669"/>
                  </a:lnTo>
                  <a:lnTo>
                    <a:pt x="668" y="667"/>
                  </a:lnTo>
                  <a:lnTo>
                    <a:pt x="664" y="664"/>
                  </a:lnTo>
                  <a:lnTo>
                    <a:pt x="656" y="659"/>
                  </a:lnTo>
                  <a:lnTo>
                    <a:pt x="656" y="659"/>
                  </a:lnTo>
                  <a:lnTo>
                    <a:pt x="652" y="657"/>
                  </a:lnTo>
                  <a:lnTo>
                    <a:pt x="649" y="657"/>
                  </a:lnTo>
                  <a:lnTo>
                    <a:pt x="641" y="657"/>
                  </a:lnTo>
                  <a:lnTo>
                    <a:pt x="641" y="657"/>
                  </a:lnTo>
                  <a:lnTo>
                    <a:pt x="635" y="657"/>
                  </a:lnTo>
                  <a:lnTo>
                    <a:pt x="630" y="654"/>
                  </a:lnTo>
                  <a:lnTo>
                    <a:pt x="630" y="654"/>
                  </a:lnTo>
                  <a:lnTo>
                    <a:pt x="621" y="653"/>
                  </a:lnTo>
                  <a:lnTo>
                    <a:pt x="612" y="653"/>
                  </a:lnTo>
                  <a:lnTo>
                    <a:pt x="612" y="653"/>
                  </a:lnTo>
                  <a:lnTo>
                    <a:pt x="606" y="656"/>
                  </a:lnTo>
                  <a:lnTo>
                    <a:pt x="600" y="660"/>
                  </a:lnTo>
                  <a:lnTo>
                    <a:pt x="590" y="670"/>
                  </a:lnTo>
                  <a:lnTo>
                    <a:pt x="590" y="670"/>
                  </a:lnTo>
                  <a:lnTo>
                    <a:pt x="584" y="673"/>
                  </a:lnTo>
                  <a:lnTo>
                    <a:pt x="579" y="675"/>
                  </a:lnTo>
                  <a:lnTo>
                    <a:pt x="572" y="673"/>
                  </a:lnTo>
                  <a:lnTo>
                    <a:pt x="572" y="673"/>
                  </a:lnTo>
                  <a:lnTo>
                    <a:pt x="567" y="675"/>
                  </a:lnTo>
                  <a:lnTo>
                    <a:pt x="564" y="676"/>
                  </a:lnTo>
                  <a:lnTo>
                    <a:pt x="556" y="681"/>
                  </a:lnTo>
                  <a:lnTo>
                    <a:pt x="556" y="681"/>
                  </a:lnTo>
                  <a:lnTo>
                    <a:pt x="551" y="681"/>
                  </a:lnTo>
                  <a:lnTo>
                    <a:pt x="547" y="681"/>
                  </a:lnTo>
                  <a:lnTo>
                    <a:pt x="542" y="678"/>
                  </a:lnTo>
                  <a:lnTo>
                    <a:pt x="539" y="676"/>
                  </a:lnTo>
                  <a:lnTo>
                    <a:pt x="539" y="676"/>
                  </a:lnTo>
                  <a:lnTo>
                    <a:pt x="532" y="669"/>
                  </a:lnTo>
                  <a:lnTo>
                    <a:pt x="526" y="664"/>
                  </a:lnTo>
                  <a:lnTo>
                    <a:pt x="520" y="662"/>
                  </a:lnTo>
                  <a:lnTo>
                    <a:pt x="520" y="662"/>
                  </a:lnTo>
                  <a:lnTo>
                    <a:pt x="517" y="663"/>
                  </a:lnTo>
                  <a:lnTo>
                    <a:pt x="514" y="664"/>
                  </a:lnTo>
                  <a:lnTo>
                    <a:pt x="511" y="673"/>
                  </a:lnTo>
                  <a:lnTo>
                    <a:pt x="510" y="682"/>
                  </a:lnTo>
                  <a:lnTo>
                    <a:pt x="507" y="688"/>
                  </a:lnTo>
                  <a:lnTo>
                    <a:pt x="507" y="688"/>
                  </a:lnTo>
                  <a:lnTo>
                    <a:pt x="505" y="690"/>
                  </a:lnTo>
                  <a:lnTo>
                    <a:pt x="501" y="691"/>
                  </a:lnTo>
                  <a:lnTo>
                    <a:pt x="492" y="691"/>
                  </a:lnTo>
                  <a:lnTo>
                    <a:pt x="492" y="691"/>
                  </a:lnTo>
                  <a:lnTo>
                    <a:pt x="490" y="693"/>
                  </a:lnTo>
                  <a:lnTo>
                    <a:pt x="490" y="696"/>
                  </a:lnTo>
                  <a:lnTo>
                    <a:pt x="490" y="700"/>
                  </a:lnTo>
                  <a:lnTo>
                    <a:pt x="490" y="704"/>
                  </a:lnTo>
                  <a:lnTo>
                    <a:pt x="490" y="704"/>
                  </a:lnTo>
                  <a:lnTo>
                    <a:pt x="492" y="707"/>
                  </a:lnTo>
                  <a:lnTo>
                    <a:pt x="493" y="710"/>
                  </a:lnTo>
                  <a:lnTo>
                    <a:pt x="498" y="719"/>
                  </a:lnTo>
                  <a:lnTo>
                    <a:pt x="504" y="727"/>
                  </a:lnTo>
                  <a:lnTo>
                    <a:pt x="507" y="733"/>
                  </a:lnTo>
                  <a:lnTo>
                    <a:pt x="507" y="733"/>
                  </a:lnTo>
                  <a:lnTo>
                    <a:pt x="508" y="744"/>
                  </a:lnTo>
                  <a:lnTo>
                    <a:pt x="510" y="752"/>
                  </a:lnTo>
                  <a:lnTo>
                    <a:pt x="511" y="755"/>
                  </a:lnTo>
                  <a:lnTo>
                    <a:pt x="511" y="755"/>
                  </a:lnTo>
                  <a:lnTo>
                    <a:pt x="516" y="762"/>
                  </a:lnTo>
                  <a:lnTo>
                    <a:pt x="517" y="765"/>
                  </a:lnTo>
                  <a:lnTo>
                    <a:pt x="517" y="767"/>
                  </a:lnTo>
                  <a:lnTo>
                    <a:pt x="517" y="767"/>
                  </a:lnTo>
                  <a:lnTo>
                    <a:pt x="508" y="768"/>
                  </a:lnTo>
                  <a:lnTo>
                    <a:pt x="496" y="770"/>
                  </a:lnTo>
                  <a:lnTo>
                    <a:pt x="496" y="770"/>
                  </a:lnTo>
                  <a:lnTo>
                    <a:pt x="490" y="771"/>
                  </a:lnTo>
                  <a:lnTo>
                    <a:pt x="484" y="776"/>
                  </a:lnTo>
                  <a:lnTo>
                    <a:pt x="476" y="786"/>
                  </a:lnTo>
                  <a:lnTo>
                    <a:pt x="476" y="786"/>
                  </a:lnTo>
                  <a:lnTo>
                    <a:pt x="471" y="789"/>
                  </a:lnTo>
                  <a:lnTo>
                    <a:pt x="467" y="790"/>
                  </a:lnTo>
                  <a:lnTo>
                    <a:pt x="453" y="795"/>
                  </a:lnTo>
                  <a:lnTo>
                    <a:pt x="439" y="798"/>
                  </a:lnTo>
                  <a:lnTo>
                    <a:pt x="428" y="799"/>
                  </a:lnTo>
                  <a:lnTo>
                    <a:pt x="428" y="799"/>
                  </a:lnTo>
                  <a:lnTo>
                    <a:pt x="400" y="799"/>
                  </a:lnTo>
                  <a:lnTo>
                    <a:pt x="382" y="799"/>
                  </a:lnTo>
                  <a:lnTo>
                    <a:pt x="367" y="798"/>
                  </a:lnTo>
                  <a:lnTo>
                    <a:pt x="367" y="798"/>
                  </a:lnTo>
                  <a:lnTo>
                    <a:pt x="362" y="796"/>
                  </a:lnTo>
                  <a:lnTo>
                    <a:pt x="357" y="793"/>
                  </a:lnTo>
                  <a:lnTo>
                    <a:pt x="354" y="789"/>
                  </a:lnTo>
                  <a:lnTo>
                    <a:pt x="351" y="784"/>
                  </a:lnTo>
                  <a:lnTo>
                    <a:pt x="350" y="777"/>
                  </a:lnTo>
                  <a:lnTo>
                    <a:pt x="350" y="770"/>
                  </a:lnTo>
                  <a:lnTo>
                    <a:pt x="350" y="770"/>
                  </a:lnTo>
                  <a:lnTo>
                    <a:pt x="351" y="765"/>
                  </a:lnTo>
                  <a:lnTo>
                    <a:pt x="356" y="762"/>
                  </a:lnTo>
                  <a:lnTo>
                    <a:pt x="360" y="755"/>
                  </a:lnTo>
                  <a:lnTo>
                    <a:pt x="360" y="755"/>
                  </a:lnTo>
                  <a:lnTo>
                    <a:pt x="360" y="753"/>
                  </a:lnTo>
                  <a:lnTo>
                    <a:pt x="357" y="750"/>
                  </a:lnTo>
                  <a:lnTo>
                    <a:pt x="347" y="747"/>
                  </a:lnTo>
                  <a:lnTo>
                    <a:pt x="347" y="747"/>
                  </a:lnTo>
                  <a:lnTo>
                    <a:pt x="341" y="747"/>
                  </a:lnTo>
                  <a:lnTo>
                    <a:pt x="335" y="750"/>
                  </a:lnTo>
                  <a:lnTo>
                    <a:pt x="325" y="758"/>
                  </a:lnTo>
                  <a:lnTo>
                    <a:pt x="325" y="758"/>
                  </a:lnTo>
                  <a:lnTo>
                    <a:pt x="314" y="759"/>
                  </a:lnTo>
                  <a:lnTo>
                    <a:pt x="296" y="761"/>
                  </a:lnTo>
                  <a:lnTo>
                    <a:pt x="268" y="761"/>
                  </a:lnTo>
                  <a:lnTo>
                    <a:pt x="268" y="761"/>
                  </a:lnTo>
                  <a:lnTo>
                    <a:pt x="258" y="764"/>
                  </a:lnTo>
                  <a:lnTo>
                    <a:pt x="240" y="771"/>
                  </a:lnTo>
                  <a:lnTo>
                    <a:pt x="212" y="783"/>
                  </a:lnTo>
                  <a:lnTo>
                    <a:pt x="212" y="783"/>
                  </a:lnTo>
                  <a:lnTo>
                    <a:pt x="208" y="787"/>
                  </a:lnTo>
                  <a:lnTo>
                    <a:pt x="203" y="793"/>
                  </a:lnTo>
                  <a:lnTo>
                    <a:pt x="200" y="799"/>
                  </a:lnTo>
                  <a:lnTo>
                    <a:pt x="200" y="804"/>
                  </a:lnTo>
                  <a:lnTo>
                    <a:pt x="200" y="804"/>
                  </a:lnTo>
                  <a:lnTo>
                    <a:pt x="200" y="808"/>
                  </a:lnTo>
                  <a:lnTo>
                    <a:pt x="203" y="811"/>
                  </a:lnTo>
                  <a:lnTo>
                    <a:pt x="205" y="814"/>
                  </a:lnTo>
                  <a:lnTo>
                    <a:pt x="205" y="819"/>
                  </a:lnTo>
                  <a:lnTo>
                    <a:pt x="205" y="819"/>
                  </a:lnTo>
                  <a:lnTo>
                    <a:pt x="203" y="821"/>
                  </a:lnTo>
                  <a:lnTo>
                    <a:pt x="200" y="824"/>
                  </a:lnTo>
                  <a:lnTo>
                    <a:pt x="196" y="827"/>
                  </a:lnTo>
                  <a:lnTo>
                    <a:pt x="196" y="827"/>
                  </a:lnTo>
                  <a:lnTo>
                    <a:pt x="193" y="829"/>
                  </a:lnTo>
                  <a:lnTo>
                    <a:pt x="191" y="827"/>
                  </a:lnTo>
                  <a:lnTo>
                    <a:pt x="190" y="821"/>
                  </a:lnTo>
                  <a:lnTo>
                    <a:pt x="190" y="821"/>
                  </a:lnTo>
                  <a:lnTo>
                    <a:pt x="187" y="796"/>
                  </a:lnTo>
                  <a:lnTo>
                    <a:pt x="187" y="796"/>
                  </a:lnTo>
                  <a:lnTo>
                    <a:pt x="182" y="781"/>
                  </a:lnTo>
                  <a:lnTo>
                    <a:pt x="176" y="767"/>
                  </a:lnTo>
                  <a:lnTo>
                    <a:pt x="176" y="767"/>
                  </a:lnTo>
                  <a:lnTo>
                    <a:pt x="169" y="758"/>
                  </a:lnTo>
                  <a:lnTo>
                    <a:pt x="166" y="755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0" y="756"/>
                  </a:lnTo>
                  <a:lnTo>
                    <a:pt x="159" y="761"/>
                  </a:lnTo>
                  <a:lnTo>
                    <a:pt x="159" y="768"/>
                  </a:lnTo>
                  <a:lnTo>
                    <a:pt x="159" y="768"/>
                  </a:lnTo>
                  <a:lnTo>
                    <a:pt x="160" y="776"/>
                  </a:lnTo>
                  <a:lnTo>
                    <a:pt x="159" y="779"/>
                  </a:lnTo>
                  <a:lnTo>
                    <a:pt x="157" y="781"/>
                  </a:lnTo>
                  <a:lnTo>
                    <a:pt x="157" y="781"/>
                  </a:lnTo>
                  <a:lnTo>
                    <a:pt x="154" y="784"/>
                  </a:lnTo>
                  <a:lnTo>
                    <a:pt x="148" y="786"/>
                  </a:lnTo>
                  <a:lnTo>
                    <a:pt x="141" y="789"/>
                  </a:lnTo>
                  <a:lnTo>
                    <a:pt x="134" y="789"/>
                  </a:lnTo>
                  <a:lnTo>
                    <a:pt x="134" y="789"/>
                  </a:lnTo>
                  <a:lnTo>
                    <a:pt x="128" y="787"/>
                  </a:lnTo>
                  <a:lnTo>
                    <a:pt x="123" y="786"/>
                  </a:lnTo>
                  <a:lnTo>
                    <a:pt x="117" y="779"/>
                  </a:lnTo>
                  <a:lnTo>
                    <a:pt x="117" y="779"/>
                  </a:lnTo>
                  <a:lnTo>
                    <a:pt x="114" y="774"/>
                  </a:lnTo>
                  <a:lnTo>
                    <a:pt x="113" y="770"/>
                  </a:lnTo>
                  <a:lnTo>
                    <a:pt x="111" y="764"/>
                  </a:lnTo>
                  <a:lnTo>
                    <a:pt x="108" y="759"/>
                  </a:lnTo>
                  <a:lnTo>
                    <a:pt x="108" y="759"/>
                  </a:lnTo>
                  <a:lnTo>
                    <a:pt x="104" y="758"/>
                  </a:lnTo>
                  <a:lnTo>
                    <a:pt x="98" y="758"/>
                  </a:lnTo>
                  <a:lnTo>
                    <a:pt x="92" y="759"/>
                  </a:lnTo>
                  <a:lnTo>
                    <a:pt x="88" y="761"/>
                  </a:lnTo>
                  <a:lnTo>
                    <a:pt x="88" y="761"/>
                  </a:lnTo>
                  <a:lnTo>
                    <a:pt x="74" y="770"/>
                  </a:lnTo>
                  <a:lnTo>
                    <a:pt x="67" y="774"/>
                  </a:lnTo>
                  <a:lnTo>
                    <a:pt x="61" y="779"/>
                  </a:lnTo>
                  <a:lnTo>
                    <a:pt x="61" y="779"/>
                  </a:lnTo>
                  <a:lnTo>
                    <a:pt x="59" y="784"/>
                  </a:lnTo>
                  <a:lnTo>
                    <a:pt x="59" y="790"/>
                  </a:lnTo>
                  <a:lnTo>
                    <a:pt x="61" y="796"/>
                  </a:lnTo>
                  <a:lnTo>
                    <a:pt x="64" y="801"/>
                  </a:lnTo>
                  <a:lnTo>
                    <a:pt x="64" y="801"/>
                  </a:lnTo>
                  <a:lnTo>
                    <a:pt x="67" y="802"/>
                  </a:lnTo>
                  <a:lnTo>
                    <a:pt x="70" y="804"/>
                  </a:lnTo>
                  <a:lnTo>
                    <a:pt x="74" y="801"/>
                  </a:lnTo>
                  <a:lnTo>
                    <a:pt x="74" y="801"/>
                  </a:lnTo>
                  <a:lnTo>
                    <a:pt x="95" y="784"/>
                  </a:lnTo>
                  <a:lnTo>
                    <a:pt x="95" y="784"/>
                  </a:lnTo>
                  <a:lnTo>
                    <a:pt x="98" y="783"/>
                  </a:lnTo>
                  <a:lnTo>
                    <a:pt x="101" y="784"/>
                  </a:lnTo>
                  <a:lnTo>
                    <a:pt x="102" y="787"/>
                  </a:lnTo>
                  <a:lnTo>
                    <a:pt x="104" y="792"/>
                  </a:lnTo>
                  <a:lnTo>
                    <a:pt x="104" y="792"/>
                  </a:lnTo>
                  <a:lnTo>
                    <a:pt x="101" y="796"/>
                  </a:lnTo>
                  <a:lnTo>
                    <a:pt x="96" y="801"/>
                  </a:lnTo>
                  <a:lnTo>
                    <a:pt x="96" y="801"/>
                  </a:lnTo>
                  <a:lnTo>
                    <a:pt x="104" y="804"/>
                  </a:lnTo>
                  <a:lnTo>
                    <a:pt x="107" y="807"/>
                  </a:lnTo>
                  <a:lnTo>
                    <a:pt x="107" y="808"/>
                  </a:lnTo>
                  <a:lnTo>
                    <a:pt x="105" y="810"/>
                  </a:lnTo>
                  <a:lnTo>
                    <a:pt x="105" y="810"/>
                  </a:lnTo>
                  <a:lnTo>
                    <a:pt x="102" y="813"/>
                  </a:lnTo>
                  <a:lnTo>
                    <a:pt x="99" y="816"/>
                  </a:lnTo>
                  <a:lnTo>
                    <a:pt x="99" y="819"/>
                  </a:lnTo>
                  <a:lnTo>
                    <a:pt x="99" y="823"/>
                  </a:lnTo>
                  <a:lnTo>
                    <a:pt x="99" y="823"/>
                  </a:lnTo>
                  <a:lnTo>
                    <a:pt x="102" y="829"/>
                  </a:lnTo>
                  <a:lnTo>
                    <a:pt x="104" y="832"/>
                  </a:lnTo>
                  <a:lnTo>
                    <a:pt x="104" y="835"/>
                  </a:lnTo>
                  <a:lnTo>
                    <a:pt x="104" y="835"/>
                  </a:lnTo>
                  <a:lnTo>
                    <a:pt x="104" y="838"/>
                  </a:lnTo>
                  <a:lnTo>
                    <a:pt x="102" y="841"/>
                  </a:lnTo>
                  <a:lnTo>
                    <a:pt x="102" y="842"/>
                  </a:lnTo>
                  <a:lnTo>
                    <a:pt x="102" y="844"/>
                  </a:lnTo>
                  <a:lnTo>
                    <a:pt x="102" y="844"/>
                  </a:lnTo>
                  <a:lnTo>
                    <a:pt x="105" y="845"/>
                  </a:lnTo>
                  <a:lnTo>
                    <a:pt x="111" y="847"/>
                  </a:lnTo>
                  <a:lnTo>
                    <a:pt x="119" y="848"/>
                  </a:lnTo>
                  <a:lnTo>
                    <a:pt x="119" y="848"/>
                  </a:lnTo>
                  <a:lnTo>
                    <a:pt x="120" y="893"/>
                  </a:lnTo>
                  <a:lnTo>
                    <a:pt x="120" y="893"/>
                  </a:lnTo>
                  <a:lnTo>
                    <a:pt x="120" y="894"/>
                  </a:lnTo>
                  <a:lnTo>
                    <a:pt x="123" y="896"/>
                  </a:lnTo>
                  <a:lnTo>
                    <a:pt x="126" y="897"/>
                  </a:lnTo>
                  <a:lnTo>
                    <a:pt x="129" y="900"/>
                  </a:lnTo>
                  <a:lnTo>
                    <a:pt x="129" y="900"/>
                  </a:lnTo>
                  <a:lnTo>
                    <a:pt x="131" y="904"/>
                  </a:lnTo>
                  <a:lnTo>
                    <a:pt x="132" y="907"/>
                  </a:lnTo>
                  <a:lnTo>
                    <a:pt x="132" y="907"/>
                  </a:lnTo>
                  <a:lnTo>
                    <a:pt x="134" y="909"/>
                  </a:lnTo>
                  <a:lnTo>
                    <a:pt x="136" y="910"/>
                  </a:lnTo>
                  <a:lnTo>
                    <a:pt x="141" y="910"/>
                  </a:lnTo>
                  <a:lnTo>
                    <a:pt x="145" y="912"/>
                  </a:lnTo>
                  <a:lnTo>
                    <a:pt x="145" y="912"/>
                  </a:lnTo>
                  <a:lnTo>
                    <a:pt x="147" y="915"/>
                  </a:lnTo>
                  <a:lnTo>
                    <a:pt x="145" y="916"/>
                  </a:lnTo>
                  <a:lnTo>
                    <a:pt x="141" y="922"/>
                  </a:lnTo>
                  <a:lnTo>
                    <a:pt x="141" y="922"/>
                  </a:lnTo>
                  <a:lnTo>
                    <a:pt x="138" y="925"/>
                  </a:lnTo>
                  <a:lnTo>
                    <a:pt x="138" y="928"/>
                  </a:lnTo>
                  <a:lnTo>
                    <a:pt x="139" y="931"/>
                  </a:lnTo>
                  <a:lnTo>
                    <a:pt x="141" y="933"/>
                  </a:lnTo>
                  <a:lnTo>
                    <a:pt x="141" y="933"/>
                  </a:lnTo>
                  <a:lnTo>
                    <a:pt x="145" y="936"/>
                  </a:lnTo>
                  <a:lnTo>
                    <a:pt x="154" y="938"/>
                  </a:lnTo>
                  <a:lnTo>
                    <a:pt x="165" y="941"/>
                  </a:lnTo>
                  <a:lnTo>
                    <a:pt x="173" y="946"/>
                  </a:lnTo>
                  <a:lnTo>
                    <a:pt x="173" y="946"/>
                  </a:lnTo>
                  <a:lnTo>
                    <a:pt x="176" y="950"/>
                  </a:lnTo>
                  <a:lnTo>
                    <a:pt x="179" y="955"/>
                  </a:lnTo>
                  <a:lnTo>
                    <a:pt x="181" y="959"/>
                  </a:lnTo>
                  <a:lnTo>
                    <a:pt x="181" y="965"/>
                  </a:lnTo>
                  <a:lnTo>
                    <a:pt x="179" y="984"/>
                  </a:lnTo>
                  <a:lnTo>
                    <a:pt x="179" y="984"/>
                  </a:lnTo>
                  <a:lnTo>
                    <a:pt x="184" y="1007"/>
                  </a:lnTo>
                  <a:lnTo>
                    <a:pt x="191" y="1032"/>
                  </a:lnTo>
                  <a:lnTo>
                    <a:pt x="191" y="1032"/>
                  </a:lnTo>
                  <a:lnTo>
                    <a:pt x="193" y="1035"/>
                  </a:lnTo>
                  <a:lnTo>
                    <a:pt x="196" y="1036"/>
                  </a:lnTo>
                  <a:lnTo>
                    <a:pt x="200" y="1038"/>
                  </a:lnTo>
                  <a:lnTo>
                    <a:pt x="206" y="1036"/>
                  </a:lnTo>
                  <a:lnTo>
                    <a:pt x="209" y="1038"/>
                  </a:lnTo>
                  <a:lnTo>
                    <a:pt x="209" y="1038"/>
                  </a:lnTo>
                  <a:lnTo>
                    <a:pt x="211" y="1041"/>
                  </a:lnTo>
                  <a:lnTo>
                    <a:pt x="212" y="1047"/>
                  </a:lnTo>
                  <a:lnTo>
                    <a:pt x="211" y="1057"/>
                  </a:lnTo>
                  <a:lnTo>
                    <a:pt x="211" y="1057"/>
                  </a:lnTo>
                  <a:lnTo>
                    <a:pt x="209" y="1066"/>
                  </a:lnTo>
                  <a:lnTo>
                    <a:pt x="206" y="1070"/>
                  </a:lnTo>
                  <a:lnTo>
                    <a:pt x="202" y="1076"/>
                  </a:lnTo>
                  <a:lnTo>
                    <a:pt x="202" y="1076"/>
                  </a:lnTo>
                  <a:lnTo>
                    <a:pt x="196" y="1081"/>
                  </a:lnTo>
                  <a:lnTo>
                    <a:pt x="190" y="1084"/>
                  </a:lnTo>
                  <a:lnTo>
                    <a:pt x="184" y="1087"/>
                  </a:lnTo>
                  <a:lnTo>
                    <a:pt x="178" y="1093"/>
                  </a:lnTo>
                  <a:lnTo>
                    <a:pt x="178" y="1093"/>
                  </a:lnTo>
                  <a:lnTo>
                    <a:pt x="175" y="1097"/>
                  </a:lnTo>
                  <a:lnTo>
                    <a:pt x="171" y="1101"/>
                  </a:lnTo>
                  <a:lnTo>
                    <a:pt x="165" y="1104"/>
                  </a:lnTo>
                  <a:lnTo>
                    <a:pt x="157" y="1104"/>
                  </a:lnTo>
                  <a:lnTo>
                    <a:pt x="157" y="1104"/>
                  </a:lnTo>
                  <a:lnTo>
                    <a:pt x="153" y="1104"/>
                  </a:lnTo>
                  <a:lnTo>
                    <a:pt x="151" y="1106"/>
                  </a:lnTo>
                  <a:lnTo>
                    <a:pt x="148" y="1110"/>
                  </a:lnTo>
                  <a:lnTo>
                    <a:pt x="145" y="1116"/>
                  </a:lnTo>
                  <a:lnTo>
                    <a:pt x="144" y="1118"/>
                  </a:lnTo>
                  <a:lnTo>
                    <a:pt x="139" y="1121"/>
                  </a:lnTo>
                  <a:lnTo>
                    <a:pt x="139" y="1121"/>
                  </a:lnTo>
                  <a:lnTo>
                    <a:pt x="136" y="1122"/>
                  </a:lnTo>
                  <a:lnTo>
                    <a:pt x="134" y="1125"/>
                  </a:lnTo>
                  <a:lnTo>
                    <a:pt x="134" y="1128"/>
                  </a:lnTo>
                  <a:lnTo>
                    <a:pt x="135" y="1131"/>
                  </a:lnTo>
                  <a:lnTo>
                    <a:pt x="141" y="1135"/>
                  </a:lnTo>
                  <a:lnTo>
                    <a:pt x="145" y="1141"/>
                  </a:lnTo>
                  <a:lnTo>
                    <a:pt x="145" y="1141"/>
                  </a:lnTo>
                  <a:lnTo>
                    <a:pt x="147" y="1146"/>
                  </a:lnTo>
                  <a:lnTo>
                    <a:pt x="147" y="1149"/>
                  </a:lnTo>
                  <a:lnTo>
                    <a:pt x="144" y="1150"/>
                  </a:lnTo>
                  <a:lnTo>
                    <a:pt x="139" y="1150"/>
                  </a:lnTo>
                  <a:lnTo>
                    <a:pt x="139" y="1150"/>
                  </a:lnTo>
                  <a:lnTo>
                    <a:pt x="134" y="1152"/>
                  </a:lnTo>
                  <a:lnTo>
                    <a:pt x="129" y="1155"/>
                  </a:lnTo>
                  <a:lnTo>
                    <a:pt x="126" y="1159"/>
                  </a:lnTo>
                  <a:lnTo>
                    <a:pt x="125" y="1164"/>
                  </a:lnTo>
                  <a:lnTo>
                    <a:pt x="125" y="1164"/>
                  </a:lnTo>
                  <a:lnTo>
                    <a:pt x="125" y="1168"/>
                  </a:lnTo>
                  <a:lnTo>
                    <a:pt x="123" y="1171"/>
                  </a:lnTo>
                  <a:lnTo>
                    <a:pt x="120" y="1174"/>
                  </a:lnTo>
                  <a:lnTo>
                    <a:pt x="116" y="1177"/>
                  </a:lnTo>
                  <a:lnTo>
                    <a:pt x="116" y="1177"/>
                  </a:lnTo>
                  <a:lnTo>
                    <a:pt x="111" y="1180"/>
                  </a:lnTo>
                  <a:lnTo>
                    <a:pt x="111" y="1181"/>
                  </a:lnTo>
                  <a:lnTo>
                    <a:pt x="113" y="1181"/>
                  </a:lnTo>
                  <a:lnTo>
                    <a:pt x="123" y="1187"/>
                  </a:lnTo>
                  <a:lnTo>
                    <a:pt x="123" y="1187"/>
                  </a:lnTo>
                  <a:lnTo>
                    <a:pt x="126" y="1192"/>
                  </a:lnTo>
                  <a:lnTo>
                    <a:pt x="128" y="1195"/>
                  </a:lnTo>
                  <a:lnTo>
                    <a:pt x="126" y="1198"/>
                  </a:lnTo>
                  <a:lnTo>
                    <a:pt x="123" y="1201"/>
                  </a:lnTo>
                  <a:lnTo>
                    <a:pt x="123" y="1201"/>
                  </a:lnTo>
                  <a:lnTo>
                    <a:pt x="122" y="1205"/>
                  </a:lnTo>
                  <a:lnTo>
                    <a:pt x="120" y="1211"/>
                  </a:lnTo>
                  <a:lnTo>
                    <a:pt x="120" y="1217"/>
                  </a:lnTo>
                  <a:lnTo>
                    <a:pt x="120" y="1221"/>
                  </a:lnTo>
                  <a:lnTo>
                    <a:pt x="120" y="1221"/>
                  </a:lnTo>
                  <a:lnTo>
                    <a:pt x="117" y="1224"/>
                  </a:lnTo>
                  <a:lnTo>
                    <a:pt x="113" y="1226"/>
                  </a:lnTo>
                  <a:lnTo>
                    <a:pt x="107" y="1227"/>
                  </a:lnTo>
                  <a:lnTo>
                    <a:pt x="101" y="1226"/>
                  </a:lnTo>
                  <a:lnTo>
                    <a:pt x="101" y="1226"/>
                  </a:lnTo>
                  <a:lnTo>
                    <a:pt x="88" y="1224"/>
                  </a:lnTo>
                  <a:lnTo>
                    <a:pt x="82" y="1224"/>
                  </a:lnTo>
                  <a:lnTo>
                    <a:pt x="77" y="1226"/>
                  </a:lnTo>
                  <a:lnTo>
                    <a:pt x="77" y="1226"/>
                  </a:lnTo>
                  <a:lnTo>
                    <a:pt x="71" y="1233"/>
                  </a:lnTo>
                  <a:lnTo>
                    <a:pt x="68" y="1238"/>
                  </a:lnTo>
                  <a:lnTo>
                    <a:pt x="65" y="1241"/>
                  </a:lnTo>
                  <a:lnTo>
                    <a:pt x="65" y="1241"/>
                  </a:lnTo>
                  <a:lnTo>
                    <a:pt x="52" y="1247"/>
                  </a:lnTo>
                  <a:lnTo>
                    <a:pt x="36" y="1255"/>
                  </a:lnTo>
                  <a:lnTo>
                    <a:pt x="36" y="1255"/>
                  </a:lnTo>
                  <a:lnTo>
                    <a:pt x="24" y="1264"/>
                  </a:lnTo>
                  <a:lnTo>
                    <a:pt x="12" y="1267"/>
                  </a:lnTo>
                  <a:lnTo>
                    <a:pt x="12" y="1267"/>
                  </a:lnTo>
                  <a:lnTo>
                    <a:pt x="2" y="1269"/>
                  </a:lnTo>
                  <a:lnTo>
                    <a:pt x="2" y="1269"/>
                  </a:lnTo>
                  <a:lnTo>
                    <a:pt x="2" y="1273"/>
                  </a:lnTo>
                  <a:lnTo>
                    <a:pt x="0" y="1278"/>
                  </a:lnTo>
                  <a:lnTo>
                    <a:pt x="2" y="1288"/>
                  </a:lnTo>
                  <a:lnTo>
                    <a:pt x="2" y="1288"/>
                  </a:lnTo>
                  <a:lnTo>
                    <a:pt x="6" y="1295"/>
                  </a:lnTo>
                  <a:lnTo>
                    <a:pt x="15" y="1306"/>
                  </a:lnTo>
                  <a:lnTo>
                    <a:pt x="25" y="1316"/>
                  </a:lnTo>
                  <a:lnTo>
                    <a:pt x="33" y="1327"/>
                  </a:lnTo>
                  <a:lnTo>
                    <a:pt x="33" y="1327"/>
                  </a:lnTo>
                  <a:lnTo>
                    <a:pt x="36" y="1335"/>
                  </a:lnTo>
                  <a:lnTo>
                    <a:pt x="39" y="1346"/>
                  </a:lnTo>
                  <a:lnTo>
                    <a:pt x="39" y="1365"/>
                  </a:lnTo>
                  <a:lnTo>
                    <a:pt x="39" y="1365"/>
                  </a:lnTo>
                  <a:lnTo>
                    <a:pt x="40" y="1374"/>
                  </a:lnTo>
                  <a:lnTo>
                    <a:pt x="42" y="1381"/>
                  </a:lnTo>
                  <a:lnTo>
                    <a:pt x="45" y="1402"/>
                  </a:lnTo>
                  <a:lnTo>
                    <a:pt x="45" y="1402"/>
                  </a:lnTo>
                  <a:lnTo>
                    <a:pt x="48" y="1446"/>
                  </a:lnTo>
                  <a:lnTo>
                    <a:pt x="49" y="1472"/>
                  </a:lnTo>
                  <a:lnTo>
                    <a:pt x="52" y="1489"/>
                  </a:lnTo>
                  <a:lnTo>
                    <a:pt x="52" y="1489"/>
                  </a:lnTo>
                  <a:lnTo>
                    <a:pt x="54" y="1500"/>
                  </a:lnTo>
                  <a:lnTo>
                    <a:pt x="52" y="1509"/>
                  </a:lnTo>
                  <a:lnTo>
                    <a:pt x="49" y="1516"/>
                  </a:lnTo>
                  <a:lnTo>
                    <a:pt x="46" y="1518"/>
                  </a:lnTo>
                  <a:lnTo>
                    <a:pt x="43" y="1519"/>
                  </a:lnTo>
                  <a:lnTo>
                    <a:pt x="43" y="1519"/>
                  </a:lnTo>
                  <a:lnTo>
                    <a:pt x="33" y="1521"/>
                  </a:lnTo>
                  <a:lnTo>
                    <a:pt x="30" y="1522"/>
                  </a:lnTo>
                  <a:lnTo>
                    <a:pt x="27" y="1528"/>
                  </a:lnTo>
                  <a:lnTo>
                    <a:pt x="27" y="1528"/>
                  </a:lnTo>
                  <a:lnTo>
                    <a:pt x="25" y="1534"/>
                  </a:lnTo>
                  <a:lnTo>
                    <a:pt x="24" y="1538"/>
                  </a:lnTo>
                  <a:lnTo>
                    <a:pt x="22" y="1541"/>
                  </a:lnTo>
                  <a:lnTo>
                    <a:pt x="17" y="1544"/>
                  </a:lnTo>
                  <a:lnTo>
                    <a:pt x="17" y="1544"/>
                  </a:lnTo>
                  <a:lnTo>
                    <a:pt x="3" y="1550"/>
                  </a:lnTo>
                  <a:lnTo>
                    <a:pt x="2" y="1553"/>
                  </a:lnTo>
                  <a:lnTo>
                    <a:pt x="2" y="1556"/>
                  </a:lnTo>
                  <a:lnTo>
                    <a:pt x="2" y="1556"/>
                  </a:lnTo>
                  <a:lnTo>
                    <a:pt x="5" y="1558"/>
                  </a:lnTo>
                  <a:lnTo>
                    <a:pt x="6" y="1559"/>
                  </a:lnTo>
                  <a:lnTo>
                    <a:pt x="12" y="1561"/>
                  </a:lnTo>
                  <a:lnTo>
                    <a:pt x="18" y="1561"/>
                  </a:lnTo>
                  <a:lnTo>
                    <a:pt x="21" y="1562"/>
                  </a:lnTo>
                  <a:lnTo>
                    <a:pt x="21" y="1562"/>
                  </a:lnTo>
                  <a:lnTo>
                    <a:pt x="22" y="1563"/>
                  </a:lnTo>
                  <a:lnTo>
                    <a:pt x="22" y="1566"/>
                  </a:lnTo>
                  <a:lnTo>
                    <a:pt x="22" y="1568"/>
                  </a:lnTo>
                  <a:lnTo>
                    <a:pt x="24" y="1571"/>
                  </a:lnTo>
                  <a:lnTo>
                    <a:pt x="24" y="1571"/>
                  </a:lnTo>
                  <a:lnTo>
                    <a:pt x="28" y="1574"/>
                  </a:lnTo>
                  <a:lnTo>
                    <a:pt x="31" y="1575"/>
                  </a:lnTo>
                  <a:lnTo>
                    <a:pt x="36" y="1577"/>
                  </a:lnTo>
                  <a:lnTo>
                    <a:pt x="37" y="1578"/>
                  </a:lnTo>
                  <a:lnTo>
                    <a:pt x="37" y="1578"/>
                  </a:lnTo>
                  <a:lnTo>
                    <a:pt x="37" y="1583"/>
                  </a:lnTo>
                  <a:lnTo>
                    <a:pt x="37" y="1590"/>
                  </a:lnTo>
                  <a:lnTo>
                    <a:pt x="36" y="1605"/>
                  </a:lnTo>
                  <a:lnTo>
                    <a:pt x="36" y="1605"/>
                  </a:lnTo>
                  <a:lnTo>
                    <a:pt x="34" y="1611"/>
                  </a:lnTo>
                  <a:lnTo>
                    <a:pt x="31" y="1618"/>
                  </a:lnTo>
                  <a:lnTo>
                    <a:pt x="30" y="1627"/>
                  </a:lnTo>
                  <a:lnTo>
                    <a:pt x="31" y="1630"/>
                  </a:lnTo>
                  <a:lnTo>
                    <a:pt x="33" y="1635"/>
                  </a:lnTo>
                  <a:lnTo>
                    <a:pt x="33" y="1635"/>
                  </a:lnTo>
                  <a:lnTo>
                    <a:pt x="36" y="1640"/>
                  </a:lnTo>
                  <a:lnTo>
                    <a:pt x="40" y="1643"/>
                  </a:lnTo>
                  <a:lnTo>
                    <a:pt x="43" y="1648"/>
                  </a:lnTo>
                  <a:lnTo>
                    <a:pt x="46" y="1655"/>
                  </a:lnTo>
                  <a:lnTo>
                    <a:pt x="46" y="1655"/>
                  </a:lnTo>
                  <a:lnTo>
                    <a:pt x="46" y="1666"/>
                  </a:lnTo>
                  <a:lnTo>
                    <a:pt x="45" y="1678"/>
                  </a:lnTo>
                  <a:lnTo>
                    <a:pt x="45" y="1689"/>
                  </a:lnTo>
                  <a:lnTo>
                    <a:pt x="46" y="1694"/>
                  </a:lnTo>
                  <a:lnTo>
                    <a:pt x="48" y="1697"/>
                  </a:lnTo>
                  <a:lnTo>
                    <a:pt x="48" y="1697"/>
                  </a:lnTo>
                  <a:lnTo>
                    <a:pt x="55" y="1701"/>
                  </a:lnTo>
                  <a:lnTo>
                    <a:pt x="65" y="1706"/>
                  </a:lnTo>
                  <a:lnTo>
                    <a:pt x="76" y="1710"/>
                  </a:lnTo>
                  <a:lnTo>
                    <a:pt x="80" y="1715"/>
                  </a:lnTo>
                  <a:lnTo>
                    <a:pt x="80" y="1715"/>
                  </a:lnTo>
                  <a:lnTo>
                    <a:pt x="79" y="1717"/>
                  </a:lnTo>
                  <a:lnTo>
                    <a:pt x="74" y="1722"/>
                  </a:lnTo>
                  <a:lnTo>
                    <a:pt x="64" y="1729"/>
                  </a:lnTo>
                  <a:lnTo>
                    <a:pt x="64" y="1729"/>
                  </a:lnTo>
                  <a:lnTo>
                    <a:pt x="59" y="1732"/>
                  </a:lnTo>
                  <a:lnTo>
                    <a:pt x="58" y="1737"/>
                  </a:lnTo>
                  <a:lnTo>
                    <a:pt x="58" y="1746"/>
                  </a:lnTo>
                  <a:lnTo>
                    <a:pt x="58" y="1746"/>
                  </a:lnTo>
                  <a:lnTo>
                    <a:pt x="57" y="1752"/>
                  </a:lnTo>
                  <a:lnTo>
                    <a:pt x="52" y="1757"/>
                  </a:lnTo>
                  <a:lnTo>
                    <a:pt x="43" y="1769"/>
                  </a:lnTo>
                  <a:lnTo>
                    <a:pt x="43" y="1769"/>
                  </a:lnTo>
                  <a:lnTo>
                    <a:pt x="40" y="1771"/>
                  </a:lnTo>
                  <a:lnTo>
                    <a:pt x="37" y="1772"/>
                  </a:lnTo>
                  <a:lnTo>
                    <a:pt x="36" y="1774"/>
                  </a:lnTo>
                  <a:lnTo>
                    <a:pt x="36" y="1775"/>
                  </a:lnTo>
                  <a:lnTo>
                    <a:pt x="39" y="1780"/>
                  </a:lnTo>
                  <a:lnTo>
                    <a:pt x="39" y="1780"/>
                  </a:lnTo>
                  <a:lnTo>
                    <a:pt x="46" y="1789"/>
                  </a:lnTo>
                  <a:lnTo>
                    <a:pt x="49" y="1793"/>
                  </a:lnTo>
                  <a:lnTo>
                    <a:pt x="49" y="1793"/>
                  </a:lnTo>
                  <a:lnTo>
                    <a:pt x="48" y="1795"/>
                  </a:lnTo>
                  <a:lnTo>
                    <a:pt x="48" y="1795"/>
                  </a:lnTo>
                  <a:lnTo>
                    <a:pt x="45" y="1795"/>
                  </a:lnTo>
                  <a:lnTo>
                    <a:pt x="42" y="1793"/>
                  </a:lnTo>
                  <a:lnTo>
                    <a:pt x="39" y="1793"/>
                  </a:lnTo>
                  <a:lnTo>
                    <a:pt x="37" y="1793"/>
                  </a:lnTo>
                  <a:lnTo>
                    <a:pt x="37" y="1793"/>
                  </a:lnTo>
                  <a:lnTo>
                    <a:pt x="33" y="1806"/>
                  </a:lnTo>
                  <a:lnTo>
                    <a:pt x="28" y="1817"/>
                  </a:lnTo>
                  <a:lnTo>
                    <a:pt x="28" y="1824"/>
                  </a:lnTo>
                  <a:lnTo>
                    <a:pt x="28" y="1824"/>
                  </a:lnTo>
                  <a:lnTo>
                    <a:pt x="28" y="1827"/>
                  </a:lnTo>
                  <a:lnTo>
                    <a:pt x="31" y="1830"/>
                  </a:lnTo>
                  <a:lnTo>
                    <a:pt x="34" y="1830"/>
                  </a:lnTo>
                  <a:lnTo>
                    <a:pt x="39" y="1829"/>
                  </a:lnTo>
                  <a:lnTo>
                    <a:pt x="39" y="1829"/>
                  </a:lnTo>
                  <a:lnTo>
                    <a:pt x="46" y="1824"/>
                  </a:lnTo>
                  <a:lnTo>
                    <a:pt x="48" y="1823"/>
                  </a:lnTo>
                  <a:lnTo>
                    <a:pt x="51" y="1824"/>
                  </a:lnTo>
                  <a:lnTo>
                    <a:pt x="51" y="1824"/>
                  </a:lnTo>
                  <a:lnTo>
                    <a:pt x="52" y="1829"/>
                  </a:lnTo>
                  <a:lnTo>
                    <a:pt x="55" y="1833"/>
                  </a:lnTo>
                  <a:lnTo>
                    <a:pt x="57" y="1834"/>
                  </a:lnTo>
                  <a:lnTo>
                    <a:pt x="58" y="1836"/>
                  </a:lnTo>
                  <a:lnTo>
                    <a:pt x="61" y="1834"/>
                  </a:lnTo>
                  <a:lnTo>
                    <a:pt x="62" y="1833"/>
                  </a:lnTo>
                  <a:lnTo>
                    <a:pt x="62" y="1833"/>
                  </a:lnTo>
                  <a:lnTo>
                    <a:pt x="71" y="1824"/>
                  </a:lnTo>
                  <a:lnTo>
                    <a:pt x="74" y="1823"/>
                  </a:lnTo>
                  <a:lnTo>
                    <a:pt x="77" y="1824"/>
                  </a:lnTo>
                  <a:lnTo>
                    <a:pt x="77" y="1824"/>
                  </a:lnTo>
                  <a:lnTo>
                    <a:pt x="80" y="1832"/>
                  </a:lnTo>
                  <a:lnTo>
                    <a:pt x="82" y="1834"/>
                  </a:lnTo>
                  <a:lnTo>
                    <a:pt x="86" y="1834"/>
                  </a:lnTo>
                  <a:lnTo>
                    <a:pt x="86" y="1834"/>
                  </a:lnTo>
                  <a:lnTo>
                    <a:pt x="94" y="1836"/>
                  </a:lnTo>
                  <a:lnTo>
                    <a:pt x="98" y="1837"/>
                  </a:lnTo>
                  <a:lnTo>
                    <a:pt x="102" y="1840"/>
                  </a:lnTo>
                  <a:lnTo>
                    <a:pt x="102" y="1840"/>
                  </a:lnTo>
                  <a:lnTo>
                    <a:pt x="107" y="1843"/>
                  </a:lnTo>
                  <a:lnTo>
                    <a:pt x="111" y="1843"/>
                  </a:lnTo>
                  <a:lnTo>
                    <a:pt x="119" y="1843"/>
                  </a:lnTo>
                  <a:lnTo>
                    <a:pt x="119" y="1843"/>
                  </a:lnTo>
                  <a:lnTo>
                    <a:pt x="120" y="1845"/>
                  </a:lnTo>
                  <a:lnTo>
                    <a:pt x="122" y="1846"/>
                  </a:lnTo>
                  <a:lnTo>
                    <a:pt x="125" y="1848"/>
                  </a:lnTo>
                  <a:lnTo>
                    <a:pt x="129" y="1849"/>
                  </a:lnTo>
                  <a:lnTo>
                    <a:pt x="129" y="1849"/>
                  </a:lnTo>
                  <a:lnTo>
                    <a:pt x="136" y="1852"/>
                  </a:lnTo>
                  <a:lnTo>
                    <a:pt x="142" y="1852"/>
                  </a:lnTo>
                  <a:lnTo>
                    <a:pt x="147" y="1852"/>
                  </a:lnTo>
                  <a:lnTo>
                    <a:pt x="150" y="1851"/>
                  </a:lnTo>
                  <a:lnTo>
                    <a:pt x="150" y="1851"/>
                  </a:lnTo>
                  <a:lnTo>
                    <a:pt x="151" y="1845"/>
                  </a:lnTo>
                  <a:lnTo>
                    <a:pt x="153" y="1840"/>
                  </a:lnTo>
                  <a:lnTo>
                    <a:pt x="154" y="1837"/>
                  </a:lnTo>
                  <a:lnTo>
                    <a:pt x="154" y="1837"/>
                  </a:lnTo>
                  <a:lnTo>
                    <a:pt x="157" y="1836"/>
                  </a:lnTo>
                  <a:lnTo>
                    <a:pt x="162" y="1836"/>
                  </a:lnTo>
                  <a:lnTo>
                    <a:pt x="166" y="1837"/>
                  </a:lnTo>
                  <a:lnTo>
                    <a:pt x="169" y="1839"/>
                  </a:lnTo>
                  <a:lnTo>
                    <a:pt x="169" y="1839"/>
                  </a:lnTo>
                  <a:lnTo>
                    <a:pt x="169" y="1842"/>
                  </a:lnTo>
                  <a:lnTo>
                    <a:pt x="168" y="1846"/>
                  </a:lnTo>
                  <a:lnTo>
                    <a:pt x="168" y="1851"/>
                  </a:lnTo>
                  <a:lnTo>
                    <a:pt x="168" y="1854"/>
                  </a:lnTo>
                  <a:lnTo>
                    <a:pt x="168" y="1854"/>
                  </a:lnTo>
                  <a:lnTo>
                    <a:pt x="172" y="1861"/>
                  </a:lnTo>
                  <a:lnTo>
                    <a:pt x="173" y="1866"/>
                  </a:lnTo>
                  <a:lnTo>
                    <a:pt x="176" y="1872"/>
                  </a:lnTo>
                  <a:lnTo>
                    <a:pt x="176" y="1872"/>
                  </a:lnTo>
                  <a:lnTo>
                    <a:pt x="179" y="1877"/>
                  </a:lnTo>
                  <a:lnTo>
                    <a:pt x="181" y="1880"/>
                  </a:lnTo>
                  <a:lnTo>
                    <a:pt x="184" y="1883"/>
                  </a:lnTo>
                  <a:lnTo>
                    <a:pt x="184" y="1885"/>
                  </a:lnTo>
                  <a:lnTo>
                    <a:pt x="184" y="1885"/>
                  </a:lnTo>
                  <a:lnTo>
                    <a:pt x="181" y="1886"/>
                  </a:lnTo>
                  <a:lnTo>
                    <a:pt x="176" y="1888"/>
                  </a:lnTo>
                  <a:lnTo>
                    <a:pt x="171" y="1889"/>
                  </a:lnTo>
                  <a:lnTo>
                    <a:pt x="168" y="1891"/>
                  </a:lnTo>
                  <a:lnTo>
                    <a:pt x="168" y="1891"/>
                  </a:lnTo>
                  <a:lnTo>
                    <a:pt x="166" y="1894"/>
                  </a:lnTo>
                  <a:lnTo>
                    <a:pt x="166" y="1897"/>
                  </a:lnTo>
                  <a:lnTo>
                    <a:pt x="166" y="1901"/>
                  </a:lnTo>
                  <a:lnTo>
                    <a:pt x="166" y="1904"/>
                  </a:lnTo>
                  <a:lnTo>
                    <a:pt x="166" y="1904"/>
                  </a:lnTo>
                  <a:lnTo>
                    <a:pt x="160" y="1909"/>
                  </a:lnTo>
                  <a:lnTo>
                    <a:pt x="159" y="1912"/>
                  </a:lnTo>
                  <a:lnTo>
                    <a:pt x="160" y="1913"/>
                  </a:lnTo>
                  <a:lnTo>
                    <a:pt x="162" y="1913"/>
                  </a:lnTo>
                  <a:lnTo>
                    <a:pt x="162" y="1913"/>
                  </a:lnTo>
                  <a:lnTo>
                    <a:pt x="165" y="1914"/>
                  </a:lnTo>
                  <a:lnTo>
                    <a:pt x="169" y="1916"/>
                  </a:lnTo>
                  <a:lnTo>
                    <a:pt x="175" y="1916"/>
                  </a:lnTo>
                  <a:lnTo>
                    <a:pt x="182" y="1917"/>
                  </a:lnTo>
                  <a:lnTo>
                    <a:pt x="182" y="1917"/>
                  </a:lnTo>
                  <a:lnTo>
                    <a:pt x="193" y="1920"/>
                  </a:lnTo>
                  <a:lnTo>
                    <a:pt x="203" y="1925"/>
                  </a:lnTo>
                  <a:lnTo>
                    <a:pt x="203" y="1925"/>
                  </a:lnTo>
                  <a:lnTo>
                    <a:pt x="211" y="1929"/>
                  </a:lnTo>
                  <a:lnTo>
                    <a:pt x="216" y="1934"/>
                  </a:lnTo>
                  <a:lnTo>
                    <a:pt x="224" y="1941"/>
                  </a:lnTo>
                  <a:lnTo>
                    <a:pt x="224" y="1941"/>
                  </a:lnTo>
                  <a:lnTo>
                    <a:pt x="227" y="1944"/>
                  </a:lnTo>
                  <a:lnTo>
                    <a:pt x="228" y="1949"/>
                  </a:lnTo>
                  <a:lnTo>
                    <a:pt x="231" y="1960"/>
                  </a:lnTo>
                  <a:lnTo>
                    <a:pt x="231" y="1960"/>
                  </a:lnTo>
                  <a:lnTo>
                    <a:pt x="233" y="1966"/>
                  </a:lnTo>
                  <a:lnTo>
                    <a:pt x="236" y="1974"/>
                  </a:lnTo>
                  <a:lnTo>
                    <a:pt x="243" y="1984"/>
                  </a:lnTo>
                  <a:lnTo>
                    <a:pt x="243" y="1984"/>
                  </a:lnTo>
                  <a:lnTo>
                    <a:pt x="243" y="1989"/>
                  </a:lnTo>
                  <a:lnTo>
                    <a:pt x="240" y="1994"/>
                  </a:lnTo>
                  <a:lnTo>
                    <a:pt x="237" y="2002"/>
                  </a:lnTo>
                  <a:lnTo>
                    <a:pt x="236" y="2009"/>
                  </a:lnTo>
                  <a:lnTo>
                    <a:pt x="236" y="2009"/>
                  </a:lnTo>
                  <a:lnTo>
                    <a:pt x="234" y="2017"/>
                  </a:lnTo>
                  <a:lnTo>
                    <a:pt x="231" y="2026"/>
                  </a:lnTo>
                  <a:lnTo>
                    <a:pt x="230" y="2029"/>
                  </a:lnTo>
                  <a:lnTo>
                    <a:pt x="231" y="2033"/>
                  </a:lnTo>
                  <a:lnTo>
                    <a:pt x="233" y="2036"/>
                  </a:lnTo>
                  <a:lnTo>
                    <a:pt x="236" y="2037"/>
                  </a:lnTo>
                  <a:lnTo>
                    <a:pt x="236" y="2037"/>
                  </a:lnTo>
                  <a:lnTo>
                    <a:pt x="245" y="2039"/>
                  </a:lnTo>
                  <a:lnTo>
                    <a:pt x="252" y="2040"/>
                  </a:lnTo>
                  <a:lnTo>
                    <a:pt x="259" y="2040"/>
                  </a:lnTo>
                  <a:lnTo>
                    <a:pt x="262" y="2042"/>
                  </a:lnTo>
                  <a:lnTo>
                    <a:pt x="262" y="2042"/>
                  </a:lnTo>
                  <a:lnTo>
                    <a:pt x="265" y="2049"/>
                  </a:lnTo>
                  <a:lnTo>
                    <a:pt x="270" y="2061"/>
                  </a:lnTo>
                  <a:lnTo>
                    <a:pt x="271" y="2073"/>
                  </a:lnTo>
                  <a:lnTo>
                    <a:pt x="271" y="2080"/>
                  </a:lnTo>
                  <a:lnTo>
                    <a:pt x="271" y="2080"/>
                  </a:lnTo>
                  <a:lnTo>
                    <a:pt x="268" y="2085"/>
                  </a:lnTo>
                  <a:lnTo>
                    <a:pt x="264" y="2088"/>
                  </a:lnTo>
                  <a:lnTo>
                    <a:pt x="259" y="2092"/>
                  </a:lnTo>
                  <a:lnTo>
                    <a:pt x="256" y="2098"/>
                  </a:lnTo>
                  <a:lnTo>
                    <a:pt x="256" y="2098"/>
                  </a:lnTo>
                  <a:lnTo>
                    <a:pt x="253" y="2107"/>
                  </a:lnTo>
                  <a:lnTo>
                    <a:pt x="250" y="2117"/>
                  </a:lnTo>
                  <a:lnTo>
                    <a:pt x="250" y="2126"/>
                  </a:lnTo>
                  <a:lnTo>
                    <a:pt x="252" y="2131"/>
                  </a:lnTo>
                  <a:lnTo>
                    <a:pt x="252" y="2131"/>
                  </a:lnTo>
                  <a:lnTo>
                    <a:pt x="259" y="2131"/>
                  </a:lnTo>
                  <a:lnTo>
                    <a:pt x="264" y="2131"/>
                  </a:lnTo>
                  <a:lnTo>
                    <a:pt x="267" y="2134"/>
                  </a:lnTo>
                  <a:lnTo>
                    <a:pt x="270" y="2135"/>
                  </a:lnTo>
                  <a:lnTo>
                    <a:pt x="270" y="2135"/>
                  </a:lnTo>
                  <a:lnTo>
                    <a:pt x="271" y="2143"/>
                  </a:lnTo>
                  <a:lnTo>
                    <a:pt x="273" y="2148"/>
                  </a:lnTo>
                  <a:lnTo>
                    <a:pt x="273" y="2154"/>
                  </a:lnTo>
                  <a:lnTo>
                    <a:pt x="274" y="2157"/>
                  </a:lnTo>
                  <a:lnTo>
                    <a:pt x="277" y="2159"/>
                  </a:lnTo>
                  <a:lnTo>
                    <a:pt x="277" y="2159"/>
                  </a:lnTo>
                  <a:lnTo>
                    <a:pt x="282" y="2160"/>
                  </a:lnTo>
                  <a:lnTo>
                    <a:pt x="286" y="2162"/>
                  </a:lnTo>
                  <a:lnTo>
                    <a:pt x="290" y="2162"/>
                  </a:lnTo>
                  <a:lnTo>
                    <a:pt x="295" y="2165"/>
                  </a:lnTo>
                  <a:lnTo>
                    <a:pt x="295" y="2165"/>
                  </a:lnTo>
                  <a:lnTo>
                    <a:pt x="302" y="2172"/>
                  </a:lnTo>
                  <a:lnTo>
                    <a:pt x="304" y="2172"/>
                  </a:lnTo>
                  <a:lnTo>
                    <a:pt x="305" y="2172"/>
                  </a:lnTo>
                  <a:lnTo>
                    <a:pt x="305" y="2172"/>
                  </a:lnTo>
                  <a:lnTo>
                    <a:pt x="308" y="2171"/>
                  </a:lnTo>
                  <a:lnTo>
                    <a:pt x="313" y="2168"/>
                  </a:lnTo>
                  <a:lnTo>
                    <a:pt x="319" y="2168"/>
                  </a:lnTo>
                  <a:lnTo>
                    <a:pt x="320" y="2168"/>
                  </a:lnTo>
                  <a:lnTo>
                    <a:pt x="322" y="2169"/>
                  </a:lnTo>
                  <a:lnTo>
                    <a:pt x="322" y="2169"/>
                  </a:lnTo>
                  <a:lnTo>
                    <a:pt x="323" y="2175"/>
                  </a:lnTo>
                  <a:lnTo>
                    <a:pt x="323" y="2183"/>
                  </a:lnTo>
                  <a:lnTo>
                    <a:pt x="320" y="2196"/>
                  </a:lnTo>
                  <a:lnTo>
                    <a:pt x="320" y="2196"/>
                  </a:lnTo>
                  <a:lnTo>
                    <a:pt x="317" y="2203"/>
                  </a:lnTo>
                  <a:lnTo>
                    <a:pt x="317" y="2208"/>
                  </a:lnTo>
                  <a:lnTo>
                    <a:pt x="320" y="2212"/>
                  </a:lnTo>
                  <a:lnTo>
                    <a:pt x="320" y="2212"/>
                  </a:lnTo>
                  <a:lnTo>
                    <a:pt x="322" y="2217"/>
                  </a:lnTo>
                  <a:lnTo>
                    <a:pt x="323" y="2221"/>
                  </a:lnTo>
                  <a:lnTo>
                    <a:pt x="322" y="2225"/>
                  </a:lnTo>
                  <a:lnTo>
                    <a:pt x="320" y="2228"/>
                  </a:lnTo>
                  <a:lnTo>
                    <a:pt x="320" y="2228"/>
                  </a:lnTo>
                  <a:lnTo>
                    <a:pt x="317" y="2231"/>
                  </a:lnTo>
                  <a:lnTo>
                    <a:pt x="316" y="2234"/>
                  </a:lnTo>
                  <a:lnTo>
                    <a:pt x="313" y="2240"/>
                  </a:lnTo>
                  <a:lnTo>
                    <a:pt x="313" y="2240"/>
                  </a:lnTo>
                  <a:lnTo>
                    <a:pt x="311" y="2246"/>
                  </a:lnTo>
                  <a:lnTo>
                    <a:pt x="305" y="2255"/>
                  </a:lnTo>
                  <a:lnTo>
                    <a:pt x="305" y="2255"/>
                  </a:lnTo>
                  <a:lnTo>
                    <a:pt x="301" y="2263"/>
                  </a:lnTo>
                  <a:lnTo>
                    <a:pt x="298" y="2273"/>
                  </a:lnTo>
                  <a:lnTo>
                    <a:pt x="295" y="2283"/>
                  </a:lnTo>
                  <a:lnTo>
                    <a:pt x="292" y="2291"/>
                  </a:lnTo>
                  <a:lnTo>
                    <a:pt x="292" y="2291"/>
                  </a:lnTo>
                  <a:lnTo>
                    <a:pt x="292" y="2297"/>
                  </a:lnTo>
                  <a:lnTo>
                    <a:pt x="293" y="2300"/>
                  </a:lnTo>
                  <a:lnTo>
                    <a:pt x="296" y="2304"/>
                  </a:lnTo>
                  <a:lnTo>
                    <a:pt x="296" y="2304"/>
                  </a:lnTo>
                  <a:lnTo>
                    <a:pt x="298" y="2307"/>
                  </a:lnTo>
                  <a:lnTo>
                    <a:pt x="299" y="2313"/>
                  </a:lnTo>
                  <a:lnTo>
                    <a:pt x="298" y="2320"/>
                  </a:lnTo>
                  <a:lnTo>
                    <a:pt x="298" y="2325"/>
                  </a:lnTo>
                  <a:lnTo>
                    <a:pt x="298" y="2325"/>
                  </a:lnTo>
                  <a:lnTo>
                    <a:pt x="293" y="2332"/>
                  </a:lnTo>
                  <a:lnTo>
                    <a:pt x="293" y="2335"/>
                  </a:lnTo>
                  <a:lnTo>
                    <a:pt x="293" y="2341"/>
                  </a:lnTo>
                  <a:lnTo>
                    <a:pt x="293" y="2341"/>
                  </a:lnTo>
                  <a:lnTo>
                    <a:pt x="295" y="2350"/>
                  </a:lnTo>
                  <a:lnTo>
                    <a:pt x="293" y="2356"/>
                  </a:lnTo>
                  <a:lnTo>
                    <a:pt x="289" y="2362"/>
                  </a:lnTo>
                  <a:lnTo>
                    <a:pt x="289" y="2362"/>
                  </a:lnTo>
                  <a:lnTo>
                    <a:pt x="285" y="2369"/>
                  </a:lnTo>
                  <a:lnTo>
                    <a:pt x="283" y="2378"/>
                  </a:lnTo>
                  <a:lnTo>
                    <a:pt x="282" y="2388"/>
                  </a:lnTo>
                  <a:lnTo>
                    <a:pt x="282" y="2388"/>
                  </a:lnTo>
                  <a:lnTo>
                    <a:pt x="288" y="2388"/>
                  </a:lnTo>
                  <a:lnTo>
                    <a:pt x="295" y="2391"/>
                  </a:lnTo>
                  <a:lnTo>
                    <a:pt x="301" y="2397"/>
                  </a:lnTo>
                  <a:lnTo>
                    <a:pt x="301" y="2397"/>
                  </a:lnTo>
                  <a:lnTo>
                    <a:pt x="305" y="2403"/>
                  </a:lnTo>
                  <a:lnTo>
                    <a:pt x="307" y="2409"/>
                  </a:lnTo>
                  <a:lnTo>
                    <a:pt x="310" y="2414"/>
                  </a:lnTo>
                  <a:lnTo>
                    <a:pt x="313" y="2417"/>
                  </a:lnTo>
                  <a:lnTo>
                    <a:pt x="317" y="2418"/>
                  </a:lnTo>
                  <a:lnTo>
                    <a:pt x="317" y="2418"/>
                  </a:lnTo>
                  <a:lnTo>
                    <a:pt x="327" y="2421"/>
                  </a:lnTo>
                  <a:lnTo>
                    <a:pt x="336" y="2421"/>
                  </a:lnTo>
                  <a:lnTo>
                    <a:pt x="345" y="2419"/>
                  </a:lnTo>
                  <a:lnTo>
                    <a:pt x="345" y="2419"/>
                  </a:lnTo>
                  <a:lnTo>
                    <a:pt x="347" y="2418"/>
                  </a:lnTo>
                  <a:lnTo>
                    <a:pt x="348" y="2415"/>
                  </a:lnTo>
                  <a:lnTo>
                    <a:pt x="350" y="2412"/>
                  </a:lnTo>
                  <a:lnTo>
                    <a:pt x="353" y="2411"/>
                  </a:lnTo>
                  <a:lnTo>
                    <a:pt x="353" y="2411"/>
                  </a:lnTo>
                  <a:lnTo>
                    <a:pt x="357" y="2409"/>
                  </a:lnTo>
                  <a:lnTo>
                    <a:pt x="359" y="2406"/>
                  </a:lnTo>
                  <a:lnTo>
                    <a:pt x="360" y="2403"/>
                  </a:lnTo>
                  <a:lnTo>
                    <a:pt x="362" y="2399"/>
                  </a:lnTo>
                  <a:lnTo>
                    <a:pt x="362" y="2399"/>
                  </a:lnTo>
                  <a:lnTo>
                    <a:pt x="362" y="2393"/>
                  </a:lnTo>
                  <a:lnTo>
                    <a:pt x="360" y="2387"/>
                  </a:lnTo>
                  <a:lnTo>
                    <a:pt x="360" y="2381"/>
                  </a:lnTo>
                  <a:lnTo>
                    <a:pt x="362" y="2381"/>
                  </a:lnTo>
                  <a:lnTo>
                    <a:pt x="365" y="2380"/>
                  </a:lnTo>
                  <a:lnTo>
                    <a:pt x="365" y="2380"/>
                  </a:lnTo>
                  <a:lnTo>
                    <a:pt x="378" y="2381"/>
                  </a:lnTo>
                  <a:lnTo>
                    <a:pt x="384" y="2380"/>
                  </a:lnTo>
                  <a:lnTo>
                    <a:pt x="388" y="2378"/>
                  </a:lnTo>
                  <a:lnTo>
                    <a:pt x="388" y="2378"/>
                  </a:lnTo>
                  <a:lnTo>
                    <a:pt x="397" y="2372"/>
                  </a:lnTo>
                  <a:lnTo>
                    <a:pt x="402" y="2371"/>
                  </a:lnTo>
                  <a:lnTo>
                    <a:pt x="402" y="2371"/>
                  </a:lnTo>
                  <a:lnTo>
                    <a:pt x="403" y="2369"/>
                  </a:lnTo>
                  <a:lnTo>
                    <a:pt x="404" y="2366"/>
                  </a:lnTo>
                  <a:lnTo>
                    <a:pt x="406" y="2365"/>
                  </a:lnTo>
                  <a:lnTo>
                    <a:pt x="410" y="2365"/>
                  </a:lnTo>
                  <a:lnTo>
                    <a:pt x="410" y="2365"/>
                  </a:lnTo>
                  <a:lnTo>
                    <a:pt x="416" y="2366"/>
                  </a:lnTo>
                  <a:lnTo>
                    <a:pt x="419" y="2365"/>
                  </a:lnTo>
                  <a:lnTo>
                    <a:pt x="424" y="2363"/>
                  </a:lnTo>
                  <a:lnTo>
                    <a:pt x="425" y="2362"/>
                  </a:lnTo>
                  <a:lnTo>
                    <a:pt x="425" y="2362"/>
                  </a:lnTo>
                  <a:lnTo>
                    <a:pt x="427" y="2360"/>
                  </a:lnTo>
                  <a:lnTo>
                    <a:pt x="431" y="2359"/>
                  </a:lnTo>
                  <a:lnTo>
                    <a:pt x="434" y="2359"/>
                  </a:lnTo>
                  <a:lnTo>
                    <a:pt x="436" y="2356"/>
                  </a:lnTo>
                  <a:lnTo>
                    <a:pt x="436" y="2356"/>
                  </a:lnTo>
                  <a:lnTo>
                    <a:pt x="440" y="2347"/>
                  </a:lnTo>
                  <a:lnTo>
                    <a:pt x="443" y="2344"/>
                  </a:lnTo>
                  <a:lnTo>
                    <a:pt x="446" y="2344"/>
                  </a:lnTo>
                  <a:lnTo>
                    <a:pt x="446" y="2344"/>
                  </a:lnTo>
                  <a:lnTo>
                    <a:pt x="449" y="2345"/>
                  </a:lnTo>
                  <a:lnTo>
                    <a:pt x="452" y="2351"/>
                  </a:lnTo>
                  <a:lnTo>
                    <a:pt x="452" y="2351"/>
                  </a:lnTo>
                  <a:lnTo>
                    <a:pt x="453" y="2354"/>
                  </a:lnTo>
                  <a:lnTo>
                    <a:pt x="456" y="2356"/>
                  </a:lnTo>
                  <a:lnTo>
                    <a:pt x="461" y="2357"/>
                  </a:lnTo>
                  <a:lnTo>
                    <a:pt x="465" y="2359"/>
                  </a:lnTo>
                  <a:lnTo>
                    <a:pt x="468" y="2360"/>
                  </a:lnTo>
                  <a:lnTo>
                    <a:pt x="470" y="2363"/>
                  </a:lnTo>
                  <a:lnTo>
                    <a:pt x="470" y="2363"/>
                  </a:lnTo>
                  <a:lnTo>
                    <a:pt x="474" y="2368"/>
                  </a:lnTo>
                  <a:lnTo>
                    <a:pt x="477" y="2371"/>
                  </a:lnTo>
                  <a:lnTo>
                    <a:pt x="480" y="2372"/>
                  </a:lnTo>
                  <a:lnTo>
                    <a:pt x="486" y="2372"/>
                  </a:lnTo>
                  <a:lnTo>
                    <a:pt x="486" y="2372"/>
                  </a:lnTo>
                  <a:lnTo>
                    <a:pt x="492" y="2374"/>
                  </a:lnTo>
                  <a:lnTo>
                    <a:pt x="495" y="2372"/>
                  </a:lnTo>
                  <a:lnTo>
                    <a:pt x="504" y="2366"/>
                  </a:lnTo>
                  <a:lnTo>
                    <a:pt x="504" y="2366"/>
                  </a:lnTo>
                  <a:lnTo>
                    <a:pt x="508" y="2362"/>
                  </a:lnTo>
                  <a:lnTo>
                    <a:pt x="513" y="2360"/>
                  </a:lnTo>
                  <a:lnTo>
                    <a:pt x="516" y="2359"/>
                  </a:lnTo>
                  <a:lnTo>
                    <a:pt x="516" y="2357"/>
                  </a:lnTo>
                  <a:lnTo>
                    <a:pt x="516" y="2357"/>
                  </a:lnTo>
                  <a:lnTo>
                    <a:pt x="519" y="2350"/>
                  </a:lnTo>
                  <a:lnTo>
                    <a:pt x="520" y="2345"/>
                  </a:lnTo>
                  <a:lnTo>
                    <a:pt x="519" y="2342"/>
                  </a:lnTo>
                  <a:lnTo>
                    <a:pt x="519" y="2342"/>
                  </a:lnTo>
                  <a:lnTo>
                    <a:pt x="514" y="2337"/>
                  </a:lnTo>
                  <a:lnTo>
                    <a:pt x="513" y="2335"/>
                  </a:lnTo>
                  <a:lnTo>
                    <a:pt x="514" y="2332"/>
                  </a:lnTo>
                  <a:lnTo>
                    <a:pt x="514" y="2332"/>
                  </a:lnTo>
                  <a:lnTo>
                    <a:pt x="516" y="2326"/>
                  </a:lnTo>
                  <a:lnTo>
                    <a:pt x="517" y="2322"/>
                  </a:lnTo>
                  <a:lnTo>
                    <a:pt x="517" y="2319"/>
                  </a:lnTo>
                  <a:lnTo>
                    <a:pt x="517" y="2319"/>
                  </a:lnTo>
                  <a:lnTo>
                    <a:pt x="514" y="2310"/>
                  </a:lnTo>
                  <a:lnTo>
                    <a:pt x="514" y="2305"/>
                  </a:lnTo>
                  <a:lnTo>
                    <a:pt x="516" y="2304"/>
                  </a:lnTo>
                  <a:lnTo>
                    <a:pt x="519" y="2304"/>
                  </a:lnTo>
                  <a:lnTo>
                    <a:pt x="519" y="2304"/>
                  </a:lnTo>
                  <a:lnTo>
                    <a:pt x="526" y="2302"/>
                  </a:lnTo>
                  <a:lnTo>
                    <a:pt x="527" y="2300"/>
                  </a:lnTo>
                  <a:lnTo>
                    <a:pt x="530" y="2294"/>
                  </a:lnTo>
                  <a:lnTo>
                    <a:pt x="530" y="2294"/>
                  </a:lnTo>
                  <a:lnTo>
                    <a:pt x="536" y="2283"/>
                  </a:lnTo>
                  <a:lnTo>
                    <a:pt x="538" y="2280"/>
                  </a:lnTo>
                  <a:lnTo>
                    <a:pt x="541" y="2279"/>
                  </a:lnTo>
                  <a:lnTo>
                    <a:pt x="541" y="2279"/>
                  </a:lnTo>
                  <a:lnTo>
                    <a:pt x="542" y="2279"/>
                  </a:lnTo>
                  <a:lnTo>
                    <a:pt x="545" y="2277"/>
                  </a:lnTo>
                  <a:lnTo>
                    <a:pt x="547" y="2274"/>
                  </a:lnTo>
                  <a:lnTo>
                    <a:pt x="548" y="2267"/>
                  </a:lnTo>
                  <a:lnTo>
                    <a:pt x="548" y="2267"/>
                  </a:lnTo>
                  <a:lnTo>
                    <a:pt x="553" y="2249"/>
                  </a:lnTo>
                  <a:lnTo>
                    <a:pt x="556" y="2243"/>
                  </a:lnTo>
                  <a:lnTo>
                    <a:pt x="557" y="2239"/>
                  </a:lnTo>
                  <a:lnTo>
                    <a:pt x="557" y="2239"/>
                  </a:lnTo>
                  <a:lnTo>
                    <a:pt x="563" y="2233"/>
                  </a:lnTo>
                  <a:lnTo>
                    <a:pt x="566" y="2230"/>
                  </a:lnTo>
                  <a:lnTo>
                    <a:pt x="572" y="2230"/>
                  </a:lnTo>
                  <a:lnTo>
                    <a:pt x="572" y="2230"/>
                  </a:lnTo>
                  <a:lnTo>
                    <a:pt x="576" y="2228"/>
                  </a:lnTo>
                  <a:lnTo>
                    <a:pt x="579" y="2225"/>
                  </a:lnTo>
                  <a:lnTo>
                    <a:pt x="581" y="2217"/>
                  </a:lnTo>
                  <a:lnTo>
                    <a:pt x="581" y="2217"/>
                  </a:lnTo>
                  <a:lnTo>
                    <a:pt x="581" y="2211"/>
                  </a:lnTo>
                  <a:lnTo>
                    <a:pt x="579" y="2206"/>
                  </a:lnTo>
                  <a:lnTo>
                    <a:pt x="579" y="2200"/>
                  </a:lnTo>
                  <a:lnTo>
                    <a:pt x="579" y="2197"/>
                  </a:lnTo>
                  <a:lnTo>
                    <a:pt x="579" y="2197"/>
                  </a:lnTo>
                  <a:lnTo>
                    <a:pt x="582" y="2193"/>
                  </a:lnTo>
                  <a:lnTo>
                    <a:pt x="587" y="2187"/>
                  </a:lnTo>
                  <a:lnTo>
                    <a:pt x="594" y="2183"/>
                  </a:lnTo>
                  <a:lnTo>
                    <a:pt x="601" y="2180"/>
                  </a:lnTo>
                  <a:lnTo>
                    <a:pt x="601" y="2180"/>
                  </a:lnTo>
                  <a:lnTo>
                    <a:pt x="606" y="2180"/>
                  </a:lnTo>
                  <a:lnTo>
                    <a:pt x="609" y="2181"/>
                  </a:lnTo>
                  <a:lnTo>
                    <a:pt x="612" y="2183"/>
                  </a:lnTo>
                  <a:lnTo>
                    <a:pt x="619" y="2185"/>
                  </a:lnTo>
                  <a:lnTo>
                    <a:pt x="619" y="2185"/>
                  </a:lnTo>
                  <a:lnTo>
                    <a:pt x="640" y="2187"/>
                  </a:lnTo>
                  <a:lnTo>
                    <a:pt x="655" y="2187"/>
                  </a:lnTo>
                  <a:lnTo>
                    <a:pt x="655" y="2187"/>
                  </a:lnTo>
                  <a:lnTo>
                    <a:pt x="659" y="2187"/>
                  </a:lnTo>
                  <a:lnTo>
                    <a:pt x="662" y="2188"/>
                  </a:lnTo>
                  <a:lnTo>
                    <a:pt x="671" y="2194"/>
                  </a:lnTo>
                  <a:lnTo>
                    <a:pt x="671" y="2194"/>
                  </a:lnTo>
                  <a:lnTo>
                    <a:pt x="677" y="2199"/>
                  </a:lnTo>
                  <a:lnTo>
                    <a:pt x="684" y="2202"/>
                  </a:lnTo>
                  <a:lnTo>
                    <a:pt x="696" y="2205"/>
                  </a:lnTo>
                  <a:lnTo>
                    <a:pt x="696" y="2205"/>
                  </a:lnTo>
                  <a:lnTo>
                    <a:pt x="702" y="2206"/>
                  </a:lnTo>
                  <a:lnTo>
                    <a:pt x="707" y="2211"/>
                  </a:lnTo>
                  <a:lnTo>
                    <a:pt x="710" y="2215"/>
                  </a:lnTo>
                  <a:lnTo>
                    <a:pt x="710" y="2218"/>
                  </a:lnTo>
                  <a:lnTo>
                    <a:pt x="710" y="2220"/>
                  </a:lnTo>
                  <a:lnTo>
                    <a:pt x="710" y="2220"/>
                  </a:lnTo>
                  <a:lnTo>
                    <a:pt x="707" y="2223"/>
                  </a:lnTo>
                  <a:lnTo>
                    <a:pt x="704" y="2225"/>
                  </a:lnTo>
                  <a:lnTo>
                    <a:pt x="702" y="2227"/>
                  </a:lnTo>
                  <a:lnTo>
                    <a:pt x="704" y="2230"/>
                  </a:lnTo>
                  <a:lnTo>
                    <a:pt x="704" y="2230"/>
                  </a:lnTo>
                  <a:lnTo>
                    <a:pt x="708" y="2233"/>
                  </a:lnTo>
                  <a:lnTo>
                    <a:pt x="710" y="2239"/>
                  </a:lnTo>
                  <a:lnTo>
                    <a:pt x="711" y="2246"/>
                  </a:lnTo>
                  <a:lnTo>
                    <a:pt x="712" y="2254"/>
                  </a:lnTo>
                  <a:lnTo>
                    <a:pt x="712" y="2254"/>
                  </a:lnTo>
                  <a:lnTo>
                    <a:pt x="714" y="2260"/>
                  </a:lnTo>
                  <a:lnTo>
                    <a:pt x="717" y="2264"/>
                  </a:lnTo>
                  <a:lnTo>
                    <a:pt x="723" y="2267"/>
                  </a:lnTo>
                  <a:lnTo>
                    <a:pt x="727" y="2267"/>
                  </a:lnTo>
                  <a:lnTo>
                    <a:pt x="727" y="2267"/>
                  </a:lnTo>
                  <a:lnTo>
                    <a:pt x="730" y="2265"/>
                  </a:lnTo>
                  <a:lnTo>
                    <a:pt x="735" y="2263"/>
                  </a:lnTo>
                  <a:lnTo>
                    <a:pt x="738" y="2261"/>
                  </a:lnTo>
                  <a:lnTo>
                    <a:pt x="744" y="2260"/>
                  </a:lnTo>
                  <a:lnTo>
                    <a:pt x="744" y="2260"/>
                  </a:lnTo>
                  <a:lnTo>
                    <a:pt x="749" y="2260"/>
                  </a:lnTo>
                  <a:lnTo>
                    <a:pt x="752" y="2261"/>
                  </a:lnTo>
                  <a:lnTo>
                    <a:pt x="755" y="2263"/>
                  </a:lnTo>
                  <a:lnTo>
                    <a:pt x="758" y="2263"/>
                  </a:lnTo>
                  <a:lnTo>
                    <a:pt x="758" y="2263"/>
                  </a:lnTo>
                  <a:lnTo>
                    <a:pt x="760" y="2261"/>
                  </a:lnTo>
                  <a:lnTo>
                    <a:pt x="763" y="2258"/>
                  </a:lnTo>
                  <a:lnTo>
                    <a:pt x="766" y="2254"/>
                  </a:lnTo>
                  <a:lnTo>
                    <a:pt x="766" y="2249"/>
                  </a:lnTo>
                  <a:lnTo>
                    <a:pt x="766" y="2249"/>
                  </a:lnTo>
                  <a:lnTo>
                    <a:pt x="766" y="2248"/>
                  </a:lnTo>
                  <a:lnTo>
                    <a:pt x="767" y="2246"/>
                  </a:lnTo>
                  <a:lnTo>
                    <a:pt x="772" y="2243"/>
                  </a:lnTo>
                  <a:lnTo>
                    <a:pt x="778" y="2243"/>
                  </a:lnTo>
                  <a:lnTo>
                    <a:pt x="781" y="2243"/>
                  </a:lnTo>
                  <a:lnTo>
                    <a:pt x="781" y="2243"/>
                  </a:lnTo>
                  <a:lnTo>
                    <a:pt x="784" y="2246"/>
                  </a:lnTo>
                  <a:lnTo>
                    <a:pt x="785" y="2249"/>
                  </a:lnTo>
                  <a:lnTo>
                    <a:pt x="787" y="2252"/>
                  </a:lnTo>
                  <a:lnTo>
                    <a:pt x="791" y="2252"/>
                  </a:lnTo>
                  <a:lnTo>
                    <a:pt x="791" y="2252"/>
                  </a:lnTo>
                  <a:lnTo>
                    <a:pt x="798" y="2254"/>
                  </a:lnTo>
                  <a:lnTo>
                    <a:pt x="804" y="2255"/>
                  </a:lnTo>
                  <a:lnTo>
                    <a:pt x="809" y="2258"/>
                  </a:lnTo>
                  <a:lnTo>
                    <a:pt x="812" y="2261"/>
                  </a:lnTo>
                  <a:lnTo>
                    <a:pt x="812" y="2261"/>
                  </a:lnTo>
                  <a:lnTo>
                    <a:pt x="812" y="2267"/>
                  </a:lnTo>
                  <a:lnTo>
                    <a:pt x="812" y="2276"/>
                  </a:lnTo>
                  <a:lnTo>
                    <a:pt x="813" y="2286"/>
                  </a:lnTo>
                  <a:lnTo>
                    <a:pt x="813" y="2294"/>
                  </a:lnTo>
                  <a:lnTo>
                    <a:pt x="813" y="2294"/>
                  </a:lnTo>
                  <a:lnTo>
                    <a:pt x="818" y="2302"/>
                  </a:lnTo>
                  <a:lnTo>
                    <a:pt x="822" y="2311"/>
                  </a:lnTo>
                  <a:lnTo>
                    <a:pt x="822" y="2311"/>
                  </a:lnTo>
                  <a:lnTo>
                    <a:pt x="825" y="2319"/>
                  </a:lnTo>
                  <a:lnTo>
                    <a:pt x="829" y="2325"/>
                  </a:lnTo>
                  <a:lnTo>
                    <a:pt x="829" y="2325"/>
                  </a:lnTo>
                  <a:lnTo>
                    <a:pt x="831" y="2328"/>
                  </a:lnTo>
                  <a:lnTo>
                    <a:pt x="831" y="2332"/>
                  </a:lnTo>
                  <a:lnTo>
                    <a:pt x="831" y="2337"/>
                  </a:lnTo>
                  <a:lnTo>
                    <a:pt x="832" y="2338"/>
                  </a:lnTo>
                  <a:lnTo>
                    <a:pt x="835" y="2341"/>
                  </a:lnTo>
                  <a:lnTo>
                    <a:pt x="835" y="2341"/>
                  </a:lnTo>
                  <a:lnTo>
                    <a:pt x="838" y="2342"/>
                  </a:lnTo>
                  <a:lnTo>
                    <a:pt x="840" y="2342"/>
                  </a:lnTo>
                  <a:lnTo>
                    <a:pt x="843" y="2341"/>
                  </a:lnTo>
                  <a:lnTo>
                    <a:pt x="844" y="2340"/>
                  </a:lnTo>
                  <a:lnTo>
                    <a:pt x="847" y="2341"/>
                  </a:lnTo>
                  <a:lnTo>
                    <a:pt x="853" y="2347"/>
                  </a:lnTo>
                  <a:lnTo>
                    <a:pt x="853" y="2347"/>
                  </a:lnTo>
                  <a:lnTo>
                    <a:pt x="864" y="2359"/>
                  </a:lnTo>
                  <a:lnTo>
                    <a:pt x="865" y="2363"/>
                  </a:lnTo>
                  <a:lnTo>
                    <a:pt x="866" y="2368"/>
                  </a:lnTo>
                  <a:lnTo>
                    <a:pt x="866" y="2368"/>
                  </a:lnTo>
                  <a:lnTo>
                    <a:pt x="868" y="2372"/>
                  </a:lnTo>
                  <a:lnTo>
                    <a:pt x="866" y="2375"/>
                  </a:lnTo>
                  <a:lnTo>
                    <a:pt x="866" y="2375"/>
                  </a:lnTo>
                  <a:lnTo>
                    <a:pt x="872" y="2384"/>
                  </a:lnTo>
                  <a:lnTo>
                    <a:pt x="875" y="2393"/>
                  </a:lnTo>
                  <a:lnTo>
                    <a:pt x="877" y="2399"/>
                  </a:lnTo>
                  <a:lnTo>
                    <a:pt x="877" y="2406"/>
                  </a:lnTo>
                  <a:lnTo>
                    <a:pt x="877" y="2406"/>
                  </a:lnTo>
                  <a:lnTo>
                    <a:pt x="878" y="2417"/>
                  </a:lnTo>
                  <a:lnTo>
                    <a:pt x="881" y="2424"/>
                  </a:lnTo>
                  <a:lnTo>
                    <a:pt x="889" y="2437"/>
                  </a:lnTo>
                  <a:lnTo>
                    <a:pt x="889" y="2437"/>
                  </a:lnTo>
                  <a:lnTo>
                    <a:pt x="895" y="2448"/>
                  </a:lnTo>
                  <a:lnTo>
                    <a:pt x="896" y="2449"/>
                  </a:lnTo>
                  <a:lnTo>
                    <a:pt x="898" y="2448"/>
                  </a:lnTo>
                  <a:lnTo>
                    <a:pt x="898" y="2448"/>
                  </a:lnTo>
                  <a:lnTo>
                    <a:pt x="898" y="2443"/>
                  </a:lnTo>
                  <a:lnTo>
                    <a:pt x="899" y="2439"/>
                  </a:lnTo>
                  <a:lnTo>
                    <a:pt x="899" y="2436"/>
                  </a:lnTo>
                  <a:lnTo>
                    <a:pt x="901" y="2434"/>
                  </a:lnTo>
                  <a:lnTo>
                    <a:pt x="902" y="2436"/>
                  </a:lnTo>
                  <a:lnTo>
                    <a:pt x="902" y="2436"/>
                  </a:lnTo>
                  <a:lnTo>
                    <a:pt x="905" y="2437"/>
                  </a:lnTo>
                  <a:lnTo>
                    <a:pt x="906" y="2440"/>
                  </a:lnTo>
                  <a:lnTo>
                    <a:pt x="908" y="2446"/>
                  </a:lnTo>
                  <a:lnTo>
                    <a:pt x="911" y="2454"/>
                  </a:lnTo>
                  <a:lnTo>
                    <a:pt x="911" y="2454"/>
                  </a:lnTo>
                  <a:lnTo>
                    <a:pt x="915" y="2464"/>
                  </a:lnTo>
                  <a:lnTo>
                    <a:pt x="924" y="2474"/>
                  </a:lnTo>
                  <a:lnTo>
                    <a:pt x="924" y="2474"/>
                  </a:lnTo>
                  <a:lnTo>
                    <a:pt x="930" y="2482"/>
                  </a:lnTo>
                  <a:lnTo>
                    <a:pt x="933" y="2486"/>
                  </a:lnTo>
                  <a:lnTo>
                    <a:pt x="935" y="2489"/>
                  </a:lnTo>
                  <a:lnTo>
                    <a:pt x="936" y="2494"/>
                  </a:lnTo>
                  <a:lnTo>
                    <a:pt x="936" y="2494"/>
                  </a:lnTo>
                  <a:lnTo>
                    <a:pt x="939" y="2495"/>
                  </a:lnTo>
                  <a:lnTo>
                    <a:pt x="943" y="2497"/>
                  </a:lnTo>
                  <a:lnTo>
                    <a:pt x="946" y="2498"/>
                  </a:lnTo>
                  <a:lnTo>
                    <a:pt x="949" y="2501"/>
                  </a:lnTo>
                  <a:lnTo>
                    <a:pt x="949" y="2501"/>
                  </a:lnTo>
                  <a:lnTo>
                    <a:pt x="972" y="2483"/>
                  </a:lnTo>
                  <a:lnTo>
                    <a:pt x="972" y="2483"/>
                  </a:lnTo>
                  <a:lnTo>
                    <a:pt x="980" y="2473"/>
                  </a:lnTo>
                  <a:lnTo>
                    <a:pt x="986" y="2468"/>
                  </a:lnTo>
                  <a:lnTo>
                    <a:pt x="994" y="2465"/>
                  </a:lnTo>
                  <a:lnTo>
                    <a:pt x="994" y="2465"/>
                  </a:lnTo>
                  <a:lnTo>
                    <a:pt x="1013" y="2459"/>
                  </a:lnTo>
                  <a:lnTo>
                    <a:pt x="1023" y="2458"/>
                  </a:lnTo>
                  <a:lnTo>
                    <a:pt x="1034" y="2458"/>
                  </a:lnTo>
                  <a:lnTo>
                    <a:pt x="1034" y="2458"/>
                  </a:lnTo>
                  <a:lnTo>
                    <a:pt x="1041" y="2459"/>
                  </a:lnTo>
                  <a:lnTo>
                    <a:pt x="1046" y="2461"/>
                  </a:lnTo>
                  <a:lnTo>
                    <a:pt x="1052" y="2467"/>
                  </a:lnTo>
                  <a:lnTo>
                    <a:pt x="1052" y="2467"/>
                  </a:lnTo>
                  <a:lnTo>
                    <a:pt x="1056" y="2471"/>
                  </a:lnTo>
                  <a:lnTo>
                    <a:pt x="1060" y="2474"/>
                  </a:lnTo>
                  <a:lnTo>
                    <a:pt x="1065" y="2474"/>
                  </a:lnTo>
                  <a:lnTo>
                    <a:pt x="1074" y="2474"/>
                  </a:lnTo>
                  <a:lnTo>
                    <a:pt x="1074" y="2474"/>
                  </a:lnTo>
                  <a:lnTo>
                    <a:pt x="1081" y="2474"/>
                  </a:lnTo>
                  <a:lnTo>
                    <a:pt x="1086" y="2474"/>
                  </a:lnTo>
                  <a:lnTo>
                    <a:pt x="1092" y="2477"/>
                  </a:lnTo>
                  <a:lnTo>
                    <a:pt x="1099" y="2482"/>
                  </a:lnTo>
                  <a:lnTo>
                    <a:pt x="1099" y="2482"/>
                  </a:lnTo>
                  <a:lnTo>
                    <a:pt x="1109" y="2488"/>
                  </a:lnTo>
                  <a:lnTo>
                    <a:pt x="1118" y="2492"/>
                  </a:lnTo>
                  <a:lnTo>
                    <a:pt x="1126" y="2494"/>
                  </a:lnTo>
                  <a:lnTo>
                    <a:pt x="1129" y="2492"/>
                  </a:lnTo>
                  <a:lnTo>
                    <a:pt x="1130" y="2491"/>
                  </a:lnTo>
                  <a:lnTo>
                    <a:pt x="1130" y="2491"/>
                  </a:lnTo>
                  <a:lnTo>
                    <a:pt x="1132" y="2485"/>
                  </a:lnTo>
                  <a:lnTo>
                    <a:pt x="1132" y="2480"/>
                  </a:lnTo>
                  <a:lnTo>
                    <a:pt x="1133" y="2477"/>
                  </a:lnTo>
                  <a:lnTo>
                    <a:pt x="1136" y="2476"/>
                  </a:lnTo>
                  <a:lnTo>
                    <a:pt x="1137" y="2476"/>
                  </a:lnTo>
                  <a:lnTo>
                    <a:pt x="1137" y="2476"/>
                  </a:lnTo>
                  <a:lnTo>
                    <a:pt x="1146" y="2480"/>
                  </a:lnTo>
                  <a:lnTo>
                    <a:pt x="1151" y="2482"/>
                  </a:lnTo>
                  <a:lnTo>
                    <a:pt x="1157" y="2482"/>
                  </a:lnTo>
                  <a:lnTo>
                    <a:pt x="1157" y="2482"/>
                  </a:lnTo>
                  <a:lnTo>
                    <a:pt x="1166" y="2482"/>
                  </a:lnTo>
                  <a:lnTo>
                    <a:pt x="1176" y="2479"/>
                  </a:lnTo>
                  <a:lnTo>
                    <a:pt x="1192" y="2474"/>
                  </a:lnTo>
                  <a:lnTo>
                    <a:pt x="1192" y="2474"/>
                  </a:lnTo>
                  <a:lnTo>
                    <a:pt x="1195" y="2474"/>
                  </a:lnTo>
                  <a:lnTo>
                    <a:pt x="1201" y="2477"/>
                  </a:lnTo>
                  <a:lnTo>
                    <a:pt x="1214" y="2485"/>
                  </a:lnTo>
                  <a:lnTo>
                    <a:pt x="1214" y="2485"/>
                  </a:lnTo>
                  <a:lnTo>
                    <a:pt x="1222" y="2488"/>
                  </a:lnTo>
                  <a:lnTo>
                    <a:pt x="1226" y="2491"/>
                  </a:lnTo>
                  <a:lnTo>
                    <a:pt x="1238" y="2499"/>
                  </a:lnTo>
                  <a:lnTo>
                    <a:pt x="1238" y="2499"/>
                  </a:lnTo>
                  <a:lnTo>
                    <a:pt x="1247" y="2504"/>
                  </a:lnTo>
                  <a:lnTo>
                    <a:pt x="1256" y="2507"/>
                  </a:lnTo>
                  <a:lnTo>
                    <a:pt x="1263" y="2508"/>
                  </a:lnTo>
                  <a:lnTo>
                    <a:pt x="1268" y="2508"/>
                  </a:lnTo>
                  <a:lnTo>
                    <a:pt x="1268" y="2508"/>
                  </a:lnTo>
                  <a:lnTo>
                    <a:pt x="1296" y="2499"/>
                  </a:lnTo>
                  <a:lnTo>
                    <a:pt x="1296" y="2499"/>
                  </a:lnTo>
                  <a:lnTo>
                    <a:pt x="1302" y="2498"/>
                  </a:lnTo>
                  <a:lnTo>
                    <a:pt x="1308" y="2498"/>
                  </a:lnTo>
                  <a:lnTo>
                    <a:pt x="1314" y="2498"/>
                  </a:lnTo>
                  <a:lnTo>
                    <a:pt x="1318" y="2497"/>
                  </a:lnTo>
                  <a:lnTo>
                    <a:pt x="1318" y="2497"/>
                  </a:lnTo>
                  <a:lnTo>
                    <a:pt x="1326" y="2491"/>
                  </a:lnTo>
                  <a:lnTo>
                    <a:pt x="1330" y="2488"/>
                  </a:lnTo>
                  <a:lnTo>
                    <a:pt x="1336" y="2486"/>
                  </a:lnTo>
                  <a:lnTo>
                    <a:pt x="1336" y="2486"/>
                  </a:lnTo>
                  <a:lnTo>
                    <a:pt x="1343" y="2488"/>
                  </a:lnTo>
                  <a:lnTo>
                    <a:pt x="1349" y="2489"/>
                  </a:lnTo>
                  <a:lnTo>
                    <a:pt x="1361" y="2494"/>
                  </a:lnTo>
                  <a:lnTo>
                    <a:pt x="1361" y="2494"/>
                  </a:lnTo>
                  <a:lnTo>
                    <a:pt x="1364" y="2495"/>
                  </a:lnTo>
                  <a:lnTo>
                    <a:pt x="1367" y="2494"/>
                  </a:lnTo>
                  <a:lnTo>
                    <a:pt x="1376" y="2491"/>
                  </a:lnTo>
                  <a:lnTo>
                    <a:pt x="1392" y="2480"/>
                  </a:lnTo>
                  <a:lnTo>
                    <a:pt x="1392" y="2480"/>
                  </a:lnTo>
                  <a:lnTo>
                    <a:pt x="1404" y="2474"/>
                  </a:lnTo>
                  <a:lnTo>
                    <a:pt x="1411" y="2470"/>
                  </a:lnTo>
                  <a:lnTo>
                    <a:pt x="1411" y="2470"/>
                  </a:lnTo>
                  <a:lnTo>
                    <a:pt x="1416" y="2467"/>
                  </a:lnTo>
                  <a:lnTo>
                    <a:pt x="1420" y="2465"/>
                  </a:lnTo>
                  <a:lnTo>
                    <a:pt x="1432" y="2464"/>
                  </a:lnTo>
                  <a:lnTo>
                    <a:pt x="1432" y="2464"/>
                  </a:lnTo>
                  <a:lnTo>
                    <a:pt x="1440" y="2464"/>
                  </a:lnTo>
                  <a:lnTo>
                    <a:pt x="1441" y="2462"/>
                  </a:lnTo>
                  <a:lnTo>
                    <a:pt x="1442" y="2459"/>
                  </a:lnTo>
                  <a:lnTo>
                    <a:pt x="1442" y="2459"/>
                  </a:lnTo>
                  <a:lnTo>
                    <a:pt x="1444" y="2455"/>
                  </a:lnTo>
                  <a:lnTo>
                    <a:pt x="1450" y="2451"/>
                  </a:lnTo>
                  <a:lnTo>
                    <a:pt x="1456" y="2449"/>
                  </a:lnTo>
                  <a:lnTo>
                    <a:pt x="1460" y="2449"/>
                  </a:lnTo>
                  <a:lnTo>
                    <a:pt x="1460" y="2449"/>
                  </a:lnTo>
                  <a:lnTo>
                    <a:pt x="1465" y="2449"/>
                  </a:lnTo>
                  <a:lnTo>
                    <a:pt x="1469" y="2448"/>
                  </a:lnTo>
                  <a:lnTo>
                    <a:pt x="1475" y="2445"/>
                  </a:lnTo>
                  <a:lnTo>
                    <a:pt x="1481" y="2440"/>
                  </a:lnTo>
                  <a:lnTo>
                    <a:pt x="1481" y="2440"/>
                  </a:lnTo>
                  <a:lnTo>
                    <a:pt x="1482" y="2439"/>
                  </a:lnTo>
                  <a:lnTo>
                    <a:pt x="1485" y="2437"/>
                  </a:lnTo>
                  <a:lnTo>
                    <a:pt x="1493" y="2437"/>
                  </a:lnTo>
                  <a:lnTo>
                    <a:pt x="1502" y="2439"/>
                  </a:lnTo>
                  <a:lnTo>
                    <a:pt x="1514" y="2439"/>
                  </a:lnTo>
                  <a:lnTo>
                    <a:pt x="1514" y="2439"/>
                  </a:lnTo>
                  <a:lnTo>
                    <a:pt x="1533" y="2437"/>
                  </a:lnTo>
                  <a:lnTo>
                    <a:pt x="1534" y="2436"/>
                  </a:lnTo>
                  <a:lnTo>
                    <a:pt x="1536" y="2434"/>
                  </a:lnTo>
                  <a:lnTo>
                    <a:pt x="1537" y="2431"/>
                  </a:lnTo>
                  <a:lnTo>
                    <a:pt x="1536" y="2428"/>
                  </a:lnTo>
                  <a:lnTo>
                    <a:pt x="1536" y="2428"/>
                  </a:lnTo>
                  <a:lnTo>
                    <a:pt x="1534" y="2421"/>
                  </a:lnTo>
                  <a:lnTo>
                    <a:pt x="1534" y="2415"/>
                  </a:lnTo>
                  <a:lnTo>
                    <a:pt x="1537" y="2409"/>
                  </a:lnTo>
                  <a:lnTo>
                    <a:pt x="1545" y="2403"/>
                  </a:lnTo>
                  <a:lnTo>
                    <a:pt x="1545" y="2403"/>
                  </a:lnTo>
                  <a:lnTo>
                    <a:pt x="1565" y="2390"/>
                  </a:lnTo>
                  <a:lnTo>
                    <a:pt x="1574" y="2385"/>
                  </a:lnTo>
                  <a:lnTo>
                    <a:pt x="1582" y="2382"/>
                  </a:lnTo>
                  <a:lnTo>
                    <a:pt x="1582" y="2382"/>
                  </a:lnTo>
                  <a:lnTo>
                    <a:pt x="1589" y="2381"/>
                  </a:lnTo>
                  <a:lnTo>
                    <a:pt x="1592" y="2381"/>
                  </a:lnTo>
                  <a:lnTo>
                    <a:pt x="1596" y="2378"/>
                  </a:lnTo>
                  <a:lnTo>
                    <a:pt x="1596" y="2378"/>
                  </a:lnTo>
                  <a:lnTo>
                    <a:pt x="1610" y="2371"/>
                  </a:lnTo>
                  <a:lnTo>
                    <a:pt x="1617" y="2366"/>
                  </a:lnTo>
                  <a:lnTo>
                    <a:pt x="1625" y="2365"/>
                  </a:lnTo>
                  <a:lnTo>
                    <a:pt x="1625" y="2365"/>
                  </a:lnTo>
                  <a:lnTo>
                    <a:pt x="1629" y="2365"/>
                  </a:lnTo>
                  <a:lnTo>
                    <a:pt x="1629" y="2365"/>
                  </a:lnTo>
                  <a:lnTo>
                    <a:pt x="1628" y="2360"/>
                  </a:lnTo>
                  <a:lnTo>
                    <a:pt x="1622" y="2350"/>
                  </a:lnTo>
                  <a:lnTo>
                    <a:pt x="1622" y="2350"/>
                  </a:lnTo>
                  <a:lnTo>
                    <a:pt x="1620" y="2345"/>
                  </a:lnTo>
                  <a:lnTo>
                    <a:pt x="1619" y="2341"/>
                  </a:lnTo>
                  <a:lnTo>
                    <a:pt x="1617" y="2338"/>
                  </a:lnTo>
                  <a:lnTo>
                    <a:pt x="1616" y="2334"/>
                  </a:lnTo>
                  <a:lnTo>
                    <a:pt x="1616" y="2334"/>
                  </a:lnTo>
                  <a:lnTo>
                    <a:pt x="1611" y="2328"/>
                  </a:lnTo>
                  <a:lnTo>
                    <a:pt x="1608" y="2320"/>
                  </a:lnTo>
                  <a:lnTo>
                    <a:pt x="1607" y="2311"/>
                  </a:lnTo>
                  <a:lnTo>
                    <a:pt x="1607" y="2308"/>
                  </a:lnTo>
                  <a:lnTo>
                    <a:pt x="1608" y="2307"/>
                  </a:lnTo>
                  <a:lnTo>
                    <a:pt x="1608" y="2307"/>
                  </a:lnTo>
                  <a:lnTo>
                    <a:pt x="1611" y="2304"/>
                  </a:lnTo>
                  <a:lnTo>
                    <a:pt x="1613" y="2300"/>
                  </a:lnTo>
                  <a:lnTo>
                    <a:pt x="1613" y="2286"/>
                  </a:lnTo>
                  <a:lnTo>
                    <a:pt x="1613" y="2286"/>
                  </a:lnTo>
                  <a:lnTo>
                    <a:pt x="1614" y="2280"/>
                  </a:lnTo>
                  <a:lnTo>
                    <a:pt x="1616" y="2274"/>
                  </a:lnTo>
                  <a:lnTo>
                    <a:pt x="1620" y="2268"/>
                  </a:lnTo>
                  <a:lnTo>
                    <a:pt x="1625" y="2263"/>
                  </a:lnTo>
                  <a:lnTo>
                    <a:pt x="1625" y="2263"/>
                  </a:lnTo>
                  <a:lnTo>
                    <a:pt x="1635" y="2255"/>
                  </a:lnTo>
                  <a:lnTo>
                    <a:pt x="1636" y="2252"/>
                  </a:lnTo>
                  <a:lnTo>
                    <a:pt x="1636" y="2248"/>
                  </a:lnTo>
                  <a:lnTo>
                    <a:pt x="1636" y="2248"/>
                  </a:lnTo>
                  <a:lnTo>
                    <a:pt x="1634" y="2245"/>
                  </a:lnTo>
                  <a:lnTo>
                    <a:pt x="1631" y="2242"/>
                  </a:lnTo>
                  <a:lnTo>
                    <a:pt x="1629" y="2240"/>
                  </a:lnTo>
                  <a:lnTo>
                    <a:pt x="1626" y="2237"/>
                  </a:lnTo>
                  <a:lnTo>
                    <a:pt x="1626" y="2237"/>
                  </a:lnTo>
                  <a:lnTo>
                    <a:pt x="1626" y="2230"/>
                  </a:lnTo>
                  <a:lnTo>
                    <a:pt x="1625" y="2227"/>
                  </a:lnTo>
                  <a:lnTo>
                    <a:pt x="1623" y="2221"/>
                  </a:lnTo>
                  <a:lnTo>
                    <a:pt x="1620" y="2217"/>
                  </a:lnTo>
                  <a:lnTo>
                    <a:pt x="1616" y="2212"/>
                  </a:lnTo>
                  <a:lnTo>
                    <a:pt x="1608" y="2208"/>
                  </a:lnTo>
                  <a:lnTo>
                    <a:pt x="1598" y="2205"/>
                  </a:lnTo>
                  <a:lnTo>
                    <a:pt x="1598" y="2205"/>
                  </a:lnTo>
                  <a:lnTo>
                    <a:pt x="1577" y="2200"/>
                  </a:lnTo>
                  <a:lnTo>
                    <a:pt x="1564" y="2194"/>
                  </a:lnTo>
                  <a:lnTo>
                    <a:pt x="1558" y="2190"/>
                  </a:lnTo>
                  <a:lnTo>
                    <a:pt x="1557" y="2188"/>
                  </a:lnTo>
                  <a:lnTo>
                    <a:pt x="1557" y="2187"/>
                  </a:lnTo>
                  <a:lnTo>
                    <a:pt x="1557" y="2187"/>
                  </a:lnTo>
                  <a:lnTo>
                    <a:pt x="1562" y="2181"/>
                  </a:lnTo>
                  <a:lnTo>
                    <a:pt x="1567" y="2178"/>
                  </a:lnTo>
                  <a:lnTo>
                    <a:pt x="1567" y="2178"/>
                  </a:lnTo>
                  <a:lnTo>
                    <a:pt x="1568" y="2175"/>
                  </a:lnTo>
                  <a:lnTo>
                    <a:pt x="1570" y="2171"/>
                  </a:lnTo>
                  <a:lnTo>
                    <a:pt x="1570" y="2162"/>
                  </a:lnTo>
                  <a:lnTo>
                    <a:pt x="1570" y="2162"/>
                  </a:lnTo>
                  <a:lnTo>
                    <a:pt x="1568" y="2150"/>
                  </a:lnTo>
                  <a:lnTo>
                    <a:pt x="1568" y="2146"/>
                  </a:lnTo>
                  <a:lnTo>
                    <a:pt x="1571" y="2143"/>
                  </a:lnTo>
                  <a:lnTo>
                    <a:pt x="1571" y="2143"/>
                  </a:lnTo>
                  <a:lnTo>
                    <a:pt x="1576" y="2141"/>
                  </a:lnTo>
                  <a:lnTo>
                    <a:pt x="1579" y="2138"/>
                  </a:lnTo>
                  <a:lnTo>
                    <a:pt x="1580" y="2135"/>
                  </a:lnTo>
                  <a:lnTo>
                    <a:pt x="1580" y="2134"/>
                  </a:lnTo>
                  <a:lnTo>
                    <a:pt x="1577" y="2132"/>
                  </a:lnTo>
                  <a:lnTo>
                    <a:pt x="1577" y="2132"/>
                  </a:lnTo>
                  <a:lnTo>
                    <a:pt x="1561" y="2123"/>
                  </a:lnTo>
                  <a:lnTo>
                    <a:pt x="1543" y="2116"/>
                  </a:lnTo>
                  <a:lnTo>
                    <a:pt x="1543" y="2116"/>
                  </a:lnTo>
                  <a:lnTo>
                    <a:pt x="1539" y="2111"/>
                  </a:lnTo>
                  <a:lnTo>
                    <a:pt x="1533" y="2106"/>
                  </a:lnTo>
                  <a:lnTo>
                    <a:pt x="1530" y="2100"/>
                  </a:lnTo>
                  <a:lnTo>
                    <a:pt x="1530" y="2098"/>
                  </a:lnTo>
                  <a:lnTo>
                    <a:pt x="1531" y="2098"/>
                  </a:lnTo>
                  <a:lnTo>
                    <a:pt x="1531" y="2098"/>
                  </a:lnTo>
                  <a:lnTo>
                    <a:pt x="1537" y="2098"/>
                  </a:lnTo>
                  <a:lnTo>
                    <a:pt x="1545" y="2100"/>
                  </a:lnTo>
                  <a:lnTo>
                    <a:pt x="1552" y="2100"/>
                  </a:lnTo>
                  <a:lnTo>
                    <a:pt x="1554" y="2100"/>
                  </a:lnTo>
                  <a:lnTo>
                    <a:pt x="1555" y="2098"/>
                  </a:lnTo>
                  <a:lnTo>
                    <a:pt x="1555" y="2098"/>
                  </a:lnTo>
                  <a:lnTo>
                    <a:pt x="1557" y="2094"/>
                  </a:lnTo>
                  <a:lnTo>
                    <a:pt x="1557" y="2091"/>
                  </a:lnTo>
                  <a:lnTo>
                    <a:pt x="1557" y="2083"/>
                  </a:lnTo>
                  <a:lnTo>
                    <a:pt x="1557" y="2083"/>
                  </a:lnTo>
                  <a:lnTo>
                    <a:pt x="1557" y="2080"/>
                  </a:lnTo>
                  <a:lnTo>
                    <a:pt x="1557" y="2077"/>
                  </a:lnTo>
                  <a:lnTo>
                    <a:pt x="1557" y="2073"/>
                  </a:lnTo>
                  <a:lnTo>
                    <a:pt x="1555" y="2068"/>
                  </a:lnTo>
                  <a:lnTo>
                    <a:pt x="1555" y="2068"/>
                  </a:lnTo>
                  <a:lnTo>
                    <a:pt x="1552" y="2063"/>
                  </a:lnTo>
                  <a:lnTo>
                    <a:pt x="1548" y="2060"/>
                  </a:lnTo>
                  <a:lnTo>
                    <a:pt x="1546" y="2057"/>
                  </a:lnTo>
                  <a:lnTo>
                    <a:pt x="1546" y="2054"/>
                  </a:lnTo>
                  <a:lnTo>
                    <a:pt x="1548" y="2052"/>
                  </a:lnTo>
                  <a:lnTo>
                    <a:pt x="1548" y="2052"/>
                  </a:lnTo>
                  <a:lnTo>
                    <a:pt x="1551" y="2046"/>
                  </a:lnTo>
                  <a:lnTo>
                    <a:pt x="1554" y="2040"/>
                  </a:lnTo>
                  <a:lnTo>
                    <a:pt x="1555" y="2036"/>
                  </a:lnTo>
                  <a:lnTo>
                    <a:pt x="1555" y="2031"/>
                  </a:lnTo>
                  <a:lnTo>
                    <a:pt x="1555" y="2031"/>
                  </a:lnTo>
                  <a:lnTo>
                    <a:pt x="1552" y="2020"/>
                  </a:lnTo>
                  <a:lnTo>
                    <a:pt x="1549" y="2012"/>
                  </a:lnTo>
                  <a:lnTo>
                    <a:pt x="1549" y="2006"/>
                  </a:lnTo>
                  <a:lnTo>
                    <a:pt x="1549" y="2006"/>
                  </a:lnTo>
                  <a:lnTo>
                    <a:pt x="1548" y="1994"/>
                  </a:lnTo>
                  <a:lnTo>
                    <a:pt x="1549" y="1980"/>
                  </a:lnTo>
                  <a:lnTo>
                    <a:pt x="1549" y="1980"/>
                  </a:lnTo>
                  <a:lnTo>
                    <a:pt x="1551" y="1971"/>
                  </a:lnTo>
                  <a:lnTo>
                    <a:pt x="1554" y="1965"/>
                  </a:lnTo>
                  <a:lnTo>
                    <a:pt x="1558" y="1953"/>
                  </a:lnTo>
                  <a:lnTo>
                    <a:pt x="1558" y="1953"/>
                  </a:lnTo>
                  <a:lnTo>
                    <a:pt x="1559" y="1950"/>
                  </a:lnTo>
                  <a:lnTo>
                    <a:pt x="1562" y="1947"/>
                  </a:lnTo>
                  <a:lnTo>
                    <a:pt x="1571" y="1940"/>
                  </a:lnTo>
                  <a:lnTo>
                    <a:pt x="1582" y="1932"/>
                  </a:lnTo>
                  <a:lnTo>
                    <a:pt x="1592" y="1928"/>
                  </a:lnTo>
                  <a:lnTo>
                    <a:pt x="1592" y="1928"/>
                  </a:lnTo>
                  <a:lnTo>
                    <a:pt x="1601" y="1925"/>
                  </a:lnTo>
                  <a:lnTo>
                    <a:pt x="1607" y="1923"/>
                  </a:lnTo>
                  <a:lnTo>
                    <a:pt x="1613" y="1923"/>
                  </a:lnTo>
                  <a:lnTo>
                    <a:pt x="1619" y="1922"/>
                  </a:lnTo>
                  <a:lnTo>
                    <a:pt x="1619" y="1922"/>
                  </a:lnTo>
                  <a:lnTo>
                    <a:pt x="1622" y="1919"/>
                  </a:lnTo>
                  <a:lnTo>
                    <a:pt x="1625" y="1916"/>
                  </a:lnTo>
                  <a:lnTo>
                    <a:pt x="1628" y="1913"/>
                  </a:lnTo>
                  <a:lnTo>
                    <a:pt x="1632" y="1910"/>
                  </a:lnTo>
                  <a:lnTo>
                    <a:pt x="1632" y="1910"/>
                  </a:lnTo>
                  <a:lnTo>
                    <a:pt x="1642" y="1906"/>
                  </a:lnTo>
                  <a:lnTo>
                    <a:pt x="1648" y="1904"/>
                  </a:lnTo>
                  <a:lnTo>
                    <a:pt x="1651" y="1901"/>
                  </a:lnTo>
                  <a:lnTo>
                    <a:pt x="1651" y="1901"/>
                  </a:lnTo>
                  <a:lnTo>
                    <a:pt x="1654" y="1897"/>
                  </a:lnTo>
                  <a:lnTo>
                    <a:pt x="1656" y="1894"/>
                  </a:lnTo>
                  <a:lnTo>
                    <a:pt x="1656" y="1888"/>
                  </a:lnTo>
                  <a:lnTo>
                    <a:pt x="1656" y="1888"/>
                  </a:lnTo>
                  <a:lnTo>
                    <a:pt x="1660" y="1867"/>
                  </a:lnTo>
                  <a:lnTo>
                    <a:pt x="1663" y="1855"/>
                  </a:lnTo>
                  <a:lnTo>
                    <a:pt x="1666" y="1846"/>
                  </a:lnTo>
                  <a:lnTo>
                    <a:pt x="1666" y="1846"/>
                  </a:lnTo>
                  <a:lnTo>
                    <a:pt x="1669" y="1845"/>
                  </a:lnTo>
                  <a:lnTo>
                    <a:pt x="1675" y="1843"/>
                  </a:lnTo>
                  <a:lnTo>
                    <a:pt x="1684" y="1842"/>
                  </a:lnTo>
                  <a:lnTo>
                    <a:pt x="1693" y="1839"/>
                  </a:lnTo>
                  <a:lnTo>
                    <a:pt x="1693" y="1839"/>
                  </a:lnTo>
                  <a:lnTo>
                    <a:pt x="1702" y="1836"/>
                  </a:lnTo>
                  <a:lnTo>
                    <a:pt x="1709" y="1834"/>
                  </a:lnTo>
                  <a:lnTo>
                    <a:pt x="1715" y="1833"/>
                  </a:lnTo>
                  <a:lnTo>
                    <a:pt x="1718" y="1832"/>
                  </a:lnTo>
                  <a:lnTo>
                    <a:pt x="1721" y="1827"/>
                  </a:lnTo>
                  <a:lnTo>
                    <a:pt x="1721" y="1827"/>
                  </a:lnTo>
                  <a:lnTo>
                    <a:pt x="1727" y="1821"/>
                  </a:lnTo>
                  <a:lnTo>
                    <a:pt x="1733" y="1818"/>
                  </a:lnTo>
                  <a:lnTo>
                    <a:pt x="1737" y="1814"/>
                  </a:lnTo>
                  <a:lnTo>
                    <a:pt x="1739" y="1805"/>
                  </a:lnTo>
                  <a:lnTo>
                    <a:pt x="1739" y="1805"/>
                  </a:lnTo>
                  <a:lnTo>
                    <a:pt x="1743" y="1783"/>
                  </a:lnTo>
                  <a:lnTo>
                    <a:pt x="1743" y="1783"/>
                  </a:lnTo>
                  <a:lnTo>
                    <a:pt x="1743" y="1775"/>
                  </a:lnTo>
                  <a:lnTo>
                    <a:pt x="1745" y="1772"/>
                  </a:lnTo>
                  <a:lnTo>
                    <a:pt x="1748" y="1768"/>
                  </a:lnTo>
                  <a:lnTo>
                    <a:pt x="1748" y="1768"/>
                  </a:lnTo>
                  <a:lnTo>
                    <a:pt x="1750" y="1760"/>
                  </a:lnTo>
                  <a:lnTo>
                    <a:pt x="1753" y="1753"/>
                  </a:lnTo>
                  <a:lnTo>
                    <a:pt x="1753" y="1753"/>
                  </a:lnTo>
                  <a:lnTo>
                    <a:pt x="1755" y="1750"/>
                  </a:lnTo>
                  <a:lnTo>
                    <a:pt x="1758" y="1749"/>
                  </a:lnTo>
                  <a:lnTo>
                    <a:pt x="1762" y="1749"/>
                  </a:lnTo>
                  <a:lnTo>
                    <a:pt x="1764" y="1750"/>
                  </a:lnTo>
                  <a:lnTo>
                    <a:pt x="1764" y="1750"/>
                  </a:lnTo>
                  <a:lnTo>
                    <a:pt x="1768" y="1757"/>
                  </a:lnTo>
                  <a:lnTo>
                    <a:pt x="1771" y="1759"/>
                  </a:lnTo>
                  <a:lnTo>
                    <a:pt x="1774" y="1760"/>
                  </a:lnTo>
                  <a:lnTo>
                    <a:pt x="1774" y="1760"/>
                  </a:lnTo>
                  <a:lnTo>
                    <a:pt x="1782" y="1757"/>
                  </a:lnTo>
                  <a:lnTo>
                    <a:pt x="1782" y="1756"/>
                  </a:lnTo>
                  <a:lnTo>
                    <a:pt x="1782" y="1753"/>
                  </a:lnTo>
                  <a:lnTo>
                    <a:pt x="1782" y="1753"/>
                  </a:lnTo>
                  <a:lnTo>
                    <a:pt x="1777" y="1749"/>
                  </a:lnTo>
                  <a:lnTo>
                    <a:pt x="1770" y="1744"/>
                  </a:lnTo>
                  <a:lnTo>
                    <a:pt x="1761" y="1737"/>
                  </a:lnTo>
                  <a:lnTo>
                    <a:pt x="1755" y="1729"/>
                  </a:lnTo>
                  <a:lnTo>
                    <a:pt x="1755" y="1729"/>
                  </a:lnTo>
                  <a:lnTo>
                    <a:pt x="1749" y="1722"/>
                  </a:lnTo>
                  <a:lnTo>
                    <a:pt x="1745" y="1716"/>
                  </a:lnTo>
                  <a:lnTo>
                    <a:pt x="1740" y="1710"/>
                  </a:lnTo>
                  <a:lnTo>
                    <a:pt x="1739" y="1706"/>
                  </a:lnTo>
                  <a:lnTo>
                    <a:pt x="1739" y="1706"/>
                  </a:lnTo>
                  <a:lnTo>
                    <a:pt x="1737" y="1685"/>
                  </a:lnTo>
                  <a:lnTo>
                    <a:pt x="1736" y="1675"/>
                  </a:lnTo>
                  <a:lnTo>
                    <a:pt x="1733" y="1667"/>
                  </a:lnTo>
                  <a:lnTo>
                    <a:pt x="1733" y="1667"/>
                  </a:lnTo>
                  <a:lnTo>
                    <a:pt x="1727" y="1663"/>
                  </a:lnTo>
                  <a:lnTo>
                    <a:pt x="1722" y="1658"/>
                  </a:lnTo>
                  <a:lnTo>
                    <a:pt x="1715" y="1655"/>
                  </a:lnTo>
                  <a:lnTo>
                    <a:pt x="1709" y="1652"/>
                  </a:lnTo>
                  <a:lnTo>
                    <a:pt x="1709" y="1652"/>
                  </a:lnTo>
                  <a:lnTo>
                    <a:pt x="1703" y="1649"/>
                  </a:lnTo>
                  <a:lnTo>
                    <a:pt x="1700" y="1646"/>
                  </a:lnTo>
                  <a:lnTo>
                    <a:pt x="1694" y="1636"/>
                  </a:lnTo>
                  <a:lnTo>
                    <a:pt x="1694" y="1636"/>
                  </a:lnTo>
                  <a:lnTo>
                    <a:pt x="1691" y="1632"/>
                  </a:lnTo>
                  <a:lnTo>
                    <a:pt x="1690" y="1626"/>
                  </a:lnTo>
                  <a:lnTo>
                    <a:pt x="1690" y="1621"/>
                  </a:lnTo>
                  <a:lnTo>
                    <a:pt x="1691" y="1617"/>
                  </a:lnTo>
                  <a:lnTo>
                    <a:pt x="1691" y="1617"/>
                  </a:lnTo>
                  <a:lnTo>
                    <a:pt x="1696" y="1606"/>
                  </a:lnTo>
                  <a:lnTo>
                    <a:pt x="1697" y="1602"/>
                  </a:lnTo>
                  <a:lnTo>
                    <a:pt x="1697" y="1598"/>
                  </a:lnTo>
                  <a:lnTo>
                    <a:pt x="1697" y="1598"/>
                  </a:lnTo>
                  <a:lnTo>
                    <a:pt x="1697" y="1592"/>
                  </a:lnTo>
                  <a:lnTo>
                    <a:pt x="1699" y="1583"/>
                  </a:lnTo>
                  <a:lnTo>
                    <a:pt x="1702" y="1569"/>
                  </a:lnTo>
                  <a:lnTo>
                    <a:pt x="1702" y="1569"/>
                  </a:lnTo>
                  <a:lnTo>
                    <a:pt x="1702" y="1566"/>
                  </a:lnTo>
                  <a:lnTo>
                    <a:pt x="1702" y="1563"/>
                  </a:lnTo>
                  <a:lnTo>
                    <a:pt x="1703" y="1559"/>
                  </a:lnTo>
                  <a:lnTo>
                    <a:pt x="1706" y="1552"/>
                  </a:lnTo>
                  <a:lnTo>
                    <a:pt x="1706" y="1552"/>
                  </a:lnTo>
                  <a:lnTo>
                    <a:pt x="1713" y="1544"/>
                  </a:lnTo>
                  <a:lnTo>
                    <a:pt x="1713" y="1541"/>
                  </a:lnTo>
                  <a:lnTo>
                    <a:pt x="1713" y="1537"/>
                  </a:lnTo>
                  <a:lnTo>
                    <a:pt x="1713" y="1537"/>
                  </a:lnTo>
                  <a:lnTo>
                    <a:pt x="1711" y="1531"/>
                  </a:lnTo>
                  <a:lnTo>
                    <a:pt x="1709" y="1523"/>
                  </a:lnTo>
                  <a:lnTo>
                    <a:pt x="1709" y="1523"/>
                  </a:lnTo>
                  <a:lnTo>
                    <a:pt x="1708" y="1503"/>
                  </a:lnTo>
                  <a:lnTo>
                    <a:pt x="1708" y="1492"/>
                  </a:lnTo>
                  <a:lnTo>
                    <a:pt x="1708" y="1482"/>
                  </a:lnTo>
                  <a:lnTo>
                    <a:pt x="1708" y="1482"/>
                  </a:lnTo>
                  <a:lnTo>
                    <a:pt x="1709" y="1475"/>
                  </a:lnTo>
                  <a:lnTo>
                    <a:pt x="1709" y="1467"/>
                  </a:lnTo>
                  <a:lnTo>
                    <a:pt x="1708" y="1460"/>
                  </a:lnTo>
                  <a:lnTo>
                    <a:pt x="1706" y="1454"/>
                  </a:lnTo>
                  <a:lnTo>
                    <a:pt x="1706" y="1454"/>
                  </a:lnTo>
                  <a:lnTo>
                    <a:pt x="1702" y="1444"/>
                  </a:lnTo>
                  <a:lnTo>
                    <a:pt x="1699" y="1427"/>
                  </a:lnTo>
                  <a:lnTo>
                    <a:pt x="1699" y="1427"/>
                  </a:lnTo>
                  <a:lnTo>
                    <a:pt x="1696" y="1412"/>
                  </a:lnTo>
                  <a:lnTo>
                    <a:pt x="1696" y="1409"/>
                  </a:lnTo>
                  <a:lnTo>
                    <a:pt x="1699" y="1408"/>
                  </a:lnTo>
                  <a:lnTo>
                    <a:pt x="1699" y="1408"/>
                  </a:lnTo>
                  <a:lnTo>
                    <a:pt x="1712" y="1408"/>
                  </a:lnTo>
                  <a:lnTo>
                    <a:pt x="1731" y="1411"/>
                  </a:lnTo>
                  <a:lnTo>
                    <a:pt x="1731" y="1411"/>
                  </a:lnTo>
                  <a:lnTo>
                    <a:pt x="1752" y="1415"/>
                  </a:lnTo>
                  <a:lnTo>
                    <a:pt x="1764" y="1417"/>
                  </a:lnTo>
                  <a:lnTo>
                    <a:pt x="1771" y="1417"/>
                  </a:lnTo>
                  <a:lnTo>
                    <a:pt x="1771" y="1417"/>
                  </a:lnTo>
                  <a:lnTo>
                    <a:pt x="1780" y="1417"/>
                  </a:lnTo>
                  <a:lnTo>
                    <a:pt x="1782" y="1415"/>
                  </a:lnTo>
                  <a:lnTo>
                    <a:pt x="1783" y="1412"/>
                  </a:lnTo>
                  <a:lnTo>
                    <a:pt x="1783" y="1412"/>
                  </a:lnTo>
                  <a:lnTo>
                    <a:pt x="1786" y="1408"/>
                  </a:lnTo>
                  <a:lnTo>
                    <a:pt x="1789" y="1406"/>
                  </a:lnTo>
                  <a:lnTo>
                    <a:pt x="1792" y="1406"/>
                  </a:lnTo>
                  <a:lnTo>
                    <a:pt x="1796" y="1408"/>
                  </a:lnTo>
                  <a:lnTo>
                    <a:pt x="1796" y="1408"/>
                  </a:lnTo>
                  <a:lnTo>
                    <a:pt x="1805" y="1412"/>
                  </a:lnTo>
                  <a:lnTo>
                    <a:pt x="1808" y="1412"/>
                  </a:lnTo>
                  <a:lnTo>
                    <a:pt x="1810" y="1412"/>
                  </a:lnTo>
                  <a:lnTo>
                    <a:pt x="1810" y="1412"/>
                  </a:lnTo>
                  <a:lnTo>
                    <a:pt x="1813" y="1409"/>
                  </a:lnTo>
                  <a:lnTo>
                    <a:pt x="1814" y="1404"/>
                  </a:lnTo>
                  <a:lnTo>
                    <a:pt x="1817" y="1399"/>
                  </a:lnTo>
                  <a:lnTo>
                    <a:pt x="1822" y="1395"/>
                  </a:lnTo>
                  <a:lnTo>
                    <a:pt x="1822" y="1395"/>
                  </a:lnTo>
                  <a:lnTo>
                    <a:pt x="1826" y="1393"/>
                  </a:lnTo>
                  <a:lnTo>
                    <a:pt x="1829" y="1390"/>
                  </a:lnTo>
                  <a:lnTo>
                    <a:pt x="1830" y="1387"/>
                  </a:lnTo>
                  <a:lnTo>
                    <a:pt x="1830" y="1383"/>
                  </a:lnTo>
                  <a:lnTo>
                    <a:pt x="1830" y="1383"/>
                  </a:lnTo>
                  <a:lnTo>
                    <a:pt x="1830" y="1377"/>
                  </a:lnTo>
                  <a:lnTo>
                    <a:pt x="1833" y="1374"/>
                  </a:lnTo>
                  <a:lnTo>
                    <a:pt x="1836" y="1371"/>
                  </a:lnTo>
                  <a:lnTo>
                    <a:pt x="1839" y="1371"/>
                  </a:lnTo>
                  <a:lnTo>
                    <a:pt x="1839" y="1371"/>
                  </a:lnTo>
                  <a:lnTo>
                    <a:pt x="1841" y="1372"/>
                  </a:lnTo>
                  <a:lnTo>
                    <a:pt x="1842" y="1371"/>
                  </a:lnTo>
                  <a:lnTo>
                    <a:pt x="1844" y="1369"/>
                  </a:lnTo>
                  <a:lnTo>
                    <a:pt x="1847" y="1368"/>
                  </a:lnTo>
                  <a:lnTo>
                    <a:pt x="1847" y="1368"/>
                  </a:lnTo>
                  <a:lnTo>
                    <a:pt x="1851" y="1369"/>
                  </a:lnTo>
                  <a:lnTo>
                    <a:pt x="1856" y="1371"/>
                  </a:lnTo>
                  <a:lnTo>
                    <a:pt x="1862" y="1374"/>
                  </a:lnTo>
                  <a:lnTo>
                    <a:pt x="1862" y="1374"/>
                  </a:lnTo>
                  <a:lnTo>
                    <a:pt x="1863" y="1374"/>
                  </a:lnTo>
                  <a:lnTo>
                    <a:pt x="1863" y="1372"/>
                  </a:lnTo>
                  <a:lnTo>
                    <a:pt x="1863" y="1369"/>
                  </a:lnTo>
                  <a:lnTo>
                    <a:pt x="1865" y="1366"/>
                  </a:lnTo>
                  <a:lnTo>
                    <a:pt x="1865" y="1366"/>
                  </a:lnTo>
                  <a:lnTo>
                    <a:pt x="1867" y="1364"/>
                  </a:lnTo>
                  <a:lnTo>
                    <a:pt x="1872" y="1361"/>
                  </a:lnTo>
                  <a:lnTo>
                    <a:pt x="1876" y="1361"/>
                  </a:lnTo>
                  <a:lnTo>
                    <a:pt x="1878" y="1361"/>
                  </a:lnTo>
                  <a:lnTo>
                    <a:pt x="1879" y="1362"/>
                  </a:lnTo>
                  <a:lnTo>
                    <a:pt x="1879" y="1362"/>
                  </a:lnTo>
                  <a:lnTo>
                    <a:pt x="1881" y="1366"/>
                  </a:lnTo>
                  <a:lnTo>
                    <a:pt x="1879" y="1371"/>
                  </a:lnTo>
                  <a:lnTo>
                    <a:pt x="1879" y="1375"/>
                  </a:lnTo>
                  <a:lnTo>
                    <a:pt x="1881" y="1375"/>
                  </a:lnTo>
                  <a:lnTo>
                    <a:pt x="1882" y="1375"/>
                  </a:lnTo>
                  <a:lnTo>
                    <a:pt x="1882" y="1375"/>
                  </a:lnTo>
                  <a:lnTo>
                    <a:pt x="1887" y="1375"/>
                  </a:lnTo>
                  <a:lnTo>
                    <a:pt x="1891" y="1375"/>
                  </a:lnTo>
                  <a:lnTo>
                    <a:pt x="1893" y="1375"/>
                  </a:lnTo>
                  <a:lnTo>
                    <a:pt x="1894" y="1371"/>
                  </a:lnTo>
                  <a:lnTo>
                    <a:pt x="1894" y="1371"/>
                  </a:lnTo>
                  <a:lnTo>
                    <a:pt x="1894" y="1364"/>
                  </a:lnTo>
                  <a:lnTo>
                    <a:pt x="1896" y="1358"/>
                  </a:lnTo>
                  <a:lnTo>
                    <a:pt x="1896" y="1358"/>
                  </a:lnTo>
                  <a:lnTo>
                    <a:pt x="1896" y="1335"/>
                  </a:lnTo>
                  <a:lnTo>
                    <a:pt x="1894" y="1315"/>
                  </a:lnTo>
                  <a:lnTo>
                    <a:pt x="1894" y="1315"/>
                  </a:lnTo>
                  <a:lnTo>
                    <a:pt x="1893" y="1304"/>
                  </a:lnTo>
                  <a:lnTo>
                    <a:pt x="1890" y="1292"/>
                  </a:lnTo>
                  <a:lnTo>
                    <a:pt x="1887" y="1281"/>
                  </a:lnTo>
                  <a:lnTo>
                    <a:pt x="1884" y="1276"/>
                  </a:lnTo>
                  <a:lnTo>
                    <a:pt x="1884" y="1276"/>
                  </a:lnTo>
                  <a:lnTo>
                    <a:pt x="1879" y="1273"/>
                  </a:lnTo>
                  <a:lnTo>
                    <a:pt x="1879" y="1270"/>
                  </a:lnTo>
                  <a:lnTo>
                    <a:pt x="1879" y="1267"/>
                  </a:lnTo>
                  <a:lnTo>
                    <a:pt x="1879" y="1267"/>
                  </a:lnTo>
                  <a:lnTo>
                    <a:pt x="1881" y="1263"/>
                  </a:lnTo>
                  <a:lnTo>
                    <a:pt x="1881" y="1258"/>
                  </a:lnTo>
                  <a:lnTo>
                    <a:pt x="1881" y="1257"/>
                  </a:lnTo>
                  <a:lnTo>
                    <a:pt x="1878" y="1254"/>
                  </a:lnTo>
                  <a:lnTo>
                    <a:pt x="1872" y="1249"/>
                  </a:lnTo>
                  <a:lnTo>
                    <a:pt x="1872" y="1249"/>
                  </a:lnTo>
                  <a:lnTo>
                    <a:pt x="1860" y="1241"/>
                  </a:lnTo>
                  <a:lnTo>
                    <a:pt x="1847" y="1227"/>
                  </a:lnTo>
                  <a:lnTo>
                    <a:pt x="1838" y="1214"/>
                  </a:lnTo>
                  <a:lnTo>
                    <a:pt x="1832" y="1205"/>
                  </a:lnTo>
                  <a:lnTo>
                    <a:pt x="1832" y="1205"/>
                  </a:lnTo>
                  <a:lnTo>
                    <a:pt x="1829" y="1192"/>
                  </a:lnTo>
                  <a:lnTo>
                    <a:pt x="1823" y="1180"/>
                  </a:lnTo>
                  <a:lnTo>
                    <a:pt x="1823" y="1180"/>
                  </a:lnTo>
                  <a:lnTo>
                    <a:pt x="1817" y="1171"/>
                  </a:lnTo>
                  <a:lnTo>
                    <a:pt x="1810" y="1162"/>
                  </a:lnTo>
                  <a:lnTo>
                    <a:pt x="1798" y="1149"/>
                  </a:lnTo>
                  <a:lnTo>
                    <a:pt x="1798" y="1149"/>
                  </a:lnTo>
                  <a:lnTo>
                    <a:pt x="1798" y="1147"/>
                  </a:lnTo>
                  <a:lnTo>
                    <a:pt x="1799" y="1144"/>
                  </a:lnTo>
                  <a:lnTo>
                    <a:pt x="1805" y="1135"/>
                  </a:lnTo>
                  <a:lnTo>
                    <a:pt x="1805" y="1135"/>
                  </a:lnTo>
                  <a:lnTo>
                    <a:pt x="1810" y="1124"/>
                  </a:lnTo>
                  <a:lnTo>
                    <a:pt x="1810" y="1118"/>
                  </a:lnTo>
                  <a:lnTo>
                    <a:pt x="1808" y="1112"/>
                  </a:lnTo>
                  <a:lnTo>
                    <a:pt x="1808" y="1112"/>
                  </a:lnTo>
                  <a:lnTo>
                    <a:pt x="1799" y="1095"/>
                  </a:lnTo>
                  <a:lnTo>
                    <a:pt x="1798" y="1090"/>
                  </a:lnTo>
                  <a:lnTo>
                    <a:pt x="1798" y="1087"/>
                  </a:lnTo>
                  <a:lnTo>
                    <a:pt x="1799" y="1087"/>
                  </a:lnTo>
                  <a:lnTo>
                    <a:pt x="1799" y="1087"/>
                  </a:lnTo>
                  <a:lnTo>
                    <a:pt x="1808" y="1087"/>
                  </a:lnTo>
                  <a:lnTo>
                    <a:pt x="1814" y="1085"/>
                  </a:lnTo>
                  <a:lnTo>
                    <a:pt x="1819" y="1084"/>
                  </a:lnTo>
                  <a:lnTo>
                    <a:pt x="1819" y="1084"/>
                  </a:lnTo>
                  <a:lnTo>
                    <a:pt x="1825" y="1079"/>
                  </a:lnTo>
                  <a:lnTo>
                    <a:pt x="1830" y="1078"/>
                  </a:lnTo>
                  <a:lnTo>
                    <a:pt x="1838" y="1073"/>
                  </a:lnTo>
                  <a:lnTo>
                    <a:pt x="1838" y="1073"/>
                  </a:lnTo>
                  <a:lnTo>
                    <a:pt x="1839" y="1072"/>
                  </a:lnTo>
                  <a:lnTo>
                    <a:pt x="1839" y="1069"/>
                  </a:lnTo>
                  <a:lnTo>
                    <a:pt x="1841" y="1064"/>
                  </a:lnTo>
                  <a:lnTo>
                    <a:pt x="1844" y="1060"/>
                  </a:lnTo>
                  <a:lnTo>
                    <a:pt x="1844" y="1060"/>
                  </a:lnTo>
                  <a:lnTo>
                    <a:pt x="1847" y="1055"/>
                  </a:lnTo>
                  <a:lnTo>
                    <a:pt x="1851" y="1054"/>
                  </a:lnTo>
                  <a:lnTo>
                    <a:pt x="1856" y="1054"/>
                  </a:lnTo>
                  <a:lnTo>
                    <a:pt x="1859" y="1055"/>
                  </a:lnTo>
                  <a:lnTo>
                    <a:pt x="1859" y="1055"/>
                  </a:lnTo>
                  <a:lnTo>
                    <a:pt x="1863" y="1057"/>
                  </a:lnTo>
                  <a:lnTo>
                    <a:pt x="1867" y="1057"/>
                  </a:lnTo>
                  <a:lnTo>
                    <a:pt x="1870" y="1057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50"/>
                  </a:lnTo>
                  <a:lnTo>
                    <a:pt x="1866" y="1039"/>
                  </a:lnTo>
                  <a:lnTo>
                    <a:pt x="1860" y="1030"/>
                  </a:lnTo>
                  <a:lnTo>
                    <a:pt x="1857" y="1026"/>
                  </a:lnTo>
                  <a:lnTo>
                    <a:pt x="1854" y="1023"/>
                  </a:lnTo>
                  <a:lnTo>
                    <a:pt x="1854" y="1023"/>
                  </a:lnTo>
                  <a:lnTo>
                    <a:pt x="1842" y="1018"/>
                  </a:lnTo>
                  <a:lnTo>
                    <a:pt x="1839" y="1015"/>
                  </a:lnTo>
                  <a:lnTo>
                    <a:pt x="1839" y="1014"/>
                  </a:lnTo>
                  <a:lnTo>
                    <a:pt x="1839" y="1011"/>
                  </a:lnTo>
                  <a:lnTo>
                    <a:pt x="1839" y="1011"/>
                  </a:lnTo>
                  <a:lnTo>
                    <a:pt x="1841" y="1007"/>
                  </a:lnTo>
                  <a:lnTo>
                    <a:pt x="1845" y="1002"/>
                  </a:lnTo>
                  <a:lnTo>
                    <a:pt x="1850" y="999"/>
                  </a:lnTo>
                  <a:lnTo>
                    <a:pt x="1854" y="998"/>
                  </a:lnTo>
                  <a:lnTo>
                    <a:pt x="1854" y="998"/>
                  </a:lnTo>
                  <a:lnTo>
                    <a:pt x="1859" y="998"/>
                  </a:lnTo>
                  <a:lnTo>
                    <a:pt x="1863" y="995"/>
                  </a:lnTo>
                  <a:lnTo>
                    <a:pt x="1867" y="989"/>
                  </a:lnTo>
                  <a:lnTo>
                    <a:pt x="1872" y="984"/>
                  </a:lnTo>
                  <a:lnTo>
                    <a:pt x="1872" y="984"/>
                  </a:lnTo>
                  <a:lnTo>
                    <a:pt x="1875" y="981"/>
                  </a:lnTo>
                  <a:lnTo>
                    <a:pt x="1878" y="980"/>
                  </a:lnTo>
                  <a:lnTo>
                    <a:pt x="1881" y="978"/>
                  </a:lnTo>
                  <a:lnTo>
                    <a:pt x="1884" y="976"/>
                  </a:lnTo>
                  <a:lnTo>
                    <a:pt x="1884" y="976"/>
                  </a:lnTo>
                  <a:lnTo>
                    <a:pt x="1885" y="970"/>
                  </a:lnTo>
                  <a:lnTo>
                    <a:pt x="1887" y="962"/>
                  </a:lnTo>
                  <a:lnTo>
                    <a:pt x="1887" y="949"/>
                  </a:lnTo>
                  <a:lnTo>
                    <a:pt x="1887" y="949"/>
                  </a:lnTo>
                  <a:lnTo>
                    <a:pt x="1890" y="944"/>
                  </a:lnTo>
                  <a:lnTo>
                    <a:pt x="1894" y="940"/>
                  </a:lnTo>
                  <a:lnTo>
                    <a:pt x="1900" y="938"/>
                  </a:lnTo>
                  <a:lnTo>
                    <a:pt x="1906" y="940"/>
                  </a:lnTo>
                  <a:lnTo>
                    <a:pt x="1906" y="940"/>
                  </a:lnTo>
                  <a:lnTo>
                    <a:pt x="1921" y="950"/>
                  </a:lnTo>
                  <a:lnTo>
                    <a:pt x="1928" y="953"/>
                  </a:lnTo>
                  <a:lnTo>
                    <a:pt x="1933" y="953"/>
                  </a:lnTo>
                  <a:lnTo>
                    <a:pt x="1936" y="953"/>
                  </a:lnTo>
                  <a:lnTo>
                    <a:pt x="1936" y="953"/>
                  </a:lnTo>
                  <a:lnTo>
                    <a:pt x="1942" y="952"/>
                  </a:lnTo>
                  <a:lnTo>
                    <a:pt x="1946" y="950"/>
                  </a:lnTo>
                  <a:lnTo>
                    <a:pt x="1947" y="947"/>
                  </a:lnTo>
                  <a:lnTo>
                    <a:pt x="1946" y="943"/>
                  </a:lnTo>
                  <a:lnTo>
                    <a:pt x="1946" y="943"/>
                  </a:lnTo>
                  <a:lnTo>
                    <a:pt x="1943" y="941"/>
                  </a:lnTo>
                  <a:lnTo>
                    <a:pt x="1939" y="940"/>
                  </a:lnTo>
                  <a:lnTo>
                    <a:pt x="1937" y="938"/>
                  </a:lnTo>
                  <a:lnTo>
                    <a:pt x="1937" y="938"/>
                  </a:lnTo>
                  <a:lnTo>
                    <a:pt x="1940" y="933"/>
                  </a:lnTo>
                  <a:lnTo>
                    <a:pt x="1940" y="933"/>
                  </a:lnTo>
                  <a:lnTo>
                    <a:pt x="1943" y="927"/>
                  </a:lnTo>
                  <a:lnTo>
                    <a:pt x="1946" y="921"/>
                  </a:lnTo>
                  <a:lnTo>
                    <a:pt x="1947" y="916"/>
                  </a:lnTo>
                  <a:lnTo>
                    <a:pt x="1950" y="913"/>
                  </a:lnTo>
                  <a:lnTo>
                    <a:pt x="1950" y="913"/>
                  </a:lnTo>
                  <a:lnTo>
                    <a:pt x="1955" y="913"/>
                  </a:lnTo>
                  <a:lnTo>
                    <a:pt x="1958" y="915"/>
                  </a:lnTo>
                  <a:lnTo>
                    <a:pt x="1959" y="915"/>
                  </a:lnTo>
                  <a:lnTo>
                    <a:pt x="1961" y="912"/>
                  </a:lnTo>
                  <a:lnTo>
                    <a:pt x="1961" y="912"/>
                  </a:lnTo>
                  <a:lnTo>
                    <a:pt x="1961" y="904"/>
                  </a:lnTo>
                  <a:lnTo>
                    <a:pt x="1962" y="896"/>
                  </a:lnTo>
                  <a:lnTo>
                    <a:pt x="1965" y="887"/>
                  </a:lnTo>
                  <a:lnTo>
                    <a:pt x="1967" y="881"/>
                  </a:lnTo>
                  <a:lnTo>
                    <a:pt x="1967" y="881"/>
                  </a:lnTo>
                  <a:lnTo>
                    <a:pt x="1970" y="879"/>
                  </a:lnTo>
                  <a:lnTo>
                    <a:pt x="1974" y="879"/>
                  </a:lnTo>
                  <a:lnTo>
                    <a:pt x="1979" y="878"/>
                  </a:lnTo>
                  <a:lnTo>
                    <a:pt x="1986" y="876"/>
                  </a:lnTo>
                  <a:lnTo>
                    <a:pt x="1986" y="876"/>
                  </a:lnTo>
                  <a:lnTo>
                    <a:pt x="1992" y="875"/>
                  </a:lnTo>
                  <a:lnTo>
                    <a:pt x="1995" y="872"/>
                  </a:lnTo>
                  <a:lnTo>
                    <a:pt x="1995" y="869"/>
                  </a:lnTo>
                  <a:lnTo>
                    <a:pt x="1990" y="866"/>
                  </a:lnTo>
                  <a:lnTo>
                    <a:pt x="1990" y="866"/>
                  </a:lnTo>
                  <a:lnTo>
                    <a:pt x="1986" y="864"/>
                  </a:lnTo>
                  <a:lnTo>
                    <a:pt x="1981" y="864"/>
                  </a:lnTo>
                  <a:lnTo>
                    <a:pt x="1981" y="864"/>
                  </a:lnTo>
                  <a:lnTo>
                    <a:pt x="1980" y="863"/>
                  </a:lnTo>
                  <a:lnTo>
                    <a:pt x="1980" y="856"/>
                  </a:lnTo>
                  <a:lnTo>
                    <a:pt x="1980" y="856"/>
                  </a:lnTo>
                  <a:lnTo>
                    <a:pt x="1983" y="838"/>
                  </a:lnTo>
                  <a:lnTo>
                    <a:pt x="1983" y="833"/>
                  </a:lnTo>
                  <a:lnTo>
                    <a:pt x="1983" y="832"/>
                  </a:lnTo>
                  <a:lnTo>
                    <a:pt x="1981" y="830"/>
                  </a:lnTo>
                  <a:lnTo>
                    <a:pt x="1979" y="830"/>
                  </a:lnTo>
                  <a:lnTo>
                    <a:pt x="1979" y="830"/>
                  </a:lnTo>
                  <a:lnTo>
                    <a:pt x="1974" y="830"/>
                  </a:lnTo>
                  <a:lnTo>
                    <a:pt x="1970" y="829"/>
                  </a:lnTo>
                  <a:lnTo>
                    <a:pt x="1961" y="824"/>
                  </a:lnTo>
                  <a:lnTo>
                    <a:pt x="1952" y="819"/>
                  </a:lnTo>
                  <a:lnTo>
                    <a:pt x="1946" y="813"/>
                  </a:lnTo>
                  <a:lnTo>
                    <a:pt x="1946" y="813"/>
                  </a:lnTo>
                  <a:lnTo>
                    <a:pt x="1942" y="808"/>
                  </a:lnTo>
                  <a:lnTo>
                    <a:pt x="1937" y="802"/>
                  </a:lnTo>
                  <a:lnTo>
                    <a:pt x="1936" y="799"/>
                  </a:lnTo>
                  <a:lnTo>
                    <a:pt x="1936" y="795"/>
                  </a:lnTo>
                  <a:lnTo>
                    <a:pt x="1936" y="790"/>
                  </a:lnTo>
                  <a:lnTo>
                    <a:pt x="1937" y="787"/>
                  </a:lnTo>
                  <a:lnTo>
                    <a:pt x="1937" y="787"/>
                  </a:lnTo>
                  <a:lnTo>
                    <a:pt x="1943" y="777"/>
                  </a:lnTo>
                  <a:lnTo>
                    <a:pt x="1949" y="765"/>
                  </a:lnTo>
                  <a:lnTo>
                    <a:pt x="1950" y="759"/>
                  </a:lnTo>
                  <a:lnTo>
                    <a:pt x="1952" y="756"/>
                  </a:lnTo>
                  <a:lnTo>
                    <a:pt x="1950" y="752"/>
                  </a:lnTo>
                  <a:lnTo>
                    <a:pt x="1947" y="752"/>
                  </a:lnTo>
                  <a:lnTo>
                    <a:pt x="1947" y="752"/>
                  </a:lnTo>
                  <a:close/>
                  <a:moveTo>
                    <a:pt x="917" y="25"/>
                  </a:moveTo>
                  <a:lnTo>
                    <a:pt x="917" y="25"/>
                  </a:lnTo>
                  <a:lnTo>
                    <a:pt x="920" y="23"/>
                  </a:lnTo>
                  <a:lnTo>
                    <a:pt x="921" y="20"/>
                  </a:lnTo>
                  <a:lnTo>
                    <a:pt x="924" y="13"/>
                  </a:lnTo>
                  <a:lnTo>
                    <a:pt x="924" y="13"/>
                  </a:lnTo>
                  <a:lnTo>
                    <a:pt x="924" y="8"/>
                  </a:lnTo>
                  <a:lnTo>
                    <a:pt x="923" y="5"/>
                  </a:lnTo>
                  <a:lnTo>
                    <a:pt x="918" y="0"/>
                  </a:lnTo>
                  <a:lnTo>
                    <a:pt x="918" y="0"/>
                  </a:lnTo>
                  <a:lnTo>
                    <a:pt x="918" y="0"/>
                  </a:lnTo>
                  <a:lnTo>
                    <a:pt x="917" y="0"/>
                  </a:lnTo>
                  <a:lnTo>
                    <a:pt x="915" y="2"/>
                  </a:lnTo>
                  <a:lnTo>
                    <a:pt x="912" y="7"/>
                  </a:lnTo>
                  <a:lnTo>
                    <a:pt x="912" y="7"/>
                  </a:lnTo>
                  <a:lnTo>
                    <a:pt x="909" y="13"/>
                  </a:lnTo>
                  <a:lnTo>
                    <a:pt x="909" y="16"/>
                  </a:lnTo>
                  <a:lnTo>
                    <a:pt x="909" y="16"/>
                  </a:lnTo>
                  <a:lnTo>
                    <a:pt x="912" y="20"/>
                  </a:lnTo>
                  <a:lnTo>
                    <a:pt x="915" y="23"/>
                  </a:lnTo>
                  <a:lnTo>
                    <a:pt x="917" y="25"/>
                  </a:lnTo>
                  <a:lnTo>
                    <a:pt x="917" y="25"/>
                  </a:lnTo>
                  <a:close/>
                  <a:moveTo>
                    <a:pt x="1031" y="128"/>
                  </a:moveTo>
                  <a:lnTo>
                    <a:pt x="1031" y="128"/>
                  </a:lnTo>
                  <a:lnTo>
                    <a:pt x="1026" y="136"/>
                  </a:lnTo>
                  <a:lnTo>
                    <a:pt x="1022" y="142"/>
                  </a:lnTo>
                  <a:lnTo>
                    <a:pt x="1016" y="146"/>
                  </a:lnTo>
                  <a:lnTo>
                    <a:pt x="1016" y="146"/>
                  </a:lnTo>
                  <a:lnTo>
                    <a:pt x="1010" y="142"/>
                  </a:lnTo>
                  <a:lnTo>
                    <a:pt x="1006" y="137"/>
                  </a:lnTo>
                  <a:lnTo>
                    <a:pt x="1006" y="137"/>
                  </a:lnTo>
                  <a:lnTo>
                    <a:pt x="1003" y="136"/>
                  </a:lnTo>
                  <a:lnTo>
                    <a:pt x="1000" y="136"/>
                  </a:lnTo>
                  <a:lnTo>
                    <a:pt x="989" y="140"/>
                  </a:lnTo>
                  <a:lnTo>
                    <a:pt x="989" y="140"/>
                  </a:lnTo>
                  <a:lnTo>
                    <a:pt x="986" y="142"/>
                  </a:lnTo>
                  <a:lnTo>
                    <a:pt x="985" y="145"/>
                  </a:lnTo>
                  <a:lnTo>
                    <a:pt x="983" y="151"/>
                  </a:lnTo>
                  <a:lnTo>
                    <a:pt x="982" y="158"/>
                  </a:lnTo>
                  <a:lnTo>
                    <a:pt x="979" y="162"/>
                  </a:lnTo>
                  <a:lnTo>
                    <a:pt x="979" y="162"/>
                  </a:lnTo>
                  <a:lnTo>
                    <a:pt x="976" y="164"/>
                  </a:lnTo>
                  <a:lnTo>
                    <a:pt x="973" y="162"/>
                  </a:lnTo>
                  <a:lnTo>
                    <a:pt x="963" y="154"/>
                  </a:lnTo>
                  <a:lnTo>
                    <a:pt x="963" y="154"/>
                  </a:lnTo>
                  <a:lnTo>
                    <a:pt x="958" y="149"/>
                  </a:lnTo>
                  <a:lnTo>
                    <a:pt x="955" y="148"/>
                  </a:lnTo>
                  <a:lnTo>
                    <a:pt x="952" y="148"/>
                  </a:lnTo>
                  <a:lnTo>
                    <a:pt x="951" y="149"/>
                  </a:lnTo>
                  <a:lnTo>
                    <a:pt x="951" y="149"/>
                  </a:lnTo>
                  <a:lnTo>
                    <a:pt x="951" y="152"/>
                  </a:lnTo>
                  <a:lnTo>
                    <a:pt x="952" y="158"/>
                  </a:lnTo>
                  <a:lnTo>
                    <a:pt x="957" y="171"/>
                  </a:lnTo>
                  <a:lnTo>
                    <a:pt x="957" y="171"/>
                  </a:lnTo>
                  <a:lnTo>
                    <a:pt x="960" y="176"/>
                  </a:lnTo>
                  <a:lnTo>
                    <a:pt x="964" y="182"/>
                  </a:lnTo>
                  <a:lnTo>
                    <a:pt x="970" y="188"/>
                  </a:lnTo>
                  <a:lnTo>
                    <a:pt x="975" y="191"/>
                  </a:lnTo>
                  <a:lnTo>
                    <a:pt x="975" y="191"/>
                  </a:lnTo>
                  <a:lnTo>
                    <a:pt x="982" y="191"/>
                  </a:lnTo>
                  <a:lnTo>
                    <a:pt x="992" y="191"/>
                  </a:lnTo>
                  <a:lnTo>
                    <a:pt x="1006" y="189"/>
                  </a:lnTo>
                  <a:lnTo>
                    <a:pt x="1016" y="191"/>
                  </a:lnTo>
                  <a:lnTo>
                    <a:pt x="1016" y="191"/>
                  </a:lnTo>
                  <a:lnTo>
                    <a:pt x="1025" y="191"/>
                  </a:lnTo>
                  <a:lnTo>
                    <a:pt x="1035" y="188"/>
                  </a:lnTo>
                  <a:lnTo>
                    <a:pt x="1052" y="183"/>
                  </a:lnTo>
                  <a:lnTo>
                    <a:pt x="1052" y="183"/>
                  </a:lnTo>
                  <a:lnTo>
                    <a:pt x="1057" y="180"/>
                  </a:lnTo>
                  <a:lnTo>
                    <a:pt x="1065" y="176"/>
                  </a:lnTo>
                  <a:lnTo>
                    <a:pt x="1080" y="165"/>
                  </a:lnTo>
                  <a:lnTo>
                    <a:pt x="1080" y="165"/>
                  </a:lnTo>
                  <a:lnTo>
                    <a:pt x="1084" y="159"/>
                  </a:lnTo>
                  <a:lnTo>
                    <a:pt x="1087" y="152"/>
                  </a:lnTo>
                  <a:lnTo>
                    <a:pt x="1089" y="145"/>
                  </a:lnTo>
                  <a:lnTo>
                    <a:pt x="1092" y="139"/>
                  </a:lnTo>
                  <a:lnTo>
                    <a:pt x="1092" y="139"/>
                  </a:lnTo>
                  <a:lnTo>
                    <a:pt x="1092" y="136"/>
                  </a:lnTo>
                  <a:lnTo>
                    <a:pt x="1092" y="133"/>
                  </a:lnTo>
                  <a:lnTo>
                    <a:pt x="1090" y="122"/>
                  </a:lnTo>
                  <a:lnTo>
                    <a:pt x="1086" y="112"/>
                  </a:lnTo>
                  <a:lnTo>
                    <a:pt x="1083" y="106"/>
                  </a:lnTo>
                  <a:lnTo>
                    <a:pt x="1083" y="106"/>
                  </a:lnTo>
                  <a:lnTo>
                    <a:pt x="1078" y="103"/>
                  </a:lnTo>
                  <a:lnTo>
                    <a:pt x="1075" y="102"/>
                  </a:lnTo>
                  <a:lnTo>
                    <a:pt x="1072" y="103"/>
                  </a:lnTo>
                  <a:lnTo>
                    <a:pt x="1068" y="106"/>
                  </a:lnTo>
                  <a:lnTo>
                    <a:pt x="1068" y="106"/>
                  </a:lnTo>
                  <a:lnTo>
                    <a:pt x="1049" y="114"/>
                  </a:lnTo>
                  <a:lnTo>
                    <a:pt x="1049" y="114"/>
                  </a:lnTo>
                  <a:lnTo>
                    <a:pt x="1043" y="117"/>
                  </a:lnTo>
                  <a:lnTo>
                    <a:pt x="1038" y="119"/>
                  </a:lnTo>
                  <a:lnTo>
                    <a:pt x="1034" y="122"/>
                  </a:lnTo>
                  <a:lnTo>
                    <a:pt x="1031" y="128"/>
                  </a:lnTo>
                  <a:lnTo>
                    <a:pt x="1031" y="128"/>
                  </a:lnTo>
                  <a:close/>
                  <a:moveTo>
                    <a:pt x="939" y="185"/>
                  </a:moveTo>
                  <a:lnTo>
                    <a:pt x="939" y="185"/>
                  </a:lnTo>
                  <a:lnTo>
                    <a:pt x="942" y="182"/>
                  </a:lnTo>
                  <a:lnTo>
                    <a:pt x="942" y="180"/>
                  </a:lnTo>
                  <a:lnTo>
                    <a:pt x="941" y="177"/>
                  </a:lnTo>
                  <a:lnTo>
                    <a:pt x="938" y="176"/>
                  </a:lnTo>
                  <a:lnTo>
                    <a:pt x="938" y="176"/>
                  </a:lnTo>
                  <a:lnTo>
                    <a:pt x="923" y="174"/>
                  </a:lnTo>
                  <a:lnTo>
                    <a:pt x="909" y="171"/>
                  </a:lnTo>
                  <a:lnTo>
                    <a:pt x="909" y="171"/>
                  </a:lnTo>
                  <a:lnTo>
                    <a:pt x="895" y="173"/>
                  </a:lnTo>
                  <a:lnTo>
                    <a:pt x="878" y="177"/>
                  </a:lnTo>
                  <a:lnTo>
                    <a:pt x="878" y="177"/>
                  </a:lnTo>
                  <a:lnTo>
                    <a:pt x="874" y="179"/>
                  </a:lnTo>
                  <a:lnTo>
                    <a:pt x="871" y="183"/>
                  </a:lnTo>
                  <a:lnTo>
                    <a:pt x="868" y="188"/>
                  </a:lnTo>
                  <a:lnTo>
                    <a:pt x="864" y="192"/>
                  </a:lnTo>
                  <a:lnTo>
                    <a:pt x="864" y="192"/>
                  </a:lnTo>
                  <a:lnTo>
                    <a:pt x="859" y="195"/>
                  </a:lnTo>
                  <a:lnTo>
                    <a:pt x="852" y="198"/>
                  </a:lnTo>
                  <a:lnTo>
                    <a:pt x="846" y="198"/>
                  </a:lnTo>
                  <a:lnTo>
                    <a:pt x="840" y="198"/>
                  </a:lnTo>
                  <a:lnTo>
                    <a:pt x="840" y="198"/>
                  </a:lnTo>
                  <a:lnTo>
                    <a:pt x="834" y="198"/>
                  </a:lnTo>
                  <a:lnTo>
                    <a:pt x="828" y="195"/>
                  </a:lnTo>
                  <a:lnTo>
                    <a:pt x="822" y="192"/>
                  </a:lnTo>
                  <a:lnTo>
                    <a:pt x="818" y="191"/>
                  </a:lnTo>
                  <a:lnTo>
                    <a:pt x="818" y="191"/>
                  </a:lnTo>
                  <a:lnTo>
                    <a:pt x="815" y="191"/>
                  </a:lnTo>
                  <a:lnTo>
                    <a:pt x="813" y="192"/>
                  </a:lnTo>
                  <a:lnTo>
                    <a:pt x="809" y="196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1" y="207"/>
                  </a:lnTo>
                  <a:lnTo>
                    <a:pt x="801" y="210"/>
                  </a:lnTo>
                  <a:lnTo>
                    <a:pt x="803" y="216"/>
                  </a:lnTo>
                  <a:lnTo>
                    <a:pt x="803" y="216"/>
                  </a:lnTo>
                  <a:lnTo>
                    <a:pt x="804" y="220"/>
                  </a:lnTo>
                  <a:lnTo>
                    <a:pt x="809" y="225"/>
                  </a:lnTo>
                  <a:lnTo>
                    <a:pt x="822" y="234"/>
                  </a:lnTo>
                  <a:lnTo>
                    <a:pt x="822" y="234"/>
                  </a:lnTo>
                  <a:lnTo>
                    <a:pt x="826" y="238"/>
                  </a:lnTo>
                  <a:lnTo>
                    <a:pt x="828" y="241"/>
                  </a:lnTo>
                  <a:lnTo>
                    <a:pt x="828" y="245"/>
                  </a:lnTo>
                  <a:lnTo>
                    <a:pt x="826" y="248"/>
                  </a:lnTo>
                  <a:lnTo>
                    <a:pt x="826" y="248"/>
                  </a:lnTo>
                  <a:lnTo>
                    <a:pt x="825" y="251"/>
                  </a:lnTo>
                  <a:lnTo>
                    <a:pt x="822" y="253"/>
                  </a:lnTo>
                  <a:lnTo>
                    <a:pt x="818" y="253"/>
                  </a:lnTo>
                  <a:lnTo>
                    <a:pt x="818" y="253"/>
                  </a:lnTo>
                  <a:lnTo>
                    <a:pt x="815" y="251"/>
                  </a:lnTo>
                  <a:lnTo>
                    <a:pt x="812" y="248"/>
                  </a:lnTo>
                  <a:lnTo>
                    <a:pt x="809" y="247"/>
                  </a:lnTo>
                  <a:lnTo>
                    <a:pt x="806" y="245"/>
                  </a:lnTo>
                  <a:lnTo>
                    <a:pt x="806" y="245"/>
                  </a:lnTo>
                  <a:lnTo>
                    <a:pt x="801" y="245"/>
                  </a:lnTo>
                  <a:lnTo>
                    <a:pt x="795" y="242"/>
                  </a:lnTo>
                  <a:lnTo>
                    <a:pt x="795" y="242"/>
                  </a:lnTo>
                  <a:lnTo>
                    <a:pt x="789" y="238"/>
                  </a:lnTo>
                  <a:lnTo>
                    <a:pt x="784" y="236"/>
                  </a:lnTo>
                  <a:lnTo>
                    <a:pt x="779" y="236"/>
                  </a:lnTo>
                  <a:lnTo>
                    <a:pt x="779" y="236"/>
                  </a:lnTo>
                  <a:lnTo>
                    <a:pt x="775" y="235"/>
                  </a:lnTo>
                  <a:lnTo>
                    <a:pt x="770" y="234"/>
                  </a:lnTo>
                  <a:lnTo>
                    <a:pt x="766" y="232"/>
                  </a:lnTo>
                  <a:lnTo>
                    <a:pt x="760" y="231"/>
                  </a:lnTo>
                  <a:lnTo>
                    <a:pt x="760" y="231"/>
                  </a:lnTo>
                  <a:lnTo>
                    <a:pt x="752" y="229"/>
                  </a:lnTo>
                  <a:lnTo>
                    <a:pt x="748" y="229"/>
                  </a:lnTo>
                  <a:lnTo>
                    <a:pt x="745" y="231"/>
                  </a:lnTo>
                  <a:lnTo>
                    <a:pt x="744" y="232"/>
                  </a:lnTo>
                  <a:lnTo>
                    <a:pt x="744" y="232"/>
                  </a:lnTo>
                  <a:lnTo>
                    <a:pt x="738" y="239"/>
                  </a:lnTo>
                  <a:lnTo>
                    <a:pt x="733" y="244"/>
                  </a:lnTo>
                  <a:lnTo>
                    <a:pt x="732" y="248"/>
                  </a:lnTo>
                  <a:lnTo>
                    <a:pt x="732" y="248"/>
                  </a:lnTo>
                  <a:lnTo>
                    <a:pt x="733" y="251"/>
                  </a:lnTo>
                  <a:lnTo>
                    <a:pt x="735" y="254"/>
                  </a:lnTo>
                  <a:lnTo>
                    <a:pt x="738" y="256"/>
                  </a:lnTo>
                  <a:lnTo>
                    <a:pt x="738" y="260"/>
                  </a:lnTo>
                  <a:lnTo>
                    <a:pt x="738" y="260"/>
                  </a:lnTo>
                  <a:lnTo>
                    <a:pt x="735" y="263"/>
                  </a:lnTo>
                  <a:lnTo>
                    <a:pt x="732" y="266"/>
                  </a:lnTo>
                  <a:lnTo>
                    <a:pt x="729" y="271"/>
                  </a:lnTo>
                  <a:lnTo>
                    <a:pt x="727" y="275"/>
                  </a:lnTo>
                  <a:lnTo>
                    <a:pt x="727" y="275"/>
                  </a:lnTo>
                  <a:lnTo>
                    <a:pt x="727" y="279"/>
                  </a:lnTo>
                  <a:lnTo>
                    <a:pt x="727" y="282"/>
                  </a:lnTo>
                  <a:lnTo>
                    <a:pt x="735" y="284"/>
                  </a:lnTo>
                  <a:lnTo>
                    <a:pt x="735" y="284"/>
                  </a:lnTo>
                  <a:lnTo>
                    <a:pt x="741" y="285"/>
                  </a:lnTo>
                  <a:lnTo>
                    <a:pt x="742" y="287"/>
                  </a:lnTo>
                  <a:lnTo>
                    <a:pt x="742" y="288"/>
                  </a:lnTo>
                  <a:lnTo>
                    <a:pt x="742" y="288"/>
                  </a:lnTo>
                  <a:lnTo>
                    <a:pt x="741" y="290"/>
                  </a:lnTo>
                  <a:lnTo>
                    <a:pt x="738" y="293"/>
                  </a:lnTo>
                  <a:lnTo>
                    <a:pt x="735" y="296"/>
                  </a:lnTo>
                  <a:lnTo>
                    <a:pt x="733" y="297"/>
                  </a:lnTo>
                  <a:lnTo>
                    <a:pt x="733" y="297"/>
                  </a:lnTo>
                  <a:lnTo>
                    <a:pt x="733" y="299"/>
                  </a:lnTo>
                  <a:lnTo>
                    <a:pt x="735" y="302"/>
                  </a:lnTo>
                  <a:lnTo>
                    <a:pt x="738" y="305"/>
                  </a:lnTo>
                  <a:lnTo>
                    <a:pt x="742" y="308"/>
                  </a:lnTo>
                  <a:lnTo>
                    <a:pt x="742" y="308"/>
                  </a:lnTo>
                  <a:lnTo>
                    <a:pt x="748" y="312"/>
                  </a:lnTo>
                  <a:lnTo>
                    <a:pt x="749" y="316"/>
                  </a:lnTo>
                  <a:lnTo>
                    <a:pt x="749" y="327"/>
                  </a:lnTo>
                  <a:lnTo>
                    <a:pt x="749" y="327"/>
                  </a:lnTo>
                  <a:lnTo>
                    <a:pt x="751" y="331"/>
                  </a:lnTo>
                  <a:lnTo>
                    <a:pt x="752" y="336"/>
                  </a:lnTo>
                  <a:lnTo>
                    <a:pt x="760" y="343"/>
                  </a:lnTo>
                  <a:lnTo>
                    <a:pt x="760" y="343"/>
                  </a:lnTo>
                  <a:lnTo>
                    <a:pt x="766" y="348"/>
                  </a:lnTo>
                  <a:lnTo>
                    <a:pt x="773" y="352"/>
                  </a:lnTo>
                  <a:lnTo>
                    <a:pt x="789" y="356"/>
                  </a:lnTo>
                  <a:lnTo>
                    <a:pt x="789" y="356"/>
                  </a:lnTo>
                  <a:lnTo>
                    <a:pt x="797" y="359"/>
                  </a:lnTo>
                  <a:lnTo>
                    <a:pt x="804" y="362"/>
                  </a:lnTo>
                  <a:lnTo>
                    <a:pt x="816" y="370"/>
                  </a:lnTo>
                  <a:lnTo>
                    <a:pt x="816" y="370"/>
                  </a:lnTo>
                  <a:lnTo>
                    <a:pt x="825" y="373"/>
                  </a:lnTo>
                  <a:lnTo>
                    <a:pt x="829" y="373"/>
                  </a:lnTo>
                  <a:lnTo>
                    <a:pt x="834" y="373"/>
                  </a:lnTo>
                  <a:lnTo>
                    <a:pt x="834" y="373"/>
                  </a:lnTo>
                  <a:lnTo>
                    <a:pt x="840" y="370"/>
                  </a:lnTo>
                  <a:lnTo>
                    <a:pt x="852" y="370"/>
                  </a:lnTo>
                  <a:lnTo>
                    <a:pt x="852" y="370"/>
                  </a:lnTo>
                  <a:lnTo>
                    <a:pt x="858" y="370"/>
                  </a:lnTo>
                  <a:lnTo>
                    <a:pt x="859" y="368"/>
                  </a:lnTo>
                  <a:lnTo>
                    <a:pt x="859" y="367"/>
                  </a:lnTo>
                  <a:lnTo>
                    <a:pt x="859" y="356"/>
                  </a:lnTo>
                  <a:lnTo>
                    <a:pt x="859" y="356"/>
                  </a:lnTo>
                  <a:lnTo>
                    <a:pt x="858" y="353"/>
                  </a:lnTo>
                  <a:lnTo>
                    <a:pt x="856" y="349"/>
                  </a:lnTo>
                  <a:lnTo>
                    <a:pt x="852" y="343"/>
                  </a:lnTo>
                  <a:lnTo>
                    <a:pt x="846" y="337"/>
                  </a:lnTo>
                  <a:lnTo>
                    <a:pt x="846" y="337"/>
                  </a:lnTo>
                  <a:lnTo>
                    <a:pt x="846" y="333"/>
                  </a:lnTo>
                  <a:lnTo>
                    <a:pt x="847" y="330"/>
                  </a:lnTo>
                  <a:lnTo>
                    <a:pt x="852" y="327"/>
                  </a:lnTo>
                  <a:lnTo>
                    <a:pt x="855" y="327"/>
                  </a:lnTo>
                  <a:lnTo>
                    <a:pt x="855" y="327"/>
                  </a:lnTo>
                  <a:lnTo>
                    <a:pt x="859" y="328"/>
                  </a:lnTo>
                  <a:lnTo>
                    <a:pt x="861" y="331"/>
                  </a:lnTo>
                  <a:lnTo>
                    <a:pt x="864" y="336"/>
                  </a:lnTo>
                  <a:lnTo>
                    <a:pt x="865" y="339"/>
                  </a:lnTo>
                  <a:lnTo>
                    <a:pt x="865" y="339"/>
                  </a:lnTo>
                  <a:lnTo>
                    <a:pt x="866" y="340"/>
                  </a:lnTo>
                  <a:lnTo>
                    <a:pt x="869" y="339"/>
                  </a:lnTo>
                  <a:lnTo>
                    <a:pt x="874" y="334"/>
                  </a:lnTo>
                  <a:lnTo>
                    <a:pt x="880" y="324"/>
                  </a:lnTo>
                  <a:lnTo>
                    <a:pt x="880" y="324"/>
                  </a:lnTo>
                  <a:lnTo>
                    <a:pt x="886" y="315"/>
                  </a:lnTo>
                  <a:lnTo>
                    <a:pt x="889" y="311"/>
                  </a:lnTo>
                  <a:lnTo>
                    <a:pt x="890" y="305"/>
                  </a:lnTo>
                  <a:lnTo>
                    <a:pt x="890" y="305"/>
                  </a:lnTo>
                  <a:lnTo>
                    <a:pt x="890" y="300"/>
                  </a:lnTo>
                  <a:lnTo>
                    <a:pt x="892" y="297"/>
                  </a:lnTo>
                  <a:lnTo>
                    <a:pt x="898" y="291"/>
                  </a:lnTo>
                  <a:lnTo>
                    <a:pt x="898" y="291"/>
                  </a:lnTo>
                  <a:lnTo>
                    <a:pt x="899" y="290"/>
                  </a:lnTo>
                  <a:lnTo>
                    <a:pt x="901" y="290"/>
                  </a:lnTo>
                  <a:lnTo>
                    <a:pt x="903" y="293"/>
                  </a:lnTo>
                  <a:lnTo>
                    <a:pt x="903" y="293"/>
                  </a:lnTo>
                  <a:lnTo>
                    <a:pt x="905" y="294"/>
                  </a:lnTo>
                  <a:lnTo>
                    <a:pt x="908" y="296"/>
                  </a:lnTo>
                  <a:lnTo>
                    <a:pt x="920" y="296"/>
                  </a:lnTo>
                  <a:lnTo>
                    <a:pt x="920" y="296"/>
                  </a:lnTo>
                  <a:lnTo>
                    <a:pt x="924" y="296"/>
                  </a:lnTo>
                  <a:lnTo>
                    <a:pt x="927" y="294"/>
                  </a:lnTo>
                  <a:lnTo>
                    <a:pt x="927" y="291"/>
                  </a:lnTo>
                  <a:lnTo>
                    <a:pt x="927" y="288"/>
                  </a:lnTo>
                  <a:lnTo>
                    <a:pt x="927" y="288"/>
                  </a:lnTo>
                  <a:lnTo>
                    <a:pt x="927" y="282"/>
                  </a:lnTo>
                  <a:lnTo>
                    <a:pt x="929" y="279"/>
                  </a:lnTo>
                  <a:lnTo>
                    <a:pt x="930" y="278"/>
                  </a:lnTo>
                  <a:lnTo>
                    <a:pt x="930" y="278"/>
                  </a:lnTo>
                  <a:lnTo>
                    <a:pt x="936" y="273"/>
                  </a:lnTo>
                  <a:lnTo>
                    <a:pt x="939" y="271"/>
                  </a:lnTo>
                  <a:lnTo>
                    <a:pt x="939" y="266"/>
                  </a:lnTo>
                  <a:lnTo>
                    <a:pt x="939" y="266"/>
                  </a:lnTo>
                  <a:lnTo>
                    <a:pt x="939" y="263"/>
                  </a:lnTo>
                  <a:lnTo>
                    <a:pt x="936" y="263"/>
                  </a:lnTo>
                  <a:lnTo>
                    <a:pt x="929" y="263"/>
                  </a:lnTo>
                  <a:lnTo>
                    <a:pt x="929" y="263"/>
                  </a:lnTo>
                  <a:lnTo>
                    <a:pt x="923" y="265"/>
                  </a:lnTo>
                  <a:lnTo>
                    <a:pt x="918" y="266"/>
                  </a:lnTo>
                  <a:lnTo>
                    <a:pt x="914" y="269"/>
                  </a:lnTo>
                  <a:lnTo>
                    <a:pt x="908" y="269"/>
                  </a:lnTo>
                  <a:lnTo>
                    <a:pt x="908" y="269"/>
                  </a:lnTo>
                  <a:lnTo>
                    <a:pt x="905" y="269"/>
                  </a:lnTo>
                  <a:lnTo>
                    <a:pt x="901" y="268"/>
                  </a:lnTo>
                  <a:lnTo>
                    <a:pt x="892" y="262"/>
                  </a:lnTo>
                  <a:lnTo>
                    <a:pt x="878" y="250"/>
                  </a:lnTo>
                  <a:lnTo>
                    <a:pt x="878" y="250"/>
                  </a:lnTo>
                  <a:lnTo>
                    <a:pt x="872" y="244"/>
                  </a:lnTo>
                  <a:lnTo>
                    <a:pt x="869" y="235"/>
                  </a:lnTo>
                  <a:lnTo>
                    <a:pt x="865" y="225"/>
                  </a:lnTo>
                  <a:lnTo>
                    <a:pt x="864" y="213"/>
                  </a:lnTo>
                  <a:lnTo>
                    <a:pt x="864" y="213"/>
                  </a:lnTo>
                  <a:lnTo>
                    <a:pt x="865" y="205"/>
                  </a:lnTo>
                  <a:lnTo>
                    <a:pt x="868" y="201"/>
                  </a:lnTo>
                  <a:lnTo>
                    <a:pt x="872" y="198"/>
                  </a:lnTo>
                  <a:lnTo>
                    <a:pt x="877" y="198"/>
                  </a:lnTo>
                  <a:lnTo>
                    <a:pt x="877" y="198"/>
                  </a:lnTo>
                  <a:lnTo>
                    <a:pt x="880" y="198"/>
                  </a:lnTo>
                  <a:lnTo>
                    <a:pt x="881" y="201"/>
                  </a:lnTo>
                  <a:lnTo>
                    <a:pt x="883" y="204"/>
                  </a:lnTo>
                  <a:lnTo>
                    <a:pt x="883" y="207"/>
                  </a:lnTo>
                  <a:lnTo>
                    <a:pt x="883" y="207"/>
                  </a:lnTo>
                  <a:lnTo>
                    <a:pt x="883" y="220"/>
                  </a:lnTo>
                  <a:lnTo>
                    <a:pt x="883" y="228"/>
                  </a:lnTo>
                  <a:lnTo>
                    <a:pt x="884" y="234"/>
                  </a:lnTo>
                  <a:lnTo>
                    <a:pt x="884" y="234"/>
                  </a:lnTo>
                  <a:lnTo>
                    <a:pt x="887" y="238"/>
                  </a:lnTo>
                  <a:lnTo>
                    <a:pt x="893" y="244"/>
                  </a:lnTo>
                  <a:lnTo>
                    <a:pt x="905" y="254"/>
                  </a:lnTo>
                  <a:lnTo>
                    <a:pt x="905" y="254"/>
                  </a:lnTo>
                  <a:lnTo>
                    <a:pt x="911" y="256"/>
                  </a:lnTo>
                  <a:lnTo>
                    <a:pt x="918" y="256"/>
                  </a:lnTo>
                  <a:lnTo>
                    <a:pt x="932" y="251"/>
                  </a:lnTo>
                  <a:lnTo>
                    <a:pt x="932" y="251"/>
                  </a:lnTo>
                  <a:lnTo>
                    <a:pt x="935" y="250"/>
                  </a:lnTo>
                  <a:lnTo>
                    <a:pt x="939" y="245"/>
                  </a:lnTo>
                  <a:lnTo>
                    <a:pt x="943" y="236"/>
                  </a:lnTo>
                  <a:lnTo>
                    <a:pt x="943" y="236"/>
                  </a:lnTo>
                  <a:lnTo>
                    <a:pt x="948" y="226"/>
                  </a:lnTo>
                  <a:lnTo>
                    <a:pt x="951" y="220"/>
                  </a:lnTo>
                  <a:lnTo>
                    <a:pt x="952" y="214"/>
                  </a:lnTo>
                  <a:lnTo>
                    <a:pt x="952" y="214"/>
                  </a:lnTo>
                  <a:lnTo>
                    <a:pt x="952" y="211"/>
                  </a:lnTo>
                  <a:lnTo>
                    <a:pt x="951" y="210"/>
                  </a:lnTo>
                  <a:lnTo>
                    <a:pt x="946" y="207"/>
                  </a:lnTo>
                  <a:lnTo>
                    <a:pt x="936" y="201"/>
                  </a:lnTo>
                  <a:lnTo>
                    <a:pt x="936" y="201"/>
                  </a:lnTo>
                  <a:lnTo>
                    <a:pt x="935" y="199"/>
                  </a:lnTo>
                  <a:lnTo>
                    <a:pt x="933" y="198"/>
                  </a:lnTo>
                  <a:lnTo>
                    <a:pt x="935" y="194"/>
                  </a:lnTo>
                  <a:lnTo>
                    <a:pt x="936" y="189"/>
                  </a:lnTo>
                  <a:lnTo>
                    <a:pt x="939" y="185"/>
                  </a:lnTo>
                  <a:lnTo>
                    <a:pt x="939" y="185"/>
                  </a:lnTo>
                  <a:close/>
                  <a:moveTo>
                    <a:pt x="729" y="336"/>
                  </a:moveTo>
                  <a:lnTo>
                    <a:pt x="729" y="336"/>
                  </a:lnTo>
                  <a:lnTo>
                    <a:pt x="726" y="327"/>
                  </a:lnTo>
                  <a:lnTo>
                    <a:pt x="720" y="318"/>
                  </a:lnTo>
                  <a:lnTo>
                    <a:pt x="720" y="318"/>
                  </a:lnTo>
                  <a:lnTo>
                    <a:pt x="715" y="315"/>
                  </a:lnTo>
                  <a:lnTo>
                    <a:pt x="710" y="312"/>
                  </a:lnTo>
                  <a:lnTo>
                    <a:pt x="699" y="308"/>
                  </a:lnTo>
                  <a:lnTo>
                    <a:pt x="699" y="308"/>
                  </a:lnTo>
                  <a:lnTo>
                    <a:pt x="695" y="309"/>
                  </a:lnTo>
                  <a:lnTo>
                    <a:pt x="693" y="313"/>
                  </a:lnTo>
                  <a:lnTo>
                    <a:pt x="696" y="319"/>
                  </a:lnTo>
                  <a:lnTo>
                    <a:pt x="696" y="319"/>
                  </a:lnTo>
                  <a:lnTo>
                    <a:pt x="698" y="324"/>
                  </a:lnTo>
                  <a:lnTo>
                    <a:pt x="701" y="325"/>
                  </a:lnTo>
                  <a:lnTo>
                    <a:pt x="707" y="331"/>
                  </a:lnTo>
                  <a:lnTo>
                    <a:pt x="707" y="331"/>
                  </a:lnTo>
                  <a:lnTo>
                    <a:pt x="710" y="334"/>
                  </a:lnTo>
                  <a:lnTo>
                    <a:pt x="714" y="342"/>
                  </a:lnTo>
                  <a:lnTo>
                    <a:pt x="721" y="352"/>
                  </a:lnTo>
                  <a:lnTo>
                    <a:pt x="721" y="352"/>
                  </a:lnTo>
                  <a:lnTo>
                    <a:pt x="724" y="353"/>
                  </a:lnTo>
                  <a:lnTo>
                    <a:pt x="726" y="352"/>
                  </a:lnTo>
                  <a:lnTo>
                    <a:pt x="732" y="348"/>
                  </a:lnTo>
                  <a:lnTo>
                    <a:pt x="732" y="348"/>
                  </a:lnTo>
                  <a:lnTo>
                    <a:pt x="732" y="345"/>
                  </a:lnTo>
                  <a:lnTo>
                    <a:pt x="732" y="342"/>
                  </a:lnTo>
                  <a:lnTo>
                    <a:pt x="729" y="336"/>
                  </a:lnTo>
                  <a:lnTo>
                    <a:pt x="729" y="336"/>
                  </a:lnTo>
                  <a:close/>
                  <a:moveTo>
                    <a:pt x="804" y="459"/>
                  </a:moveTo>
                  <a:lnTo>
                    <a:pt x="804" y="459"/>
                  </a:lnTo>
                  <a:lnTo>
                    <a:pt x="792" y="457"/>
                  </a:lnTo>
                  <a:lnTo>
                    <a:pt x="788" y="457"/>
                  </a:lnTo>
                  <a:lnTo>
                    <a:pt x="787" y="459"/>
                  </a:lnTo>
                  <a:lnTo>
                    <a:pt x="787" y="460"/>
                  </a:lnTo>
                  <a:lnTo>
                    <a:pt x="787" y="460"/>
                  </a:lnTo>
                  <a:lnTo>
                    <a:pt x="789" y="463"/>
                  </a:lnTo>
                  <a:lnTo>
                    <a:pt x="794" y="468"/>
                  </a:lnTo>
                  <a:lnTo>
                    <a:pt x="804" y="473"/>
                  </a:lnTo>
                  <a:lnTo>
                    <a:pt x="804" y="473"/>
                  </a:lnTo>
                  <a:lnTo>
                    <a:pt x="813" y="479"/>
                  </a:lnTo>
                  <a:lnTo>
                    <a:pt x="818" y="481"/>
                  </a:lnTo>
                  <a:lnTo>
                    <a:pt x="822" y="479"/>
                  </a:lnTo>
                  <a:lnTo>
                    <a:pt x="822" y="479"/>
                  </a:lnTo>
                  <a:lnTo>
                    <a:pt x="825" y="478"/>
                  </a:lnTo>
                  <a:lnTo>
                    <a:pt x="825" y="476"/>
                  </a:lnTo>
                  <a:lnTo>
                    <a:pt x="819" y="469"/>
                  </a:lnTo>
                  <a:lnTo>
                    <a:pt x="819" y="469"/>
                  </a:lnTo>
                  <a:lnTo>
                    <a:pt x="816" y="466"/>
                  </a:lnTo>
                  <a:lnTo>
                    <a:pt x="810" y="462"/>
                  </a:lnTo>
                  <a:lnTo>
                    <a:pt x="804" y="459"/>
                  </a:lnTo>
                  <a:lnTo>
                    <a:pt x="804" y="459"/>
                  </a:lnTo>
                  <a:close/>
                  <a:moveTo>
                    <a:pt x="909" y="388"/>
                  </a:moveTo>
                  <a:lnTo>
                    <a:pt x="909" y="388"/>
                  </a:lnTo>
                  <a:lnTo>
                    <a:pt x="914" y="392"/>
                  </a:lnTo>
                  <a:lnTo>
                    <a:pt x="920" y="396"/>
                  </a:lnTo>
                  <a:lnTo>
                    <a:pt x="929" y="401"/>
                  </a:lnTo>
                  <a:lnTo>
                    <a:pt x="932" y="402"/>
                  </a:lnTo>
                  <a:lnTo>
                    <a:pt x="933" y="402"/>
                  </a:lnTo>
                  <a:lnTo>
                    <a:pt x="933" y="402"/>
                  </a:lnTo>
                  <a:lnTo>
                    <a:pt x="936" y="399"/>
                  </a:lnTo>
                  <a:lnTo>
                    <a:pt x="939" y="395"/>
                  </a:lnTo>
                  <a:lnTo>
                    <a:pt x="941" y="386"/>
                  </a:lnTo>
                  <a:lnTo>
                    <a:pt x="941" y="386"/>
                  </a:lnTo>
                  <a:lnTo>
                    <a:pt x="941" y="383"/>
                  </a:lnTo>
                  <a:lnTo>
                    <a:pt x="938" y="380"/>
                  </a:lnTo>
                  <a:lnTo>
                    <a:pt x="932" y="373"/>
                  </a:lnTo>
                  <a:lnTo>
                    <a:pt x="923" y="365"/>
                  </a:lnTo>
                  <a:lnTo>
                    <a:pt x="923" y="365"/>
                  </a:lnTo>
                  <a:lnTo>
                    <a:pt x="915" y="367"/>
                  </a:lnTo>
                  <a:lnTo>
                    <a:pt x="911" y="368"/>
                  </a:lnTo>
                  <a:lnTo>
                    <a:pt x="908" y="374"/>
                  </a:lnTo>
                  <a:lnTo>
                    <a:pt x="908" y="374"/>
                  </a:lnTo>
                  <a:lnTo>
                    <a:pt x="906" y="377"/>
                  </a:lnTo>
                  <a:lnTo>
                    <a:pt x="906" y="382"/>
                  </a:lnTo>
                  <a:lnTo>
                    <a:pt x="909" y="388"/>
                  </a:lnTo>
                  <a:lnTo>
                    <a:pt x="909" y="388"/>
                  </a:lnTo>
                  <a:close/>
                  <a:moveTo>
                    <a:pt x="958" y="388"/>
                  </a:moveTo>
                  <a:lnTo>
                    <a:pt x="958" y="388"/>
                  </a:lnTo>
                  <a:lnTo>
                    <a:pt x="954" y="395"/>
                  </a:lnTo>
                  <a:lnTo>
                    <a:pt x="951" y="401"/>
                  </a:lnTo>
                  <a:lnTo>
                    <a:pt x="951" y="401"/>
                  </a:lnTo>
                  <a:lnTo>
                    <a:pt x="951" y="405"/>
                  </a:lnTo>
                  <a:lnTo>
                    <a:pt x="951" y="411"/>
                  </a:lnTo>
                  <a:lnTo>
                    <a:pt x="952" y="416"/>
                  </a:lnTo>
                  <a:lnTo>
                    <a:pt x="955" y="420"/>
                  </a:lnTo>
                  <a:lnTo>
                    <a:pt x="955" y="420"/>
                  </a:lnTo>
                  <a:lnTo>
                    <a:pt x="958" y="426"/>
                  </a:lnTo>
                  <a:lnTo>
                    <a:pt x="961" y="433"/>
                  </a:lnTo>
                  <a:lnTo>
                    <a:pt x="963" y="441"/>
                  </a:lnTo>
                  <a:lnTo>
                    <a:pt x="963" y="445"/>
                  </a:lnTo>
                  <a:lnTo>
                    <a:pt x="963" y="445"/>
                  </a:lnTo>
                  <a:lnTo>
                    <a:pt x="961" y="451"/>
                  </a:lnTo>
                  <a:lnTo>
                    <a:pt x="958" y="456"/>
                  </a:lnTo>
                  <a:lnTo>
                    <a:pt x="955" y="460"/>
                  </a:lnTo>
                  <a:lnTo>
                    <a:pt x="954" y="463"/>
                  </a:lnTo>
                  <a:lnTo>
                    <a:pt x="954" y="463"/>
                  </a:lnTo>
                  <a:lnTo>
                    <a:pt x="955" y="465"/>
                  </a:lnTo>
                  <a:lnTo>
                    <a:pt x="958" y="465"/>
                  </a:lnTo>
                  <a:lnTo>
                    <a:pt x="966" y="463"/>
                  </a:lnTo>
                  <a:lnTo>
                    <a:pt x="966" y="463"/>
                  </a:lnTo>
                  <a:lnTo>
                    <a:pt x="970" y="460"/>
                  </a:lnTo>
                  <a:lnTo>
                    <a:pt x="975" y="456"/>
                  </a:lnTo>
                  <a:lnTo>
                    <a:pt x="979" y="451"/>
                  </a:lnTo>
                  <a:lnTo>
                    <a:pt x="986" y="447"/>
                  </a:lnTo>
                  <a:lnTo>
                    <a:pt x="986" y="447"/>
                  </a:lnTo>
                  <a:lnTo>
                    <a:pt x="1003" y="441"/>
                  </a:lnTo>
                  <a:lnTo>
                    <a:pt x="1012" y="438"/>
                  </a:lnTo>
                  <a:lnTo>
                    <a:pt x="1018" y="438"/>
                  </a:lnTo>
                  <a:lnTo>
                    <a:pt x="1018" y="438"/>
                  </a:lnTo>
                  <a:lnTo>
                    <a:pt x="1023" y="438"/>
                  </a:lnTo>
                  <a:lnTo>
                    <a:pt x="1028" y="435"/>
                  </a:lnTo>
                  <a:lnTo>
                    <a:pt x="1037" y="429"/>
                  </a:lnTo>
                  <a:lnTo>
                    <a:pt x="1037" y="429"/>
                  </a:lnTo>
                  <a:lnTo>
                    <a:pt x="1060" y="407"/>
                  </a:lnTo>
                  <a:lnTo>
                    <a:pt x="1060" y="407"/>
                  </a:lnTo>
                  <a:lnTo>
                    <a:pt x="1062" y="404"/>
                  </a:lnTo>
                  <a:lnTo>
                    <a:pt x="1059" y="401"/>
                  </a:lnTo>
                  <a:lnTo>
                    <a:pt x="1050" y="395"/>
                  </a:lnTo>
                  <a:lnTo>
                    <a:pt x="1050" y="395"/>
                  </a:lnTo>
                  <a:lnTo>
                    <a:pt x="1046" y="392"/>
                  </a:lnTo>
                  <a:lnTo>
                    <a:pt x="1041" y="388"/>
                  </a:lnTo>
                  <a:lnTo>
                    <a:pt x="1038" y="385"/>
                  </a:lnTo>
                  <a:lnTo>
                    <a:pt x="1032" y="380"/>
                  </a:lnTo>
                  <a:lnTo>
                    <a:pt x="1032" y="380"/>
                  </a:lnTo>
                  <a:lnTo>
                    <a:pt x="1028" y="377"/>
                  </a:lnTo>
                  <a:lnTo>
                    <a:pt x="1022" y="376"/>
                  </a:lnTo>
                  <a:lnTo>
                    <a:pt x="1004" y="374"/>
                  </a:lnTo>
                  <a:lnTo>
                    <a:pt x="986" y="376"/>
                  </a:lnTo>
                  <a:lnTo>
                    <a:pt x="975" y="377"/>
                  </a:lnTo>
                  <a:lnTo>
                    <a:pt x="975" y="377"/>
                  </a:lnTo>
                  <a:lnTo>
                    <a:pt x="969" y="379"/>
                  </a:lnTo>
                  <a:lnTo>
                    <a:pt x="963" y="383"/>
                  </a:lnTo>
                  <a:lnTo>
                    <a:pt x="958" y="388"/>
                  </a:lnTo>
                  <a:lnTo>
                    <a:pt x="958" y="388"/>
                  </a:lnTo>
                  <a:close/>
                  <a:moveTo>
                    <a:pt x="134" y="730"/>
                  </a:moveTo>
                  <a:lnTo>
                    <a:pt x="134" y="730"/>
                  </a:lnTo>
                  <a:lnTo>
                    <a:pt x="145" y="731"/>
                  </a:lnTo>
                  <a:lnTo>
                    <a:pt x="156" y="731"/>
                  </a:lnTo>
                  <a:lnTo>
                    <a:pt x="156" y="731"/>
                  </a:lnTo>
                  <a:lnTo>
                    <a:pt x="159" y="731"/>
                  </a:lnTo>
                  <a:lnTo>
                    <a:pt x="160" y="730"/>
                  </a:lnTo>
                  <a:lnTo>
                    <a:pt x="159" y="724"/>
                  </a:lnTo>
                  <a:lnTo>
                    <a:pt x="159" y="724"/>
                  </a:lnTo>
                  <a:lnTo>
                    <a:pt x="160" y="721"/>
                  </a:lnTo>
                  <a:lnTo>
                    <a:pt x="165" y="716"/>
                  </a:lnTo>
                  <a:lnTo>
                    <a:pt x="165" y="716"/>
                  </a:lnTo>
                  <a:lnTo>
                    <a:pt x="165" y="715"/>
                  </a:lnTo>
                  <a:lnTo>
                    <a:pt x="166" y="712"/>
                  </a:lnTo>
                  <a:lnTo>
                    <a:pt x="163" y="704"/>
                  </a:lnTo>
                  <a:lnTo>
                    <a:pt x="160" y="699"/>
                  </a:lnTo>
                  <a:lnTo>
                    <a:pt x="157" y="693"/>
                  </a:lnTo>
                  <a:lnTo>
                    <a:pt x="157" y="693"/>
                  </a:lnTo>
                  <a:lnTo>
                    <a:pt x="154" y="691"/>
                  </a:lnTo>
                  <a:lnTo>
                    <a:pt x="150" y="691"/>
                  </a:lnTo>
                  <a:lnTo>
                    <a:pt x="139" y="691"/>
                  </a:lnTo>
                  <a:lnTo>
                    <a:pt x="126" y="693"/>
                  </a:lnTo>
                  <a:lnTo>
                    <a:pt x="126" y="693"/>
                  </a:lnTo>
                  <a:lnTo>
                    <a:pt x="123" y="696"/>
                  </a:lnTo>
                  <a:lnTo>
                    <a:pt x="123" y="700"/>
                  </a:lnTo>
                  <a:lnTo>
                    <a:pt x="123" y="700"/>
                  </a:lnTo>
                  <a:lnTo>
                    <a:pt x="125" y="702"/>
                  </a:lnTo>
                  <a:lnTo>
                    <a:pt x="126" y="704"/>
                  </a:lnTo>
                  <a:lnTo>
                    <a:pt x="129" y="707"/>
                  </a:lnTo>
                  <a:lnTo>
                    <a:pt x="129" y="707"/>
                  </a:lnTo>
                  <a:lnTo>
                    <a:pt x="131" y="710"/>
                  </a:lnTo>
                  <a:lnTo>
                    <a:pt x="129" y="710"/>
                  </a:lnTo>
                  <a:lnTo>
                    <a:pt x="122" y="710"/>
                  </a:lnTo>
                  <a:lnTo>
                    <a:pt x="122" y="710"/>
                  </a:lnTo>
                  <a:lnTo>
                    <a:pt x="116" y="712"/>
                  </a:lnTo>
                  <a:lnTo>
                    <a:pt x="114" y="712"/>
                  </a:lnTo>
                  <a:lnTo>
                    <a:pt x="113" y="715"/>
                  </a:lnTo>
                  <a:lnTo>
                    <a:pt x="113" y="715"/>
                  </a:lnTo>
                  <a:lnTo>
                    <a:pt x="114" y="716"/>
                  </a:lnTo>
                  <a:lnTo>
                    <a:pt x="116" y="719"/>
                  </a:lnTo>
                  <a:lnTo>
                    <a:pt x="119" y="721"/>
                  </a:lnTo>
                  <a:lnTo>
                    <a:pt x="122" y="722"/>
                  </a:lnTo>
                  <a:lnTo>
                    <a:pt x="122" y="722"/>
                  </a:lnTo>
                  <a:lnTo>
                    <a:pt x="125" y="724"/>
                  </a:lnTo>
                  <a:lnTo>
                    <a:pt x="128" y="725"/>
                  </a:lnTo>
                  <a:lnTo>
                    <a:pt x="131" y="728"/>
                  </a:lnTo>
                  <a:lnTo>
                    <a:pt x="134" y="730"/>
                  </a:lnTo>
                  <a:lnTo>
                    <a:pt x="134" y="73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4" name="Freeform 33">
              <a:extLst>
                <a:ext uri="{FF2B5EF4-FFF2-40B4-BE49-F238E27FC236}">
                  <a16:creationId xmlns:a16="http://schemas.microsoft.com/office/drawing/2014/main" id="{9182B550-0702-ED4E-906B-FEEDABD190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9688" y="3233738"/>
              <a:ext cx="3221038" cy="3709987"/>
            </a:xfrm>
            <a:custGeom>
              <a:avLst/>
              <a:gdLst>
                <a:gd name="T0" fmla="*/ 936 w 2029"/>
                <a:gd name="T1" fmla="*/ 2321 h 2337"/>
                <a:gd name="T2" fmla="*/ 1130 w 2029"/>
                <a:gd name="T3" fmla="*/ 2320 h 2337"/>
                <a:gd name="T4" fmla="*/ 1318 w 2029"/>
                <a:gd name="T5" fmla="*/ 2326 h 2337"/>
                <a:gd name="T6" fmla="*/ 1481 w 2029"/>
                <a:gd name="T7" fmla="*/ 2269 h 2337"/>
                <a:gd name="T8" fmla="*/ 1622 w 2029"/>
                <a:gd name="T9" fmla="*/ 2179 h 2337"/>
                <a:gd name="T10" fmla="*/ 1620 w 2029"/>
                <a:gd name="T11" fmla="*/ 2046 h 2337"/>
                <a:gd name="T12" fmla="*/ 1530 w 2029"/>
                <a:gd name="T13" fmla="*/ 1927 h 2337"/>
                <a:gd name="T14" fmla="*/ 1549 w 2029"/>
                <a:gd name="T15" fmla="*/ 1809 h 2337"/>
                <a:gd name="T16" fmla="*/ 1669 w 2029"/>
                <a:gd name="T17" fmla="*/ 1674 h 2337"/>
                <a:gd name="T18" fmla="*/ 1782 w 2029"/>
                <a:gd name="T19" fmla="*/ 1586 h 2337"/>
                <a:gd name="T20" fmla="*/ 1697 w 2029"/>
                <a:gd name="T21" fmla="*/ 1427 h 2337"/>
                <a:gd name="T22" fmla="*/ 1712 w 2029"/>
                <a:gd name="T23" fmla="*/ 1237 h 2337"/>
                <a:gd name="T24" fmla="*/ 1839 w 2029"/>
                <a:gd name="T25" fmla="*/ 1200 h 2337"/>
                <a:gd name="T26" fmla="*/ 1896 w 2029"/>
                <a:gd name="T27" fmla="*/ 1187 h 2337"/>
                <a:gd name="T28" fmla="*/ 1805 w 2029"/>
                <a:gd name="T29" fmla="*/ 964 h 2337"/>
                <a:gd name="T30" fmla="*/ 1866 w 2029"/>
                <a:gd name="T31" fmla="*/ 868 h 2337"/>
                <a:gd name="T32" fmla="*/ 1921 w 2029"/>
                <a:gd name="T33" fmla="*/ 779 h 2337"/>
                <a:gd name="T34" fmla="*/ 1986 w 2029"/>
                <a:gd name="T35" fmla="*/ 705 h 2337"/>
                <a:gd name="T36" fmla="*/ 1950 w 2029"/>
                <a:gd name="T37" fmla="*/ 588 h 2337"/>
                <a:gd name="T38" fmla="*/ 1913 w 2029"/>
                <a:gd name="T39" fmla="*/ 480 h 2337"/>
                <a:gd name="T40" fmla="*/ 2017 w 2029"/>
                <a:gd name="T41" fmla="*/ 378 h 2337"/>
                <a:gd name="T42" fmla="*/ 1881 w 2029"/>
                <a:gd name="T43" fmla="*/ 258 h 2337"/>
                <a:gd name="T44" fmla="*/ 1931 w 2029"/>
                <a:gd name="T45" fmla="*/ 82 h 2337"/>
                <a:gd name="T46" fmla="*/ 1807 w 2029"/>
                <a:gd name="T47" fmla="*/ 43 h 2337"/>
                <a:gd name="T48" fmla="*/ 1727 w 2029"/>
                <a:gd name="T49" fmla="*/ 70 h 2337"/>
                <a:gd name="T50" fmla="*/ 1425 w 2029"/>
                <a:gd name="T51" fmla="*/ 199 h 2337"/>
                <a:gd name="T52" fmla="*/ 1318 w 2029"/>
                <a:gd name="T53" fmla="*/ 191 h 2337"/>
                <a:gd name="T54" fmla="*/ 1207 w 2029"/>
                <a:gd name="T55" fmla="*/ 329 h 2337"/>
                <a:gd name="T56" fmla="*/ 1152 w 2029"/>
                <a:gd name="T57" fmla="*/ 305 h 2337"/>
                <a:gd name="T58" fmla="*/ 1012 w 2029"/>
                <a:gd name="T59" fmla="*/ 322 h 2337"/>
                <a:gd name="T60" fmla="*/ 1044 w 2029"/>
                <a:gd name="T61" fmla="*/ 376 h 2337"/>
                <a:gd name="T62" fmla="*/ 1037 w 2029"/>
                <a:gd name="T63" fmla="*/ 479 h 2337"/>
                <a:gd name="T64" fmla="*/ 920 w 2029"/>
                <a:gd name="T65" fmla="*/ 587 h 2337"/>
                <a:gd name="T66" fmla="*/ 853 w 2029"/>
                <a:gd name="T67" fmla="*/ 692 h 2337"/>
                <a:gd name="T68" fmla="*/ 718 w 2029"/>
                <a:gd name="T69" fmla="*/ 622 h 2337"/>
                <a:gd name="T70" fmla="*/ 698 w 2029"/>
                <a:gd name="T71" fmla="*/ 554 h 2337"/>
                <a:gd name="T72" fmla="*/ 630 w 2029"/>
                <a:gd name="T73" fmla="*/ 483 h 2337"/>
                <a:gd name="T74" fmla="*/ 492 w 2029"/>
                <a:gd name="T75" fmla="*/ 520 h 2337"/>
                <a:gd name="T76" fmla="*/ 400 w 2029"/>
                <a:gd name="T77" fmla="*/ 628 h 2337"/>
                <a:gd name="T78" fmla="*/ 200 w 2029"/>
                <a:gd name="T79" fmla="*/ 633 h 2337"/>
                <a:gd name="T80" fmla="*/ 141 w 2029"/>
                <a:gd name="T81" fmla="*/ 618 h 2337"/>
                <a:gd name="T82" fmla="*/ 102 w 2029"/>
                <a:gd name="T83" fmla="*/ 616 h 2337"/>
                <a:gd name="T84" fmla="*/ 129 w 2029"/>
                <a:gd name="T85" fmla="*/ 729 h 2337"/>
                <a:gd name="T86" fmla="*/ 196 w 2029"/>
                <a:gd name="T87" fmla="*/ 865 h 2337"/>
                <a:gd name="T88" fmla="*/ 141 w 2029"/>
                <a:gd name="T89" fmla="*/ 964 h 2337"/>
                <a:gd name="T90" fmla="*/ 113 w 2029"/>
                <a:gd name="T91" fmla="*/ 1055 h 2337"/>
                <a:gd name="T92" fmla="*/ 42 w 2029"/>
                <a:gd name="T93" fmla="*/ 1210 h 2337"/>
                <a:gd name="T94" fmla="*/ 22 w 2029"/>
                <a:gd name="T95" fmla="*/ 1397 h 2337"/>
                <a:gd name="T96" fmla="*/ 79 w 2029"/>
                <a:gd name="T97" fmla="*/ 1546 h 2337"/>
                <a:gd name="T98" fmla="*/ 34 w 2029"/>
                <a:gd name="T99" fmla="*/ 1659 h 2337"/>
                <a:gd name="T100" fmla="*/ 129 w 2029"/>
                <a:gd name="T101" fmla="*/ 1678 h 2337"/>
                <a:gd name="T102" fmla="*/ 166 w 2029"/>
                <a:gd name="T103" fmla="*/ 1723 h 2337"/>
                <a:gd name="T104" fmla="*/ 236 w 2029"/>
                <a:gd name="T105" fmla="*/ 1838 h 2337"/>
                <a:gd name="T106" fmla="*/ 273 w 2029"/>
                <a:gd name="T107" fmla="*/ 1977 h 2337"/>
                <a:gd name="T108" fmla="*/ 313 w 2029"/>
                <a:gd name="T109" fmla="*/ 2069 h 2337"/>
                <a:gd name="T110" fmla="*/ 301 w 2029"/>
                <a:gd name="T111" fmla="*/ 2226 h 2337"/>
                <a:gd name="T112" fmla="*/ 403 w 2029"/>
                <a:gd name="T113" fmla="*/ 2198 h 2337"/>
                <a:gd name="T114" fmla="*/ 492 w 2029"/>
                <a:gd name="T115" fmla="*/ 2203 h 2337"/>
                <a:gd name="T116" fmla="*/ 542 w 2029"/>
                <a:gd name="T117" fmla="*/ 2108 h 2337"/>
                <a:gd name="T118" fmla="*/ 655 w 2029"/>
                <a:gd name="T119" fmla="*/ 2016 h 2337"/>
                <a:gd name="T120" fmla="*/ 744 w 2029"/>
                <a:gd name="T121" fmla="*/ 2089 h 2337"/>
                <a:gd name="T122" fmla="*/ 822 w 2029"/>
                <a:gd name="T123" fmla="*/ 2140 h 2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9" h="2337">
                  <a:moveTo>
                    <a:pt x="866" y="2204"/>
                  </a:moveTo>
                  <a:lnTo>
                    <a:pt x="866" y="2204"/>
                  </a:lnTo>
                  <a:lnTo>
                    <a:pt x="872" y="2213"/>
                  </a:lnTo>
                  <a:lnTo>
                    <a:pt x="875" y="2222"/>
                  </a:lnTo>
                  <a:lnTo>
                    <a:pt x="877" y="2228"/>
                  </a:lnTo>
                  <a:lnTo>
                    <a:pt x="877" y="2235"/>
                  </a:lnTo>
                  <a:lnTo>
                    <a:pt x="877" y="2235"/>
                  </a:lnTo>
                  <a:lnTo>
                    <a:pt x="878" y="2246"/>
                  </a:lnTo>
                  <a:lnTo>
                    <a:pt x="881" y="2253"/>
                  </a:lnTo>
                  <a:lnTo>
                    <a:pt x="889" y="2266"/>
                  </a:lnTo>
                  <a:lnTo>
                    <a:pt x="889" y="2266"/>
                  </a:lnTo>
                  <a:lnTo>
                    <a:pt x="895" y="2277"/>
                  </a:lnTo>
                  <a:lnTo>
                    <a:pt x="896" y="2278"/>
                  </a:lnTo>
                  <a:lnTo>
                    <a:pt x="898" y="2277"/>
                  </a:lnTo>
                  <a:lnTo>
                    <a:pt x="898" y="2277"/>
                  </a:lnTo>
                  <a:lnTo>
                    <a:pt x="898" y="2272"/>
                  </a:lnTo>
                  <a:lnTo>
                    <a:pt x="899" y="2268"/>
                  </a:lnTo>
                  <a:lnTo>
                    <a:pt x="899" y="2265"/>
                  </a:lnTo>
                  <a:lnTo>
                    <a:pt x="901" y="2263"/>
                  </a:lnTo>
                  <a:lnTo>
                    <a:pt x="902" y="2265"/>
                  </a:lnTo>
                  <a:lnTo>
                    <a:pt x="902" y="2265"/>
                  </a:lnTo>
                  <a:lnTo>
                    <a:pt x="905" y="2266"/>
                  </a:lnTo>
                  <a:lnTo>
                    <a:pt x="906" y="2269"/>
                  </a:lnTo>
                  <a:lnTo>
                    <a:pt x="908" y="2275"/>
                  </a:lnTo>
                  <a:lnTo>
                    <a:pt x="911" y="2283"/>
                  </a:lnTo>
                  <a:lnTo>
                    <a:pt x="911" y="2283"/>
                  </a:lnTo>
                  <a:lnTo>
                    <a:pt x="915" y="2293"/>
                  </a:lnTo>
                  <a:lnTo>
                    <a:pt x="924" y="2302"/>
                  </a:lnTo>
                  <a:lnTo>
                    <a:pt x="924" y="2302"/>
                  </a:lnTo>
                  <a:lnTo>
                    <a:pt x="930" y="2311"/>
                  </a:lnTo>
                  <a:lnTo>
                    <a:pt x="933" y="2315"/>
                  </a:lnTo>
                  <a:lnTo>
                    <a:pt x="935" y="2318"/>
                  </a:lnTo>
                  <a:lnTo>
                    <a:pt x="936" y="2321"/>
                  </a:lnTo>
                  <a:lnTo>
                    <a:pt x="936" y="2321"/>
                  </a:lnTo>
                  <a:lnTo>
                    <a:pt x="939" y="2324"/>
                  </a:lnTo>
                  <a:lnTo>
                    <a:pt x="943" y="2326"/>
                  </a:lnTo>
                  <a:lnTo>
                    <a:pt x="946" y="2327"/>
                  </a:lnTo>
                  <a:lnTo>
                    <a:pt x="949" y="2330"/>
                  </a:lnTo>
                  <a:lnTo>
                    <a:pt x="949" y="2330"/>
                  </a:lnTo>
                  <a:lnTo>
                    <a:pt x="972" y="2312"/>
                  </a:lnTo>
                  <a:lnTo>
                    <a:pt x="972" y="2312"/>
                  </a:lnTo>
                  <a:lnTo>
                    <a:pt x="980" y="2302"/>
                  </a:lnTo>
                  <a:lnTo>
                    <a:pt x="986" y="2297"/>
                  </a:lnTo>
                  <a:lnTo>
                    <a:pt x="994" y="2294"/>
                  </a:lnTo>
                  <a:lnTo>
                    <a:pt x="994" y="2294"/>
                  </a:lnTo>
                  <a:lnTo>
                    <a:pt x="1013" y="2288"/>
                  </a:lnTo>
                  <a:lnTo>
                    <a:pt x="1023" y="2287"/>
                  </a:lnTo>
                  <a:lnTo>
                    <a:pt x="1034" y="2287"/>
                  </a:lnTo>
                  <a:lnTo>
                    <a:pt x="1034" y="2287"/>
                  </a:lnTo>
                  <a:lnTo>
                    <a:pt x="1041" y="2288"/>
                  </a:lnTo>
                  <a:lnTo>
                    <a:pt x="1046" y="2290"/>
                  </a:lnTo>
                  <a:lnTo>
                    <a:pt x="1052" y="2296"/>
                  </a:lnTo>
                  <a:lnTo>
                    <a:pt x="1052" y="2296"/>
                  </a:lnTo>
                  <a:lnTo>
                    <a:pt x="1056" y="2300"/>
                  </a:lnTo>
                  <a:lnTo>
                    <a:pt x="1060" y="2303"/>
                  </a:lnTo>
                  <a:lnTo>
                    <a:pt x="1065" y="2303"/>
                  </a:lnTo>
                  <a:lnTo>
                    <a:pt x="1074" y="2303"/>
                  </a:lnTo>
                  <a:lnTo>
                    <a:pt x="1074" y="2303"/>
                  </a:lnTo>
                  <a:lnTo>
                    <a:pt x="1081" y="2303"/>
                  </a:lnTo>
                  <a:lnTo>
                    <a:pt x="1086" y="2303"/>
                  </a:lnTo>
                  <a:lnTo>
                    <a:pt x="1092" y="2306"/>
                  </a:lnTo>
                  <a:lnTo>
                    <a:pt x="1099" y="2311"/>
                  </a:lnTo>
                  <a:lnTo>
                    <a:pt x="1099" y="2311"/>
                  </a:lnTo>
                  <a:lnTo>
                    <a:pt x="1109" y="2317"/>
                  </a:lnTo>
                  <a:lnTo>
                    <a:pt x="1118" y="2321"/>
                  </a:lnTo>
                  <a:lnTo>
                    <a:pt x="1126" y="2323"/>
                  </a:lnTo>
                  <a:lnTo>
                    <a:pt x="1129" y="2321"/>
                  </a:lnTo>
                  <a:lnTo>
                    <a:pt x="1130" y="2320"/>
                  </a:lnTo>
                  <a:lnTo>
                    <a:pt x="1130" y="2320"/>
                  </a:lnTo>
                  <a:lnTo>
                    <a:pt x="1132" y="2314"/>
                  </a:lnTo>
                  <a:lnTo>
                    <a:pt x="1132" y="2309"/>
                  </a:lnTo>
                  <a:lnTo>
                    <a:pt x="1133" y="2306"/>
                  </a:lnTo>
                  <a:lnTo>
                    <a:pt x="1136" y="2305"/>
                  </a:lnTo>
                  <a:lnTo>
                    <a:pt x="1137" y="2305"/>
                  </a:lnTo>
                  <a:lnTo>
                    <a:pt x="1137" y="2305"/>
                  </a:lnTo>
                  <a:lnTo>
                    <a:pt x="1146" y="2309"/>
                  </a:lnTo>
                  <a:lnTo>
                    <a:pt x="1151" y="2311"/>
                  </a:lnTo>
                  <a:lnTo>
                    <a:pt x="1157" y="2311"/>
                  </a:lnTo>
                  <a:lnTo>
                    <a:pt x="1157" y="2311"/>
                  </a:lnTo>
                  <a:lnTo>
                    <a:pt x="1166" y="2311"/>
                  </a:lnTo>
                  <a:lnTo>
                    <a:pt x="1176" y="2308"/>
                  </a:lnTo>
                  <a:lnTo>
                    <a:pt x="1192" y="2303"/>
                  </a:lnTo>
                  <a:lnTo>
                    <a:pt x="1192" y="2303"/>
                  </a:lnTo>
                  <a:lnTo>
                    <a:pt x="1195" y="2303"/>
                  </a:lnTo>
                  <a:lnTo>
                    <a:pt x="1201" y="2306"/>
                  </a:lnTo>
                  <a:lnTo>
                    <a:pt x="1214" y="2314"/>
                  </a:lnTo>
                  <a:lnTo>
                    <a:pt x="1214" y="2314"/>
                  </a:lnTo>
                  <a:lnTo>
                    <a:pt x="1222" y="2317"/>
                  </a:lnTo>
                  <a:lnTo>
                    <a:pt x="1226" y="2320"/>
                  </a:lnTo>
                  <a:lnTo>
                    <a:pt x="1238" y="2328"/>
                  </a:lnTo>
                  <a:lnTo>
                    <a:pt x="1238" y="2328"/>
                  </a:lnTo>
                  <a:lnTo>
                    <a:pt x="1247" y="2333"/>
                  </a:lnTo>
                  <a:lnTo>
                    <a:pt x="1256" y="2336"/>
                  </a:lnTo>
                  <a:lnTo>
                    <a:pt x="1263" y="2337"/>
                  </a:lnTo>
                  <a:lnTo>
                    <a:pt x="1268" y="2337"/>
                  </a:lnTo>
                  <a:lnTo>
                    <a:pt x="1268" y="2337"/>
                  </a:lnTo>
                  <a:lnTo>
                    <a:pt x="1296" y="2328"/>
                  </a:lnTo>
                  <a:lnTo>
                    <a:pt x="1296" y="2328"/>
                  </a:lnTo>
                  <a:lnTo>
                    <a:pt x="1302" y="2327"/>
                  </a:lnTo>
                  <a:lnTo>
                    <a:pt x="1308" y="2327"/>
                  </a:lnTo>
                  <a:lnTo>
                    <a:pt x="1314" y="2327"/>
                  </a:lnTo>
                  <a:lnTo>
                    <a:pt x="1318" y="2326"/>
                  </a:lnTo>
                  <a:lnTo>
                    <a:pt x="1318" y="2326"/>
                  </a:lnTo>
                  <a:lnTo>
                    <a:pt x="1326" y="2320"/>
                  </a:lnTo>
                  <a:lnTo>
                    <a:pt x="1330" y="2317"/>
                  </a:lnTo>
                  <a:lnTo>
                    <a:pt x="1336" y="2315"/>
                  </a:lnTo>
                  <a:lnTo>
                    <a:pt x="1336" y="2315"/>
                  </a:lnTo>
                  <a:lnTo>
                    <a:pt x="1343" y="2317"/>
                  </a:lnTo>
                  <a:lnTo>
                    <a:pt x="1349" y="2318"/>
                  </a:lnTo>
                  <a:lnTo>
                    <a:pt x="1361" y="2323"/>
                  </a:lnTo>
                  <a:lnTo>
                    <a:pt x="1361" y="2323"/>
                  </a:lnTo>
                  <a:lnTo>
                    <a:pt x="1364" y="2324"/>
                  </a:lnTo>
                  <a:lnTo>
                    <a:pt x="1367" y="2323"/>
                  </a:lnTo>
                  <a:lnTo>
                    <a:pt x="1376" y="2320"/>
                  </a:lnTo>
                  <a:lnTo>
                    <a:pt x="1392" y="2309"/>
                  </a:lnTo>
                  <a:lnTo>
                    <a:pt x="1392" y="2309"/>
                  </a:lnTo>
                  <a:lnTo>
                    <a:pt x="1404" y="2303"/>
                  </a:lnTo>
                  <a:lnTo>
                    <a:pt x="1411" y="2299"/>
                  </a:lnTo>
                  <a:lnTo>
                    <a:pt x="1411" y="2299"/>
                  </a:lnTo>
                  <a:lnTo>
                    <a:pt x="1416" y="2296"/>
                  </a:lnTo>
                  <a:lnTo>
                    <a:pt x="1420" y="2294"/>
                  </a:lnTo>
                  <a:lnTo>
                    <a:pt x="1432" y="2293"/>
                  </a:lnTo>
                  <a:lnTo>
                    <a:pt x="1432" y="2293"/>
                  </a:lnTo>
                  <a:lnTo>
                    <a:pt x="1440" y="2293"/>
                  </a:lnTo>
                  <a:lnTo>
                    <a:pt x="1441" y="2291"/>
                  </a:lnTo>
                  <a:lnTo>
                    <a:pt x="1442" y="2288"/>
                  </a:lnTo>
                  <a:lnTo>
                    <a:pt x="1442" y="2288"/>
                  </a:lnTo>
                  <a:lnTo>
                    <a:pt x="1444" y="2284"/>
                  </a:lnTo>
                  <a:lnTo>
                    <a:pt x="1450" y="2280"/>
                  </a:lnTo>
                  <a:lnTo>
                    <a:pt x="1456" y="2278"/>
                  </a:lnTo>
                  <a:lnTo>
                    <a:pt x="1460" y="2277"/>
                  </a:lnTo>
                  <a:lnTo>
                    <a:pt x="1460" y="2277"/>
                  </a:lnTo>
                  <a:lnTo>
                    <a:pt x="1465" y="2278"/>
                  </a:lnTo>
                  <a:lnTo>
                    <a:pt x="1469" y="2277"/>
                  </a:lnTo>
                  <a:lnTo>
                    <a:pt x="1475" y="2274"/>
                  </a:lnTo>
                  <a:lnTo>
                    <a:pt x="1481" y="2269"/>
                  </a:lnTo>
                  <a:lnTo>
                    <a:pt x="1481" y="2269"/>
                  </a:lnTo>
                  <a:lnTo>
                    <a:pt x="1482" y="2268"/>
                  </a:lnTo>
                  <a:lnTo>
                    <a:pt x="1485" y="2266"/>
                  </a:lnTo>
                  <a:lnTo>
                    <a:pt x="1493" y="2266"/>
                  </a:lnTo>
                  <a:lnTo>
                    <a:pt x="1502" y="2268"/>
                  </a:lnTo>
                  <a:lnTo>
                    <a:pt x="1514" y="2268"/>
                  </a:lnTo>
                  <a:lnTo>
                    <a:pt x="1514" y="2268"/>
                  </a:lnTo>
                  <a:lnTo>
                    <a:pt x="1533" y="2266"/>
                  </a:lnTo>
                  <a:lnTo>
                    <a:pt x="1534" y="2265"/>
                  </a:lnTo>
                  <a:lnTo>
                    <a:pt x="1536" y="2263"/>
                  </a:lnTo>
                  <a:lnTo>
                    <a:pt x="1537" y="2260"/>
                  </a:lnTo>
                  <a:lnTo>
                    <a:pt x="1536" y="2257"/>
                  </a:lnTo>
                  <a:lnTo>
                    <a:pt x="1536" y="2257"/>
                  </a:lnTo>
                  <a:lnTo>
                    <a:pt x="1534" y="2250"/>
                  </a:lnTo>
                  <a:lnTo>
                    <a:pt x="1534" y="2244"/>
                  </a:lnTo>
                  <a:lnTo>
                    <a:pt x="1537" y="2238"/>
                  </a:lnTo>
                  <a:lnTo>
                    <a:pt x="1545" y="2232"/>
                  </a:lnTo>
                  <a:lnTo>
                    <a:pt x="1545" y="2232"/>
                  </a:lnTo>
                  <a:lnTo>
                    <a:pt x="1565" y="2219"/>
                  </a:lnTo>
                  <a:lnTo>
                    <a:pt x="1574" y="2214"/>
                  </a:lnTo>
                  <a:lnTo>
                    <a:pt x="1582" y="2211"/>
                  </a:lnTo>
                  <a:lnTo>
                    <a:pt x="1582" y="2211"/>
                  </a:lnTo>
                  <a:lnTo>
                    <a:pt x="1589" y="2210"/>
                  </a:lnTo>
                  <a:lnTo>
                    <a:pt x="1592" y="2210"/>
                  </a:lnTo>
                  <a:lnTo>
                    <a:pt x="1596" y="2207"/>
                  </a:lnTo>
                  <a:lnTo>
                    <a:pt x="1596" y="2207"/>
                  </a:lnTo>
                  <a:lnTo>
                    <a:pt x="1610" y="2198"/>
                  </a:lnTo>
                  <a:lnTo>
                    <a:pt x="1617" y="2195"/>
                  </a:lnTo>
                  <a:lnTo>
                    <a:pt x="1625" y="2194"/>
                  </a:lnTo>
                  <a:lnTo>
                    <a:pt x="1625" y="2194"/>
                  </a:lnTo>
                  <a:lnTo>
                    <a:pt x="1629" y="2194"/>
                  </a:lnTo>
                  <a:lnTo>
                    <a:pt x="1629" y="2194"/>
                  </a:lnTo>
                  <a:lnTo>
                    <a:pt x="1628" y="2189"/>
                  </a:lnTo>
                  <a:lnTo>
                    <a:pt x="1622" y="2179"/>
                  </a:lnTo>
                  <a:lnTo>
                    <a:pt x="1622" y="2179"/>
                  </a:lnTo>
                  <a:lnTo>
                    <a:pt x="1620" y="2174"/>
                  </a:lnTo>
                  <a:lnTo>
                    <a:pt x="1619" y="2170"/>
                  </a:lnTo>
                  <a:lnTo>
                    <a:pt x="1617" y="2167"/>
                  </a:lnTo>
                  <a:lnTo>
                    <a:pt x="1616" y="2163"/>
                  </a:lnTo>
                  <a:lnTo>
                    <a:pt x="1616" y="2163"/>
                  </a:lnTo>
                  <a:lnTo>
                    <a:pt x="1611" y="2157"/>
                  </a:lnTo>
                  <a:lnTo>
                    <a:pt x="1608" y="2149"/>
                  </a:lnTo>
                  <a:lnTo>
                    <a:pt x="1607" y="2140"/>
                  </a:lnTo>
                  <a:lnTo>
                    <a:pt x="1607" y="2137"/>
                  </a:lnTo>
                  <a:lnTo>
                    <a:pt x="1608" y="2136"/>
                  </a:lnTo>
                  <a:lnTo>
                    <a:pt x="1608" y="2136"/>
                  </a:lnTo>
                  <a:lnTo>
                    <a:pt x="1611" y="2133"/>
                  </a:lnTo>
                  <a:lnTo>
                    <a:pt x="1613" y="2129"/>
                  </a:lnTo>
                  <a:lnTo>
                    <a:pt x="1613" y="2115"/>
                  </a:lnTo>
                  <a:lnTo>
                    <a:pt x="1613" y="2115"/>
                  </a:lnTo>
                  <a:lnTo>
                    <a:pt x="1614" y="2109"/>
                  </a:lnTo>
                  <a:lnTo>
                    <a:pt x="1616" y="2103"/>
                  </a:lnTo>
                  <a:lnTo>
                    <a:pt x="1620" y="2097"/>
                  </a:lnTo>
                  <a:lnTo>
                    <a:pt x="1625" y="2092"/>
                  </a:lnTo>
                  <a:lnTo>
                    <a:pt x="1625" y="2092"/>
                  </a:lnTo>
                  <a:lnTo>
                    <a:pt x="1635" y="2084"/>
                  </a:lnTo>
                  <a:lnTo>
                    <a:pt x="1636" y="2081"/>
                  </a:lnTo>
                  <a:lnTo>
                    <a:pt x="1636" y="2077"/>
                  </a:lnTo>
                  <a:lnTo>
                    <a:pt x="1636" y="2077"/>
                  </a:lnTo>
                  <a:lnTo>
                    <a:pt x="1634" y="2074"/>
                  </a:lnTo>
                  <a:lnTo>
                    <a:pt x="1631" y="2071"/>
                  </a:lnTo>
                  <a:lnTo>
                    <a:pt x="1629" y="2069"/>
                  </a:lnTo>
                  <a:lnTo>
                    <a:pt x="1626" y="2066"/>
                  </a:lnTo>
                  <a:lnTo>
                    <a:pt x="1626" y="2066"/>
                  </a:lnTo>
                  <a:lnTo>
                    <a:pt x="1626" y="2059"/>
                  </a:lnTo>
                  <a:lnTo>
                    <a:pt x="1625" y="2054"/>
                  </a:lnTo>
                  <a:lnTo>
                    <a:pt x="1623" y="2050"/>
                  </a:lnTo>
                  <a:lnTo>
                    <a:pt x="1620" y="2046"/>
                  </a:lnTo>
                  <a:lnTo>
                    <a:pt x="1616" y="2041"/>
                  </a:lnTo>
                  <a:lnTo>
                    <a:pt x="1608" y="2037"/>
                  </a:lnTo>
                  <a:lnTo>
                    <a:pt x="1598" y="2034"/>
                  </a:lnTo>
                  <a:lnTo>
                    <a:pt x="1598" y="2034"/>
                  </a:lnTo>
                  <a:lnTo>
                    <a:pt x="1577" y="2029"/>
                  </a:lnTo>
                  <a:lnTo>
                    <a:pt x="1564" y="2023"/>
                  </a:lnTo>
                  <a:lnTo>
                    <a:pt x="1558" y="2019"/>
                  </a:lnTo>
                  <a:lnTo>
                    <a:pt x="1557" y="2017"/>
                  </a:lnTo>
                  <a:lnTo>
                    <a:pt x="1557" y="2016"/>
                  </a:lnTo>
                  <a:lnTo>
                    <a:pt x="1557" y="2016"/>
                  </a:lnTo>
                  <a:lnTo>
                    <a:pt x="1562" y="2010"/>
                  </a:lnTo>
                  <a:lnTo>
                    <a:pt x="1567" y="2007"/>
                  </a:lnTo>
                  <a:lnTo>
                    <a:pt x="1567" y="2007"/>
                  </a:lnTo>
                  <a:lnTo>
                    <a:pt x="1568" y="2004"/>
                  </a:lnTo>
                  <a:lnTo>
                    <a:pt x="1570" y="2000"/>
                  </a:lnTo>
                  <a:lnTo>
                    <a:pt x="1570" y="1989"/>
                  </a:lnTo>
                  <a:lnTo>
                    <a:pt x="1570" y="1989"/>
                  </a:lnTo>
                  <a:lnTo>
                    <a:pt x="1568" y="1979"/>
                  </a:lnTo>
                  <a:lnTo>
                    <a:pt x="1568" y="1975"/>
                  </a:lnTo>
                  <a:lnTo>
                    <a:pt x="1571" y="1972"/>
                  </a:lnTo>
                  <a:lnTo>
                    <a:pt x="1571" y="1972"/>
                  </a:lnTo>
                  <a:lnTo>
                    <a:pt x="1576" y="1970"/>
                  </a:lnTo>
                  <a:lnTo>
                    <a:pt x="1579" y="1967"/>
                  </a:lnTo>
                  <a:lnTo>
                    <a:pt x="1580" y="1964"/>
                  </a:lnTo>
                  <a:lnTo>
                    <a:pt x="1580" y="1963"/>
                  </a:lnTo>
                  <a:lnTo>
                    <a:pt x="1577" y="1961"/>
                  </a:lnTo>
                  <a:lnTo>
                    <a:pt x="1577" y="1961"/>
                  </a:lnTo>
                  <a:lnTo>
                    <a:pt x="1561" y="1952"/>
                  </a:lnTo>
                  <a:lnTo>
                    <a:pt x="1543" y="1945"/>
                  </a:lnTo>
                  <a:lnTo>
                    <a:pt x="1543" y="1945"/>
                  </a:lnTo>
                  <a:lnTo>
                    <a:pt x="1539" y="1940"/>
                  </a:lnTo>
                  <a:lnTo>
                    <a:pt x="1533" y="1935"/>
                  </a:lnTo>
                  <a:lnTo>
                    <a:pt x="1530" y="1929"/>
                  </a:lnTo>
                  <a:lnTo>
                    <a:pt x="1530" y="1927"/>
                  </a:lnTo>
                  <a:lnTo>
                    <a:pt x="1531" y="1926"/>
                  </a:lnTo>
                  <a:lnTo>
                    <a:pt x="1531" y="1926"/>
                  </a:lnTo>
                  <a:lnTo>
                    <a:pt x="1537" y="1927"/>
                  </a:lnTo>
                  <a:lnTo>
                    <a:pt x="1545" y="1929"/>
                  </a:lnTo>
                  <a:lnTo>
                    <a:pt x="1551" y="1929"/>
                  </a:lnTo>
                  <a:lnTo>
                    <a:pt x="1554" y="1929"/>
                  </a:lnTo>
                  <a:lnTo>
                    <a:pt x="1555" y="1927"/>
                  </a:lnTo>
                  <a:lnTo>
                    <a:pt x="1555" y="1927"/>
                  </a:lnTo>
                  <a:lnTo>
                    <a:pt x="1557" y="1923"/>
                  </a:lnTo>
                  <a:lnTo>
                    <a:pt x="1557" y="1920"/>
                  </a:lnTo>
                  <a:lnTo>
                    <a:pt x="1557" y="1912"/>
                  </a:lnTo>
                  <a:lnTo>
                    <a:pt x="1557" y="1912"/>
                  </a:lnTo>
                  <a:lnTo>
                    <a:pt x="1557" y="1909"/>
                  </a:lnTo>
                  <a:lnTo>
                    <a:pt x="1557" y="1906"/>
                  </a:lnTo>
                  <a:lnTo>
                    <a:pt x="1557" y="1902"/>
                  </a:lnTo>
                  <a:lnTo>
                    <a:pt x="1555" y="1897"/>
                  </a:lnTo>
                  <a:lnTo>
                    <a:pt x="1555" y="1897"/>
                  </a:lnTo>
                  <a:lnTo>
                    <a:pt x="1552" y="1892"/>
                  </a:lnTo>
                  <a:lnTo>
                    <a:pt x="1548" y="1889"/>
                  </a:lnTo>
                  <a:lnTo>
                    <a:pt x="1546" y="1886"/>
                  </a:lnTo>
                  <a:lnTo>
                    <a:pt x="1546" y="1883"/>
                  </a:lnTo>
                  <a:lnTo>
                    <a:pt x="1548" y="1881"/>
                  </a:lnTo>
                  <a:lnTo>
                    <a:pt x="1548" y="1881"/>
                  </a:lnTo>
                  <a:lnTo>
                    <a:pt x="1551" y="1875"/>
                  </a:lnTo>
                  <a:lnTo>
                    <a:pt x="1554" y="1869"/>
                  </a:lnTo>
                  <a:lnTo>
                    <a:pt x="1555" y="1865"/>
                  </a:lnTo>
                  <a:lnTo>
                    <a:pt x="1555" y="1860"/>
                  </a:lnTo>
                  <a:lnTo>
                    <a:pt x="1555" y="1860"/>
                  </a:lnTo>
                  <a:lnTo>
                    <a:pt x="1552" y="1849"/>
                  </a:lnTo>
                  <a:lnTo>
                    <a:pt x="1549" y="1841"/>
                  </a:lnTo>
                  <a:lnTo>
                    <a:pt x="1548" y="1835"/>
                  </a:lnTo>
                  <a:lnTo>
                    <a:pt x="1548" y="1835"/>
                  </a:lnTo>
                  <a:lnTo>
                    <a:pt x="1548" y="1823"/>
                  </a:lnTo>
                  <a:lnTo>
                    <a:pt x="1549" y="1809"/>
                  </a:lnTo>
                  <a:lnTo>
                    <a:pt x="1549" y="1809"/>
                  </a:lnTo>
                  <a:lnTo>
                    <a:pt x="1551" y="1800"/>
                  </a:lnTo>
                  <a:lnTo>
                    <a:pt x="1554" y="1794"/>
                  </a:lnTo>
                  <a:lnTo>
                    <a:pt x="1558" y="1782"/>
                  </a:lnTo>
                  <a:lnTo>
                    <a:pt x="1558" y="1782"/>
                  </a:lnTo>
                  <a:lnTo>
                    <a:pt x="1559" y="1779"/>
                  </a:lnTo>
                  <a:lnTo>
                    <a:pt x="1562" y="1776"/>
                  </a:lnTo>
                  <a:lnTo>
                    <a:pt x="1571" y="1769"/>
                  </a:lnTo>
                  <a:lnTo>
                    <a:pt x="1582" y="1761"/>
                  </a:lnTo>
                  <a:lnTo>
                    <a:pt x="1592" y="1757"/>
                  </a:lnTo>
                  <a:lnTo>
                    <a:pt x="1592" y="1757"/>
                  </a:lnTo>
                  <a:lnTo>
                    <a:pt x="1601" y="1754"/>
                  </a:lnTo>
                  <a:lnTo>
                    <a:pt x="1607" y="1752"/>
                  </a:lnTo>
                  <a:lnTo>
                    <a:pt x="1613" y="1752"/>
                  </a:lnTo>
                  <a:lnTo>
                    <a:pt x="1619" y="1751"/>
                  </a:lnTo>
                  <a:lnTo>
                    <a:pt x="1619" y="1751"/>
                  </a:lnTo>
                  <a:lnTo>
                    <a:pt x="1622" y="1748"/>
                  </a:lnTo>
                  <a:lnTo>
                    <a:pt x="1625" y="1745"/>
                  </a:lnTo>
                  <a:lnTo>
                    <a:pt x="1628" y="1742"/>
                  </a:lnTo>
                  <a:lnTo>
                    <a:pt x="1632" y="1739"/>
                  </a:lnTo>
                  <a:lnTo>
                    <a:pt x="1632" y="1739"/>
                  </a:lnTo>
                  <a:lnTo>
                    <a:pt x="1642" y="1735"/>
                  </a:lnTo>
                  <a:lnTo>
                    <a:pt x="1648" y="1733"/>
                  </a:lnTo>
                  <a:lnTo>
                    <a:pt x="1651" y="1730"/>
                  </a:lnTo>
                  <a:lnTo>
                    <a:pt x="1651" y="1730"/>
                  </a:lnTo>
                  <a:lnTo>
                    <a:pt x="1654" y="1726"/>
                  </a:lnTo>
                  <a:lnTo>
                    <a:pt x="1656" y="1723"/>
                  </a:lnTo>
                  <a:lnTo>
                    <a:pt x="1656" y="1717"/>
                  </a:lnTo>
                  <a:lnTo>
                    <a:pt x="1656" y="1717"/>
                  </a:lnTo>
                  <a:lnTo>
                    <a:pt x="1660" y="1696"/>
                  </a:lnTo>
                  <a:lnTo>
                    <a:pt x="1663" y="1684"/>
                  </a:lnTo>
                  <a:lnTo>
                    <a:pt x="1666" y="1675"/>
                  </a:lnTo>
                  <a:lnTo>
                    <a:pt x="1666" y="1675"/>
                  </a:lnTo>
                  <a:lnTo>
                    <a:pt x="1669" y="1674"/>
                  </a:lnTo>
                  <a:lnTo>
                    <a:pt x="1675" y="1672"/>
                  </a:lnTo>
                  <a:lnTo>
                    <a:pt x="1684" y="1671"/>
                  </a:lnTo>
                  <a:lnTo>
                    <a:pt x="1693" y="1668"/>
                  </a:lnTo>
                  <a:lnTo>
                    <a:pt x="1693" y="1668"/>
                  </a:lnTo>
                  <a:lnTo>
                    <a:pt x="1702" y="1665"/>
                  </a:lnTo>
                  <a:lnTo>
                    <a:pt x="1709" y="1663"/>
                  </a:lnTo>
                  <a:lnTo>
                    <a:pt x="1715" y="1662"/>
                  </a:lnTo>
                  <a:lnTo>
                    <a:pt x="1718" y="1661"/>
                  </a:lnTo>
                  <a:lnTo>
                    <a:pt x="1721" y="1656"/>
                  </a:lnTo>
                  <a:lnTo>
                    <a:pt x="1721" y="1656"/>
                  </a:lnTo>
                  <a:lnTo>
                    <a:pt x="1727" y="1650"/>
                  </a:lnTo>
                  <a:lnTo>
                    <a:pt x="1733" y="1647"/>
                  </a:lnTo>
                  <a:lnTo>
                    <a:pt x="1737" y="1643"/>
                  </a:lnTo>
                  <a:lnTo>
                    <a:pt x="1739" y="1634"/>
                  </a:lnTo>
                  <a:lnTo>
                    <a:pt x="1739" y="1634"/>
                  </a:lnTo>
                  <a:lnTo>
                    <a:pt x="1743" y="1612"/>
                  </a:lnTo>
                  <a:lnTo>
                    <a:pt x="1743" y="1612"/>
                  </a:lnTo>
                  <a:lnTo>
                    <a:pt x="1743" y="1604"/>
                  </a:lnTo>
                  <a:lnTo>
                    <a:pt x="1745" y="1601"/>
                  </a:lnTo>
                  <a:lnTo>
                    <a:pt x="1748" y="1597"/>
                  </a:lnTo>
                  <a:lnTo>
                    <a:pt x="1748" y="1597"/>
                  </a:lnTo>
                  <a:lnTo>
                    <a:pt x="1750" y="1588"/>
                  </a:lnTo>
                  <a:lnTo>
                    <a:pt x="1753" y="1582"/>
                  </a:lnTo>
                  <a:lnTo>
                    <a:pt x="1753" y="1582"/>
                  </a:lnTo>
                  <a:lnTo>
                    <a:pt x="1755" y="1579"/>
                  </a:lnTo>
                  <a:lnTo>
                    <a:pt x="1758" y="1578"/>
                  </a:lnTo>
                  <a:lnTo>
                    <a:pt x="1762" y="1578"/>
                  </a:lnTo>
                  <a:lnTo>
                    <a:pt x="1764" y="1579"/>
                  </a:lnTo>
                  <a:lnTo>
                    <a:pt x="1764" y="1579"/>
                  </a:lnTo>
                  <a:lnTo>
                    <a:pt x="1768" y="1586"/>
                  </a:lnTo>
                  <a:lnTo>
                    <a:pt x="1771" y="1588"/>
                  </a:lnTo>
                  <a:lnTo>
                    <a:pt x="1774" y="1589"/>
                  </a:lnTo>
                  <a:lnTo>
                    <a:pt x="1774" y="1589"/>
                  </a:lnTo>
                  <a:lnTo>
                    <a:pt x="1782" y="1586"/>
                  </a:lnTo>
                  <a:lnTo>
                    <a:pt x="1782" y="1585"/>
                  </a:lnTo>
                  <a:lnTo>
                    <a:pt x="1782" y="1582"/>
                  </a:lnTo>
                  <a:lnTo>
                    <a:pt x="1782" y="1582"/>
                  </a:lnTo>
                  <a:lnTo>
                    <a:pt x="1777" y="1578"/>
                  </a:lnTo>
                  <a:lnTo>
                    <a:pt x="1770" y="1573"/>
                  </a:lnTo>
                  <a:lnTo>
                    <a:pt x="1761" y="1566"/>
                  </a:lnTo>
                  <a:lnTo>
                    <a:pt x="1755" y="1558"/>
                  </a:lnTo>
                  <a:lnTo>
                    <a:pt x="1755" y="1558"/>
                  </a:lnTo>
                  <a:lnTo>
                    <a:pt x="1749" y="1551"/>
                  </a:lnTo>
                  <a:lnTo>
                    <a:pt x="1745" y="1545"/>
                  </a:lnTo>
                  <a:lnTo>
                    <a:pt x="1740" y="1539"/>
                  </a:lnTo>
                  <a:lnTo>
                    <a:pt x="1739" y="1533"/>
                  </a:lnTo>
                  <a:lnTo>
                    <a:pt x="1739" y="1533"/>
                  </a:lnTo>
                  <a:lnTo>
                    <a:pt x="1737" y="1514"/>
                  </a:lnTo>
                  <a:lnTo>
                    <a:pt x="1736" y="1504"/>
                  </a:lnTo>
                  <a:lnTo>
                    <a:pt x="1733" y="1496"/>
                  </a:lnTo>
                  <a:lnTo>
                    <a:pt x="1733" y="1496"/>
                  </a:lnTo>
                  <a:lnTo>
                    <a:pt x="1727" y="1492"/>
                  </a:lnTo>
                  <a:lnTo>
                    <a:pt x="1722" y="1487"/>
                  </a:lnTo>
                  <a:lnTo>
                    <a:pt x="1715" y="1483"/>
                  </a:lnTo>
                  <a:lnTo>
                    <a:pt x="1709" y="1481"/>
                  </a:lnTo>
                  <a:lnTo>
                    <a:pt x="1709" y="1481"/>
                  </a:lnTo>
                  <a:lnTo>
                    <a:pt x="1703" y="1478"/>
                  </a:lnTo>
                  <a:lnTo>
                    <a:pt x="1700" y="1475"/>
                  </a:lnTo>
                  <a:lnTo>
                    <a:pt x="1694" y="1465"/>
                  </a:lnTo>
                  <a:lnTo>
                    <a:pt x="1694" y="1465"/>
                  </a:lnTo>
                  <a:lnTo>
                    <a:pt x="1691" y="1461"/>
                  </a:lnTo>
                  <a:lnTo>
                    <a:pt x="1690" y="1455"/>
                  </a:lnTo>
                  <a:lnTo>
                    <a:pt x="1690" y="1450"/>
                  </a:lnTo>
                  <a:lnTo>
                    <a:pt x="1691" y="1446"/>
                  </a:lnTo>
                  <a:lnTo>
                    <a:pt x="1691" y="1446"/>
                  </a:lnTo>
                  <a:lnTo>
                    <a:pt x="1696" y="1435"/>
                  </a:lnTo>
                  <a:lnTo>
                    <a:pt x="1697" y="1431"/>
                  </a:lnTo>
                  <a:lnTo>
                    <a:pt x="1697" y="1427"/>
                  </a:lnTo>
                  <a:lnTo>
                    <a:pt x="1697" y="1427"/>
                  </a:lnTo>
                  <a:lnTo>
                    <a:pt x="1697" y="1421"/>
                  </a:lnTo>
                  <a:lnTo>
                    <a:pt x="1699" y="1412"/>
                  </a:lnTo>
                  <a:lnTo>
                    <a:pt x="1702" y="1398"/>
                  </a:lnTo>
                  <a:lnTo>
                    <a:pt x="1702" y="1398"/>
                  </a:lnTo>
                  <a:lnTo>
                    <a:pt x="1702" y="1395"/>
                  </a:lnTo>
                  <a:lnTo>
                    <a:pt x="1702" y="1392"/>
                  </a:lnTo>
                  <a:lnTo>
                    <a:pt x="1703" y="1388"/>
                  </a:lnTo>
                  <a:lnTo>
                    <a:pt x="1706" y="1381"/>
                  </a:lnTo>
                  <a:lnTo>
                    <a:pt x="1706" y="1381"/>
                  </a:lnTo>
                  <a:lnTo>
                    <a:pt x="1713" y="1372"/>
                  </a:lnTo>
                  <a:lnTo>
                    <a:pt x="1713" y="1370"/>
                  </a:lnTo>
                  <a:lnTo>
                    <a:pt x="1713" y="1366"/>
                  </a:lnTo>
                  <a:lnTo>
                    <a:pt x="1713" y="1366"/>
                  </a:lnTo>
                  <a:lnTo>
                    <a:pt x="1711" y="1360"/>
                  </a:lnTo>
                  <a:lnTo>
                    <a:pt x="1709" y="1352"/>
                  </a:lnTo>
                  <a:lnTo>
                    <a:pt x="1709" y="1352"/>
                  </a:lnTo>
                  <a:lnTo>
                    <a:pt x="1708" y="1332"/>
                  </a:lnTo>
                  <a:lnTo>
                    <a:pt x="1708" y="1321"/>
                  </a:lnTo>
                  <a:lnTo>
                    <a:pt x="1708" y="1311"/>
                  </a:lnTo>
                  <a:lnTo>
                    <a:pt x="1708" y="1311"/>
                  </a:lnTo>
                  <a:lnTo>
                    <a:pt x="1709" y="1304"/>
                  </a:lnTo>
                  <a:lnTo>
                    <a:pt x="1709" y="1296"/>
                  </a:lnTo>
                  <a:lnTo>
                    <a:pt x="1708" y="1289"/>
                  </a:lnTo>
                  <a:lnTo>
                    <a:pt x="1706" y="1283"/>
                  </a:lnTo>
                  <a:lnTo>
                    <a:pt x="1706" y="1283"/>
                  </a:lnTo>
                  <a:lnTo>
                    <a:pt x="1702" y="1273"/>
                  </a:lnTo>
                  <a:lnTo>
                    <a:pt x="1699" y="1256"/>
                  </a:lnTo>
                  <a:lnTo>
                    <a:pt x="1699" y="1256"/>
                  </a:lnTo>
                  <a:lnTo>
                    <a:pt x="1696" y="1241"/>
                  </a:lnTo>
                  <a:lnTo>
                    <a:pt x="1696" y="1238"/>
                  </a:lnTo>
                  <a:lnTo>
                    <a:pt x="1699" y="1237"/>
                  </a:lnTo>
                  <a:lnTo>
                    <a:pt x="1699" y="1237"/>
                  </a:lnTo>
                  <a:lnTo>
                    <a:pt x="1712" y="1237"/>
                  </a:lnTo>
                  <a:lnTo>
                    <a:pt x="1731" y="1240"/>
                  </a:lnTo>
                  <a:lnTo>
                    <a:pt x="1731" y="1240"/>
                  </a:lnTo>
                  <a:lnTo>
                    <a:pt x="1752" y="1244"/>
                  </a:lnTo>
                  <a:lnTo>
                    <a:pt x="1764" y="1246"/>
                  </a:lnTo>
                  <a:lnTo>
                    <a:pt x="1771" y="1246"/>
                  </a:lnTo>
                  <a:lnTo>
                    <a:pt x="1771" y="1246"/>
                  </a:lnTo>
                  <a:lnTo>
                    <a:pt x="1780" y="1246"/>
                  </a:lnTo>
                  <a:lnTo>
                    <a:pt x="1782" y="1244"/>
                  </a:lnTo>
                  <a:lnTo>
                    <a:pt x="1783" y="1241"/>
                  </a:lnTo>
                  <a:lnTo>
                    <a:pt x="1783" y="1241"/>
                  </a:lnTo>
                  <a:lnTo>
                    <a:pt x="1786" y="1237"/>
                  </a:lnTo>
                  <a:lnTo>
                    <a:pt x="1789" y="1235"/>
                  </a:lnTo>
                  <a:lnTo>
                    <a:pt x="1792" y="1235"/>
                  </a:lnTo>
                  <a:lnTo>
                    <a:pt x="1796" y="1237"/>
                  </a:lnTo>
                  <a:lnTo>
                    <a:pt x="1796" y="1237"/>
                  </a:lnTo>
                  <a:lnTo>
                    <a:pt x="1805" y="1241"/>
                  </a:lnTo>
                  <a:lnTo>
                    <a:pt x="1808" y="1241"/>
                  </a:lnTo>
                  <a:lnTo>
                    <a:pt x="1810" y="1241"/>
                  </a:lnTo>
                  <a:lnTo>
                    <a:pt x="1810" y="1241"/>
                  </a:lnTo>
                  <a:lnTo>
                    <a:pt x="1813" y="1238"/>
                  </a:lnTo>
                  <a:lnTo>
                    <a:pt x="1814" y="1233"/>
                  </a:lnTo>
                  <a:lnTo>
                    <a:pt x="1817" y="1228"/>
                  </a:lnTo>
                  <a:lnTo>
                    <a:pt x="1822" y="1224"/>
                  </a:lnTo>
                  <a:lnTo>
                    <a:pt x="1822" y="1224"/>
                  </a:lnTo>
                  <a:lnTo>
                    <a:pt x="1826" y="1222"/>
                  </a:lnTo>
                  <a:lnTo>
                    <a:pt x="1829" y="1219"/>
                  </a:lnTo>
                  <a:lnTo>
                    <a:pt x="1830" y="1216"/>
                  </a:lnTo>
                  <a:lnTo>
                    <a:pt x="1830" y="1212"/>
                  </a:lnTo>
                  <a:lnTo>
                    <a:pt x="1830" y="1212"/>
                  </a:lnTo>
                  <a:lnTo>
                    <a:pt x="1830" y="1206"/>
                  </a:lnTo>
                  <a:lnTo>
                    <a:pt x="1833" y="1203"/>
                  </a:lnTo>
                  <a:lnTo>
                    <a:pt x="1836" y="1200"/>
                  </a:lnTo>
                  <a:lnTo>
                    <a:pt x="1839" y="1200"/>
                  </a:lnTo>
                  <a:lnTo>
                    <a:pt x="1839" y="1200"/>
                  </a:lnTo>
                  <a:lnTo>
                    <a:pt x="1841" y="1201"/>
                  </a:lnTo>
                  <a:lnTo>
                    <a:pt x="1842" y="1200"/>
                  </a:lnTo>
                  <a:lnTo>
                    <a:pt x="1844" y="1198"/>
                  </a:lnTo>
                  <a:lnTo>
                    <a:pt x="1847" y="1197"/>
                  </a:lnTo>
                  <a:lnTo>
                    <a:pt x="1847" y="1197"/>
                  </a:lnTo>
                  <a:lnTo>
                    <a:pt x="1851" y="1198"/>
                  </a:lnTo>
                  <a:lnTo>
                    <a:pt x="1856" y="1200"/>
                  </a:lnTo>
                  <a:lnTo>
                    <a:pt x="1862" y="1203"/>
                  </a:lnTo>
                  <a:lnTo>
                    <a:pt x="1862" y="1203"/>
                  </a:lnTo>
                  <a:lnTo>
                    <a:pt x="1863" y="1203"/>
                  </a:lnTo>
                  <a:lnTo>
                    <a:pt x="1863" y="1201"/>
                  </a:lnTo>
                  <a:lnTo>
                    <a:pt x="1863" y="1198"/>
                  </a:lnTo>
                  <a:lnTo>
                    <a:pt x="1865" y="1195"/>
                  </a:lnTo>
                  <a:lnTo>
                    <a:pt x="1865" y="1195"/>
                  </a:lnTo>
                  <a:lnTo>
                    <a:pt x="1867" y="1193"/>
                  </a:lnTo>
                  <a:lnTo>
                    <a:pt x="1872" y="1190"/>
                  </a:lnTo>
                  <a:lnTo>
                    <a:pt x="1876" y="1190"/>
                  </a:lnTo>
                  <a:lnTo>
                    <a:pt x="1878" y="1190"/>
                  </a:lnTo>
                  <a:lnTo>
                    <a:pt x="1879" y="1191"/>
                  </a:lnTo>
                  <a:lnTo>
                    <a:pt x="1879" y="1191"/>
                  </a:lnTo>
                  <a:lnTo>
                    <a:pt x="1881" y="1195"/>
                  </a:lnTo>
                  <a:lnTo>
                    <a:pt x="1879" y="1200"/>
                  </a:lnTo>
                  <a:lnTo>
                    <a:pt x="1879" y="1204"/>
                  </a:lnTo>
                  <a:lnTo>
                    <a:pt x="1881" y="1204"/>
                  </a:lnTo>
                  <a:lnTo>
                    <a:pt x="1882" y="1204"/>
                  </a:lnTo>
                  <a:lnTo>
                    <a:pt x="1882" y="1204"/>
                  </a:lnTo>
                  <a:lnTo>
                    <a:pt x="1887" y="1204"/>
                  </a:lnTo>
                  <a:lnTo>
                    <a:pt x="1891" y="1204"/>
                  </a:lnTo>
                  <a:lnTo>
                    <a:pt x="1893" y="1204"/>
                  </a:lnTo>
                  <a:lnTo>
                    <a:pt x="1894" y="1200"/>
                  </a:lnTo>
                  <a:lnTo>
                    <a:pt x="1894" y="1200"/>
                  </a:lnTo>
                  <a:lnTo>
                    <a:pt x="1894" y="1193"/>
                  </a:lnTo>
                  <a:lnTo>
                    <a:pt x="1896" y="1187"/>
                  </a:lnTo>
                  <a:lnTo>
                    <a:pt x="1896" y="1187"/>
                  </a:lnTo>
                  <a:lnTo>
                    <a:pt x="1896" y="1164"/>
                  </a:lnTo>
                  <a:lnTo>
                    <a:pt x="1894" y="1144"/>
                  </a:lnTo>
                  <a:lnTo>
                    <a:pt x="1894" y="1144"/>
                  </a:lnTo>
                  <a:lnTo>
                    <a:pt x="1893" y="1133"/>
                  </a:lnTo>
                  <a:lnTo>
                    <a:pt x="1890" y="1121"/>
                  </a:lnTo>
                  <a:lnTo>
                    <a:pt x="1887" y="1110"/>
                  </a:lnTo>
                  <a:lnTo>
                    <a:pt x="1884" y="1105"/>
                  </a:lnTo>
                  <a:lnTo>
                    <a:pt x="1884" y="1105"/>
                  </a:lnTo>
                  <a:lnTo>
                    <a:pt x="1879" y="1102"/>
                  </a:lnTo>
                  <a:lnTo>
                    <a:pt x="1879" y="1099"/>
                  </a:lnTo>
                  <a:lnTo>
                    <a:pt x="1879" y="1096"/>
                  </a:lnTo>
                  <a:lnTo>
                    <a:pt x="1879" y="1096"/>
                  </a:lnTo>
                  <a:lnTo>
                    <a:pt x="1881" y="1092"/>
                  </a:lnTo>
                  <a:lnTo>
                    <a:pt x="1881" y="1087"/>
                  </a:lnTo>
                  <a:lnTo>
                    <a:pt x="1881" y="1086"/>
                  </a:lnTo>
                  <a:lnTo>
                    <a:pt x="1878" y="1083"/>
                  </a:lnTo>
                  <a:lnTo>
                    <a:pt x="1872" y="1078"/>
                  </a:lnTo>
                  <a:lnTo>
                    <a:pt x="1872" y="1078"/>
                  </a:lnTo>
                  <a:lnTo>
                    <a:pt x="1860" y="1070"/>
                  </a:lnTo>
                  <a:lnTo>
                    <a:pt x="1847" y="1056"/>
                  </a:lnTo>
                  <a:lnTo>
                    <a:pt x="1838" y="1043"/>
                  </a:lnTo>
                  <a:lnTo>
                    <a:pt x="1832" y="1034"/>
                  </a:lnTo>
                  <a:lnTo>
                    <a:pt x="1832" y="1034"/>
                  </a:lnTo>
                  <a:lnTo>
                    <a:pt x="1829" y="1021"/>
                  </a:lnTo>
                  <a:lnTo>
                    <a:pt x="1823" y="1009"/>
                  </a:lnTo>
                  <a:lnTo>
                    <a:pt x="1823" y="1009"/>
                  </a:lnTo>
                  <a:lnTo>
                    <a:pt x="1817" y="1000"/>
                  </a:lnTo>
                  <a:lnTo>
                    <a:pt x="1810" y="991"/>
                  </a:lnTo>
                  <a:lnTo>
                    <a:pt x="1798" y="978"/>
                  </a:lnTo>
                  <a:lnTo>
                    <a:pt x="1798" y="978"/>
                  </a:lnTo>
                  <a:lnTo>
                    <a:pt x="1798" y="976"/>
                  </a:lnTo>
                  <a:lnTo>
                    <a:pt x="1799" y="973"/>
                  </a:lnTo>
                  <a:lnTo>
                    <a:pt x="1805" y="964"/>
                  </a:lnTo>
                  <a:lnTo>
                    <a:pt x="1805" y="964"/>
                  </a:lnTo>
                  <a:lnTo>
                    <a:pt x="1810" y="953"/>
                  </a:lnTo>
                  <a:lnTo>
                    <a:pt x="1810" y="947"/>
                  </a:lnTo>
                  <a:lnTo>
                    <a:pt x="1808" y="941"/>
                  </a:lnTo>
                  <a:lnTo>
                    <a:pt x="1808" y="941"/>
                  </a:lnTo>
                  <a:lnTo>
                    <a:pt x="1799" y="924"/>
                  </a:lnTo>
                  <a:lnTo>
                    <a:pt x="1798" y="919"/>
                  </a:lnTo>
                  <a:lnTo>
                    <a:pt x="1798" y="916"/>
                  </a:lnTo>
                  <a:lnTo>
                    <a:pt x="1799" y="916"/>
                  </a:lnTo>
                  <a:lnTo>
                    <a:pt x="1799" y="916"/>
                  </a:lnTo>
                  <a:lnTo>
                    <a:pt x="1808" y="916"/>
                  </a:lnTo>
                  <a:lnTo>
                    <a:pt x="1814" y="914"/>
                  </a:lnTo>
                  <a:lnTo>
                    <a:pt x="1819" y="913"/>
                  </a:lnTo>
                  <a:lnTo>
                    <a:pt x="1819" y="913"/>
                  </a:lnTo>
                  <a:lnTo>
                    <a:pt x="1825" y="908"/>
                  </a:lnTo>
                  <a:lnTo>
                    <a:pt x="1830" y="907"/>
                  </a:lnTo>
                  <a:lnTo>
                    <a:pt x="1838" y="902"/>
                  </a:lnTo>
                  <a:lnTo>
                    <a:pt x="1838" y="902"/>
                  </a:lnTo>
                  <a:lnTo>
                    <a:pt x="1839" y="901"/>
                  </a:lnTo>
                  <a:lnTo>
                    <a:pt x="1839" y="898"/>
                  </a:lnTo>
                  <a:lnTo>
                    <a:pt x="1841" y="893"/>
                  </a:lnTo>
                  <a:lnTo>
                    <a:pt x="1844" y="889"/>
                  </a:lnTo>
                  <a:lnTo>
                    <a:pt x="1844" y="889"/>
                  </a:lnTo>
                  <a:lnTo>
                    <a:pt x="1847" y="884"/>
                  </a:lnTo>
                  <a:lnTo>
                    <a:pt x="1851" y="883"/>
                  </a:lnTo>
                  <a:lnTo>
                    <a:pt x="1856" y="883"/>
                  </a:lnTo>
                  <a:lnTo>
                    <a:pt x="1859" y="884"/>
                  </a:lnTo>
                  <a:lnTo>
                    <a:pt x="1859" y="884"/>
                  </a:lnTo>
                  <a:lnTo>
                    <a:pt x="1863" y="886"/>
                  </a:lnTo>
                  <a:lnTo>
                    <a:pt x="1867" y="886"/>
                  </a:lnTo>
                  <a:lnTo>
                    <a:pt x="1870" y="886"/>
                  </a:lnTo>
                  <a:lnTo>
                    <a:pt x="1872" y="883"/>
                  </a:lnTo>
                  <a:lnTo>
                    <a:pt x="1872" y="883"/>
                  </a:lnTo>
                  <a:lnTo>
                    <a:pt x="1870" y="879"/>
                  </a:lnTo>
                  <a:lnTo>
                    <a:pt x="1866" y="868"/>
                  </a:lnTo>
                  <a:lnTo>
                    <a:pt x="1860" y="858"/>
                  </a:lnTo>
                  <a:lnTo>
                    <a:pt x="1857" y="855"/>
                  </a:lnTo>
                  <a:lnTo>
                    <a:pt x="1854" y="852"/>
                  </a:lnTo>
                  <a:lnTo>
                    <a:pt x="1854" y="852"/>
                  </a:lnTo>
                  <a:lnTo>
                    <a:pt x="1842" y="847"/>
                  </a:lnTo>
                  <a:lnTo>
                    <a:pt x="1839" y="844"/>
                  </a:lnTo>
                  <a:lnTo>
                    <a:pt x="1839" y="843"/>
                  </a:lnTo>
                  <a:lnTo>
                    <a:pt x="1839" y="840"/>
                  </a:lnTo>
                  <a:lnTo>
                    <a:pt x="1839" y="840"/>
                  </a:lnTo>
                  <a:lnTo>
                    <a:pt x="1841" y="836"/>
                  </a:lnTo>
                  <a:lnTo>
                    <a:pt x="1845" y="831"/>
                  </a:lnTo>
                  <a:lnTo>
                    <a:pt x="1850" y="828"/>
                  </a:lnTo>
                  <a:lnTo>
                    <a:pt x="1854" y="827"/>
                  </a:lnTo>
                  <a:lnTo>
                    <a:pt x="1854" y="827"/>
                  </a:lnTo>
                  <a:lnTo>
                    <a:pt x="1859" y="827"/>
                  </a:lnTo>
                  <a:lnTo>
                    <a:pt x="1863" y="822"/>
                  </a:lnTo>
                  <a:lnTo>
                    <a:pt x="1867" y="818"/>
                  </a:lnTo>
                  <a:lnTo>
                    <a:pt x="1872" y="813"/>
                  </a:lnTo>
                  <a:lnTo>
                    <a:pt x="1872" y="813"/>
                  </a:lnTo>
                  <a:lnTo>
                    <a:pt x="1875" y="810"/>
                  </a:lnTo>
                  <a:lnTo>
                    <a:pt x="1878" y="809"/>
                  </a:lnTo>
                  <a:lnTo>
                    <a:pt x="1881" y="807"/>
                  </a:lnTo>
                  <a:lnTo>
                    <a:pt x="1884" y="805"/>
                  </a:lnTo>
                  <a:lnTo>
                    <a:pt x="1884" y="805"/>
                  </a:lnTo>
                  <a:lnTo>
                    <a:pt x="1885" y="799"/>
                  </a:lnTo>
                  <a:lnTo>
                    <a:pt x="1885" y="791"/>
                  </a:lnTo>
                  <a:lnTo>
                    <a:pt x="1887" y="778"/>
                  </a:lnTo>
                  <a:lnTo>
                    <a:pt x="1887" y="778"/>
                  </a:lnTo>
                  <a:lnTo>
                    <a:pt x="1890" y="773"/>
                  </a:lnTo>
                  <a:lnTo>
                    <a:pt x="1894" y="769"/>
                  </a:lnTo>
                  <a:lnTo>
                    <a:pt x="1900" y="767"/>
                  </a:lnTo>
                  <a:lnTo>
                    <a:pt x="1906" y="769"/>
                  </a:lnTo>
                  <a:lnTo>
                    <a:pt x="1906" y="769"/>
                  </a:lnTo>
                  <a:lnTo>
                    <a:pt x="1921" y="779"/>
                  </a:lnTo>
                  <a:lnTo>
                    <a:pt x="1928" y="782"/>
                  </a:lnTo>
                  <a:lnTo>
                    <a:pt x="1933" y="782"/>
                  </a:lnTo>
                  <a:lnTo>
                    <a:pt x="1936" y="782"/>
                  </a:lnTo>
                  <a:lnTo>
                    <a:pt x="1936" y="782"/>
                  </a:lnTo>
                  <a:lnTo>
                    <a:pt x="1942" y="781"/>
                  </a:lnTo>
                  <a:lnTo>
                    <a:pt x="1946" y="779"/>
                  </a:lnTo>
                  <a:lnTo>
                    <a:pt x="1947" y="776"/>
                  </a:lnTo>
                  <a:lnTo>
                    <a:pt x="1946" y="772"/>
                  </a:lnTo>
                  <a:lnTo>
                    <a:pt x="1946" y="772"/>
                  </a:lnTo>
                  <a:lnTo>
                    <a:pt x="1943" y="770"/>
                  </a:lnTo>
                  <a:lnTo>
                    <a:pt x="1939" y="769"/>
                  </a:lnTo>
                  <a:lnTo>
                    <a:pt x="1937" y="767"/>
                  </a:lnTo>
                  <a:lnTo>
                    <a:pt x="1937" y="767"/>
                  </a:lnTo>
                  <a:lnTo>
                    <a:pt x="1940" y="762"/>
                  </a:lnTo>
                  <a:lnTo>
                    <a:pt x="1940" y="762"/>
                  </a:lnTo>
                  <a:lnTo>
                    <a:pt x="1943" y="756"/>
                  </a:lnTo>
                  <a:lnTo>
                    <a:pt x="1946" y="750"/>
                  </a:lnTo>
                  <a:lnTo>
                    <a:pt x="1947" y="744"/>
                  </a:lnTo>
                  <a:lnTo>
                    <a:pt x="1950" y="742"/>
                  </a:lnTo>
                  <a:lnTo>
                    <a:pt x="1950" y="742"/>
                  </a:lnTo>
                  <a:lnTo>
                    <a:pt x="1953" y="742"/>
                  </a:lnTo>
                  <a:lnTo>
                    <a:pt x="1958" y="742"/>
                  </a:lnTo>
                  <a:lnTo>
                    <a:pt x="1959" y="744"/>
                  </a:lnTo>
                  <a:lnTo>
                    <a:pt x="1961" y="741"/>
                  </a:lnTo>
                  <a:lnTo>
                    <a:pt x="1961" y="741"/>
                  </a:lnTo>
                  <a:lnTo>
                    <a:pt x="1961" y="733"/>
                  </a:lnTo>
                  <a:lnTo>
                    <a:pt x="1962" y="725"/>
                  </a:lnTo>
                  <a:lnTo>
                    <a:pt x="1965" y="716"/>
                  </a:lnTo>
                  <a:lnTo>
                    <a:pt x="1967" y="710"/>
                  </a:lnTo>
                  <a:lnTo>
                    <a:pt x="1967" y="710"/>
                  </a:lnTo>
                  <a:lnTo>
                    <a:pt x="1970" y="708"/>
                  </a:lnTo>
                  <a:lnTo>
                    <a:pt x="1974" y="708"/>
                  </a:lnTo>
                  <a:lnTo>
                    <a:pt x="1979" y="707"/>
                  </a:lnTo>
                  <a:lnTo>
                    <a:pt x="1986" y="705"/>
                  </a:lnTo>
                  <a:lnTo>
                    <a:pt x="1986" y="705"/>
                  </a:lnTo>
                  <a:lnTo>
                    <a:pt x="1992" y="704"/>
                  </a:lnTo>
                  <a:lnTo>
                    <a:pt x="1995" y="701"/>
                  </a:lnTo>
                  <a:lnTo>
                    <a:pt x="1995" y="698"/>
                  </a:lnTo>
                  <a:lnTo>
                    <a:pt x="1990" y="695"/>
                  </a:lnTo>
                  <a:lnTo>
                    <a:pt x="1990" y="695"/>
                  </a:lnTo>
                  <a:lnTo>
                    <a:pt x="1986" y="693"/>
                  </a:lnTo>
                  <a:lnTo>
                    <a:pt x="1981" y="693"/>
                  </a:lnTo>
                  <a:lnTo>
                    <a:pt x="1981" y="693"/>
                  </a:lnTo>
                  <a:lnTo>
                    <a:pt x="1980" y="692"/>
                  </a:lnTo>
                  <a:lnTo>
                    <a:pt x="1980" y="685"/>
                  </a:lnTo>
                  <a:lnTo>
                    <a:pt x="1980" y="685"/>
                  </a:lnTo>
                  <a:lnTo>
                    <a:pt x="1983" y="667"/>
                  </a:lnTo>
                  <a:lnTo>
                    <a:pt x="1983" y="662"/>
                  </a:lnTo>
                  <a:lnTo>
                    <a:pt x="1983" y="661"/>
                  </a:lnTo>
                  <a:lnTo>
                    <a:pt x="1981" y="659"/>
                  </a:lnTo>
                  <a:lnTo>
                    <a:pt x="1979" y="659"/>
                  </a:lnTo>
                  <a:lnTo>
                    <a:pt x="1979" y="659"/>
                  </a:lnTo>
                  <a:lnTo>
                    <a:pt x="1974" y="659"/>
                  </a:lnTo>
                  <a:lnTo>
                    <a:pt x="1970" y="658"/>
                  </a:lnTo>
                  <a:lnTo>
                    <a:pt x="1961" y="653"/>
                  </a:lnTo>
                  <a:lnTo>
                    <a:pt x="1952" y="648"/>
                  </a:lnTo>
                  <a:lnTo>
                    <a:pt x="1946" y="642"/>
                  </a:lnTo>
                  <a:lnTo>
                    <a:pt x="1946" y="642"/>
                  </a:lnTo>
                  <a:lnTo>
                    <a:pt x="1942" y="637"/>
                  </a:lnTo>
                  <a:lnTo>
                    <a:pt x="1937" y="631"/>
                  </a:lnTo>
                  <a:lnTo>
                    <a:pt x="1936" y="628"/>
                  </a:lnTo>
                  <a:lnTo>
                    <a:pt x="1936" y="624"/>
                  </a:lnTo>
                  <a:lnTo>
                    <a:pt x="1936" y="619"/>
                  </a:lnTo>
                  <a:lnTo>
                    <a:pt x="1937" y="616"/>
                  </a:lnTo>
                  <a:lnTo>
                    <a:pt x="1937" y="616"/>
                  </a:lnTo>
                  <a:lnTo>
                    <a:pt x="1943" y="605"/>
                  </a:lnTo>
                  <a:lnTo>
                    <a:pt x="1949" y="594"/>
                  </a:lnTo>
                  <a:lnTo>
                    <a:pt x="1950" y="588"/>
                  </a:lnTo>
                  <a:lnTo>
                    <a:pt x="1952" y="585"/>
                  </a:lnTo>
                  <a:lnTo>
                    <a:pt x="1950" y="581"/>
                  </a:lnTo>
                  <a:lnTo>
                    <a:pt x="1947" y="581"/>
                  </a:lnTo>
                  <a:lnTo>
                    <a:pt x="1947" y="581"/>
                  </a:lnTo>
                  <a:lnTo>
                    <a:pt x="1939" y="578"/>
                  </a:lnTo>
                  <a:lnTo>
                    <a:pt x="1930" y="572"/>
                  </a:lnTo>
                  <a:lnTo>
                    <a:pt x="1921" y="566"/>
                  </a:lnTo>
                  <a:lnTo>
                    <a:pt x="1916" y="559"/>
                  </a:lnTo>
                  <a:lnTo>
                    <a:pt x="1916" y="559"/>
                  </a:lnTo>
                  <a:lnTo>
                    <a:pt x="1913" y="551"/>
                  </a:lnTo>
                  <a:lnTo>
                    <a:pt x="1912" y="542"/>
                  </a:lnTo>
                  <a:lnTo>
                    <a:pt x="1912" y="535"/>
                  </a:lnTo>
                  <a:lnTo>
                    <a:pt x="1913" y="532"/>
                  </a:lnTo>
                  <a:lnTo>
                    <a:pt x="1916" y="531"/>
                  </a:lnTo>
                  <a:lnTo>
                    <a:pt x="1916" y="531"/>
                  </a:lnTo>
                  <a:lnTo>
                    <a:pt x="1921" y="529"/>
                  </a:lnTo>
                  <a:lnTo>
                    <a:pt x="1922" y="531"/>
                  </a:lnTo>
                  <a:lnTo>
                    <a:pt x="1925" y="531"/>
                  </a:lnTo>
                  <a:lnTo>
                    <a:pt x="1928" y="529"/>
                  </a:lnTo>
                  <a:lnTo>
                    <a:pt x="1928" y="529"/>
                  </a:lnTo>
                  <a:lnTo>
                    <a:pt x="1934" y="526"/>
                  </a:lnTo>
                  <a:lnTo>
                    <a:pt x="1934" y="523"/>
                  </a:lnTo>
                  <a:lnTo>
                    <a:pt x="1933" y="520"/>
                  </a:lnTo>
                  <a:lnTo>
                    <a:pt x="1933" y="520"/>
                  </a:lnTo>
                  <a:lnTo>
                    <a:pt x="1927" y="514"/>
                  </a:lnTo>
                  <a:lnTo>
                    <a:pt x="1918" y="508"/>
                  </a:lnTo>
                  <a:lnTo>
                    <a:pt x="1910" y="504"/>
                  </a:lnTo>
                  <a:lnTo>
                    <a:pt x="1909" y="501"/>
                  </a:lnTo>
                  <a:lnTo>
                    <a:pt x="1907" y="499"/>
                  </a:lnTo>
                  <a:lnTo>
                    <a:pt x="1907" y="499"/>
                  </a:lnTo>
                  <a:lnTo>
                    <a:pt x="1907" y="495"/>
                  </a:lnTo>
                  <a:lnTo>
                    <a:pt x="1909" y="488"/>
                  </a:lnTo>
                  <a:lnTo>
                    <a:pt x="1910" y="485"/>
                  </a:lnTo>
                  <a:lnTo>
                    <a:pt x="1913" y="480"/>
                  </a:lnTo>
                  <a:lnTo>
                    <a:pt x="1918" y="477"/>
                  </a:lnTo>
                  <a:lnTo>
                    <a:pt x="1924" y="474"/>
                  </a:lnTo>
                  <a:lnTo>
                    <a:pt x="1924" y="474"/>
                  </a:lnTo>
                  <a:lnTo>
                    <a:pt x="1934" y="471"/>
                  </a:lnTo>
                  <a:lnTo>
                    <a:pt x="1940" y="467"/>
                  </a:lnTo>
                  <a:lnTo>
                    <a:pt x="1943" y="462"/>
                  </a:lnTo>
                  <a:lnTo>
                    <a:pt x="1947" y="458"/>
                  </a:lnTo>
                  <a:lnTo>
                    <a:pt x="1947" y="458"/>
                  </a:lnTo>
                  <a:lnTo>
                    <a:pt x="1962" y="446"/>
                  </a:lnTo>
                  <a:lnTo>
                    <a:pt x="1976" y="437"/>
                  </a:lnTo>
                  <a:lnTo>
                    <a:pt x="1976" y="437"/>
                  </a:lnTo>
                  <a:lnTo>
                    <a:pt x="1981" y="434"/>
                  </a:lnTo>
                  <a:lnTo>
                    <a:pt x="1984" y="430"/>
                  </a:lnTo>
                  <a:lnTo>
                    <a:pt x="1986" y="425"/>
                  </a:lnTo>
                  <a:lnTo>
                    <a:pt x="1986" y="419"/>
                  </a:lnTo>
                  <a:lnTo>
                    <a:pt x="1986" y="419"/>
                  </a:lnTo>
                  <a:lnTo>
                    <a:pt x="1984" y="414"/>
                  </a:lnTo>
                  <a:lnTo>
                    <a:pt x="1984" y="409"/>
                  </a:lnTo>
                  <a:lnTo>
                    <a:pt x="1987" y="408"/>
                  </a:lnTo>
                  <a:lnTo>
                    <a:pt x="1990" y="408"/>
                  </a:lnTo>
                  <a:lnTo>
                    <a:pt x="1990" y="408"/>
                  </a:lnTo>
                  <a:lnTo>
                    <a:pt x="1999" y="414"/>
                  </a:lnTo>
                  <a:lnTo>
                    <a:pt x="2005" y="416"/>
                  </a:lnTo>
                  <a:lnTo>
                    <a:pt x="2010" y="416"/>
                  </a:lnTo>
                  <a:lnTo>
                    <a:pt x="2010" y="416"/>
                  </a:lnTo>
                  <a:lnTo>
                    <a:pt x="2013" y="414"/>
                  </a:lnTo>
                  <a:lnTo>
                    <a:pt x="2017" y="411"/>
                  </a:lnTo>
                  <a:lnTo>
                    <a:pt x="2020" y="405"/>
                  </a:lnTo>
                  <a:lnTo>
                    <a:pt x="2020" y="402"/>
                  </a:lnTo>
                  <a:lnTo>
                    <a:pt x="2019" y="397"/>
                  </a:lnTo>
                  <a:lnTo>
                    <a:pt x="2019" y="397"/>
                  </a:lnTo>
                  <a:lnTo>
                    <a:pt x="2016" y="390"/>
                  </a:lnTo>
                  <a:lnTo>
                    <a:pt x="2016" y="384"/>
                  </a:lnTo>
                  <a:lnTo>
                    <a:pt x="2017" y="378"/>
                  </a:lnTo>
                  <a:lnTo>
                    <a:pt x="2020" y="372"/>
                  </a:lnTo>
                  <a:lnTo>
                    <a:pt x="2020" y="372"/>
                  </a:lnTo>
                  <a:lnTo>
                    <a:pt x="2029" y="363"/>
                  </a:lnTo>
                  <a:lnTo>
                    <a:pt x="2029" y="360"/>
                  </a:lnTo>
                  <a:lnTo>
                    <a:pt x="2026" y="357"/>
                  </a:lnTo>
                  <a:lnTo>
                    <a:pt x="2026" y="357"/>
                  </a:lnTo>
                  <a:lnTo>
                    <a:pt x="2020" y="353"/>
                  </a:lnTo>
                  <a:lnTo>
                    <a:pt x="2017" y="351"/>
                  </a:lnTo>
                  <a:lnTo>
                    <a:pt x="2017" y="348"/>
                  </a:lnTo>
                  <a:lnTo>
                    <a:pt x="2017" y="347"/>
                  </a:lnTo>
                  <a:lnTo>
                    <a:pt x="2017" y="347"/>
                  </a:lnTo>
                  <a:lnTo>
                    <a:pt x="2007" y="338"/>
                  </a:lnTo>
                  <a:lnTo>
                    <a:pt x="2001" y="329"/>
                  </a:lnTo>
                  <a:lnTo>
                    <a:pt x="1995" y="320"/>
                  </a:lnTo>
                  <a:lnTo>
                    <a:pt x="1995" y="320"/>
                  </a:lnTo>
                  <a:lnTo>
                    <a:pt x="1995" y="320"/>
                  </a:lnTo>
                  <a:lnTo>
                    <a:pt x="1987" y="310"/>
                  </a:lnTo>
                  <a:lnTo>
                    <a:pt x="1979" y="302"/>
                  </a:lnTo>
                  <a:lnTo>
                    <a:pt x="1968" y="298"/>
                  </a:lnTo>
                  <a:lnTo>
                    <a:pt x="1958" y="295"/>
                  </a:lnTo>
                  <a:lnTo>
                    <a:pt x="1958" y="295"/>
                  </a:lnTo>
                  <a:lnTo>
                    <a:pt x="1942" y="297"/>
                  </a:lnTo>
                  <a:lnTo>
                    <a:pt x="1922" y="299"/>
                  </a:lnTo>
                  <a:lnTo>
                    <a:pt x="1922" y="299"/>
                  </a:lnTo>
                  <a:lnTo>
                    <a:pt x="1912" y="299"/>
                  </a:lnTo>
                  <a:lnTo>
                    <a:pt x="1906" y="297"/>
                  </a:lnTo>
                  <a:lnTo>
                    <a:pt x="1893" y="286"/>
                  </a:lnTo>
                  <a:lnTo>
                    <a:pt x="1893" y="286"/>
                  </a:lnTo>
                  <a:lnTo>
                    <a:pt x="1885" y="280"/>
                  </a:lnTo>
                  <a:lnTo>
                    <a:pt x="1881" y="276"/>
                  </a:lnTo>
                  <a:lnTo>
                    <a:pt x="1878" y="271"/>
                  </a:lnTo>
                  <a:lnTo>
                    <a:pt x="1878" y="267"/>
                  </a:lnTo>
                  <a:lnTo>
                    <a:pt x="1878" y="267"/>
                  </a:lnTo>
                  <a:lnTo>
                    <a:pt x="1881" y="258"/>
                  </a:lnTo>
                  <a:lnTo>
                    <a:pt x="1881" y="255"/>
                  </a:lnTo>
                  <a:lnTo>
                    <a:pt x="1879" y="254"/>
                  </a:lnTo>
                  <a:lnTo>
                    <a:pt x="1879" y="254"/>
                  </a:lnTo>
                  <a:lnTo>
                    <a:pt x="1872" y="254"/>
                  </a:lnTo>
                  <a:lnTo>
                    <a:pt x="1867" y="254"/>
                  </a:lnTo>
                  <a:lnTo>
                    <a:pt x="1865" y="251"/>
                  </a:lnTo>
                  <a:lnTo>
                    <a:pt x="1865" y="251"/>
                  </a:lnTo>
                  <a:lnTo>
                    <a:pt x="1862" y="246"/>
                  </a:lnTo>
                  <a:lnTo>
                    <a:pt x="1859" y="236"/>
                  </a:lnTo>
                  <a:lnTo>
                    <a:pt x="1859" y="225"/>
                  </a:lnTo>
                  <a:lnTo>
                    <a:pt x="1860" y="221"/>
                  </a:lnTo>
                  <a:lnTo>
                    <a:pt x="1862" y="217"/>
                  </a:lnTo>
                  <a:lnTo>
                    <a:pt x="1862" y="217"/>
                  </a:lnTo>
                  <a:lnTo>
                    <a:pt x="1869" y="203"/>
                  </a:lnTo>
                  <a:lnTo>
                    <a:pt x="1872" y="193"/>
                  </a:lnTo>
                  <a:lnTo>
                    <a:pt x="1872" y="193"/>
                  </a:lnTo>
                  <a:lnTo>
                    <a:pt x="1875" y="184"/>
                  </a:lnTo>
                  <a:lnTo>
                    <a:pt x="1884" y="172"/>
                  </a:lnTo>
                  <a:lnTo>
                    <a:pt x="1899" y="153"/>
                  </a:lnTo>
                  <a:lnTo>
                    <a:pt x="1899" y="153"/>
                  </a:lnTo>
                  <a:lnTo>
                    <a:pt x="1902" y="147"/>
                  </a:lnTo>
                  <a:lnTo>
                    <a:pt x="1904" y="138"/>
                  </a:lnTo>
                  <a:lnTo>
                    <a:pt x="1904" y="128"/>
                  </a:lnTo>
                  <a:lnTo>
                    <a:pt x="1904" y="116"/>
                  </a:lnTo>
                  <a:lnTo>
                    <a:pt x="1904" y="116"/>
                  </a:lnTo>
                  <a:lnTo>
                    <a:pt x="1904" y="111"/>
                  </a:lnTo>
                  <a:lnTo>
                    <a:pt x="1904" y="107"/>
                  </a:lnTo>
                  <a:lnTo>
                    <a:pt x="1909" y="101"/>
                  </a:lnTo>
                  <a:lnTo>
                    <a:pt x="1913" y="97"/>
                  </a:lnTo>
                  <a:lnTo>
                    <a:pt x="1918" y="91"/>
                  </a:lnTo>
                  <a:lnTo>
                    <a:pt x="1918" y="91"/>
                  </a:lnTo>
                  <a:lnTo>
                    <a:pt x="1922" y="86"/>
                  </a:lnTo>
                  <a:lnTo>
                    <a:pt x="1927" y="83"/>
                  </a:lnTo>
                  <a:lnTo>
                    <a:pt x="1931" y="82"/>
                  </a:lnTo>
                  <a:lnTo>
                    <a:pt x="1931" y="80"/>
                  </a:lnTo>
                  <a:lnTo>
                    <a:pt x="1931" y="80"/>
                  </a:lnTo>
                  <a:lnTo>
                    <a:pt x="1924" y="71"/>
                  </a:lnTo>
                  <a:lnTo>
                    <a:pt x="1907" y="57"/>
                  </a:lnTo>
                  <a:lnTo>
                    <a:pt x="1888" y="43"/>
                  </a:lnTo>
                  <a:lnTo>
                    <a:pt x="1881" y="39"/>
                  </a:lnTo>
                  <a:lnTo>
                    <a:pt x="1876" y="37"/>
                  </a:lnTo>
                  <a:lnTo>
                    <a:pt x="1876" y="37"/>
                  </a:lnTo>
                  <a:lnTo>
                    <a:pt x="1870" y="36"/>
                  </a:lnTo>
                  <a:lnTo>
                    <a:pt x="1866" y="34"/>
                  </a:lnTo>
                  <a:lnTo>
                    <a:pt x="1865" y="30"/>
                  </a:lnTo>
                  <a:lnTo>
                    <a:pt x="1865" y="24"/>
                  </a:lnTo>
                  <a:lnTo>
                    <a:pt x="1865" y="24"/>
                  </a:lnTo>
                  <a:lnTo>
                    <a:pt x="1863" y="18"/>
                  </a:lnTo>
                  <a:lnTo>
                    <a:pt x="1862" y="17"/>
                  </a:lnTo>
                  <a:lnTo>
                    <a:pt x="1859" y="15"/>
                  </a:lnTo>
                  <a:lnTo>
                    <a:pt x="1857" y="17"/>
                  </a:lnTo>
                  <a:lnTo>
                    <a:pt x="1857" y="17"/>
                  </a:lnTo>
                  <a:lnTo>
                    <a:pt x="1854" y="18"/>
                  </a:lnTo>
                  <a:lnTo>
                    <a:pt x="1848" y="20"/>
                  </a:lnTo>
                  <a:lnTo>
                    <a:pt x="1842" y="21"/>
                  </a:lnTo>
                  <a:lnTo>
                    <a:pt x="1833" y="20"/>
                  </a:lnTo>
                  <a:lnTo>
                    <a:pt x="1833" y="20"/>
                  </a:lnTo>
                  <a:lnTo>
                    <a:pt x="1829" y="18"/>
                  </a:lnTo>
                  <a:lnTo>
                    <a:pt x="1825" y="15"/>
                  </a:lnTo>
                  <a:lnTo>
                    <a:pt x="1817" y="9"/>
                  </a:lnTo>
                  <a:lnTo>
                    <a:pt x="1810" y="0"/>
                  </a:lnTo>
                  <a:lnTo>
                    <a:pt x="1810" y="0"/>
                  </a:lnTo>
                  <a:lnTo>
                    <a:pt x="1808" y="6"/>
                  </a:lnTo>
                  <a:lnTo>
                    <a:pt x="1808" y="6"/>
                  </a:lnTo>
                  <a:lnTo>
                    <a:pt x="1808" y="24"/>
                  </a:lnTo>
                  <a:lnTo>
                    <a:pt x="1808" y="42"/>
                  </a:lnTo>
                  <a:lnTo>
                    <a:pt x="1808" y="42"/>
                  </a:lnTo>
                  <a:lnTo>
                    <a:pt x="1807" y="43"/>
                  </a:lnTo>
                  <a:lnTo>
                    <a:pt x="1805" y="45"/>
                  </a:lnTo>
                  <a:lnTo>
                    <a:pt x="1799" y="42"/>
                  </a:lnTo>
                  <a:lnTo>
                    <a:pt x="1799" y="42"/>
                  </a:lnTo>
                  <a:lnTo>
                    <a:pt x="1795" y="37"/>
                  </a:lnTo>
                  <a:lnTo>
                    <a:pt x="1792" y="37"/>
                  </a:lnTo>
                  <a:lnTo>
                    <a:pt x="1790" y="39"/>
                  </a:lnTo>
                  <a:lnTo>
                    <a:pt x="1790" y="39"/>
                  </a:lnTo>
                  <a:lnTo>
                    <a:pt x="1790" y="43"/>
                  </a:lnTo>
                  <a:lnTo>
                    <a:pt x="1790" y="49"/>
                  </a:lnTo>
                  <a:lnTo>
                    <a:pt x="1792" y="55"/>
                  </a:lnTo>
                  <a:lnTo>
                    <a:pt x="1790" y="60"/>
                  </a:lnTo>
                  <a:lnTo>
                    <a:pt x="1790" y="60"/>
                  </a:lnTo>
                  <a:lnTo>
                    <a:pt x="1789" y="61"/>
                  </a:lnTo>
                  <a:lnTo>
                    <a:pt x="1789" y="61"/>
                  </a:lnTo>
                  <a:lnTo>
                    <a:pt x="1785" y="58"/>
                  </a:lnTo>
                  <a:lnTo>
                    <a:pt x="1777" y="51"/>
                  </a:lnTo>
                  <a:lnTo>
                    <a:pt x="1777" y="51"/>
                  </a:lnTo>
                  <a:lnTo>
                    <a:pt x="1774" y="49"/>
                  </a:lnTo>
                  <a:lnTo>
                    <a:pt x="1771" y="48"/>
                  </a:lnTo>
                  <a:lnTo>
                    <a:pt x="1768" y="48"/>
                  </a:lnTo>
                  <a:lnTo>
                    <a:pt x="1767" y="49"/>
                  </a:lnTo>
                  <a:lnTo>
                    <a:pt x="1767" y="49"/>
                  </a:lnTo>
                  <a:lnTo>
                    <a:pt x="1768" y="60"/>
                  </a:lnTo>
                  <a:lnTo>
                    <a:pt x="1768" y="65"/>
                  </a:lnTo>
                  <a:lnTo>
                    <a:pt x="1767" y="71"/>
                  </a:lnTo>
                  <a:lnTo>
                    <a:pt x="1767" y="71"/>
                  </a:lnTo>
                  <a:lnTo>
                    <a:pt x="1765" y="73"/>
                  </a:lnTo>
                  <a:lnTo>
                    <a:pt x="1762" y="74"/>
                  </a:lnTo>
                  <a:lnTo>
                    <a:pt x="1752" y="76"/>
                  </a:lnTo>
                  <a:lnTo>
                    <a:pt x="1740" y="76"/>
                  </a:lnTo>
                  <a:lnTo>
                    <a:pt x="1733" y="74"/>
                  </a:lnTo>
                  <a:lnTo>
                    <a:pt x="1733" y="74"/>
                  </a:lnTo>
                  <a:lnTo>
                    <a:pt x="1730" y="73"/>
                  </a:lnTo>
                  <a:lnTo>
                    <a:pt x="1727" y="70"/>
                  </a:lnTo>
                  <a:lnTo>
                    <a:pt x="1725" y="64"/>
                  </a:lnTo>
                  <a:lnTo>
                    <a:pt x="1721" y="52"/>
                  </a:lnTo>
                  <a:lnTo>
                    <a:pt x="1721" y="52"/>
                  </a:lnTo>
                  <a:lnTo>
                    <a:pt x="1715" y="45"/>
                  </a:lnTo>
                  <a:lnTo>
                    <a:pt x="1705" y="37"/>
                  </a:lnTo>
                  <a:lnTo>
                    <a:pt x="1693" y="30"/>
                  </a:lnTo>
                  <a:lnTo>
                    <a:pt x="1685" y="25"/>
                  </a:lnTo>
                  <a:lnTo>
                    <a:pt x="1685" y="25"/>
                  </a:lnTo>
                  <a:lnTo>
                    <a:pt x="1679" y="24"/>
                  </a:lnTo>
                  <a:lnTo>
                    <a:pt x="1671" y="24"/>
                  </a:lnTo>
                  <a:lnTo>
                    <a:pt x="1641" y="24"/>
                  </a:lnTo>
                  <a:lnTo>
                    <a:pt x="1641" y="24"/>
                  </a:lnTo>
                  <a:lnTo>
                    <a:pt x="1632" y="25"/>
                  </a:lnTo>
                  <a:lnTo>
                    <a:pt x="1620" y="30"/>
                  </a:lnTo>
                  <a:lnTo>
                    <a:pt x="1596" y="42"/>
                  </a:lnTo>
                  <a:lnTo>
                    <a:pt x="1576" y="55"/>
                  </a:lnTo>
                  <a:lnTo>
                    <a:pt x="1562" y="64"/>
                  </a:lnTo>
                  <a:lnTo>
                    <a:pt x="1562" y="64"/>
                  </a:lnTo>
                  <a:lnTo>
                    <a:pt x="1558" y="68"/>
                  </a:lnTo>
                  <a:lnTo>
                    <a:pt x="1552" y="76"/>
                  </a:lnTo>
                  <a:lnTo>
                    <a:pt x="1537" y="97"/>
                  </a:lnTo>
                  <a:lnTo>
                    <a:pt x="1514" y="129"/>
                  </a:lnTo>
                  <a:lnTo>
                    <a:pt x="1514" y="129"/>
                  </a:lnTo>
                  <a:lnTo>
                    <a:pt x="1454" y="220"/>
                  </a:lnTo>
                  <a:lnTo>
                    <a:pt x="1454" y="220"/>
                  </a:lnTo>
                  <a:lnTo>
                    <a:pt x="1453" y="221"/>
                  </a:lnTo>
                  <a:lnTo>
                    <a:pt x="1450" y="220"/>
                  </a:lnTo>
                  <a:lnTo>
                    <a:pt x="1447" y="218"/>
                  </a:lnTo>
                  <a:lnTo>
                    <a:pt x="1445" y="215"/>
                  </a:lnTo>
                  <a:lnTo>
                    <a:pt x="1445" y="215"/>
                  </a:lnTo>
                  <a:lnTo>
                    <a:pt x="1442" y="211"/>
                  </a:lnTo>
                  <a:lnTo>
                    <a:pt x="1437" y="206"/>
                  </a:lnTo>
                  <a:lnTo>
                    <a:pt x="1431" y="202"/>
                  </a:lnTo>
                  <a:lnTo>
                    <a:pt x="1425" y="199"/>
                  </a:lnTo>
                  <a:lnTo>
                    <a:pt x="1425" y="199"/>
                  </a:lnTo>
                  <a:lnTo>
                    <a:pt x="1417" y="197"/>
                  </a:lnTo>
                  <a:lnTo>
                    <a:pt x="1408" y="197"/>
                  </a:lnTo>
                  <a:lnTo>
                    <a:pt x="1394" y="197"/>
                  </a:lnTo>
                  <a:lnTo>
                    <a:pt x="1394" y="197"/>
                  </a:lnTo>
                  <a:lnTo>
                    <a:pt x="1389" y="200"/>
                  </a:lnTo>
                  <a:lnTo>
                    <a:pt x="1385" y="206"/>
                  </a:lnTo>
                  <a:lnTo>
                    <a:pt x="1374" y="218"/>
                  </a:lnTo>
                  <a:lnTo>
                    <a:pt x="1374" y="218"/>
                  </a:lnTo>
                  <a:lnTo>
                    <a:pt x="1373" y="220"/>
                  </a:lnTo>
                  <a:lnTo>
                    <a:pt x="1370" y="220"/>
                  </a:lnTo>
                  <a:lnTo>
                    <a:pt x="1361" y="220"/>
                  </a:lnTo>
                  <a:lnTo>
                    <a:pt x="1354" y="218"/>
                  </a:lnTo>
                  <a:lnTo>
                    <a:pt x="1346" y="217"/>
                  </a:lnTo>
                  <a:lnTo>
                    <a:pt x="1346" y="217"/>
                  </a:lnTo>
                  <a:lnTo>
                    <a:pt x="1340" y="220"/>
                  </a:lnTo>
                  <a:lnTo>
                    <a:pt x="1334" y="225"/>
                  </a:lnTo>
                  <a:lnTo>
                    <a:pt x="1324" y="236"/>
                  </a:lnTo>
                  <a:lnTo>
                    <a:pt x="1324" y="236"/>
                  </a:lnTo>
                  <a:lnTo>
                    <a:pt x="1320" y="237"/>
                  </a:lnTo>
                  <a:lnTo>
                    <a:pt x="1317" y="237"/>
                  </a:lnTo>
                  <a:lnTo>
                    <a:pt x="1314" y="234"/>
                  </a:lnTo>
                  <a:lnTo>
                    <a:pt x="1311" y="230"/>
                  </a:lnTo>
                  <a:lnTo>
                    <a:pt x="1311" y="230"/>
                  </a:lnTo>
                  <a:lnTo>
                    <a:pt x="1311" y="227"/>
                  </a:lnTo>
                  <a:lnTo>
                    <a:pt x="1312" y="222"/>
                  </a:lnTo>
                  <a:lnTo>
                    <a:pt x="1320" y="215"/>
                  </a:lnTo>
                  <a:lnTo>
                    <a:pt x="1320" y="215"/>
                  </a:lnTo>
                  <a:lnTo>
                    <a:pt x="1323" y="211"/>
                  </a:lnTo>
                  <a:lnTo>
                    <a:pt x="1324" y="205"/>
                  </a:lnTo>
                  <a:lnTo>
                    <a:pt x="1326" y="200"/>
                  </a:lnTo>
                  <a:lnTo>
                    <a:pt x="1324" y="196"/>
                  </a:lnTo>
                  <a:lnTo>
                    <a:pt x="1324" y="196"/>
                  </a:lnTo>
                  <a:lnTo>
                    <a:pt x="1318" y="191"/>
                  </a:lnTo>
                  <a:lnTo>
                    <a:pt x="1311" y="185"/>
                  </a:lnTo>
                  <a:lnTo>
                    <a:pt x="1300" y="180"/>
                  </a:lnTo>
                  <a:lnTo>
                    <a:pt x="1293" y="178"/>
                  </a:lnTo>
                  <a:lnTo>
                    <a:pt x="1293" y="178"/>
                  </a:lnTo>
                  <a:lnTo>
                    <a:pt x="1286" y="180"/>
                  </a:lnTo>
                  <a:lnTo>
                    <a:pt x="1277" y="182"/>
                  </a:lnTo>
                  <a:lnTo>
                    <a:pt x="1259" y="188"/>
                  </a:lnTo>
                  <a:lnTo>
                    <a:pt x="1259" y="188"/>
                  </a:lnTo>
                  <a:lnTo>
                    <a:pt x="1251" y="193"/>
                  </a:lnTo>
                  <a:lnTo>
                    <a:pt x="1243" y="199"/>
                  </a:lnTo>
                  <a:lnTo>
                    <a:pt x="1228" y="211"/>
                  </a:lnTo>
                  <a:lnTo>
                    <a:pt x="1228" y="211"/>
                  </a:lnTo>
                  <a:lnTo>
                    <a:pt x="1225" y="217"/>
                  </a:lnTo>
                  <a:lnTo>
                    <a:pt x="1220" y="222"/>
                  </a:lnTo>
                  <a:lnTo>
                    <a:pt x="1217" y="236"/>
                  </a:lnTo>
                  <a:lnTo>
                    <a:pt x="1217" y="236"/>
                  </a:lnTo>
                  <a:lnTo>
                    <a:pt x="1217" y="242"/>
                  </a:lnTo>
                  <a:lnTo>
                    <a:pt x="1219" y="249"/>
                  </a:lnTo>
                  <a:lnTo>
                    <a:pt x="1223" y="262"/>
                  </a:lnTo>
                  <a:lnTo>
                    <a:pt x="1223" y="262"/>
                  </a:lnTo>
                  <a:lnTo>
                    <a:pt x="1226" y="267"/>
                  </a:lnTo>
                  <a:lnTo>
                    <a:pt x="1229" y="276"/>
                  </a:lnTo>
                  <a:lnTo>
                    <a:pt x="1232" y="295"/>
                  </a:lnTo>
                  <a:lnTo>
                    <a:pt x="1232" y="295"/>
                  </a:lnTo>
                  <a:lnTo>
                    <a:pt x="1234" y="301"/>
                  </a:lnTo>
                  <a:lnTo>
                    <a:pt x="1232" y="305"/>
                  </a:lnTo>
                  <a:lnTo>
                    <a:pt x="1229" y="314"/>
                  </a:lnTo>
                  <a:lnTo>
                    <a:pt x="1226" y="322"/>
                  </a:lnTo>
                  <a:lnTo>
                    <a:pt x="1222" y="328"/>
                  </a:lnTo>
                  <a:lnTo>
                    <a:pt x="1222" y="328"/>
                  </a:lnTo>
                  <a:lnTo>
                    <a:pt x="1219" y="331"/>
                  </a:lnTo>
                  <a:lnTo>
                    <a:pt x="1214" y="331"/>
                  </a:lnTo>
                  <a:lnTo>
                    <a:pt x="1210" y="331"/>
                  </a:lnTo>
                  <a:lnTo>
                    <a:pt x="1207" y="329"/>
                  </a:lnTo>
                  <a:lnTo>
                    <a:pt x="1207" y="329"/>
                  </a:lnTo>
                  <a:lnTo>
                    <a:pt x="1204" y="326"/>
                  </a:lnTo>
                  <a:lnTo>
                    <a:pt x="1201" y="322"/>
                  </a:lnTo>
                  <a:lnTo>
                    <a:pt x="1195" y="310"/>
                  </a:lnTo>
                  <a:lnTo>
                    <a:pt x="1195" y="310"/>
                  </a:lnTo>
                  <a:lnTo>
                    <a:pt x="1194" y="305"/>
                  </a:lnTo>
                  <a:lnTo>
                    <a:pt x="1197" y="302"/>
                  </a:lnTo>
                  <a:lnTo>
                    <a:pt x="1203" y="295"/>
                  </a:lnTo>
                  <a:lnTo>
                    <a:pt x="1203" y="295"/>
                  </a:lnTo>
                  <a:lnTo>
                    <a:pt x="1206" y="292"/>
                  </a:lnTo>
                  <a:lnTo>
                    <a:pt x="1209" y="286"/>
                  </a:lnTo>
                  <a:lnTo>
                    <a:pt x="1211" y="276"/>
                  </a:lnTo>
                  <a:lnTo>
                    <a:pt x="1211" y="276"/>
                  </a:lnTo>
                  <a:lnTo>
                    <a:pt x="1211" y="271"/>
                  </a:lnTo>
                  <a:lnTo>
                    <a:pt x="1211" y="264"/>
                  </a:lnTo>
                  <a:lnTo>
                    <a:pt x="1210" y="258"/>
                  </a:lnTo>
                  <a:lnTo>
                    <a:pt x="1209" y="257"/>
                  </a:lnTo>
                  <a:lnTo>
                    <a:pt x="1207" y="255"/>
                  </a:lnTo>
                  <a:lnTo>
                    <a:pt x="1207" y="255"/>
                  </a:lnTo>
                  <a:lnTo>
                    <a:pt x="1203" y="255"/>
                  </a:lnTo>
                  <a:lnTo>
                    <a:pt x="1200" y="258"/>
                  </a:lnTo>
                  <a:lnTo>
                    <a:pt x="1197" y="262"/>
                  </a:lnTo>
                  <a:lnTo>
                    <a:pt x="1192" y="265"/>
                  </a:lnTo>
                  <a:lnTo>
                    <a:pt x="1192" y="265"/>
                  </a:lnTo>
                  <a:lnTo>
                    <a:pt x="1188" y="271"/>
                  </a:lnTo>
                  <a:lnTo>
                    <a:pt x="1180" y="279"/>
                  </a:lnTo>
                  <a:lnTo>
                    <a:pt x="1170" y="295"/>
                  </a:lnTo>
                  <a:lnTo>
                    <a:pt x="1170" y="295"/>
                  </a:lnTo>
                  <a:lnTo>
                    <a:pt x="1161" y="305"/>
                  </a:lnTo>
                  <a:lnTo>
                    <a:pt x="1158" y="308"/>
                  </a:lnTo>
                  <a:lnTo>
                    <a:pt x="1155" y="308"/>
                  </a:lnTo>
                  <a:lnTo>
                    <a:pt x="1154" y="308"/>
                  </a:lnTo>
                  <a:lnTo>
                    <a:pt x="1154" y="308"/>
                  </a:lnTo>
                  <a:lnTo>
                    <a:pt x="1152" y="305"/>
                  </a:lnTo>
                  <a:lnTo>
                    <a:pt x="1152" y="299"/>
                  </a:lnTo>
                  <a:lnTo>
                    <a:pt x="1154" y="289"/>
                  </a:lnTo>
                  <a:lnTo>
                    <a:pt x="1154" y="289"/>
                  </a:lnTo>
                  <a:lnTo>
                    <a:pt x="1155" y="285"/>
                  </a:lnTo>
                  <a:lnTo>
                    <a:pt x="1158" y="277"/>
                  </a:lnTo>
                  <a:lnTo>
                    <a:pt x="1163" y="268"/>
                  </a:lnTo>
                  <a:lnTo>
                    <a:pt x="1163" y="268"/>
                  </a:lnTo>
                  <a:lnTo>
                    <a:pt x="1174" y="259"/>
                  </a:lnTo>
                  <a:lnTo>
                    <a:pt x="1189" y="252"/>
                  </a:lnTo>
                  <a:lnTo>
                    <a:pt x="1189" y="252"/>
                  </a:lnTo>
                  <a:lnTo>
                    <a:pt x="1192" y="249"/>
                  </a:lnTo>
                  <a:lnTo>
                    <a:pt x="1194" y="246"/>
                  </a:lnTo>
                  <a:lnTo>
                    <a:pt x="1191" y="245"/>
                  </a:lnTo>
                  <a:lnTo>
                    <a:pt x="1186" y="242"/>
                  </a:lnTo>
                  <a:lnTo>
                    <a:pt x="1186" y="242"/>
                  </a:lnTo>
                  <a:lnTo>
                    <a:pt x="1180" y="242"/>
                  </a:lnTo>
                  <a:lnTo>
                    <a:pt x="1174" y="243"/>
                  </a:lnTo>
                  <a:lnTo>
                    <a:pt x="1161" y="248"/>
                  </a:lnTo>
                  <a:lnTo>
                    <a:pt x="1161" y="248"/>
                  </a:lnTo>
                  <a:lnTo>
                    <a:pt x="1143" y="254"/>
                  </a:lnTo>
                  <a:lnTo>
                    <a:pt x="1127" y="261"/>
                  </a:lnTo>
                  <a:lnTo>
                    <a:pt x="1127" y="261"/>
                  </a:lnTo>
                  <a:lnTo>
                    <a:pt x="1114" y="267"/>
                  </a:lnTo>
                  <a:lnTo>
                    <a:pt x="1096" y="279"/>
                  </a:lnTo>
                  <a:lnTo>
                    <a:pt x="1077" y="291"/>
                  </a:lnTo>
                  <a:lnTo>
                    <a:pt x="1065" y="297"/>
                  </a:lnTo>
                  <a:lnTo>
                    <a:pt x="1065" y="297"/>
                  </a:lnTo>
                  <a:lnTo>
                    <a:pt x="1046" y="304"/>
                  </a:lnTo>
                  <a:lnTo>
                    <a:pt x="1026" y="311"/>
                  </a:lnTo>
                  <a:lnTo>
                    <a:pt x="1026" y="311"/>
                  </a:lnTo>
                  <a:lnTo>
                    <a:pt x="1022" y="313"/>
                  </a:lnTo>
                  <a:lnTo>
                    <a:pt x="1018" y="316"/>
                  </a:lnTo>
                  <a:lnTo>
                    <a:pt x="1013" y="319"/>
                  </a:lnTo>
                  <a:lnTo>
                    <a:pt x="1012" y="322"/>
                  </a:lnTo>
                  <a:lnTo>
                    <a:pt x="1012" y="322"/>
                  </a:lnTo>
                  <a:lnTo>
                    <a:pt x="1012" y="323"/>
                  </a:lnTo>
                  <a:lnTo>
                    <a:pt x="1015" y="323"/>
                  </a:lnTo>
                  <a:lnTo>
                    <a:pt x="1020" y="326"/>
                  </a:lnTo>
                  <a:lnTo>
                    <a:pt x="1028" y="329"/>
                  </a:lnTo>
                  <a:lnTo>
                    <a:pt x="1035" y="332"/>
                  </a:lnTo>
                  <a:lnTo>
                    <a:pt x="1035" y="332"/>
                  </a:lnTo>
                  <a:lnTo>
                    <a:pt x="1038" y="335"/>
                  </a:lnTo>
                  <a:lnTo>
                    <a:pt x="1040" y="338"/>
                  </a:lnTo>
                  <a:lnTo>
                    <a:pt x="1041" y="345"/>
                  </a:lnTo>
                  <a:lnTo>
                    <a:pt x="1040" y="353"/>
                  </a:lnTo>
                  <a:lnTo>
                    <a:pt x="1037" y="359"/>
                  </a:lnTo>
                  <a:lnTo>
                    <a:pt x="1037" y="359"/>
                  </a:lnTo>
                  <a:lnTo>
                    <a:pt x="1032" y="362"/>
                  </a:lnTo>
                  <a:lnTo>
                    <a:pt x="1026" y="366"/>
                  </a:lnTo>
                  <a:lnTo>
                    <a:pt x="1012" y="374"/>
                  </a:lnTo>
                  <a:lnTo>
                    <a:pt x="1012" y="374"/>
                  </a:lnTo>
                  <a:lnTo>
                    <a:pt x="1007" y="376"/>
                  </a:lnTo>
                  <a:lnTo>
                    <a:pt x="1006" y="382"/>
                  </a:lnTo>
                  <a:lnTo>
                    <a:pt x="1004" y="396"/>
                  </a:lnTo>
                  <a:lnTo>
                    <a:pt x="1004" y="396"/>
                  </a:lnTo>
                  <a:lnTo>
                    <a:pt x="1006" y="400"/>
                  </a:lnTo>
                  <a:lnTo>
                    <a:pt x="1009" y="403"/>
                  </a:lnTo>
                  <a:lnTo>
                    <a:pt x="1013" y="405"/>
                  </a:lnTo>
                  <a:lnTo>
                    <a:pt x="1019" y="405"/>
                  </a:lnTo>
                  <a:lnTo>
                    <a:pt x="1019" y="405"/>
                  </a:lnTo>
                  <a:lnTo>
                    <a:pt x="1020" y="405"/>
                  </a:lnTo>
                  <a:lnTo>
                    <a:pt x="1022" y="403"/>
                  </a:lnTo>
                  <a:lnTo>
                    <a:pt x="1026" y="399"/>
                  </a:lnTo>
                  <a:lnTo>
                    <a:pt x="1032" y="390"/>
                  </a:lnTo>
                  <a:lnTo>
                    <a:pt x="1032" y="390"/>
                  </a:lnTo>
                  <a:lnTo>
                    <a:pt x="1037" y="382"/>
                  </a:lnTo>
                  <a:lnTo>
                    <a:pt x="1041" y="378"/>
                  </a:lnTo>
                  <a:lnTo>
                    <a:pt x="1044" y="376"/>
                  </a:lnTo>
                  <a:lnTo>
                    <a:pt x="1044" y="376"/>
                  </a:lnTo>
                  <a:lnTo>
                    <a:pt x="1046" y="376"/>
                  </a:lnTo>
                  <a:lnTo>
                    <a:pt x="1046" y="378"/>
                  </a:lnTo>
                  <a:lnTo>
                    <a:pt x="1047" y="384"/>
                  </a:lnTo>
                  <a:lnTo>
                    <a:pt x="1046" y="402"/>
                  </a:lnTo>
                  <a:lnTo>
                    <a:pt x="1046" y="402"/>
                  </a:lnTo>
                  <a:lnTo>
                    <a:pt x="1047" y="418"/>
                  </a:lnTo>
                  <a:lnTo>
                    <a:pt x="1050" y="430"/>
                  </a:lnTo>
                  <a:lnTo>
                    <a:pt x="1050" y="430"/>
                  </a:lnTo>
                  <a:lnTo>
                    <a:pt x="1055" y="434"/>
                  </a:lnTo>
                  <a:lnTo>
                    <a:pt x="1063" y="440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6" y="452"/>
                  </a:lnTo>
                  <a:lnTo>
                    <a:pt x="1089" y="455"/>
                  </a:lnTo>
                  <a:lnTo>
                    <a:pt x="1092" y="458"/>
                  </a:lnTo>
                  <a:lnTo>
                    <a:pt x="1092" y="461"/>
                  </a:lnTo>
                  <a:lnTo>
                    <a:pt x="1092" y="461"/>
                  </a:lnTo>
                  <a:lnTo>
                    <a:pt x="1090" y="464"/>
                  </a:lnTo>
                  <a:lnTo>
                    <a:pt x="1086" y="467"/>
                  </a:lnTo>
                  <a:lnTo>
                    <a:pt x="1075" y="474"/>
                  </a:lnTo>
                  <a:lnTo>
                    <a:pt x="1075" y="474"/>
                  </a:lnTo>
                  <a:lnTo>
                    <a:pt x="1072" y="477"/>
                  </a:lnTo>
                  <a:lnTo>
                    <a:pt x="1071" y="480"/>
                  </a:lnTo>
                  <a:lnTo>
                    <a:pt x="1069" y="483"/>
                  </a:lnTo>
                  <a:lnTo>
                    <a:pt x="1068" y="483"/>
                  </a:lnTo>
                  <a:lnTo>
                    <a:pt x="1068" y="483"/>
                  </a:lnTo>
                  <a:lnTo>
                    <a:pt x="1059" y="480"/>
                  </a:lnTo>
                  <a:lnTo>
                    <a:pt x="1053" y="477"/>
                  </a:lnTo>
                  <a:lnTo>
                    <a:pt x="1046" y="476"/>
                  </a:lnTo>
                  <a:lnTo>
                    <a:pt x="1046" y="476"/>
                  </a:lnTo>
                  <a:lnTo>
                    <a:pt x="1043" y="476"/>
                  </a:lnTo>
                  <a:lnTo>
                    <a:pt x="1040" y="477"/>
                  </a:lnTo>
                  <a:lnTo>
                    <a:pt x="1037" y="479"/>
                  </a:lnTo>
                  <a:lnTo>
                    <a:pt x="1034" y="483"/>
                  </a:lnTo>
                  <a:lnTo>
                    <a:pt x="1032" y="491"/>
                  </a:lnTo>
                  <a:lnTo>
                    <a:pt x="1031" y="495"/>
                  </a:lnTo>
                  <a:lnTo>
                    <a:pt x="1031" y="495"/>
                  </a:lnTo>
                  <a:lnTo>
                    <a:pt x="1032" y="499"/>
                  </a:lnTo>
                  <a:lnTo>
                    <a:pt x="1035" y="504"/>
                  </a:lnTo>
                  <a:lnTo>
                    <a:pt x="1040" y="507"/>
                  </a:lnTo>
                  <a:lnTo>
                    <a:pt x="1044" y="510"/>
                  </a:lnTo>
                  <a:lnTo>
                    <a:pt x="1044" y="510"/>
                  </a:lnTo>
                  <a:lnTo>
                    <a:pt x="1047" y="511"/>
                  </a:lnTo>
                  <a:lnTo>
                    <a:pt x="1050" y="514"/>
                  </a:lnTo>
                  <a:lnTo>
                    <a:pt x="1050" y="517"/>
                  </a:lnTo>
                  <a:lnTo>
                    <a:pt x="1049" y="522"/>
                  </a:lnTo>
                  <a:lnTo>
                    <a:pt x="1049" y="522"/>
                  </a:lnTo>
                  <a:lnTo>
                    <a:pt x="1047" y="523"/>
                  </a:lnTo>
                  <a:lnTo>
                    <a:pt x="1044" y="525"/>
                  </a:lnTo>
                  <a:lnTo>
                    <a:pt x="1034" y="526"/>
                  </a:lnTo>
                  <a:lnTo>
                    <a:pt x="1020" y="526"/>
                  </a:lnTo>
                  <a:lnTo>
                    <a:pt x="1007" y="526"/>
                  </a:lnTo>
                  <a:lnTo>
                    <a:pt x="1007" y="526"/>
                  </a:lnTo>
                  <a:lnTo>
                    <a:pt x="979" y="525"/>
                  </a:lnTo>
                  <a:lnTo>
                    <a:pt x="958" y="523"/>
                  </a:lnTo>
                  <a:lnTo>
                    <a:pt x="958" y="523"/>
                  </a:lnTo>
                  <a:lnTo>
                    <a:pt x="955" y="525"/>
                  </a:lnTo>
                  <a:lnTo>
                    <a:pt x="952" y="526"/>
                  </a:lnTo>
                  <a:lnTo>
                    <a:pt x="945" y="533"/>
                  </a:lnTo>
                  <a:lnTo>
                    <a:pt x="939" y="541"/>
                  </a:lnTo>
                  <a:lnTo>
                    <a:pt x="936" y="547"/>
                  </a:lnTo>
                  <a:lnTo>
                    <a:pt x="936" y="547"/>
                  </a:lnTo>
                  <a:lnTo>
                    <a:pt x="930" y="568"/>
                  </a:lnTo>
                  <a:lnTo>
                    <a:pt x="924" y="581"/>
                  </a:lnTo>
                  <a:lnTo>
                    <a:pt x="921" y="585"/>
                  </a:lnTo>
                  <a:lnTo>
                    <a:pt x="920" y="587"/>
                  </a:lnTo>
                  <a:lnTo>
                    <a:pt x="920" y="587"/>
                  </a:lnTo>
                  <a:lnTo>
                    <a:pt x="914" y="590"/>
                  </a:lnTo>
                  <a:lnTo>
                    <a:pt x="906" y="590"/>
                  </a:lnTo>
                  <a:lnTo>
                    <a:pt x="898" y="590"/>
                  </a:lnTo>
                  <a:lnTo>
                    <a:pt x="890" y="588"/>
                  </a:lnTo>
                  <a:lnTo>
                    <a:pt x="890" y="588"/>
                  </a:lnTo>
                  <a:lnTo>
                    <a:pt x="883" y="585"/>
                  </a:lnTo>
                  <a:lnTo>
                    <a:pt x="875" y="579"/>
                  </a:lnTo>
                  <a:lnTo>
                    <a:pt x="864" y="569"/>
                  </a:lnTo>
                  <a:lnTo>
                    <a:pt x="864" y="569"/>
                  </a:lnTo>
                  <a:lnTo>
                    <a:pt x="858" y="565"/>
                  </a:lnTo>
                  <a:lnTo>
                    <a:pt x="852" y="562"/>
                  </a:lnTo>
                  <a:lnTo>
                    <a:pt x="847" y="560"/>
                  </a:lnTo>
                  <a:lnTo>
                    <a:pt x="844" y="560"/>
                  </a:lnTo>
                  <a:lnTo>
                    <a:pt x="844" y="560"/>
                  </a:lnTo>
                  <a:lnTo>
                    <a:pt x="843" y="562"/>
                  </a:lnTo>
                  <a:lnTo>
                    <a:pt x="841" y="563"/>
                  </a:lnTo>
                  <a:lnTo>
                    <a:pt x="841" y="569"/>
                  </a:lnTo>
                  <a:lnTo>
                    <a:pt x="843" y="584"/>
                  </a:lnTo>
                  <a:lnTo>
                    <a:pt x="843" y="584"/>
                  </a:lnTo>
                  <a:lnTo>
                    <a:pt x="846" y="596"/>
                  </a:lnTo>
                  <a:lnTo>
                    <a:pt x="850" y="612"/>
                  </a:lnTo>
                  <a:lnTo>
                    <a:pt x="856" y="628"/>
                  </a:lnTo>
                  <a:lnTo>
                    <a:pt x="861" y="637"/>
                  </a:lnTo>
                  <a:lnTo>
                    <a:pt x="861" y="637"/>
                  </a:lnTo>
                  <a:lnTo>
                    <a:pt x="864" y="643"/>
                  </a:lnTo>
                  <a:lnTo>
                    <a:pt x="866" y="655"/>
                  </a:lnTo>
                  <a:lnTo>
                    <a:pt x="868" y="667"/>
                  </a:lnTo>
                  <a:lnTo>
                    <a:pt x="869" y="677"/>
                  </a:lnTo>
                  <a:lnTo>
                    <a:pt x="869" y="677"/>
                  </a:lnTo>
                  <a:lnTo>
                    <a:pt x="868" y="685"/>
                  </a:lnTo>
                  <a:lnTo>
                    <a:pt x="864" y="689"/>
                  </a:lnTo>
                  <a:lnTo>
                    <a:pt x="859" y="690"/>
                  </a:lnTo>
                  <a:lnTo>
                    <a:pt x="853" y="692"/>
                  </a:lnTo>
                  <a:lnTo>
                    <a:pt x="853" y="692"/>
                  </a:lnTo>
                  <a:lnTo>
                    <a:pt x="844" y="690"/>
                  </a:lnTo>
                  <a:lnTo>
                    <a:pt x="832" y="688"/>
                  </a:lnTo>
                  <a:lnTo>
                    <a:pt x="810" y="679"/>
                  </a:lnTo>
                  <a:lnTo>
                    <a:pt x="810" y="679"/>
                  </a:lnTo>
                  <a:lnTo>
                    <a:pt x="784" y="668"/>
                  </a:lnTo>
                  <a:lnTo>
                    <a:pt x="769" y="662"/>
                  </a:lnTo>
                  <a:lnTo>
                    <a:pt x="761" y="658"/>
                  </a:lnTo>
                  <a:lnTo>
                    <a:pt x="761" y="658"/>
                  </a:lnTo>
                  <a:lnTo>
                    <a:pt x="755" y="653"/>
                  </a:lnTo>
                  <a:lnTo>
                    <a:pt x="749" y="648"/>
                  </a:lnTo>
                  <a:lnTo>
                    <a:pt x="749" y="648"/>
                  </a:lnTo>
                  <a:lnTo>
                    <a:pt x="749" y="645"/>
                  </a:lnTo>
                  <a:lnTo>
                    <a:pt x="751" y="642"/>
                  </a:lnTo>
                  <a:lnTo>
                    <a:pt x="754" y="636"/>
                  </a:lnTo>
                  <a:lnTo>
                    <a:pt x="754" y="636"/>
                  </a:lnTo>
                  <a:lnTo>
                    <a:pt x="755" y="628"/>
                  </a:lnTo>
                  <a:lnTo>
                    <a:pt x="755" y="619"/>
                  </a:lnTo>
                  <a:lnTo>
                    <a:pt x="755" y="619"/>
                  </a:lnTo>
                  <a:lnTo>
                    <a:pt x="754" y="618"/>
                  </a:lnTo>
                  <a:lnTo>
                    <a:pt x="752" y="616"/>
                  </a:lnTo>
                  <a:lnTo>
                    <a:pt x="749" y="616"/>
                  </a:lnTo>
                  <a:lnTo>
                    <a:pt x="747" y="618"/>
                  </a:lnTo>
                  <a:lnTo>
                    <a:pt x="747" y="618"/>
                  </a:lnTo>
                  <a:lnTo>
                    <a:pt x="745" y="622"/>
                  </a:lnTo>
                  <a:lnTo>
                    <a:pt x="744" y="628"/>
                  </a:lnTo>
                  <a:lnTo>
                    <a:pt x="741" y="640"/>
                  </a:lnTo>
                  <a:lnTo>
                    <a:pt x="741" y="640"/>
                  </a:lnTo>
                  <a:lnTo>
                    <a:pt x="739" y="642"/>
                  </a:lnTo>
                  <a:lnTo>
                    <a:pt x="735" y="642"/>
                  </a:lnTo>
                  <a:lnTo>
                    <a:pt x="732" y="642"/>
                  </a:lnTo>
                  <a:lnTo>
                    <a:pt x="729" y="639"/>
                  </a:lnTo>
                  <a:lnTo>
                    <a:pt x="729" y="639"/>
                  </a:lnTo>
                  <a:lnTo>
                    <a:pt x="723" y="633"/>
                  </a:lnTo>
                  <a:lnTo>
                    <a:pt x="718" y="622"/>
                  </a:lnTo>
                  <a:lnTo>
                    <a:pt x="718" y="622"/>
                  </a:lnTo>
                  <a:lnTo>
                    <a:pt x="714" y="618"/>
                  </a:lnTo>
                  <a:lnTo>
                    <a:pt x="711" y="615"/>
                  </a:lnTo>
                  <a:lnTo>
                    <a:pt x="704" y="612"/>
                  </a:lnTo>
                  <a:lnTo>
                    <a:pt x="704" y="612"/>
                  </a:lnTo>
                  <a:lnTo>
                    <a:pt x="689" y="608"/>
                  </a:lnTo>
                  <a:lnTo>
                    <a:pt x="675" y="600"/>
                  </a:lnTo>
                  <a:lnTo>
                    <a:pt x="675" y="600"/>
                  </a:lnTo>
                  <a:lnTo>
                    <a:pt x="674" y="597"/>
                  </a:lnTo>
                  <a:lnTo>
                    <a:pt x="674" y="594"/>
                  </a:lnTo>
                  <a:lnTo>
                    <a:pt x="677" y="591"/>
                  </a:lnTo>
                  <a:lnTo>
                    <a:pt x="680" y="587"/>
                  </a:lnTo>
                  <a:lnTo>
                    <a:pt x="680" y="587"/>
                  </a:lnTo>
                  <a:lnTo>
                    <a:pt x="681" y="587"/>
                  </a:lnTo>
                  <a:lnTo>
                    <a:pt x="686" y="585"/>
                  </a:lnTo>
                  <a:lnTo>
                    <a:pt x="696" y="585"/>
                  </a:lnTo>
                  <a:lnTo>
                    <a:pt x="707" y="585"/>
                  </a:lnTo>
                  <a:lnTo>
                    <a:pt x="714" y="585"/>
                  </a:lnTo>
                  <a:lnTo>
                    <a:pt x="714" y="585"/>
                  </a:lnTo>
                  <a:lnTo>
                    <a:pt x="717" y="582"/>
                  </a:lnTo>
                  <a:lnTo>
                    <a:pt x="720" y="578"/>
                  </a:lnTo>
                  <a:lnTo>
                    <a:pt x="721" y="572"/>
                  </a:lnTo>
                  <a:lnTo>
                    <a:pt x="721" y="568"/>
                  </a:lnTo>
                  <a:lnTo>
                    <a:pt x="721" y="568"/>
                  </a:lnTo>
                  <a:lnTo>
                    <a:pt x="720" y="566"/>
                  </a:lnTo>
                  <a:lnTo>
                    <a:pt x="718" y="566"/>
                  </a:lnTo>
                  <a:lnTo>
                    <a:pt x="712" y="566"/>
                  </a:lnTo>
                  <a:lnTo>
                    <a:pt x="701" y="569"/>
                  </a:lnTo>
                  <a:lnTo>
                    <a:pt x="701" y="569"/>
                  </a:lnTo>
                  <a:lnTo>
                    <a:pt x="695" y="569"/>
                  </a:lnTo>
                  <a:lnTo>
                    <a:pt x="695" y="568"/>
                  </a:lnTo>
                  <a:lnTo>
                    <a:pt x="696" y="562"/>
                  </a:lnTo>
                  <a:lnTo>
                    <a:pt x="696" y="562"/>
                  </a:lnTo>
                  <a:lnTo>
                    <a:pt x="698" y="554"/>
                  </a:lnTo>
                  <a:lnTo>
                    <a:pt x="699" y="550"/>
                  </a:lnTo>
                  <a:lnTo>
                    <a:pt x="699" y="545"/>
                  </a:lnTo>
                  <a:lnTo>
                    <a:pt x="699" y="545"/>
                  </a:lnTo>
                  <a:lnTo>
                    <a:pt x="696" y="542"/>
                  </a:lnTo>
                  <a:lnTo>
                    <a:pt x="692" y="541"/>
                  </a:lnTo>
                  <a:lnTo>
                    <a:pt x="680" y="541"/>
                  </a:lnTo>
                  <a:lnTo>
                    <a:pt x="680" y="541"/>
                  </a:lnTo>
                  <a:lnTo>
                    <a:pt x="675" y="539"/>
                  </a:lnTo>
                  <a:lnTo>
                    <a:pt x="672" y="538"/>
                  </a:lnTo>
                  <a:lnTo>
                    <a:pt x="672" y="535"/>
                  </a:lnTo>
                  <a:lnTo>
                    <a:pt x="672" y="532"/>
                  </a:lnTo>
                  <a:lnTo>
                    <a:pt x="672" y="532"/>
                  </a:lnTo>
                  <a:lnTo>
                    <a:pt x="674" y="529"/>
                  </a:lnTo>
                  <a:lnTo>
                    <a:pt x="677" y="525"/>
                  </a:lnTo>
                  <a:lnTo>
                    <a:pt x="683" y="517"/>
                  </a:lnTo>
                  <a:lnTo>
                    <a:pt x="683" y="517"/>
                  </a:lnTo>
                  <a:lnTo>
                    <a:pt x="687" y="510"/>
                  </a:lnTo>
                  <a:lnTo>
                    <a:pt x="689" y="507"/>
                  </a:lnTo>
                  <a:lnTo>
                    <a:pt x="687" y="502"/>
                  </a:lnTo>
                  <a:lnTo>
                    <a:pt x="687" y="502"/>
                  </a:lnTo>
                  <a:lnTo>
                    <a:pt x="686" y="499"/>
                  </a:lnTo>
                  <a:lnTo>
                    <a:pt x="683" y="499"/>
                  </a:lnTo>
                  <a:lnTo>
                    <a:pt x="674" y="498"/>
                  </a:lnTo>
                  <a:lnTo>
                    <a:pt x="674" y="498"/>
                  </a:lnTo>
                  <a:lnTo>
                    <a:pt x="668" y="496"/>
                  </a:lnTo>
                  <a:lnTo>
                    <a:pt x="664" y="493"/>
                  </a:lnTo>
                  <a:lnTo>
                    <a:pt x="656" y="488"/>
                  </a:lnTo>
                  <a:lnTo>
                    <a:pt x="656" y="488"/>
                  </a:lnTo>
                  <a:lnTo>
                    <a:pt x="652" y="486"/>
                  </a:lnTo>
                  <a:lnTo>
                    <a:pt x="649" y="486"/>
                  </a:lnTo>
                  <a:lnTo>
                    <a:pt x="641" y="486"/>
                  </a:lnTo>
                  <a:lnTo>
                    <a:pt x="641" y="486"/>
                  </a:lnTo>
                  <a:lnTo>
                    <a:pt x="635" y="486"/>
                  </a:lnTo>
                  <a:lnTo>
                    <a:pt x="630" y="483"/>
                  </a:lnTo>
                  <a:lnTo>
                    <a:pt x="630" y="483"/>
                  </a:lnTo>
                  <a:lnTo>
                    <a:pt x="621" y="482"/>
                  </a:lnTo>
                  <a:lnTo>
                    <a:pt x="612" y="482"/>
                  </a:lnTo>
                  <a:lnTo>
                    <a:pt x="612" y="482"/>
                  </a:lnTo>
                  <a:lnTo>
                    <a:pt x="606" y="485"/>
                  </a:lnTo>
                  <a:lnTo>
                    <a:pt x="600" y="489"/>
                  </a:lnTo>
                  <a:lnTo>
                    <a:pt x="590" y="499"/>
                  </a:lnTo>
                  <a:lnTo>
                    <a:pt x="590" y="499"/>
                  </a:lnTo>
                  <a:lnTo>
                    <a:pt x="584" y="502"/>
                  </a:lnTo>
                  <a:lnTo>
                    <a:pt x="579" y="504"/>
                  </a:lnTo>
                  <a:lnTo>
                    <a:pt x="572" y="502"/>
                  </a:lnTo>
                  <a:lnTo>
                    <a:pt x="572" y="502"/>
                  </a:lnTo>
                  <a:lnTo>
                    <a:pt x="567" y="504"/>
                  </a:lnTo>
                  <a:lnTo>
                    <a:pt x="564" y="505"/>
                  </a:lnTo>
                  <a:lnTo>
                    <a:pt x="556" y="510"/>
                  </a:lnTo>
                  <a:lnTo>
                    <a:pt x="556" y="510"/>
                  </a:lnTo>
                  <a:lnTo>
                    <a:pt x="551" y="510"/>
                  </a:lnTo>
                  <a:lnTo>
                    <a:pt x="547" y="510"/>
                  </a:lnTo>
                  <a:lnTo>
                    <a:pt x="542" y="507"/>
                  </a:lnTo>
                  <a:lnTo>
                    <a:pt x="539" y="505"/>
                  </a:lnTo>
                  <a:lnTo>
                    <a:pt x="539" y="505"/>
                  </a:lnTo>
                  <a:lnTo>
                    <a:pt x="532" y="498"/>
                  </a:lnTo>
                  <a:lnTo>
                    <a:pt x="526" y="493"/>
                  </a:lnTo>
                  <a:lnTo>
                    <a:pt x="520" y="491"/>
                  </a:lnTo>
                  <a:lnTo>
                    <a:pt x="520" y="491"/>
                  </a:lnTo>
                  <a:lnTo>
                    <a:pt x="517" y="492"/>
                  </a:lnTo>
                  <a:lnTo>
                    <a:pt x="514" y="493"/>
                  </a:lnTo>
                  <a:lnTo>
                    <a:pt x="511" y="502"/>
                  </a:lnTo>
                  <a:lnTo>
                    <a:pt x="510" y="511"/>
                  </a:lnTo>
                  <a:lnTo>
                    <a:pt x="507" y="517"/>
                  </a:lnTo>
                  <a:lnTo>
                    <a:pt x="507" y="517"/>
                  </a:lnTo>
                  <a:lnTo>
                    <a:pt x="505" y="519"/>
                  </a:lnTo>
                  <a:lnTo>
                    <a:pt x="501" y="520"/>
                  </a:lnTo>
                  <a:lnTo>
                    <a:pt x="492" y="520"/>
                  </a:lnTo>
                  <a:lnTo>
                    <a:pt x="492" y="520"/>
                  </a:lnTo>
                  <a:lnTo>
                    <a:pt x="490" y="522"/>
                  </a:lnTo>
                  <a:lnTo>
                    <a:pt x="490" y="525"/>
                  </a:lnTo>
                  <a:lnTo>
                    <a:pt x="490" y="529"/>
                  </a:lnTo>
                  <a:lnTo>
                    <a:pt x="490" y="533"/>
                  </a:lnTo>
                  <a:lnTo>
                    <a:pt x="490" y="533"/>
                  </a:lnTo>
                  <a:lnTo>
                    <a:pt x="492" y="536"/>
                  </a:lnTo>
                  <a:lnTo>
                    <a:pt x="493" y="539"/>
                  </a:lnTo>
                  <a:lnTo>
                    <a:pt x="498" y="548"/>
                  </a:lnTo>
                  <a:lnTo>
                    <a:pt x="504" y="556"/>
                  </a:lnTo>
                  <a:lnTo>
                    <a:pt x="507" y="562"/>
                  </a:lnTo>
                  <a:lnTo>
                    <a:pt x="507" y="562"/>
                  </a:lnTo>
                  <a:lnTo>
                    <a:pt x="508" y="573"/>
                  </a:lnTo>
                  <a:lnTo>
                    <a:pt x="510" y="581"/>
                  </a:lnTo>
                  <a:lnTo>
                    <a:pt x="511" y="584"/>
                  </a:lnTo>
                  <a:lnTo>
                    <a:pt x="511" y="584"/>
                  </a:lnTo>
                  <a:lnTo>
                    <a:pt x="516" y="591"/>
                  </a:lnTo>
                  <a:lnTo>
                    <a:pt x="517" y="594"/>
                  </a:lnTo>
                  <a:lnTo>
                    <a:pt x="517" y="596"/>
                  </a:lnTo>
                  <a:lnTo>
                    <a:pt x="517" y="596"/>
                  </a:lnTo>
                  <a:lnTo>
                    <a:pt x="508" y="597"/>
                  </a:lnTo>
                  <a:lnTo>
                    <a:pt x="496" y="599"/>
                  </a:lnTo>
                  <a:lnTo>
                    <a:pt x="496" y="599"/>
                  </a:lnTo>
                  <a:lnTo>
                    <a:pt x="490" y="600"/>
                  </a:lnTo>
                  <a:lnTo>
                    <a:pt x="484" y="605"/>
                  </a:lnTo>
                  <a:lnTo>
                    <a:pt x="476" y="615"/>
                  </a:lnTo>
                  <a:lnTo>
                    <a:pt x="476" y="615"/>
                  </a:lnTo>
                  <a:lnTo>
                    <a:pt x="471" y="618"/>
                  </a:lnTo>
                  <a:lnTo>
                    <a:pt x="467" y="619"/>
                  </a:lnTo>
                  <a:lnTo>
                    <a:pt x="453" y="624"/>
                  </a:lnTo>
                  <a:lnTo>
                    <a:pt x="439" y="627"/>
                  </a:lnTo>
                  <a:lnTo>
                    <a:pt x="428" y="628"/>
                  </a:lnTo>
                  <a:lnTo>
                    <a:pt x="428" y="628"/>
                  </a:lnTo>
                  <a:lnTo>
                    <a:pt x="400" y="628"/>
                  </a:lnTo>
                  <a:lnTo>
                    <a:pt x="382" y="628"/>
                  </a:lnTo>
                  <a:lnTo>
                    <a:pt x="367" y="627"/>
                  </a:lnTo>
                  <a:lnTo>
                    <a:pt x="367" y="627"/>
                  </a:lnTo>
                  <a:lnTo>
                    <a:pt x="362" y="625"/>
                  </a:lnTo>
                  <a:lnTo>
                    <a:pt x="357" y="622"/>
                  </a:lnTo>
                  <a:lnTo>
                    <a:pt x="354" y="618"/>
                  </a:lnTo>
                  <a:lnTo>
                    <a:pt x="351" y="613"/>
                  </a:lnTo>
                  <a:lnTo>
                    <a:pt x="350" y="606"/>
                  </a:lnTo>
                  <a:lnTo>
                    <a:pt x="350" y="599"/>
                  </a:lnTo>
                  <a:lnTo>
                    <a:pt x="350" y="599"/>
                  </a:lnTo>
                  <a:lnTo>
                    <a:pt x="351" y="594"/>
                  </a:lnTo>
                  <a:lnTo>
                    <a:pt x="356" y="591"/>
                  </a:lnTo>
                  <a:lnTo>
                    <a:pt x="360" y="584"/>
                  </a:lnTo>
                  <a:lnTo>
                    <a:pt x="360" y="584"/>
                  </a:lnTo>
                  <a:lnTo>
                    <a:pt x="360" y="582"/>
                  </a:lnTo>
                  <a:lnTo>
                    <a:pt x="357" y="579"/>
                  </a:lnTo>
                  <a:lnTo>
                    <a:pt x="347" y="576"/>
                  </a:lnTo>
                  <a:lnTo>
                    <a:pt x="347" y="576"/>
                  </a:lnTo>
                  <a:lnTo>
                    <a:pt x="341" y="576"/>
                  </a:lnTo>
                  <a:lnTo>
                    <a:pt x="335" y="579"/>
                  </a:lnTo>
                  <a:lnTo>
                    <a:pt x="325" y="587"/>
                  </a:lnTo>
                  <a:lnTo>
                    <a:pt x="325" y="587"/>
                  </a:lnTo>
                  <a:lnTo>
                    <a:pt x="314" y="588"/>
                  </a:lnTo>
                  <a:lnTo>
                    <a:pt x="296" y="590"/>
                  </a:lnTo>
                  <a:lnTo>
                    <a:pt x="268" y="590"/>
                  </a:lnTo>
                  <a:lnTo>
                    <a:pt x="268" y="590"/>
                  </a:lnTo>
                  <a:lnTo>
                    <a:pt x="258" y="593"/>
                  </a:lnTo>
                  <a:lnTo>
                    <a:pt x="240" y="600"/>
                  </a:lnTo>
                  <a:lnTo>
                    <a:pt x="212" y="612"/>
                  </a:lnTo>
                  <a:lnTo>
                    <a:pt x="212" y="612"/>
                  </a:lnTo>
                  <a:lnTo>
                    <a:pt x="208" y="616"/>
                  </a:lnTo>
                  <a:lnTo>
                    <a:pt x="203" y="622"/>
                  </a:lnTo>
                  <a:lnTo>
                    <a:pt x="200" y="628"/>
                  </a:lnTo>
                  <a:lnTo>
                    <a:pt x="200" y="633"/>
                  </a:lnTo>
                  <a:lnTo>
                    <a:pt x="200" y="633"/>
                  </a:lnTo>
                  <a:lnTo>
                    <a:pt x="200" y="637"/>
                  </a:lnTo>
                  <a:lnTo>
                    <a:pt x="203" y="640"/>
                  </a:lnTo>
                  <a:lnTo>
                    <a:pt x="205" y="643"/>
                  </a:lnTo>
                  <a:lnTo>
                    <a:pt x="205" y="648"/>
                  </a:lnTo>
                  <a:lnTo>
                    <a:pt x="205" y="648"/>
                  </a:lnTo>
                  <a:lnTo>
                    <a:pt x="203" y="650"/>
                  </a:lnTo>
                  <a:lnTo>
                    <a:pt x="200" y="653"/>
                  </a:lnTo>
                  <a:lnTo>
                    <a:pt x="194" y="656"/>
                  </a:lnTo>
                  <a:lnTo>
                    <a:pt x="194" y="656"/>
                  </a:lnTo>
                  <a:lnTo>
                    <a:pt x="193" y="658"/>
                  </a:lnTo>
                  <a:lnTo>
                    <a:pt x="191" y="656"/>
                  </a:lnTo>
                  <a:lnTo>
                    <a:pt x="190" y="650"/>
                  </a:lnTo>
                  <a:lnTo>
                    <a:pt x="190" y="650"/>
                  </a:lnTo>
                  <a:lnTo>
                    <a:pt x="187" y="625"/>
                  </a:lnTo>
                  <a:lnTo>
                    <a:pt x="187" y="625"/>
                  </a:lnTo>
                  <a:lnTo>
                    <a:pt x="182" y="610"/>
                  </a:lnTo>
                  <a:lnTo>
                    <a:pt x="176" y="596"/>
                  </a:lnTo>
                  <a:lnTo>
                    <a:pt x="176" y="596"/>
                  </a:lnTo>
                  <a:lnTo>
                    <a:pt x="169" y="587"/>
                  </a:lnTo>
                  <a:lnTo>
                    <a:pt x="166" y="584"/>
                  </a:lnTo>
                  <a:lnTo>
                    <a:pt x="162" y="584"/>
                  </a:lnTo>
                  <a:lnTo>
                    <a:pt x="162" y="584"/>
                  </a:lnTo>
                  <a:lnTo>
                    <a:pt x="160" y="585"/>
                  </a:lnTo>
                  <a:lnTo>
                    <a:pt x="159" y="590"/>
                  </a:lnTo>
                  <a:lnTo>
                    <a:pt x="159" y="597"/>
                  </a:lnTo>
                  <a:lnTo>
                    <a:pt x="159" y="597"/>
                  </a:lnTo>
                  <a:lnTo>
                    <a:pt x="160" y="605"/>
                  </a:lnTo>
                  <a:lnTo>
                    <a:pt x="159" y="608"/>
                  </a:lnTo>
                  <a:lnTo>
                    <a:pt x="157" y="610"/>
                  </a:lnTo>
                  <a:lnTo>
                    <a:pt x="157" y="610"/>
                  </a:lnTo>
                  <a:lnTo>
                    <a:pt x="154" y="613"/>
                  </a:lnTo>
                  <a:lnTo>
                    <a:pt x="148" y="615"/>
                  </a:lnTo>
                  <a:lnTo>
                    <a:pt x="141" y="618"/>
                  </a:lnTo>
                  <a:lnTo>
                    <a:pt x="134" y="618"/>
                  </a:lnTo>
                  <a:lnTo>
                    <a:pt x="134" y="618"/>
                  </a:lnTo>
                  <a:lnTo>
                    <a:pt x="128" y="616"/>
                  </a:lnTo>
                  <a:lnTo>
                    <a:pt x="123" y="615"/>
                  </a:lnTo>
                  <a:lnTo>
                    <a:pt x="117" y="608"/>
                  </a:lnTo>
                  <a:lnTo>
                    <a:pt x="117" y="608"/>
                  </a:lnTo>
                  <a:lnTo>
                    <a:pt x="114" y="603"/>
                  </a:lnTo>
                  <a:lnTo>
                    <a:pt x="113" y="599"/>
                  </a:lnTo>
                  <a:lnTo>
                    <a:pt x="111" y="593"/>
                  </a:lnTo>
                  <a:lnTo>
                    <a:pt x="108" y="588"/>
                  </a:lnTo>
                  <a:lnTo>
                    <a:pt x="108" y="588"/>
                  </a:lnTo>
                  <a:lnTo>
                    <a:pt x="104" y="587"/>
                  </a:lnTo>
                  <a:lnTo>
                    <a:pt x="98" y="587"/>
                  </a:lnTo>
                  <a:lnTo>
                    <a:pt x="92" y="588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74" y="599"/>
                  </a:lnTo>
                  <a:lnTo>
                    <a:pt x="67" y="603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59" y="613"/>
                  </a:lnTo>
                  <a:lnTo>
                    <a:pt x="59" y="619"/>
                  </a:lnTo>
                  <a:lnTo>
                    <a:pt x="61" y="625"/>
                  </a:lnTo>
                  <a:lnTo>
                    <a:pt x="64" y="630"/>
                  </a:lnTo>
                  <a:lnTo>
                    <a:pt x="64" y="630"/>
                  </a:lnTo>
                  <a:lnTo>
                    <a:pt x="67" y="631"/>
                  </a:lnTo>
                  <a:lnTo>
                    <a:pt x="70" y="633"/>
                  </a:lnTo>
                  <a:lnTo>
                    <a:pt x="74" y="630"/>
                  </a:lnTo>
                  <a:lnTo>
                    <a:pt x="74" y="630"/>
                  </a:lnTo>
                  <a:lnTo>
                    <a:pt x="95" y="613"/>
                  </a:lnTo>
                  <a:lnTo>
                    <a:pt x="95" y="613"/>
                  </a:lnTo>
                  <a:lnTo>
                    <a:pt x="98" y="612"/>
                  </a:lnTo>
                  <a:lnTo>
                    <a:pt x="101" y="613"/>
                  </a:lnTo>
                  <a:lnTo>
                    <a:pt x="102" y="616"/>
                  </a:lnTo>
                  <a:lnTo>
                    <a:pt x="104" y="621"/>
                  </a:lnTo>
                  <a:lnTo>
                    <a:pt x="104" y="621"/>
                  </a:lnTo>
                  <a:lnTo>
                    <a:pt x="101" y="625"/>
                  </a:lnTo>
                  <a:lnTo>
                    <a:pt x="96" y="630"/>
                  </a:lnTo>
                  <a:lnTo>
                    <a:pt x="96" y="630"/>
                  </a:lnTo>
                  <a:lnTo>
                    <a:pt x="104" y="633"/>
                  </a:lnTo>
                  <a:lnTo>
                    <a:pt x="107" y="636"/>
                  </a:lnTo>
                  <a:lnTo>
                    <a:pt x="107" y="637"/>
                  </a:lnTo>
                  <a:lnTo>
                    <a:pt x="105" y="639"/>
                  </a:lnTo>
                  <a:lnTo>
                    <a:pt x="105" y="639"/>
                  </a:lnTo>
                  <a:lnTo>
                    <a:pt x="102" y="642"/>
                  </a:lnTo>
                  <a:lnTo>
                    <a:pt x="99" y="645"/>
                  </a:lnTo>
                  <a:lnTo>
                    <a:pt x="99" y="648"/>
                  </a:lnTo>
                  <a:lnTo>
                    <a:pt x="99" y="652"/>
                  </a:lnTo>
                  <a:lnTo>
                    <a:pt x="99" y="652"/>
                  </a:lnTo>
                  <a:lnTo>
                    <a:pt x="102" y="658"/>
                  </a:lnTo>
                  <a:lnTo>
                    <a:pt x="104" y="661"/>
                  </a:lnTo>
                  <a:lnTo>
                    <a:pt x="104" y="664"/>
                  </a:lnTo>
                  <a:lnTo>
                    <a:pt x="104" y="664"/>
                  </a:lnTo>
                  <a:lnTo>
                    <a:pt x="104" y="667"/>
                  </a:lnTo>
                  <a:lnTo>
                    <a:pt x="102" y="670"/>
                  </a:lnTo>
                  <a:lnTo>
                    <a:pt x="102" y="671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5" y="674"/>
                  </a:lnTo>
                  <a:lnTo>
                    <a:pt x="111" y="676"/>
                  </a:lnTo>
                  <a:lnTo>
                    <a:pt x="119" y="677"/>
                  </a:lnTo>
                  <a:lnTo>
                    <a:pt x="119" y="677"/>
                  </a:lnTo>
                  <a:lnTo>
                    <a:pt x="120" y="722"/>
                  </a:lnTo>
                  <a:lnTo>
                    <a:pt x="120" y="722"/>
                  </a:lnTo>
                  <a:lnTo>
                    <a:pt x="120" y="723"/>
                  </a:lnTo>
                  <a:lnTo>
                    <a:pt x="123" y="725"/>
                  </a:lnTo>
                  <a:lnTo>
                    <a:pt x="126" y="726"/>
                  </a:lnTo>
                  <a:lnTo>
                    <a:pt x="129" y="729"/>
                  </a:lnTo>
                  <a:lnTo>
                    <a:pt x="129" y="729"/>
                  </a:lnTo>
                  <a:lnTo>
                    <a:pt x="131" y="733"/>
                  </a:lnTo>
                  <a:lnTo>
                    <a:pt x="132" y="736"/>
                  </a:lnTo>
                  <a:lnTo>
                    <a:pt x="132" y="736"/>
                  </a:lnTo>
                  <a:lnTo>
                    <a:pt x="134" y="738"/>
                  </a:lnTo>
                  <a:lnTo>
                    <a:pt x="136" y="739"/>
                  </a:lnTo>
                  <a:lnTo>
                    <a:pt x="141" y="739"/>
                  </a:lnTo>
                  <a:lnTo>
                    <a:pt x="145" y="741"/>
                  </a:lnTo>
                  <a:lnTo>
                    <a:pt x="145" y="741"/>
                  </a:lnTo>
                  <a:lnTo>
                    <a:pt x="147" y="744"/>
                  </a:lnTo>
                  <a:lnTo>
                    <a:pt x="145" y="745"/>
                  </a:lnTo>
                  <a:lnTo>
                    <a:pt x="141" y="751"/>
                  </a:lnTo>
                  <a:lnTo>
                    <a:pt x="141" y="751"/>
                  </a:lnTo>
                  <a:lnTo>
                    <a:pt x="138" y="754"/>
                  </a:lnTo>
                  <a:lnTo>
                    <a:pt x="138" y="757"/>
                  </a:lnTo>
                  <a:lnTo>
                    <a:pt x="139" y="760"/>
                  </a:lnTo>
                  <a:lnTo>
                    <a:pt x="141" y="762"/>
                  </a:lnTo>
                  <a:lnTo>
                    <a:pt x="141" y="762"/>
                  </a:lnTo>
                  <a:lnTo>
                    <a:pt x="145" y="765"/>
                  </a:lnTo>
                  <a:lnTo>
                    <a:pt x="154" y="767"/>
                  </a:lnTo>
                  <a:lnTo>
                    <a:pt x="165" y="770"/>
                  </a:lnTo>
                  <a:lnTo>
                    <a:pt x="173" y="775"/>
                  </a:lnTo>
                  <a:lnTo>
                    <a:pt x="173" y="775"/>
                  </a:lnTo>
                  <a:lnTo>
                    <a:pt x="176" y="779"/>
                  </a:lnTo>
                  <a:lnTo>
                    <a:pt x="179" y="784"/>
                  </a:lnTo>
                  <a:lnTo>
                    <a:pt x="181" y="788"/>
                  </a:lnTo>
                  <a:lnTo>
                    <a:pt x="181" y="794"/>
                  </a:lnTo>
                  <a:lnTo>
                    <a:pt x="179" y="813"/>
                  </a:lnTo>
                  <a:lnTo>
                    <a:pt x="179" y="813"/>
                  </a:lnTo>
                  <a:lnTo>
                    <a:pt x="184" y="836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3" y="864"/>
                  </a:lnTo>
                  <a:lnTo>
                    <a:pt x="196" y="865"/>
                  </a:lnTo>
                  <a:lnTo>
                    <a:pt x="200" y="867"/>
                  </a:lnTo>
                  <a:lnTo>
                    <a:pt x="206" y="865"/>
                  </a:lnTo>
                  <a:lnTo>
                    <a:pt x="209" y="867"/>
                  </a:lnTo>
                  <a:lnTo>
                    <a:pt x="209" y="867"/>
                  </a:lnTo>
                  <a:lnTo>
                    <a:pt x="211" y="870"/>
                  </a:lnTo>
                  <a:lnTo>
                    <a:pt x="212" y="876"/>
                  </a:lnTo>
                  <a:lnTo>
                    <a:pt x="211" y="886"/>
                  </a:lnTo>
                  <a:lnTo>
                    <a:pt x="211" y="886"/>
                  </a:lnTo>
                  <a:lnTo>
                    <a:pt x="209" y="895"/>
                  </a:lnTo>
                  <a:lnTo>
                    <a:pt x="206" y="899"/>
                  </a:lnTo>
                  <a:lnTo>
                    <a:pt x="202" y="905"/>
                  </a:lnTo>
                  <a:lnTo>
                    <a:pt x="202" y="905"/>
                  </a:lnTo>
                  <a:lnTo>
                    <a:pt x="196" y="910"/>
                  </a:lnTo>
                  <a:lnTo>
                    <a:pt x="190" y="913"/>
                  </a:lnTo>
                  <a:lnTo>
                    <a:pt x="184" y="916"/>
                  </a:lnTo>
                  <a:lnTo>
                    <a:pt x="178" y="922"/>
                  </a:lnTo>
                  <a:lnTo>
                    <a:pt x="178" y="922"/>
                  </a:lnTo>
                  <a:lnTo>
                    <a:pt x="175" y="926"/>
                  </a:lnTo>
                  <a:lnTo>
                    <a:pt x="171" y="930"/>
                  </a:lnTo>
                  <a:lnTo>
                    <a:pt x="165" y="933"/>
                  </a:lnTo>
                  <a:lnTo>
                    <a:pt x="157" y="933"/>
                  </a:lnTo>
                  <a:lnTo>
                    <a:pt x="157" y="933"/>
                  </a:lnTo>
                  <a:lnTo>
                    <a:pt x="153" y="933"/>
                  </a:lnTo>
                  <a:lnTo>
                    <a:pt x="151" y="935"/>
                  </a:lnTo>
                  <a:lnTo>
                    <a:pt x="148" y="939"/>
                  </a:lnTo>
                  <a:lnTo>
                    <a:pt x="145" y="944"/>
                  </a:lnTo>
                  <a:lnTo>
                    <a:pt x="144" y="947"/>
                  </a:lnTo>
                  <a:lnTo>
                    <a:pt x="139" y="950"/>
                  </a:lnTo>
                  <a:lnTo>
                    <a:pt x="139" y="950"/>
                  </a:lnTo>
                  <a:lnTo>
                    <a:pt x="135" y="951"/>
                  </a:lnTo>
                  <a:lnTo>
                    <a:pt x="134" y="954"/>
                  </a:lnTo>
                  <a:lnTo>
                    <a:pt x="134" y="957"/>
                  </a:lnTo>
                  <a:lnTo>
                    <a:pt x="135" y="960"/>
                  </a:lnTo>
                  <a:lnTo>
                    <a:pt x="141" y="964"/>
                  </a:lnTo>
                  <a:lnTo>
                    <a:pt x="145" y="970"/>
                  </a:lnTo>
                  <a:lnTo>
                    <a:pt x="145" y="970"/>
                  </a:lnTo>
                  <a:lnTo>
                    <a:pt x="147" y="975"/>
                  </a:lnTo>
                  <a:lnTo>
                    <a:pt x="147" y="978"/>
                  </a:lnTo>
                  <a:lnTo>
                    <a:pt x="144" y="979"/>
                  </a:lnTo>
                  <a:lnTo>
                    <a:pt x="139" y="979"/>
                  </a:lnTo>
                  <a:lnTo>
                    <a:pt x="139" y="979"/>
                  </a:lnTo>
                  <a:lnTo>
                    <a:pt x="134" y="981"/>
                  </a:lnTo>
                  <a:lnTo>
                    <a:pt x="129" y="984"/>
                  </a:lnTo>
                  <a:lnTo>
                    <a:pt x="126" y="988"/>
                  </a:lnTo>
                  <a:lnTo>
                    <a:pt x="125" y="993"/>
                  </a:lnTo>
                  <a:lnTo>
                    <a:pt x="125" y="993"/>
                  </a:lnTo>
                  <a:lnTo>
                    <a:pt x="125" y="997"/>
                  </a:lnTo>
                  <a:lnTo>
                    <a:pt x="123" y="1000"/>
                  </a:lnTo>
                  <a:lnTo>
                    <a:pt x="120" y="1003"/>
                  </a:lnTo>
                  <a:lnTo>
                    <a:pt x="116" y="1006"/>
                  </a:lnTo>
                  <a:lnTo>
                    <a:pt x="116" y="1006"/>
                  </a:lnTo>
                  <a:lnTo>
                    <a:pt x="111" y="1009"/>
                  </a:lnTo>
                  <a:lnTo>
                    <a:pt x="111" y="1010"/>
                  </a:lnTo>
                  <a:lnTo>
                    <a:pt x="113" y="1010"/>
                  </a:lnTo>
                  <a:lnTo>
                    <a:pt x="123" y="1016"/>
                  </a:lnTo>
                  <a:lnTo>
                    <a:pt x="123" y="1016"/>
                  </a:lnTo>
                  <a:lnTo>
                    <a:pt x="126" y="1021"/>
                  </a:lnTo>
                  <a:lnTo>
                    <a:pt x="128" y="1024"/>
                  </a:lnTo>
                  <a:lnTo>
                    <a:pt x="126" y="1027"/>
                  </a:lnTo>
                  <a:lnTo>
                    <a:pt x="123" y="1030"/>
                  </a:lnTo>
                  <a:lnTo>
                    <a:pt x="123" y="1030"/>
                  </a:lnTo>
                  <a:lnTo>
                    <a:pt x="122" y="1034"/>
                  </a:lnTo>
                  <a:lnTo>
                    <a:pt x="120" y="1040"/>
                  </a:lnTo>
                  <a:lnTo>
                    <a:pt x="120" y="1046"/>
                  </a:lnTo>
                  <a:lnTo>
                    <a:pt x="120" y="1050"/>
                  </a:lnTo>
                  <a:lnTo>
                    <a:pt x="120" y="1050"/>
                  </a:lnTo>
                  <a:lnTo>
                    <a:pt x="117" y="1053"/>
                  </a:lnTo>
                  <a:lnTo>
                    <a:pt x="113" y="1055"/>
                  </a:lnTo>
                  <a:lnTo>
                    <a:pt x="107" y="1056"/>
                  </a:lnTo>
                  <a:lnTo>
                    <a:pt x="101" y="1055"/>
                  </a:lnTo>
                  <a:lnTo>
                    <a:pt x="101" y="1055"/>
                  </a:lnTo>
                  <a:lnTo>
                    <a:pt x="88" y="1053"/>
                  </a:lnTo>
                  <a:lnTo>
                    <a:pt x="82" y="1053"/>
                  </a:lnTo>
                  <a:lnTo>
                    <a:pt x="77" y="1055"/>
                  </a:lnTo>
                  <a:lnTo>
                    <a:pt x="77" y="1055"/>
                  </a:lnTo>
                  <a:lnTo>
                    <a:pt x="71" y="1062"/>
                  </a:lnTo>
                  <a:lnTo>
                    <a:pt x="68" y="1067"/>
                  </a:lnTo>
                  <a:lnTo>
                    <a:pt x="65" y="1070"/>
                  </a:lnTo>
                  <a:lnTo>
                    <a:pt x="65" y="1070"/>
                  </a:lnTo>
                  <a:lnTo>
                    <a:pt x="52" y="1076"/>
                  </a:lnTo>
                  <a:lnTo>
                    <a:pt x="36" y="1084"/>
                  </a:lnTo>
                  <a:lnTo>
                    <a:pt x="36" y="1084"/>
                  </a:lnTo>
                  <a:lnTo>
                    <a:pt x="24" y="1093"/>
                  </a:lnTo>
                  <a:lnTo>
                    <a:pt x="12" y="1096"/>
                  </a:lnTo>
                  <a:lnTo>
                    <a:pt x="12" y="1096"/>
                  </a:lnTo>
                  <a:lnTo>
                    <a:pt x="2" y="1098"/>
                  </a:lnTo>
                  <a:lnTo>
                    <a:pt x="2" y="1098"/>
                  </a:lnTo>
                  <a:lnTo>
                    <a:pt x="2" y="1102"/>
                  </a:lnTo>
                  <a:lnTo>
                    <a:pt x="0" y="1107"/>
                  </a:lnTo>
                  <a:lnTo>
                    <a:pt x="2" y="1117"/>
                  </a:lnTo>
                  <a:lnTo>
                    <a:pt x="2" y="1117"/>
                  </a:lnTo>
                  <a:lnTo>
                    <a:pt x="6" y="1124"/>
                  </a:lnTo>
                  <a:lnTo>
                    <a:pt x="15" y="1135"/>
                  </a:lnTo>
                  <a:lnTo>
                    <a:pt x="25" y="1145"/>
                  </a:lnTo>
                  <a:lnTo>
                    <a:pt x="33" y="1156"/>
                  </a:lnTo>
                  <a:lnTo>
                    <a:pt x="33" y="1156"/>
                  </a:lnTo>
                  <a:lnTo>
                    <a:pt x="36" y="1164"/>
                  </a:lnTo>
                  <a:lnTo>
                    <a:pt x="39" y="1175"/>
                  </a:lnTo>
                  <a:lnTo>
                    <a:pt x="39" y="1194"/>
                  </a:lnTo>
                  <a:lnTo>
                    <a:pt x="39" y="1194"/>
                  </a:lnTo>
                  <a:lnTo>
                    <a:pt x="40" y="1203"/>
                  </a:lnTo>
                  <a:lnTo>
                    <a:pt x="42" y="1210"/>
                  </a:lnTo>
                  <a:lnTo>
                    <a:pt x="45" y="1231"/>
                  </a:lnTo>
                  <a:lnTo>
                    <a:pt x="45" y="1231"/>
                  </a:lnTo>
                  <a:lnTo>
                    <a:pt x="48" y="1275"/>
                  </a:lnTo>
                  <a:lnTo>
                    <a:pt x="49" y="1301"/>
                  </a:lnTo>
                  <a:lnTo>
                    <a:pt x="52" y="1318"/>
                  </a:lnTo>
                  <a:lnTo>
                    <a:pt x="52" y="1318"/>
                  </a:lnTo>
                  <a:lnTo>
                    <a:pt x="54" y="1329"/>
                  </a:lnTo>
                  <a:lnTo>
                    <a:pt x="52" y="1338"/>
                  </a:lnTo>
                  <a:lnTo>
                    <a:pt x="49" y="1345"/>
                  </a:lnTo>
                  <a:lnTo>
                    <a:pt x="46" y="1347"/>
                  </a:lnTo>
                  <a:lnTo>
                    <a:pt x="43" y="1348"/>
                  </a:lnTo>
                  <a:lnTo>
                    <a:pt x="43" y="1348"/>
                  </a:lnTo>
                  <a:lnTo>
                    <a:pt x="33" y="1350"/>
                  </a:lnTo>
                  <a:lnTo>
                    <a:pt x="30" y="1351"/>
                  </a:lnTo>
                  <a:lnTo>
                    <a:pt x="27" y="1357"/>
                  </a:lnTo>
                  <a:lnTo>
                    <a:pt x="27" y="1357"/>
                  </a:lnTo>
                  <a:lnTo>
                    <a:pt x="25" y="1363"/>
                  </a:lnTo>
                  <a:lnTo>
                    <a:pt x="24" y="1367"/>
                  </a:lnTo>
                  <a:lnTo>
                    <a:pt x="22" y="1370"/>
                  </a:lnTo>
                  <a:lnTo>
                    <a:pt x="17" y="1373"/>
                  </a:lnTo>
                  <a:lnTo>
                    <a:pt x="17" y="1373"/>
                  </a:lnTo>
                  <a:lnTo>
                    <a:pt x="3" y="1379"/>
                  </a:lnTo>
                  <a:lnTo>
                    <a:pt x="2" y="1382"/>
                  </a:lnTo>
                  <a:lnTo>
                    <a:pt x="2" y="1385"/>
                  </a:lnTo>
                  <a:lnTo>
                    <a:pt x="2" y="1385"/>
                  </a:lnTo>
                  <a:lnTo>
                    <a:pt x="5" y="1387"/>
                  </a:lnTo>
                  <a:lnTo>
                    <a:pt x="6" y="1388"/>
                  </a:lnTo>
                  <a:lnTo>
                    <a:pt x="12" y="1390"/>
                  </a:lnTo>
                  <a:lnTo>
                    <a:pt x="18" y="1390"/>
                  </a:lnTo>
                  <a:lnTo>
                    <a:pt x="21" y="1391"/>
                  </a:lnTo>
                  <a:lnTo>
                    <a:pt x="21" y="1391"/>
                  </a:lnTo>
                  <a:lnTo>
                    <a:pt x="22" y="1392"/>
                  </a:lnTo>
                  <a:lnTo>
                    <a:pt x="22" y="1395"/>
                  </a:lnTo>
                  <a:lnTo>
                    <a:pt x="22" y="1397"/>
                  </a:lnTo>
                  <a:lnTo>
                    <a:pt x="24" y="1400"/>
                  </a:lnTo>
                  <a:lnTo>
                    <a:pt x="24" y="1400"/>
                  </a:lnTo>
                  <a:lnTo>
                    <a:pt x="28" y="1403"/>
                  </a:lnTo>
                  <a:lnTo>
                    <a:pt x="31" y="1404"/>
                  </a:lnTo>
                  <a:lnTo>
                    <a:pt x="36" y="1406"/>
                  </a:lnTo>
                  <a:lnTo>
                    <a:pt x="37" y="1407"/>
                  </a:lnTo>
                  <a:lnTo>
                    <a:pt x="37" y="1407"/>
                  </a:lnTo>
                  <a:lnTo>
                    <a:pt x="37" y="1412"/>
                  </a:lnTo>
                  <a:lnTo>
                    <a:pt x="37" y="1419"/>
                  </a:lnTo>
                  <a:lnTo>
                    <a:pt x="36" y="1434"/>
                  </a:lnTo>
                  <a:lnTo>
                    <a:pt x="36" y="1434"/>
                  </a:lnTo>
                  <a:lnTo>
                    <a:pt x="34" y="1440"/>
                  </a:lnTo>
                  <a:lnTo>
                    <a:pt x="31" y="1447"/>
                  </a:lnTo>
                  <a:lnTo>
                    <a:pt x="30" y="1456"/>
                  </a:lnTo>
                  <a:lnTo>
                    <a:pt x="31" y="1459"/>
                  </a:lnTo>
                  <a:lnTo>
                    <a:pt x="33" y="1464"/>
                  </a:lnTo>
                  <a:lnTo>
                    <a:pt x="33" y="1464"/>
                  </a:lnTo>
                  <a:lnTo>
                    <a:pt x="36" y="1469"/>
                  </a:lnTo>
                  <a:lnTo>
                    <a:pt x="40" y="1472"/>
                  </a:lnTo>
                  <a:lnTo>
                    <a:pt x="43" y="1477"/>
                  </a:lnTo>
                  <a:lnTo>
                    <a:pt x="46" y="1483"/>
                  </a:lnTo>
                  <a:lnTo>
                    <a:pt x="46" y="1483"/>
                  </a:lnTo>
                  <a:lnTo>
                    <a:pt x="46" y="1495"/>
                  </a:lnTo>
                  <a:lnTo>
                    <a:pt x="45" y="1507"/>
                  </a:lnTo>
                  <a:lnTo>
                    <a:pt x="45" y="1518"/>
                  </a:lnTo>
                  <a:lnTo>
                    <a:pt x="46" y="1523"/>
                  </a:lnTo>
                  <a:lnTo>
                    <a:pt x="48" y="1526"/>
                  </a:lnTo>
                  <a:lnTo>
                    <a:pt x="48" y="1526"/>
                  </a:lnTo>
                  <a:lnTo>
                    <a:pt x="55" y="1530"/>
                  </a:lnTo>
                  <a:lnTo>
                    <a:pt x="65" y="1535"/>
                  </a:lnTo>
                  <a:lnTo>
                    <a:pt x="76" y="1539"/>
                  </a:lnTo>
                  <a:lnTo>
                    <a:pt x="80" y="1544"/>
                  </a:lnTo>
                  <a:lnTo>
                    <a:pt x="80" y="1544"/>
                  </a:lnTo>
                  <a:lnTo>
                    <a:pt x="79" y="1546"/>
                  </a:lnTo>
                  <a:lnTo>
                    <a:pt x="74" y="1551"/>
                  </a:lnTo>
                  <a:lnTo>
                    <a:pt x="64" y="1558"/>
                  </a:lnTo>
                  <a:lnTo>
                    <a:pt x="64" y="1558"/>
                  </a:lnTo>
                  <a:lnTo>
                    <a:pt x="59" y="1561"/>
                  </a:lnTo>
                  <a:lnTo>
                    <a:pt x="58" y="1566"/>
                  </a:lnTo>
                  <a:lnTo>
                    <a:pt x="58" y="1575"/>
                  </a:lnTo>
                  <a:lnTo>
                    <a:pt x="58" y="1575"/>
                  </a:lnTo>
                  <a:lnTo>
                    <a:pt x="57" y="1581"/>
                  </a:lnTo>
                  <a:lnTo>
                    <a:pt x="52" y="1586"/>
                  </a:lnTo>
                  <a:lnTo>
                    <a:pt x="43" y="1598"/>
                  </a:lnTo>
                  <a:lnTo>
                    <a:pt x="43" y="1598"/>
                  </a:lnTo>
                  <a:lnTo>
                    <a:pt x="40" y="1600"/>
                  </a:lnTo>
                  <a:lnTo>
                    <a:pt x="37" y="1601"/>
                  </a:lnTo>
                  <a:lnTo>
                    <a:pt x="36" y="1603"/>
                  </a:lnTo>
                  <a:lnTo>
                    <a:pt x="36" y="1604"/>
                  </a:lnTo>
                  <a:lnTo>
                    <a:pt x="39" y="1609"/>
                  </a:lnTo>
                  <a:lnTo>
                    <a:pt x="39" y="1609"/>
                  </a:lnTo>
                  <a:lnTo>
                    <a:pt x="46" y="1618"/>
                  </a:lnTo>
                  <a:lnTo>
                    <a:pt x="49" y="1622"/>
                  </a:lnTo>
                  <a:lnTo>
                    <a:pt x="49" y="1622"/>
                  </a:lnTo>
                  <a:lnTo>
                    <a:pt x="48" y="1624"/>
                  </a:lnTo>
                  <a:lnTo>
                    <a:pt x="48" y="1624"/>
                  </a:lnTo>
                  <a:lnTo>
                    <a:pt x="45" y="1624"/>
                  </a:lnTo>
                  <a:lnTo>
                    <a:pt x="42" y="1622"/>
                  </a:lnTo>
                  <a:lnTo>
                    <a:pt x="39" y="1622"/>
                  </a:lnTo>
                  <a:lnTo>
                    <a:pt x="37" y="1622"/>
                  </a:lnTo>
                  <a:lnTo>
                    <a:pt x="37" y="1622"/>
                  </a:lnTo>
                  <a:lnTo>
                    <a:pt x="33" y="1635"/>
                  </a:lnTo>
                  <a:lnTo>
                    <a:pt x="28" y="1646"/>
                  </a:lnTo>
                  <a:lnTo>
                    <a:pt x="28" y="1653"/>
                  </a:lnTo>
                  <a:lnTo>
                    <a:pt x="28" y="1653"/>
                  </a:lnTo>
                  <a:lnTo>
                    <a:pt x="28" y="1656"/>
                  </a:lnTo>
                  <a:lnTo>
                    <a:pt x="31" y="1659"/>
                  </a:lnTo>
                  <a:lnTo>
                    <a:pt x="34" y="1659"/>
                  </a:lnTo>
                  <a:lnTo>
                    <a:pt x="39" y="1658"/>
                  </a:lnTo>
                  <a:lnTo>
                    <a:pt x="39" y="1658"/>
                  </a:lnTo>
                  <a:lnTo>
                    <a:pt x="46" y="1653"/>
                  </a:lnTo>
                  <a:lnTo>
                    <a:pt x="48" y="1652"/>
                  </a:lnTo>
                  <a:lnTo>
                    <a:pt x="51" y="1653"/>
                  </a:lnTo>
                  <a:lnTo>
                    <a:pt x="51" y="1653"/>
                  </a:lnTo>
                  <a:lnTo>
                    <a:pt x="52" y="1658"/>
                  </a:lnTo>
                  <a:lnTo>
                    <a:pt x="55" y="1662"/>
                  </a:lnTo>
                  <a:lnTo>
                    <a:pt x="57" y="1663"/>
                  </a:lnTo>
                  <a:lnTo>
                    <a:pt x="58" y="1665"/>
                  </a:lnTo>
                  <a:lnTo>
                    <a:pt x="61" y="1663"/>
                  </a:lnTo>
                  <a:lnTo>
                    <a:pt x="62" y="1662"/>
                  </a:lnTo>
                  <a:lnTo>
                    <a:pt x="62" y="1662"/>
                  </a:lnTo>
                  <a:lnTo>
                    <a:pt x="71" y="1653"/>
                  </a:lnTo>
                  <a:lnTo>
                    <a:pt x="74" y="1652"/>
                  </a:lnTo>
                  <a:lnTo>
                    <a:pt x="77" y="1653"/>
                  </a:lnTo>
                  <a:lnTo>
                    <a:pt x="77" y="1653"/>
                  </a:lnTo>
                  <a:lnTo>
                    <a:pt x="80" y="1661"/>
                  </a:lnTo>
                  <a:lnTo>
                    <a:pt x="82" y="1663"/>
                  </a:lnTo>
                  <a:lnTo>
                    <a:pt x="86" y="1663"/>
                  </a:lnTo>
                  <a:lnTo>
                    <a:pt x="86" y="1663"/>
                  </a:lnTo>
                  <a:lnTo>
                    <a:pt x="94" y="1665"/>
                  </a:lnTo>
                  <a:lnTo>
                    <a:pt x="98" y="1666"/>
                  </a:lnTo>
                  <a:lnTo>
                    <a:pt x="102" y="1669"/>
                  </a:lnTo>
                  <a:lnTo>
                    <a:pt x="102" y="1669"/>
                  </a:lnTo>
                  <a:lnTo>
                    <a:pt x="107" y="1672"/>
                  </a:lnTo>
                  <a:lnTo>
                    <a:pt x="111" y="1672"/>
                  </a:lnTo>
                  <a:lnTo>
                    <a:pt x="119" y="1672"/>
                  </a:lnTo>
                  <a:lnTo>
                    <a:pt x="119" y="1672"/>
                  </a:lnTo>
                  <a:lnTo>
                    <a:pt x="120" y="1674"/>
                  </a:lnTo>
                  <a:lnTo>
                    <a:pt x="122" y="1675"/>
                  </a:lnTo>
                  <a:lnTo>
                    <a:pt x="125" y="1677"/>
                  </a:lnTo>
                  <a:lnTo>
                    <a:pt x="129" y="1678"/>
                  </a:lnTo>
                  <a:lnTo>
                    <a:pt x="129" y="1678"/>
                  </a:lnTo>
                  <a:lnTo>
                    <a:pt x="136" y="1681"/>
                  </a:lnTo>
                  <a:lnTo>
                    <a:pt x="142" y="1681"/>
                  </a:lnTo>
                  <a:lnTo>
                    <a:pt x="147" y="1681"/>
                  </a:lnTo>
                  <a:lnTo>
                    <a:pt x="150" y="1680"/>
                  </a:lnTo>
                  <a:lnTo>
                    <a:pt x="150" y="1680"/>
                  </a:lnTo>
                  <a:lnTo>
                    <a:pt x="151" y="1674"/>
                  </a:lnTo>
                  <a:lnTo>
                    <a:pt x="153" y="1669"/>
                  </a:lnTo>
                  <a:lnTo>
                    <a:pt x="154" y="1666"/>
                  </a:lnTo>
                  <a:lnTo>
                    <a:pt x="154" y="1666"/>
                  </a:lnTo>
                  <a:lnTo>
                    <a:pt x="157" y="1665"/>
                  </a:lnTo>
                  <a:lnTo>
                    <a:pt x="162" y="1665"/>
                  </a:lnTo>
                  <a:lnTo>
                    <a:pt x="166" y="1666"/>
                  </a:lnTo>
                  <a:lnTo>
                    <a:pt x="169" y="1668"/>
                  </a:lnTo>
                  <a:lnTo>
                    <a:pt x="169" y="1668"/>
                  </a:lnTo>
                  <a:lnTo>
                    <a:pt x="169" y="1671"/>
                  </a:lnTo>
                  <a:lnTo>
                    <a:pt x="168" y="1675"/>
                  </a:lnTo>
                  <a:lnTo>
                    <a:pt x="168" y="1680"/>
                  </a:lnTo>
                  <a:lnTo>
                    <a:pt x="168" y="1683"/>
                  </a:lnTo>
                  <a:lnTo>
                    <a:pt x="168" y="1683"/>
                  </a:lnTo>
                  <a:lnTo>
                    <a:pt x="171" y="1690"/>
                  </a:lnTo>
                  <a:lnTo>
                    <a:pt x="173" y="1695"/>
                  </a:lnTo>
                  <a:lnTo>
                    <a:pt x="176" y="1701"/>
                  </a:lnTo>
                  <a:lnTo>
                    <a:pt x="176" y="1701"/>
                  </a:lnTo>
                  <a:lnTo>
                    <a:pt x="179" y="1705"/>
                  </a:lnTo>
                  <a:lnTo>
                    <a:pt x="181" y="1709"/>
                  </a:lnTo>
                  <a:lnTo>
                    <a:pt x="184" y="1712"/>
                  </a:lnTo>
                  <a:lnTo>
                    <a:pt x="184" y="1714"/>
                  </a:lnTo>
                  <a:lnTo>
                    <a:pt x="184" y="1714"/>
                  </a:lnTo>
                  <a:lnTo>
                    <a:pt x="181" y="1715"/>
                  </a:lnTo>
                  <a:lnTo>
                    <a:pt x="176" y="1717"/>
                  </a:lnTo>
                  <a:lnTo>
                    <a:pt x="171" y="1718"/>
                  </a:lnTo>
                  <a:lnTo>
                    <a:pt x="168" y="1720"/>
                  </a:lnTo>
                  <a:lnTo>
                    <a:pt x="168" y="1720"/>
                  </a:lnTo>
                  <a:lnTo>
                    <a:pt x="166" y="1723"/>
                  </a:lnTo>
                  <a:lnTo>
                    <a:pt x="166" y="1726"/>
                  </a:lnTo>
                  <a:lnTo>
                    <a:pt x="166" y="1730"/>
                  </a:lnTo>
                  <a:lnTo>
                    <a:pt x="166" y="1733"/>
                  </a:lnTo>
                  <a:lnTo>
                    <a:pt x="166" y="1733"/>
                  </a:lnTo>
                  <a:lnTo>
                    <a:pt x="160" y="1738"/>
                  </a:lnTo>
                  <a:lnTo>
                    <a:pt x="159" y="1741"/>
                  </a:lnTo>
                  <a:lnTo>
                    <a:pt x="160" y="1742"/>
                  </a:lnTo>
                  <a:lnTo>
                    <a:pt x="162" y="1742"/>
                  </a:lnTo>
                  <a:lnTo>
                    <a:pt x="162" y="1742"/>
                  </a:lnTo>
                  <a:lnTo>
                    <a:pt x="165" y="1743"/>
                  </a:lnTo>
                  <a:lnTo>
                    <a:pt x="169" y="1745"/>
                  </a:lnTo>
                  <a:lnTo>
                    <a:pt x="175" y="1745"/>
                  </a:lnTo>
                  <a:lnTo>
                    <a:pt x="182" y="1746"/>
                  </a:lnTo>
                  <a:lnTo>
                    <a:pt x="182" y="1746"/>
                  </a:lnTo>
                  <a:lnTo>
                    <a:pt x="193" y="1749"/>
                  </a:lnTo>
                  <a:lnTo>
                    <a:pt x="203" y="1754"/>
                  </a:lnTo>
                  <a:lnTo>
                    <a:pt x="203" y="1754"/>
                  </a:lnTo>
                  <a:lnTo>
                    <a:pt x="211" y="1758"/>
                  </a:lnTo>
                  <a:lnTo>
                    <a:pt x="216" y="1763"/>
                  </a:lnTo>
                  <a:lnTo>
                    <a:pt x="224" y="1770"/>
                  </a:lnTo>
                  <a:lnTo>
                    <a:pt x="224" y="1770"/>
                  </a:lnTo>
                  <a:lnTo>
                    <a:pt x="227" y="1773"/>
                  </a:lnTo>
                  <a:lnTo>
                    <a:pt x="228" y="1778"/>
                  </a:lnTo>
                  <a:lnTo>
                    <a:pt x="231" y="1789"/>
                  </a:lnTo>
                  <a:lnTo>
                    <a:pt x="231" y="1789"/>
                  </a:lnTo>
                  <a:lnTo>
                    <a:pt x="233" y="1795"/>
                  </a:lnTo>
                  <a:lnTo>
                    <a:pt x="236" y="1803"/>
                  </a:lnTo>
                  <a:lnTo>
                    <a:pt x="243" y="1813"/>
                  </a:lnTo>
                  <a:lnTo>
                    <a:pt x="243" y="1813"/>
                  </a:lnTo>
                  <a:lnTo>
                    <a:pt x="243" y="1818"/>
                  </a:lnTo>
                  <a:lnTo>
                    <a:pt x="240" y="1823"/>
                  </a:lnTo>
                  <a:lnTo>
                    <a:pt x="237" y="1831"/>
                  </a:lnTo>
                  <a:lnTo>
                    <a:pt x="236" y="1838"/>
                  </a:lnTo>
                  <a:lnTo>
                    <a:pt x="236" y="1838"/>
                  </a:lnTo>
                  <a:lnTo>
                    <a:pt x="234" y="1846"/>
                  </a:lnTo>
                  <a:lnTo>
                    <a:pt x="231" y="1855"/>
                  </a:lnTo>
                  <a:lnTo>
                    <a:pt x="230" y="1858"/>
                  </a:lnTo>
                  <a:lnTo>
                    <a:pt x="231" y="1862"/>
                  </a:lnTo>
                  <a:lnTo>
                    <a:pt x="233" y="1865"/>
                  </a:lnTo>
                  <a:lnTo>
                    <a:pt x="236" y="1866"/>
                  </a:lnTo>
                  <a:lnTo>
                    <a:pt x="236" y="1866"/>
                  </a:lnTo>
                  <a:lnTo>
                    <a:pt x="245" y="1868"/>
                  </a:lnTo>
                  <a:lnTo>
                    <a:pt x="252" y="1869"/>
                  </a:lnTo>
                  <a:lnTo>
                    <a:pt x="259" y="1869"/>
                  </a:lnTo>
                  <a:lnTo>
                    <a:pt x="262" y="1871"/>
                  </a:lnTo>
                  <a:lnTo>
                    <a:pt x="262" y="1871"/>
                  </a:lnTo>
                  <a:lnTo>
                    <a:pt x="265" y="1878"/>
                  </a:lnTo>
                  <a:lnTo>
                    <a:pt x="270" y="1890"/>
                  </a:lnTo>
                  <a:lnTo>
                    <a:pt x="271" y="1902"/>
                  </a:lnTo>
                  <a:lnTo>
                    <a:pt x="271" y="1909"/>
                  </a:lnTo>
                  <a:lnTo>
                    <a:pt x="271" y="1909"/>
                  </a:lnTo>
                  <a:lnTo>
                    <a:pt x="268" y="1914"/>
                  </a:lnTo>
                  <a:lnTo>
                    <a:pt x="264" y="1917"/>
                  </a:lnTo>
                  <a:lnTo>
                    <a:pt x="259" y="1921"/>
                  </a:lnTo>
                  <a:lnTo>
                    <a:pt x="256" y="1927"/>
                  </a:lnTo>
                  <a:lnTo>
                    <a:pt x="256" y="1927"/>
                  </a:lnTo>
                  <a:lnTo>
                    <a:pt x="253" y="1936"/>
                  </a:lnTo>
                  <a:lnTo>
                    <a:pt x="250" y="1946"/>
                  </a:lnTo>
                  <a:lnTo>
                    <a:pt x="250" y="1955"/>
                  </a:lnTo>
                  <a:lnTo>
                    <a:pt x="252" y="1960"/>
                  </a:lnTo>
                  <a:lnTo>
                    <a:pt x="252" y="1960"/>
                  </a:lnTo>
                  <a:lnTo>
                    <a:pt x="259" y="1960"/>
                  </a:lnTo>
                  <a:lnTo>
                    <a:pt x="264" y="1960"/>
                  </a:lnTo>
                  <a:lnTo>
                    <a:pt x="267" y="1963"/>
                  </a:lnTo>
                  <a:lnTo>
                    <a:pt x="270" y="1964"/>
                  </a:lnTo>
                  <a:lnTo>
                    <a:pt x="270" y="1964"/>
                  </a:lnTo>
                  <a:lnTo>
                    <a:pt x="271" y="1972"/>
                  </a:lnTo>
                  <a:lnTo>
                    <a:pt x="273" y="1977"/>
                  </a:lnTo>
                  <a:lnTo>
                    <a:pt x="273" y="1983"/>
                  </a:lnTo>
                  <a:lnTo>
                    <a:pt x="274" y="1986"/>
                  </a:lnTo>
                  <a:lnTo>
                    <a:pt x="277" y="1988"/>
                  </a:lnTo>
                  <a:lnTo>
                    <a:pt x="277" y="1988"/>
                  </a:lnTo>
                  <a:lnTo>
                    <a:pt x="282" y="1989"/>
                  </a:lnTo>
                  <a:lnTo>
                    <a:pt x="286" y="1991"/>
                  </a:lnTo>
                  <a:lnTo>
                    <a:pt x="290" y="1991"/>
                  </a:lnTo>
                  <a:lnTo>
                    <a:pt x="295" y="1994"/>
                  </a:lnTo>
                  <a:lnTo>
                    <a:pt x="295" y="1994"/>
                  </a:lnTo>
                  <a:lnTo>
                    <a:pt x="302" y="2001"/>
                  </a:lnTo>
                  <a:lnTo>
                    <a:pt x="304" y="2001"/>
                  </a:lnTo>
                  <a:lnTo>
                    <a:pt x="305" y="2001"/>
                  </a:lnTo>
                  <a:lnTo>
                    <a:pt x="305" y="2001"/>
                  </a:lnTo>
                  <a:lnTo>
                    <a:pt x="308" y="2000"/>
                  </a:lnTo>
                  <a:lnTo>
                    <a:pt x="313" y="1997"/>
                  </a:lnTo>
                  <a:lnTo>
                    <a:pt x="319" y="1997"/>
                  </a:lnTo>
                  <a:lnTo>
                    <a:pt x="320" y="1997"/>
                  </a:lnTo>
                  <a:lnTo>
                    <a:pt x="322" y="1998"/>
                  </a:lnTo>
                  <a:lnTo>
                    <a:pt x="322" y="1998"/>
                  </a:lnTo>
                  <a:lnTo>
                    <a:pt x="323" y="2004"/>
                  </a:lnTo>
                  <a:lnTo>
                    <a:pt x="323" y="2012"/>
                  </a:lnTo>
                  <a:lnTo>
                    <a:pt x="320" y="2025"/>
                  </a:lnTo>
                  <a:lnTo>
                    <a:pt x="320" y="2025"/>
                  </a:lnTo>
                  <a:lnTo>
                    <a:pt x="317" y="2032"/>
                  </a:lnTo>
                  <a:lnTo>
                    <a:pt x="317" y="2037"/>
                  </a:lnTo>
                  <a:lnTo>
                    <a:pt x="320" y="2041"/>
                  </a:lnTo>
                  <a:lnTo>
                    <a:pt x="320" y="2041"/>
                  </a:lnTo>
                  <a:lnTo>
                    <a:pt x="322" y="2046"/>
                  </a:lnTo>
                  <a:lnTo>
                    <a:pt x="323" y="2050"/>
                  </a:lnTo>
                  <a:lnTo>
                    <a:pt x="322" y="2054"/>
                  </a:lnTo>
                  <a:lnTo>
                    <a:pt x="320" y="2057"/>
                  </a:lnTo>
                  <a:lnTo>
                    <a:pt x="320" y="2057"/>
                  </a:lnTo>
                  <a:lnTo>
                    <a:pt x="316" y="2063"/>
                  </a:lnTo>
                  <a:lnTo>
                    <a:pt x="313" y="2069"/>
                  </a:lnTo>
                  <a:lnTo>
                    <a:pt x="313" y="2069"/>
                  </a:lnTo>
                  <a:lnTo>
                    <a:pt x="311" y="2075"/>
                  </a:lnTo>
                  <a:lnTo>
                    <a:pt x="305" y="2084"/>
                  </a:lnTo>
                  <a:lnTo>
                    <a:pt x="305" y="2084"/>
                  </a:lnTo>
                  <a:lnTo>
                    <a:pt x="301" y="2092"/>
                  </a:lnTo>
                  <a:lnTo>
                    <a:pt x="298" y="2102"/>
                  </a:lnTo>
                  <a:lnTo>
                    <a:pt x="295" y="2112"/>
                  </a:lnTo>
                  <a:lnTo>
                    <a:pt x="292" y="2120"/>
                  </a:lnTo>
                  <a:lnTo>
                    <a:pt x="292" y="2120"/>
                  </a:lnTo>
                  <a:lnTo>
                    <a:pt x="292" y="2126"/>
                  </a:lnTo>
                  <a:lnTo>
                    <a:pt x="293" y="2129"/>
                  </a:lnTo>
                  <a:lnTo>
                    <a:pt x="296" y="2133"/>
                  </a:lnTo>
                  <a:lnTo>
                    <a:pt x="296" y="2133"/>
                  </a:lnTo>
                  <a:lnTo>
                    <a:pt x="298" y="2136"/>
                  </a:lnTo>
                  <a:lnTo>
                    <a:pt x="299" y="2142"/>
                  </a:lnTo>
                  <a:lnTo>
                    <a:pt x="298" y="2149"/>
                  </a:lnTo>
                  <a:lnTo>
                    <a:pt x="298" y="2154"/>
                  </a:lnTo>
                  <a:lnTo>
                    <a:pt x="298" y="2154"/>
                  </a:lnTo>
                  <a:lnTo>
                    <a:pt x="293" y="2161"/>
                  </a:lnTo>
                  <a:lnTo>
                    <a:pt x="293" y="2164"/>
                  </a:lnTo>
                  <a:lnTo>
                    <a:pt x="293" y="2170"/>
                  </a:lnTo>
                  <a:lnTo>
                    <a:pt x="293" y="2170"/>
                  </a:lnTo>
                  <a:lnTo>
                    <a:pt x="295" y="2179"/>
                  </a:lnTo>
                  <a:lnTo>
                    <a:pt x="293" y="2185"/>
                  </a:lnTo>
                  <a:lnTo>
                    <a:pt x="289" y="2191"/>
                  </a:lnTo>
                  <a:lnTo>
                    <a:pt x="289" y="2191"/>
                  </a:lnTo>
                  <a:lnTo>
                    <a:pt x="285" y="2198"/>
                  </a:lnTo>
                  <a:lnTo>
                    <a:pt x="283" y="2207"/>
                  </a:lnTo>
                  <a:lnTo>
                    <a:pt x="282" y="2217"/>
                  </a:lnTo>
                  <a:lnTo>
                    <a:pt x="282" y="2217"/>
                  </a:lnTo>
                  <a:lnTo>
                    <a:pt x="288" y="2217"/>
                  </a:lnTo>
                  <a:lnTo>
                    <a:pt x="295" y="2220"/>
                  </a:lnTo>
                  <a:lnTo>
                    <a:pt x="301" y="2226"/>
                  </a:lnTo>
                  <a:lnTo>
                    <a:pt x="301" y="2226"/>
                  </a:lnTo>
                  <a:lnTo>
                    <a:pt x="305" y="2232"/>
                  </a:lnTo>
                  <a:lnTo>
                    <a:pt x="307" y="2238"/>
                  </a:lnTo>
                  <a:lnTo>
                    <a:pt x="310" y="2243"/>
                  </a:lnTo>
                  <a:lnTo>
                    <a:pt x="313" y="2246"/>
                  </a:lnTo>
                  <a:lnTo>
                    <a:pt x="317" y="2247"/>
                  </a:lnTo>
                  <a:lnTo>
                    <a:pt x="317" y="2247"/>
                  </a:lnTo>
                  <a:lnTo>
                    <a:pt x="327" y="2250"/>
                  </a:lnTo>
                  <a:lnTo>
                    <a:pt x="336" y="2250"/>
                  </a:lnTo>
                  <a:lnTo>
                    <a:pt x="345" y="2248"/>
                  </a:lnTo>
                  <a:lnTo>
                    <a:pt x="345" y="2248"/>
                  </a:lnTo>
                  <a:lnTo>
                    <a:pt x="347" y="2247"/>
                  </a:lnTo>
                  <a:lnTo>
                    <a:pt x="348" y="2244"/>
                  </a:lnTo>
                  <a:lnTo>
                    <a:pt x="350" y="2241"/>
                  </a:lnTo>
                  <a:lnTo>
                    <a:pt x="353" y="2238"/>
                  </a:lnTo>
                  <a:lnTo>
                    <a:pt x="353" y="2238"/>
                  </a:lnTo>
                  <a:lnTo>
                    <a:pt x="357" y="2238"/>
                  </a:lnTo>
                  <a:lnTo>
                    <a:pt x="359" y="2235"/>
                  </a:lnTo>
                  <a:lnTo>
                    <a:pt x="360" y="2232"/>
                  </a:lnTo>
                  <a:lnTo>
                    <a:pt x="362" y="2228"/>
                  </a:lnTo>
                  <a:lnTo>
                    <a:pt x="362" y="2228"/>
                  </a:lnTo>
                  <a:lnTo>
                    <a:pt x="362" y="2222"/>
                  </a:lnTo>
                  <a:lnTo>
                    <a:pt x="360" y="2216"/>
                  </a:lnTo>
                  <a:lnTo>
                    <a:pt x="360" y="2210"/>
                  </a:lnTo>
                  <a:lnTo>
                    <a:pt x="362" y="2210"/>
                  </a:lnTo>
                  <a:lnTo>
                    <a:pt x="365" y="2209"/>
                  </a:lnTo>
                  <a:lnTo>
                    <a:pt x="365" y="2209"/>
                  </a:lnTo>
                  <a:lnTo>
                    <a:pt x="378" y="2210"/>
                  </a:lnTo>
                  <a:lnTo>
                    <a:pt x="384" y="2209"/>
                  </a:lnTo>
                  <a:lnTo>
                    <a:pt x="388" y="2207"/>
                  </a:lnTo>
                  <a:lnTo>
                    <a:pt x="388" y="2207"/>
                  </a:lnTo>
                  <a:lnTo>
                    <a:pt x="397" y="2201"/>
                  </a:lnTo>
                  <a:lnTo>
                    <a:pt x="402" y="2200"/>
                  </a:lnTo>
                  <a:lnTo>
                    <a:pt x="402" y="2200"/>
                  </a:lnTo>
                  <a:lnTo>
                    <a:pt x="403" y="2198"/>
                  </a:lnTo>
                  <a:lnTo>
                    <a:pt x="404" y="2195"/>
                  </a:lnTo>
                  <a:lnTo>
                    <a:pt x="406" y="2194"/>
                  </a:lnTo>
                  <a:lnTo>
                    <a:pt x="410" y="2194"/>
                  </a:lnTo>
                  <a:lnTo>
                    <a:pt x="410" y="2194"/>
                  </a:lnTo>
                  <a:lnTo>
                    <a:pt x="415" y="2195"/>
                  </a:lnTo>
                  <a:lnTo>
                    <a:pt x="419" y="2194"/>
                  </a:lnTo>
                  <a:lnTo>
                    <a:pt x="424" y="2192"/>
                  </a:lnTo>
                  <a:lnTo>
                    <a:pt x="425" y="2191"/>
                  </a:lnTo>
                  <a:lnTo>
                    <a:pt x="425" y="2191"/>
                  </a:lnTo>
                  <a:lnTo>
                    <a:pt x="427" y="2189"/>
                  </a:lnTo>
                  <a:lnTo>
                    <a:pt x="431" y="2188"/>
                  </a:lnTo>
                  <a:lnTo>
                    <a:pt x="434" y="2188"/>
                  </a:lnTo>
                  <a:lnTo>
                    <a:pt x="436" y="2185"/>
                  </a:lnTo>
                  <a:lnTo>
                    <a:pt x="436" y="2185"/>
                  </a:lnTo>
                  <a:lnTo>
                    <a:pt x="440" y="2176"/>
                  </a:lnTo>
                  <a:lnTo>
                    <a:pt x="443" y="2173"/>
                  </a:lnTo>
                  <a:lnTo>
                    <a:pt x="446" y="2173"/>
                  </a:lnTo>
                  <a:lnTo>
                    <a:pt x="446" y="2173"/>
                  </a:lnTo>
                  <a:lnTo>
                    <a:pt x="449" y="2174"/>
                  </a:lnTo>
                  <a:lnTo>
                    <a:pt x="452" y="2180"/>
                  </a:lnTo>
                  <a:lnTo>
                    <a:pt x="452" y="2180"/>
                  </a:lnTo>
                  <a:lnTo>
                    <a:pt x="453" y="2183"/>
                  </a:lnTo>
                  <a:lnTo>
                    <a:pt x="456" y="2185"/>
                  </a:lnTo>
                  <a:lnTo>
                    <a:pt x="461" y="2186"/>
                  </a:lnTo>
                  <a:lnTo>
                    <a:pt x="465" y="2188"/>
                  </a:lnTo>
                  <a:lnTo>
                    <a:pt x="468" y="2189"/>
                  </a:lnTo>
                  <a:lnTo>
                    <a:pt x="470" y="2192"/>
                  </a:lnTo>
                  <a:lnTo>
                    <a:pt x="470" y="2192"/>
                  </a:lnTo>
                  <a:lnTo>
                    <a:pt x="474" y="2197"/>
                  </a:lnTo>
                  <a:lnTo>
                    <a:pt x="477" y="2200"/>
                  </a:lnTo>
                  <a:lnTo>
                    <a:pt x="480" y="2201"/>
                  </a:lnTo>
                  <a:lnTo>
                    <a:pt x="486" y="2201"/>
                  </a:lnTo>
                  <a:lnTo>
                    <a:pt x="486" y="2201"/>
                  </a:lnTo>
                  <a:lnTo>
                    <a:pt x="492" y="2203"/>
                  </a:lnTo>
                  <a:lnTo>
                    <a:pt x="495" y="2201"/>
                  </a:lnTo>
                  <a:lnTo>
                    <a:pt x="504" y="2195"/>
                  </a:lnTo>
                  <a:lnTo>
                    <a:pt x="504" y="2195"/>
                  </a:lnTo>
                  <a:lnTo>
                    <a:pt x="508" y="2191"/>
                  </a:lnTo>
                  <a:lnTo>
                    <a:pt x="513" y="2189"/>
                  </a:lnTo>
                  <a:lnTo>
                    <a:pt x="516" y="2188"/>
                  </a:lnTo>
                  <a:lnTo>
                    <a:pt x="516" y="2186"/>
                  </a:lnTo>
                  <a:lnTo>
                    <a:pt x="516" y="2186"/>
                  </a:lnTo>
                  <a:lnTo>
                    <a:pt x="519" y="2179"/>
                  </a:lnTo>
                  <a:lnTo>
                    <a:pt x="520" y="2174"/>
                  </a:lnTo>
                  <a:lnTo>
                    <a:pt x="519" y="2171"/>
                  </a:lnTo>
                  <a:lnTo>
                    <a:pt x="519" y="2171"/>
                  </a:lnTo>
                  <a:lnTo>
                    <a:pt x="514" y="2166"/>
                  </a:lnTo>
                  <a:lnTo>
                    <a:pt x="513" y="2164"/>
                  </a:lnTo>
                  <a:lnTo>
                    <a:pt x="514" y="2161"/>
                  </a:lnTo>
                  <a:lnTo>
                    <a:pt x="514" y="2161"/>
                  </a:lnTo>
                  <a:lnTo>
                    <a:pt x="516" y="2155"/>
                  </a:lnTo>
                  <a:lnTo>
                    <a:pt x="517" y="2151"/>
                  </a:lnTo>
                  <a:lnTo>
                    <a:pt x="517" y="2148"/>
                  </a:lnTo>
                  <a:lnTo>
                    <a:pt x="517" y="2148"/>
                  </a:lnTo>
                  <a:lnTo>
                    <a:pt x="514" y="2139"/>
                  </a:lnTo>
                  <a:lnTo>
                    <a:pt x="514" y="2134"/>
                  </a:lnTo>
                  <a:lnTo>
                    <a:pt x="516" y="2133"/>
                  </a:lnTo>
                  <a:lnTo>
                    <a:pt x="519" y="2133"/>
                  </a:lnTo>
                  <a:lnTo>
                    <a:pt x="519" y="2133"/>
                  </a:lnTo>
                  <a:lnTo>
                    <a:pt x="526" y="2131"/>
                  </a:lnTo>
                  <a:lnTo>
                    <a:pt x="527" y="2129"/>
                  </a:lnTo>
                  <a:lnTo>
                    <a:pt x="530" y="2123"/>
                  </a:lnTo>
                  <a:lnTo>
                    <a:pt x="530" y="2123"/>
                  </a:lnTo>
                  <a:lnTo>
                    <a:pt x="536" y="2112"/>
                  </a:lnTo>
                  <a:lnTo>
                    <a:pt x="538" y="2109"/>
                  </a:lnTo>
                  <a:lnTo>
                    <a:pt x="541" y="2108"/>
                  </a:lnTo>
                  <a:lnTo>
                    <a:pt x="541" y="2108"/>
                  </a:lnTo>
                  <a:lnTo>
                    <a:pt x="542" y="2108"/>
                  </a:lnTo>
                  <a:lnTo>
                    <a:pt x="545" y="2106"/>
                  </a:lnTo>
                  <a:lnTo>
                    <a:pt x="547" y="2103"/>
                  </a:lnTo>
                  <a:lnTo>
                    <a:pt x="548" y="2096"/>
                  </a:lnTo>
                  <a:lnTo>
                    <a:pt x="548" y="2096"/>
                  </a:lnTo>
                  <a:lnTo>
                    <a:pt x="553" y="2078"/>
                  </a:lnTo>
                  <a:lnTo>
                    <a:pt x="556" y="2072"/>
                  </a:lnTo>
                  <a:lnTo>
                    <a:pt x="557" y="2068"/>
                  </a:lnTo>
                  <a:lnTo>
                    <a:pt x="557" y="2068"/>
                  </a:lnTo>
                  <a:lnTo>
                    <a:pt x="563" y="2062"/>
                  </a:lnTo>
                  <a:lnTo>
                    <a:pt x="566" y="2059"/>
                  </a:lnTo>
                  <a:lnTo>
                    <a:pt x="572" y="2059"/>
                  </a:lnTo>
                  <a:lnTo>
                    <a:pt x="572" y="2059"/>
                  </a:lnTo>
                  <a:lnTo>
                    <a:pt x="576" y="2057"/>
                  </a:lnTo>
                  <a:lnTo>
                    <a:pt x="579" y="2054"/>
                  </a:lnTo>
                  <a:lnTo>
                    <a:pt x="581" y="2046"/>
                  </a:lnTo>
                  <a:lnTo>
                    <a:pt x="581" y="2046"/>
                  </a:lnTo>
                  <a:lnTo>
                    <a:pt x="581" y="2040"/>
                  </a:lnTo>
                  <a:lnTo>
                    <a:pt x="579" y="2035"/>
                  </a:lnTo>
                  <a:lnTo>
                    <a:pt x="579" y="2029"/>
                  </a:lnTo>
                  <a:lnTo>
                    <a:pt x="579" y="2026"/>
                  </a:lnTo>
                  <a:lnTo>
                    <a:pt x="579" y="2026"/>
                  </a:lnTo>
                  <a:lnTo>
                    <a:pt x="581" y="2022"/>
                  </a:lnTo>
                  <a:lnTo>
                    <a:pt x="587" y="2016"/>
                  </a:lnTo>
                  <a:lnTo>
                    <a:pt x="594" y="2012"/>
                  </a:lnTo>
                  <a:lnTo>
                    <a:pt x="601" y="2009"/>
                  </a:lnTo>
                  <a:lnTo>
                    <a:pt x="601" y="2009"/>
                  </a:lnTo>
                  <a:lnTo>
                    <a:pt x="606" y="2009"/>
                  </a:lnTo>
                  <a:lnTo>
                    <a:pt x="609" y="2010"/>
                  </a:lnTo>
                  <a:lnTo>
                    <a:pt x="612" y="2012"/>
                  </a:lnTo>
                  <a:lnTo>
                    <a:pt x="619" y="2014"/>
                  </a:lnTo>
                  <a:lnTo>
                    <a:pt x="619" y="2014"/>
                  </a:lnTo>
                  <a:lnTo>
                    <a:pt x="640" y="2016"/>
                  </a:lnTo>
                  <a:lnTo>
                    <a:pt x="655" y="2016"/>
                  </a:lnTo>
                  <a:lnTo>
                    <a:pt x="655" y="2016"/>
                  </a:lnTo>
                  <a:lnTo>
                    <a:pt x="659" y="2016"/>
                  </a:lnTo>
                  <a:lnTo>
                    <a:pt x="662" y="2017"/>
                  </a:lnTo>
                  <a:lnTo>
                    <a:pt x="671" y="2023"/>
                  </a:lnTo>
                  <a:lnTo>
                    <a:pt x="671" y="2023"/>
                  </a:lnTo>
                  <a:lnTo>
                    <a:pt x="677" y="2028"/>
                  </a:lnTo>
                  <a:lnTo>
                    <a:pt x="684" y="2031"/>
                  </a:lnTo>
                  <a:lnTo>
                    <a:pt x="696" y="2034"/>
                  </a:lnTo>
                  <a:lnTo>
                    <a:pt x="696" y="2034"/>
                  </a:lnTo>
                  <a:lnTo>
                    <a:pt x="702" y="2035"/>
                  </a:lnTo>
                  <a:lnTo>
                    <a:pt x="707" y="2040"/>
                  </a:lnTo>
                  <a:lnTo>
                    <a:pt x="710" y="2044"/>
                  </a:lnTo>
                  <a:lnTo>
                    <a:pt x="710" y="2047"/>
                  </a:lnTo>
                  <a:lnTo>
                    <a:pt x="710" y="2049"/>
                  </a:lnTo>
                  <a:lnTo>
                    <a:pt x="710" y="2049"/>
                  </a:lnTo>
                  <a:lnTo>
                    <a:pt x="707" y="2052"/>
                  </a:lnTo>
                  <a:lnTo>
                    <a:pt x="704" y="2054"/>
                  </a:lnTo>
                  <a:lnTo>
                    <a:pt x="702" y="2056"/>
                  </a:lnTo>
                  <a:lnTo>
                    <a:pt x="704" y="2059"/>
                  </a:lnTo>
                  <a:lnTo>
                    <a:pt x="704" y="2059"/>
                  </a:lnTo>
                  <a:lnTo>
                    <a:pt x="708" y="2062"/>
                  </a:lnTo>
                  <a:lnTo>
                    <a:pt x="710" y="2068"/>
                  </a:lnTo>
                  <a:lnTo>
                    <a:pt x="711" y="2075"/>
                  </a:lnTo>
                  <a:lnTo>
                    <a:pt x="712" y="2083"/>
                  </a:lnTo>
                  <a:lnTo>
                    <a:pt x="712" y="2083"/>
                  </a:lnTo>
                  <a:lnTo>
                    <a:pt x="714" y="2089"/>
                  </a:lnTo>
                  <a:lnTo>
                    <a:pt x="717" y="2093"/>
                  </a:lnTo>
                  <a:lnTo>
                    <a:pt x="723" y="2096"/>
                  </a:lnTo>
                  <a:lnTo>
                    <a:pt x="727" y="2096"/>
                  </a:lnTo>
                  <a:lnTo>
                    <a:pt x="727" y="2096"/>
                  </a:lnTo>
                  <a:lnTo>
                    <a:pt x="730" y="2094"/>
                  </a:lnTo>
                  <a:lnTo>
                    <a:pt x="735" y="2092"/>
                  </a:lnTo>
                  <a:lnTo>
                    <a:pt x="738" y="2090"/>
                  </a:lnTo>
                  <a:lnTo>
                    <a:pt x="744" y="2089"/>
                  </a:lnTo>
                  <a:lnTo>
                    <a:pt x="744" y="2089"/>
                  </a:lnTo>
                  <a:lnTo>
                    <a:pt x="749" y="2089"/>
                  </a:lnTo>
                  <a:lnTo>
                    <a:pt x="752" y="2090"/>
                  </a:lnTo>
                  <a:lnTo>
                    <a:pt x="755" y="2092"/>
                  </a:lnTo>
                  <a:lnTo>
                    <a:pt x="758" y="2092"/>
                  </a:lnTo>
                  <a:lnTo>
                    <a:pt x="758" y="2092"/>
                  </a:lnTo>
                  <a:lnTo>
                    <a:pt x="760" y="2090"/>
                  </a:lnTo>
                  <a:lnTo>
                    <a:pt x="763" y="2087"/>
                  </a:lnTo>
                  <a:lnTo>
                    <a:pt x="764" y="2083"/>
                  </a:lnTo>
                  <a:lnTo>
                    <a:pt x="766" y="2078"/>
                  </a:lnTo>
                  <a:lnTo>
                    <a:pt x="766" y="2078"/>
                  </a:lnTo>
                  <a:lnTo>
                    <a:pt x="766" y="2077"/>
                  </a:lnTo>
                  <a:lnTo>
                    <a:pt x="767" y="2075"/>
                  </a:lnTo>
                  <a:lnTo>
                    <a:pt x="772" y="2072"/>
                  </a:lnTo>
                  <a:lnTo>
                    <a:pt x="778" y="2072"/>
                  </a:lnTo>
                  <a:lnTo>
                    <a:pt x="781" y="2072"/>
                  </a:lnTo>
                  <a:lnTo>
                    <a:pt x="781" y="2072"/>
                  </a:lnTo>
                  <a:lnTo>
                    <a:pt x="784" y="2075"/>
                  </a:lnTo>
                  <a:lnTo>
                    <a:pt x="785" y="2078"/>
                  </a:lnTo>
                  <a:lnTo>
                    <a:pt x="787" y="2081"/>
                  </a:lnTo>
                  <a:lnTo>
                    <a:pt x="791" y="2081"/>
                  </a:lnTo>
                  <a:lnTo>
                    <a:pt x="791" y="2081"/>
                  </a:lnTo>
                  <a:lnTo>
                    <a:pt x="798" y="2083"/>
                  </a:lnTo>
                  <a:lnTo>
                    <a:pt x="804" y="2084"/>
                  </a:lnTo>
                  <a:lnTo>
                    <a:pt x="809" y="2087"/>
                  </a:lnTo>
                  <a:lnTo>
                    <a:pt x="812" y="2090"/>
                  </a:lnTo>
                  <a:lnTo>
                    <a:pt x="812" y="2090"/>
                  </a:lnTo>
                  <a:lnTo>
                    <a:pt x="812" y="2096"/>
                  </a:lnTo>
                  <a:lnTo>
                    <a:pt x="812" y="2105"/>
                  </a:lnTo>
                  <a:lnTo>
                    <a:pt x="813" y="2115"/>
                  </a:lnTo>
                  <a:lnTo>
                    <a:pt x="813" y="2123"/>
                  </a:lnTo>
                  <a:lnTo>
                    <a:pt x="813" y="2123"/>
                  </a:lnTo>
                  <a:lnTo>
                    <a:pt x="818" y="2131"/>
                  </a:lnTo>
                  <a:lnTo>
                    <a:pt x="822" y="2140"/>
                  </a:lnTo>
                  <a:lnTo>
                    <a:pt x="822" y="2140"/>
                  </a:lnTo>
                  <a:lnTo>
                    <a:pt x="825" y="2148"/>
                  </a:lnTo>
                  <a:lnTo>
                    <a:pt x="829" y="2154"/>
                  </a:lnTo>
                  <a:lnTo>
                    <a:pt x="829" y="2154"/>
                  </a:lnTo>
                  <a:lnTo>
                    <a:pt x="831" y="2157"/>
                  </a:lnTo>
                  <a:lnTo>
                    <a:pt x="831" y="2161"/>
                  </a:lnTo>
                  <a:lnTo>
                    <a:pt x="831" y="2166"/>
                  </a:lnTo>
                  <a:lnTo>
                    <a:pt x="832" y="2167"/>
                  </a:lnTo>
                  <a:lnTo>
                    <a:pt x="835" y="2170"/>
                  </a:lnTo>
                  <a:lnTo>
                    <a:pt x="835" y="2170"/>
                  </a:lnTo>
                  <a:lnTo>
                    <a:pt x="838" y="2171"/>
                  </a:lnTo>
                  <a:lnTo>
                    <a:pt x="840" y="2171"/>
                  </a:lnTo>
                  <a:lnTo>
                    <a:pt x="843" y="2170"/>
                  </a:lnTo>
                  <a:lnTo>
                    <a:pt x="844" y="2169"/>
                  </a:lnTo>
                  <a:lnTo>
                    <a:pt x="847" y="2170"/>
                  </a:lnTo>
                  <a:lnTo>
                    <a:pt x="853" y="2176"/>
                  </a:lnTo>
                  <a:lnTo>
                    <a:pt x="853" y="2176"/>
                  </a:lnTo>
                  <a:lnTo>
                    <a:pt x="864" y="2188"/>
                  </a:lnTo>
                  <a:lnTo>
                    <a:pt x="865" y="2192"/>
                  </a:lnTo>
                  <a:lnTo>
                    <a:pt x="866" y="2197"/>
                  </a:lnTo>
                  <a:lnTo>
                    <a:pt x="866" y="2197"/>
                  </a:lnTo>
                  <a:lnTo>
                    <a:pt x="868" y="2201"/>
                  </a:lnTo>
                  <a:lnTo>
                    <a:pt x="866" y="2204"/>
                  </a:lnTo>
                  <a:lnTo>
                    <a:pt x="866" y="220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5" name="Freeform 34">
              <a:extLst>
                <a:ext uri="{FF2B5EF4-FFF2-40B4-BE49-F238E27FC236}">
                  <a16:creationId xmlns:a16="http://schemas.microsoft.com/office/drawing/2014/main" id="{FEE80CE2-1DEC-EE46-AECA-FB9E64411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175" y="5148263"/>
              <a:ext cx="415925" cy="371475"/>
            </a:xfrm>
            <a:custGeom>
              <a:avLst/>
              <a:gdLst>
                <a:gd name="T0" fmla="*/ 46 w 262"/>
                <a:gd name="T1" fmla="*/ 35 h 234"/>
                <a:gd name="T2" fmla="*/ 38 w 262"/>
                <a:gd name="T3" fmla="*/ 38 h 234"/>
                <a:gd name="T4" fmla="*/ 31 w 262"/>
                <a:gd name="T5" fmla="*/ 50 h 234"/>
                <a:gd name="T6" fmla="*/ 25 w 262"/>
                <a:gd name="T7" fmla="*/ 50 h 234"/>
                <a:gd name="T8" fmla="*/ 16 w 262"/>
                <a:gd name="T9" fmla="*/ 52 h 234"/>
                <a:gd name="T10" fmla="*/ 9 w 262"/>
                <a:gd name="T11" fmla="*/ 59 h 234"/>
                <a:gd name="T12" fmla="*/ 4 w 262"/>
                <a:gd name="T13" fmla="*/ 58 h 234"/>
                <a:gd name="T14" fmla="*/ 0 w 262"/>
                <a:gd name="T15" fmla="*/ 62 h 234"/>
                <a:gd name="T16" fmla="*/ 4 w 262"/>
                <a:gd name="T17" fmla="*/ 69 h 234"/>
                <a:gd name="T18" fmla="*/ 12 w 262"/>
                <a:gd name="T19" fmla="*/ 78 h 234"/>
                <a:gd name="T20" fmla="*/ 21 w 262"/>
                <a:gd name="T21" fmla="*/ 87 h 234"/>
                <a:gd name="T22" fmla="*/ 43 w 262"/>
                <a:gd name="T23" fmla="*/ 98 h 234"/>
                <a:gd name="T24" fmla="*/ 50 w 262"/>
                <a:gd name="T25" fmla="*/ 95 h 234"/>
                <a:gd name="T26" fmla="*/ 58 w 262"/>
                <a:gd name="T27" fmla="*/ 102 h 234"/>
                <a:gd name="T28" fmla="*/ 69 w 262"/>
                <a:gd name="T29" fmla="*/ 124 h 234"/>
                <a:gd name="T30" fmla="*/ 68 w 262"/>
                <a:gd name="T31" fmla="*/ 139 h 234"/>
                <a:gd name="T32" fmla="*/ 65 w 262"/>
                <a:gd name="T33" fmla="*/ 148 h 234"/>
                <a:gd name="T34" fmla="*/ 69 w 262"/>
                <a:gd name="T35" fmla="*/ 154 h 234"/>
                <a:gd name="T36" fmla="*/ 75 w 262"/>
                <a:gd name="T37" fmla="*/ 166 h 234"/>
                <a:gd name="T38" fmla="*/ 81 w 262"/>
                <a:gd name="T39" fmla="*/ 178 h 234"/>
                <a:gd name="T40" fmla="*/ 89 w 262"/>
                <a:gd name="T41" fmla="*/ 181 h 234"/>
                <a:gd name="T42" fmla="*/ 98 w 262"/>
                <a:gd name="T43" fmla="*/ 170 h 234"/>
                <a:gd name="T44" fmla="*/ 114 w 262"/>
                <a:gd name="T45" fmla="*/ 175 h 234"/>
                <a:gd name="T46" fmla="*/ 124 w 262"/>
                <a:gd name="T47" fmla="*/ 185 h 234"/>
                <a:gd name="T48" fmla="*/ 136 w 262"/>
                <a:gd name="T49" fmla="*/ 197 h 234"/>
                <a:gd name="T50" fmla="*/ 158 w 262"/>
                <a:gd name="T51" fmla="*/ 216 h 234"/>
                <a:gd name="T52" fmla="*/ 169 w 262"/>
                <a:gd name="T53" fmla="*/ 223 h 234"/>
                <a:gd name="T54" fmla="*/ 186 w 262"/>
                <a:gd name="T55" fmla="*/ 225 h 234"/>
                <a:gd name="T56" fmla="*/ 197 w 262"/>
                <a:gd name="T57" fmla="*/ 231 h 234"/>
                <a:gd name="T58" fmla="*/ 222 w 262"/>
                <a:gd name="T59" fmla="*/ 232 h 234"/>
                <a:gd name="T60" fmla="*/ 229 w 262"/>
                <a:gd name="T61" fmla="*/ 223 h 234"/>
                <a:gd name="T62" fmla="*/ 240 w 262"/>
                <a:gd name="T63" fmla="*/ 204 h 234"/>
                <a:gd name="T64" fmla="*/ 253 w 262"/>
                <a:gd name="T65" fmla="*/ 191 h 234"/>
                <a:gd name="T66" fmla="*/ 254 w 262"/>
                <a:gd name="T67" fmla="*/ 172 h 234"/>
                <a:gd name="T68" fmla="*/ 262 w 262"/>
                <a:gd name="T69" fmla="*/ 163 h 234"/>
                <a:gd name="T70" fmla="*/ 253 w 262"/>
                <a:gd name="T71" fmla="*/ 145 h 234"/>
                <a:gd name="T72" fmla="*/ 241 w 262"/>
                <a:gd name="T73" fmla="*/ 146 h 234"/>
                <a:gd name="T74" fmla="*/ 234 w 262"/>
                <a:gd name="T75" fmla="*/ 144 h 234"/>
                <a:gd name="T76" fmla="*/ 226 w 262"/>
                <a:gd name="T77" fmla="*/ 130 h 234"/>
                <a:gd name="T78" fmla="*/ 229 w 262"/>
                <a:gd name="T79" fmla="*/ 126 h 234"/>
                <a:gd name="T80" fmla="*/ 243 w 262"/>
                <a:gd name="T81" fmla="*/ 118 h 234"/>
                <a:gd name="T82" fmla="*/ 222 w 262"/>
                <a:gd name="T83" fmla="*/ 120 h 234"/>
                <a:gd name="T84" fmla="*/ 212 w 262"/>
                <a:gd name="T85" fmla="*/ 127 h 234"/>
                <a:gd name="T86" fmla="*/ 197 w 262"/>
                <a:gd name="T87" fmla="*/ 130 h 234"/>
                <a:gd name="T88" fmla="*/ 182 w 262"/>
                <a:gd name="T89" fmla="*/ 138 h 234"/>
                <a:gd name="T90" fmla="*/ 175 w 262"/>
                <a:gd name="T91" fmla="*/ 145 h 234"/>
                <a:gd name="T92" fmla="*/ 160 w 262"/>
                <a:gd name="T93" fmla="*/ 138 h 234"/>
                <a:gd name="T94" fmla="*/ 145 w 262"/>
                <a:gd name="T95" fmla="*/ 126 h 234"/>
                <a:gd name="T96" fmla="*/ 145 w 262"/>
                <a:gd name="T97" fmla="*/ 123 h 234"/>
                <a:gd name="T98" fmla="*/ 148 w 262"/>
                <a:gd name="T99" fmla="*/ 114 h 234"/>
                <a:gd name="T100" fmla="*/ 142 w 262"/>
                <a:gd name="T101" fmla="*/ 106 h 234"/>
                <a:gd name="T102" fmla="*/ 136 w 262"/>
                <a:gd name="T103" fmla="*/ 81 h 234"/>
                <a:gd name="T104" fmla="*/ 133 w 262"/>
                <a:gd name="T105" fmla="*/ 58 h 234"/>
                <a:gd name="T106" fmla="*/ 127 w 262"/>
                <a:gd name="T107" fmla="*/ 40 h 234"/>
                <a:gd name="T108" fmla="*/ 118 w 262"/>
                <a:gd name="T109" fmla="*/ 28 h 234"/>
                <a:gd name="T110" fmla="*/ 99 w 262"/>
                <a:gd name="T111" fmla="*/ 16 h 234"/>
                <a:gd name="T112" fmla="*/ 89 w 262"/>
                <a:gd name="T113" fmla="*/ 0 h 234"/>
                <a:gd name="T114" fmla="*/ 81 w 262"/>
                <a:gd name="T115" fmla="*/ 1 h 234"/>
                <a:gd name="T116" fmla="*/ 80 w 262"/>
                <a:gd name="T117" fmla="*/ 16 h 234"/>
                <a:gd name="T118" fmla="*/ 75 w 262"/>
                <a:gd name="T119" fmla="*/ 24 h 234"/>
                <a:gd name="T120" fmla="*/ 62 w 262"/>
                <a:gd name="T121" fmla="*/ 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2" h="234">
                  <a:moveTo>
                    <a:pt x="56" y="35"/>
                  </a:moveTo>
                  <a:lnTo>
                    <a:pt x="56" y="35"/>
                  </a:lnTo>
                  <a:lnTo>
                    <a:pt x="46" y="35"/>
                  </a:lnTo>
                  <a:lnTo>
                    <a:pt x="41" y="35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7" y="44"/>
                  </a:lnTo>
                  <a:lnTo>
                    <a:pt x="34" y="49"/>
                  </a:lnTo>
                  <a:lnTo>
                    <a:pt x="31" y="50"/>
                  </a:lnTo>
                  <a:lnTo>
                    <a:pt x="28" y="52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3" y="49"/>
                  </a:lnTo>
                  <a:lnTo>
                    <a:pt x="21" y="49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7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3" y="59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0" y="65"/>
                  </a:lnTo>
                  <a:lnTo>
                    <a:pt x="1" y="67"/>
                  </a:lnTo>
                  <a:lnTo>
                    <a:pt x="4" y="69"/>
                  </a:lnTo>
                  <a:lnTo>
                    <a:pt x="4" y="69"/>
                  </a:lnTo>
                  <a:lnTo>
                    <a:pt x="9" y="75"/>
                  </a:lnTo>
                  <a:lnTo>
                    <a:pt x="12" y="78"/>
                  </a:lnTo>
                  <a:lnTo>
                    <a:pt x="13" y="83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35" y="96"/>
                  </a:lnTo>
                  <a:lnTo>
                    <a:pt x="40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7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3" y="96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66" y="117"/>
                  </a:lnTo>
                  <a:lnTo>
                    <a:pt x="69" y="124"/>
                  </a:lnTo>
                  <a:lnTo>
                    <a:pt x="71" y="132"/>
                  </a:lnTo>
                  <a:lnTo>
                    <a:pt x="71" y="132"/>
                  </a:lnTo>
                  <a:lnTo>
                    <a:pt x="68" y="139"/>
                  </a:lnTo>
                  <a:lnTo>
                    <a:pt x="65" y="145"/>
                  </a:lnTo>
                  <a:lnTo>
                    <a:pt x="65" y="146"/>
                  </a:lnTo>
                  <a:lnTo>
                    <a:pt x="65" y="148"/>
                  </a:lnTo>
                  <a:lnTo>
                    <a:pt x="66" y="151"/>
                  </a:lnTo>
                  <a:lnTo>
                    <a:pt x="69" y="154"/>
                  </a:lnTo>
                  <a:lnTo>
                    <a:pt x="69" y="154"/>
                  </a:lnTo>
                  <a:lnTo>
                    <a:pt x="72" y="157"/>
                  </a:lnTo>
                  <a:lnTo>
                    <a:pt x="74" y="160"/>
                  </a:lnTo>
                  <a:lnTo>
                    <a:pt x="75" y="166"/>
                  </a:lnTo>
                  <a:lnTo>
                    <a:pt x="78" y="172"/>
                  </a:lnTo>
                  <a:lnTo>
                    <a:pt x="80" y="175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6" y="181"/>
                  </a:lnTo>
                  <a:lnTo>
                    <a:pt x="89" y="181"/>
                  </a:lnTo>
                  <a:lnTo>
                    <a:pt x="93" y="173"/>
                  </a:lnTo>
                  <a:lnTo>
                    <a:pt x="93" y="173"/>
                  </a:lnTo>
                  <a:lnTo>
                    <a:pt x="98" y="170"/>
                  </a:lnTo>
                  <a:lnTo>
                    <a:pt x="103" y="169"/>
                  </a:lnTo>
                  <a:lnTo>
                    <a:pt x="108" y="170"/>
                  </a:lnTo>
                  <a:lnTo>
                    <a:pt x="114" y="175"/>
                  </a:lnTo>
                  <a:lnTo>
                    <a:pt x="114" y="175"/>
                  </a:lnTo>
                  <a:lnTo>
                    <a:pt x="120" y="181"/>
                  </a:lnTo>
                  <a:lnTo>
                    <a:pt x="124" y="185"/>
                  </a:lnTo>
                  <a:lnTo>
                    <a:pt x="130" y="191"/>
                  </a:lnTo>
                  <a:lnTo>
                    <a:pt x="136" y="197"/>
                  </a:lnTo>
                  <a:lnTo>
                    <a:pt x="136" y="197"/>
                  </a:lnTo>
                  <a:lnTo>
                    <a:pt x="142" y="203"/>
                  </a:lnTo>
                  <a:lnTo>
                    <a:pt x="148" y="207"/>
                  </a:lnTo>
                  <a:lnTo>
                    <a:pt x="158" y="216"/>
                  </a:lnTo>
                  <a:lnTo>
                    <a:pt x="158" y="216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76" y="222"/>
                  </a:lnTo>
                  <a:lnTo>
                    <a:pt x="183" y="223"/>
                  </a:lnTo>
                  <a:lnTo>
                    <a:pt x="186" y="225"/>
                  </a:lnTo>
                  <a:lnTo>
                    <a:pt x="189" y="226"/>
                  </a:lnTo>
                  <a:lnTo>
                    <a:pt x="189" y="226"/>
                  </a:lnTo>
                  <a:lnTo>
                    <a:pt x="197" y="231"/>
                  </a:lnTo>
                  <a:lnTo>
                    <a:pt x="207" y="232"/>
                  </a:lnTo>
                  <a:lnTo>
                    <a:pt x="216" y="234"/>
                  </a:lnTo>
                  <a:lnTo>
                    <a:pt x="222" y="232"/>
                  </a:lnTo>
                  <a:lnTo>
                    <a:pt x="222" y="232"/>
                  </a:lnTo>
                  <a:lnTo>
                    <a:pt x="226" y="228"/>
                  </a:lnTo>
                  <a:lnTo>
                    <a:pt x="229" y="223"/>
                  </a:lnTo>
                  <a:lnTo>
                    <a:pt x="234" y="213"/>
                  </a:lnTo>
                  <a:lnTo>
                    <a:pt x="234" y="213"/>
                  </a:lnTo>
                  <a:lnTo>
                    <a:pt x="240" y="204"/>
                  </a:lnTo>
                  <a:lnTo>
                    <a:pt x="249" y="195"/>
                  </a:lnTo>
                  <a:lnTo>
                    <a:pt x="249" y="195"/>
                  </a:lnTo>
                  <a:lnTo>
                    <a:pt x="253" y="191"/>
                  </a:lnTo>
                  <a:lnTo>
                    <a:pt x="254" y="184"/>
                  </a:lnTo>
                  <a:lnTo>
                    <a:pt x="254" y="172"/>
                  </a:lnTo>
                  <a:lnTo>
                    <a:pt x="254" y="172"/>
                  </a:lnTo>
                  <a:lnTo>
                    <a:pt x="257" y="169"/>
                  </a:lnTo>
                  <a:lnTo>
                    <a:pt x="259" y="166"/>
                  </a:lnTo>
                  <a:lnTo>
                    <a:pt x="262" y="163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53" y="145"/>
                  </a:lnTo>
                  <a:lnTo>
                    <a:pt x="253" y="145"/>
                  </a:lnTo>
                  <a:lnTo>
                    <a:pt x="246" y="146"/>
                  </a:lnTo>
                  <a:lnTo>
                    <a:pt x="241" y="146"/>
                  </a:lnTo>
                  <a:lnTo>
                    <a:pt x="238" y="145"/>
                  </a:lnTo>
                  <a:lnTo>
                    <a:pt x="238" y="145"/>
                  </a:lnTo>
                  <a:lnTo>
                    <a:pt x="234" y="144"/>
                  </a:lnTo>
                  <a:lnTo>
                    <a:pt x="229" y="139"/>
                  </a:lnTo>
                  <a:lnTo>
                    <a:pt x="226" y="135"/>
                  </a:lnTo>
                  <a:lnTo>
                    <a:pt x="226" y="130"/>
                  </a:lnTo>
                  <a:lnTo>
                    <a:pt x="226" y="130"/>
                  </a:lnTo>
                  <a:lnTo>
                    <a:pt x="228" y="127"/>
                  </a:lnTo>
                  <a:lnTo>
                    <a:pt x="229" y="126"/>
                  </a:lnTo>
                  <a:lnTo>
                    <a:pt x="235" y="121"/>
                  </a:lnTo>
                  <a:lnTo>
                    <a:pt x="243" y="118"/>
                  </a:lnTo>
                  <a:lnTo>
                    <a:pt x="243" y="118"/>
                  </a:lnTo>
                  <a:lnTo>
                    <a:pt x="232" y="118"/>
                  </a:lnTo>
                  <a:lnTo>
                    <a:pt x="225" y="118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17" y="123"/>
                  </a:lnTo>
                  <a:lnTo>
                    <a:pt x="212" y="127"/>
                  </a:lnTo>
                  <a:lnTo>
                    <a:pt x="204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1" y="132"/>
                  </a:lnTo>
                  <a:lnTo>
                    <a:pt x="185" y="135"/>
                  </a:lnTo>
                  <a:lnTo>
                    <a:pt x="182" y="138"/>
                  </a:lnTo>
                  <a:lnTo>
                    <a:pt x="177" y="142"/>
                  </a:lnTo>
                  <a:lnTo>
                    <a:pt x="177" y="142"/>
                  </a:lnTo>
                  <a:lnTo>
                    <a:pt x="175" y="145"/>
                  </a:lnTo>
                  <a:lnTo>
                    <a:pt x="170" y="145"/>
                  </a:lnTo>
                  <a:lnTo>
                    <a:pt x="166" y="142"/>
                  </a:lnTo>
                  <a:lnTo>
                    <a:pt x="160" y="138"/>
                  </a:lnTo>
                  <a:lnTo>
                    <a:pt x="160" y="138"/>
                  </a:lnTo>
                  <a:lnTo>
                    <a:pt x="149" y="129"/>
                  </a:lnTo>
                  <a:lnTo>
                    <a:pt x="145" y="126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5" y="123"/>
                  </a:lnTo>
                  <a:lnTo>
                    <a:pt x="146" y="120"/>
                  </a:lnTo>
                  <a:lnTo>
                    <a:pt x="148" y="117"/>
                  </a:lnTo>
                  <a:lnTo>
                    <a:pt x="148" y="114"/>
                  </a:lnTo>
                  <a:lnTo>
                    <a:pt x="145" y="111"/>
                  </a:lnTo>
                  <a:lnTo>
                    <a:pt x="145" y="111"/>
                  </a:lnTo>
                  <a:lnTo>
                    <a:pt x="142" y="106"/>
                  </a:lnTo>
                  <a:lnTo>
                    <a:pt x="139" y="101"/>
                  </a:lnTo>
                  <a:lnTo>
                    <a:pt x="137" y="92"/>
                  </a:lnTo>
                  <a:lnTo>
                    <a:pt x="136" y="81"/>
                  </a:lnTo>
                  <a:lnTo>
                    <a:pt x="136" y="81"/>
                  </a:lnTo>
                  <a:lnTo>
                    <a:pt x="136" y="6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0" y="49"/>
                  </a:lnTo>
                  <a:lnTo>
                    <a:pt x="127" y="40"/>
                  </a:lnTo>
                  <a:lnTo>
                    <a:pt x="123" y="32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4" y="27"/>
                  </a:lnTo>
                  <a:lnTo>
                    <a:pt x="108" y="22"/>
                  </a:lnTo>
                  <a:lnTo>
                    <a:pt x="99" y="16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4" y="0"/>
                  </a:lnTo>
                  <a:lnTo>
                    <a:pt x="81" y="1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16"/>
                  </a:lnTo>
                  <a:lnTo>
                    <a:pt x="78" y="22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1" y="27"/>
                  </a:lnTo>
                  <a:lnTo>
                    <a:pt x="66" y="31"/>
                  </a:lnTo>
                  <a:lnTo>
                    <a:pt x="62" y="34"/>
                  </a:lnTo>
                  <a:lnTo>
                    <a:pt x="56" y="35"/>
                  </a:lnTo>
                  <a:lnTo>
                    <a:pt x="56" y="3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6" name="Freeform 35">
              <a:extLst>
                <a:ext uri="{FF2B5EF4-FFF2-40B4-BE49-F238E27FC236}">
                  <a16:creationId xmlns:a16="http://schemas.microsoft.com/office/drawing/2014/main" id="{DD55630E-4063-9240-AA2B-DAFF1CCEC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63" y="5157788"/>
              <a:ext cx="381000" cy="342900"/>
            </a:xfrm>
            <a:custGeom>
              <a:avLst/>
              <a:gdLst>
                <a:gd name="T0" fmla="*/ 165 w 240"/>
                <a:gd name="T1" fmla="*/ 81 h 216"/>
                <a:gd name="T2" fmla="*/ 156 w 240"/>
                <a:gd name="T3" fmla="*/ 69 h 216"/>
                <a:gd name="T4" fmla="*/ 153 w 240"/>
                <a:gd name="T5" fmla="*/ 63 h 216"/>
                <a:gd name="T6" fmla="*/ 141 w 240"/>
                <a:gd name="T7" fmla="*/ 62 h 216"/>
                <a:gd name="T8" fmla="*/ 114 w 240"/>
                <a:gd name="T9" fmla="*/ 63 h 216"/>
                <a:gd name="T10" fmla="*/ 104 w 240"/>
                <a:gd name="T11" fmla="*/ 55 h 216"/>
                <a:gd name="T12" fmla="*/ 108 w 240"/>
                <a:gd name="T13" fmla="*/ 46 h 216"/>
                <a:gd name="T14" fmla="*/ 108 w 240"/>
                <a:gd name="T15" fmla="*/ 37 h 216"/>
                <a:gd name="T16" fmla="*/ 101 w 240"/>
                <a:gd name="T17" fmla="*/ 25 h 216"/>
                <a:gd name="T18" fmla="*/ 101 w 240"/>
                <a:gd name="T19" fmla="*/ 19 h 216"/>
                <a:gd name="T20" fmla="*/ 88 w 240"/>
                <a:gd name="T21" fmla="*/ 18 h 216"/>
                <a:gd name="T22" fmla="*/ 64 w 240"/>
                <a:gd name="T23" fmla="*/ 1 h 216"/>
                <a:gd name="T24" fmla="*/ 51 w 240"/>
                <a:gd name="T25" fmla="*/ 1 h 216"/>
                <a:gd name="T26" fmla="*/ 39 w 240"/>
                <a:gd name="T27" fmla="*/ 9 h 216"/>
                <a:gd name="T28" fmla="*/ 24 w 240"/>
                <a:gd name="T29" fmla="*/ 3 h 216"/>
                <a:gd name="T30" fmla="*/ 20 w 240"/>
                <a:gd name="T31" fmla="*/ 3 h 216"/>
                <a:gd name="T32" fmla="*/ 9 w 240"/>
                <a:gd name="T33" fmla="*/ 15 h 216"/>
                <a:gd name="T34" fmla="*/ 12 w 240"/>
                <a:gd name="T35" fmla="*/ 23 h 216"/>
                <a:gd name="T36" fmla="*/ 17 w 240"/>
                <a:gd name="T37" fmla="*/ 32 h 216"/>
                <a:gd name="T38" fmla="*/ 3 w 240"/>
                <a:gd name="T39" fmla="*/ 41 h 216"/>
                <a:gd name="T40" fmla="*/ 0 w 240"/>
                <a:gd name="T41" fmla="*/ 47 h 216"/>
                <a:gd name="T42" fmla="*/ 6 w 240"/>
                <a:gd name="T43" fmla="*/ 72 h 216"/>
                <a:gd name="T44" fmla="*/ 23 w 240"/>
                <a:gd name="T45" fmla="*/ 78 h 216"/>
                <a:gd name="T46" fmla="*/ 31 w 240"/>
                <a:gd name="T47" fmla="*/ 89 h 216"/>
                <a:gd name="T48" fmla="*/ 40 w 240"/>
                <a:gd name="T49" fmla="*/ 98 h 216"/>
                <a:gd name="T50" fmla="*/ 67 w 240"/>
                <a:gd name="T51" fmla="*/ 117 h 216"/>
                <a:gd name="T52" fmla="*/ 74 w 240"/>
                <a:gd name="T53" fmla="*/ 133 h 216"/>
                <a:gd name="T54" fmla="*/ 82 w 240"/>
                <a:gd name="T55" fmla="*/ 154 h 216"/>
                <a:gd name="T56" fmla="*/ 83 w 240"/>
                <a:gd name="T57" fmla="*/ 169 h 216"/>
                <a:gd name="T58" fmla="*/ 89 w 240"/>
                <a:gd name="T59" fmla="*/ 180 h 216"/>
                <a:gd name="T60" fmla="*/ 106 w 240"/>
                <a:gd name="T61" fmla="*/ 186 h 216"/>
                <a:gd name="T62" fmla="*/ 120 w 240"/>
                <a:gd name="T63" fmla="*/ 191 h 216"/>
                <a:gd name="T64" fmla="*/ 157 w 240"/>
                <a:gd name="T65" fmla="*/ 186 h 216"/>
                <a:gd name="T66" fmla="*/ 188 w 240"/>
                <a:gd name="T67" fmla="*/ 191 h 216"/>
                <a:gd name="T68" fmla="*/ 191 w 240"/>
                <a:gd name="T69" fmla="*/ 194 h 216"/>
                <a:gd name="T70" fmla="*/ 196 w 240"/>
                <a:gd name="T71" fmla="*/ 210 h 216"/>
                <a:gd name="T72" fmla="*/ 208 w 240"/>
                <a:gd name="T73" fmla="*/ 216 h 216"/>
                <a:gd name="T74" fmla="*/ 215 w 240"/>
                <a:gd name="T75" fmla="*/ 212 h 216"/>
                <a:gd name="T76" fmla="*/ 221 w 240"/>
                <a:gd name="T77" fmla="*/ 204 h 216"/>
                <a:gd name="T78" fmla="*/ 233 w 240"/>
                <a:gd name="T79" fmla="*/ 169 h 216"/>
                <a:gd name="T80" fmla="*/ 237 w 240"/>
                <a:gd name="T81" fmla="*/ 151 h 216"/>
                <a:gd name="T82" fmla="*/ 223 w 240"/>
                <a:gd name="T83" fmla="*/ 139 h 216"/>
                <a:gd name="T84" fmla="*/ 215 w 240"/>
                <a:gd name="T85" fmla="*/ 130 h 216"/>
                <a:gd name="T86" fmla="*/ 218 w 240"/>
                <a:gd name="T87" fmla="*/ 121 h 216"/>
                <a:gd name="T88" fmla="*/ 233 w 240"/>
                <a:gd name="T89" fmla="*/ 111 h 216"/>
                <a:gd name="T90" fmla="*/ 239 w 240"/>
                <a:gd name="T91" fmla="*/ 100 h 216"/>
                <a:gd name="T92" fmla="*/ 236 w 240"/>
                <a:gd name="T93" fmla="*/ 98 h 216"/>
                <a:gd name="T94" fmla="*/ 218 w 240"/>
                <a:gd name="T95" fmla="*/ 111 h 216"/>
                <a:gd name="T96" fmla="*/ 209 w 240"/>
                <a:gd name="T97" fmla="*/ 109 h 216"/>
                <a:gd name="T98" fmla="*/ 203 w 240"/>
                <a:gd name="T99" fmla="*/ 96 h 216"/>
                <a:gd name="T100" fmla="*/ 187 w 240"/>
                <a:gd name="T101" fmla="*/ 84 h 216"/>
                <a:gd name="T102" fmla="*/ 175 w 240"/>
                <a:gd name="T103" fmla="*/ 78 h 216"/>
                <a:gd name="T104" fmla="*/ 165 w 240"/>
                <a:gd name="T105" fmla="*/ 8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0" h="216">
                  <a:moveTo>
                    <a:pt x="165" y="80"/>
                  </a:moveTo>
                  <a:lnTo>
                    <a:pt x="165" y="80"/>
                  </a:lnTo>
                  <a:lnTo>
                    <a:pt x="165" y="81"/>
                  </a:lnTo>
                  <a:lnTo>
                    <a:pt x="163" y="81"/>
                  </a:lnTo>
                  <a:lnTo>
                    <a:pt x="160" y="78"/>
                  </a:lnTo>
                  <a:lnTo>
                    <a:pt x="156" y="69"/>
                  </a:lnTo>
                  <a:lnTo>
                    <a:pt x="156" y="69"/>
                  </a:lnTo>
                  <a:lnTo>
                    <a:pt x="156" y="65"/>
                  </a:lnTo>
                  <a:lnTo>
                    <a:pt x="153" y="63"/>
                  </a:lnTo>
                  <a:lnTo>
                    <a:pt x="150" y="62"/>
                  </a:lnTo>
                  <a:lnTo>
                    <a:pt x="141" y="62"/>
                  </a:lnTo>
                  <a:lnTo>
                    <a:pt x="141" y="62"/>
                  </a:lnTo>
                  <a:lnTo>
                    <a:pt x="125" y="65"/>
                  </a:lnTo>
                  <a:lnTo>
                    <a:pt x="119" y="65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06" y="58"/>
                  </a:lnTo>
                  <a:lnTo>
                    <a:pt x="104" y="55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8" y="46"/>
                  </a:lnTo>
                  <a:lnTo>
                    <a:pt x="110" y="43"/>
                  </a:lnTo>
                  <a:lnTo>
                    <a:pt x="110" y="40"/>
                  </a:lnTo>
                  <a:lnTo>
                    <a:pt x="108" y="37"/>
                  </a:lnTo>
                  <a:lnTo>
                    <a:pt x="108" y="37"/>
                  </a:lnTo>
                  <a:lnTo>
                    <a:pt x="103" y="29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94" y="19"/>
                  </a:lnTo>
                  <a:lnTo>
                    <a:pt x="91" y="19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77" y="9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57" y="0"/>
                  </a:lnTo>
                  <a:lnTo>
                    <a:pt x="51" y="1"/>
                  </a:lnTo>
                  <a:lnTo>
                    <a:pt x="45" y="4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4" y="10"/>
                  </a:lnTo>
                  <a:lnTo>
                    <a:pt x="31" y="9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5" y="6"/>
                  </a:lnTo>
                  <a:lnTo>
                    <a:pt x="12" y="10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9"/>
                  </a:lnTo>
                  <a:lnTo>
                    <a:pt x="12" y="23"/>
                  </a:lnTo>
                  <a:lnTo>
                    <a:pt x="15" y="28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5"/>
                  </a:lnTo>
                  <a:lnTo>
                    <a:pt x="14" y="37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43"/>
                  </a:lnTo>
                  <a:lnTo>
                    <a:pt x="0" y="47"/>
                  </a:lnTo>
                  <a:lnTo>
                    <a:pt x="2" y="58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1" y="72"/>
                  </a:lnTo>
                  <a:lnTo>
                    <a:pt x="15" y="75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7" y="83"/>
                  </a:lnTo>
                  <a:lnTo>
                    <a:pt x="31" y="89"/>
                  </a:lnTo>
                  <a:lnTo>
                    <a:pt x="34" y="93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57" y="106"/>
                  </a:lnTo>
                  <a:lnTo>
                    <a:pt x="61" y="111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71" y="126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80" y="146"/>
                  </a:lnTo>
                  <a:lnTo>
                    <a:pt x="82" y="154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3" y="169"/>
                  </a:lnTo>
                  <a:lnTo>
                    <a:pt x="82" y="178"/>
                  </a:lnTo>
                  <a:lnTo>
                    <a:pt x="82" y="178"/>
                  </a:lnTo>
                  <a:lnTo>
                    <a:pt x="89" y="180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6" y="186"/>
                  </a:lnTo>
                  <a:lnTo>
                    <a:pt x="107" y="188"/>
                  </a:lnTo>
                  <a:lnTo>
                    <a:pt x="111" y="191"/>
                  </a:lnTo>
                  <a:lnTo>
                    <a:pt x="120" y="191"/>
                  </a:lnTo>
                  <a:lnTo>
                    <a:pt x="120" y="191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65" y="186"/>
                  </a:lnTo>
                  <a:lnTo>
                    <a:pt x="174" y="188"/>
                  </a:lnTo>
                  <a:lnTo>
                    <a:pt x="188" y="191"/>
                  </a:lnTo>
                  <a:lnTo>
                    <a:pt x="188" y="191"/>
                  </a:lnTo>
                  <a:lnTo>
                    <a:pt x="190" y="191"/>
                  </a:lnTo>
                  <a:lnTo>
                    <a:pt x="191" y="194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6" y="210"/>
                  </a:lnTo>
                  <a:lnTo>
                    <a:pt x="200" y="215"/>
                  </a:lnTo>
                  <a:lnTo>
                    <a:pt x="205" y="216"/>
                  </a:lnTo>
                  <a:lnTo>
                    <a:pt x="208" y="216"/>
                  </a:lnTo>
                  <a:lnTo>
                    <a:pt x="211" y="215"/>
                  </a:lnTo>
                  <a:lnTo>
                    <a:pt x="211" y="215"/>
                  </a:lnTo>
                  <a:lnTo>
                    <a:pt x="215" y="212"/>
                  </a:lnTo>
                  <a:lnTo>
                    <a:pt x="220" y="209"/>
                  </a:lnTo>
                  <a:lnTo>
                    <a:pt x="220" y="209"/>
                  </a:lnTo>
                  <a:lnTo>
                    <a:pt x="221" y="204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33" y="169"/>
                  </a:lnTo>
                  <a:lnTo>
                    <a:pt x="233" y="169"/>
                  </a:lnTo>
                  <a:lnTo>
                    <a:pt x="237" y="157"/>
                  </a:lnTo>
                  <a:lnTo>
                    <a:pt x="237" y="151"/>
                  </a:lnTo>
                  <a:lnTo>
                    <a:pt x="237" y="151"/>
                  </a:lnTo>
                  <a:lnTo>
                    <a:pt x="233" y="145"/>
                  </a:lnTo>
                  <a:lnTo>
                    <a:pt x="223" y="139"/>
                  </a:lnTo>
                  <a:lnTo>
                    <a:pt x="223" y="139"/>
                  </a:lnTo>
                  <a:lnTo>
                    <a:pt x="218" y="135"/>
                  </a:lnTo>
                  <a:lnTo>
                    <a:pt x="215" y="130"/>
                  </a:lnTo>
                  <a:lnTo>
                    <a:pt x="215" y="126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23" y="118"/>
                  </a:lnTo>
                  <a:lnTo>
                    <a:pt x="228" y="115"/>
                  </a:lnTo>
                  <a:lnTo>
                    <a:pt x="233" y="111"/>
                  </a:lnTo>
                  <a:lnTo>
                    <a:pt x="237" y="106"/>
                  </a:lnTo>
                  <a:lnTo>
                    <a:pt x="237" y="106"/>
                  </a:lnTo>
                  <a:lnTo>
                    <a:pt x="239" y="100"/>
                  </a:lnTo>
                  <a:lnTo>
                    <a:pt x="240" y="96"/>
                  </a:lnTo>
                  <a:lnTo>
                    <a:pt x="239" y="95"/>
                  </a:lnTo>
                  <a:lnTo>
                    <a:pt x="236" y="98"/>
                  </a:lnTo>
                  <a:lnTo>
                    <a:pt x="236" y="98"/>
                  </a:lnTo>
                  <a:lnTo>
                    <a:pt x="224" y="106"/>
                  </a:lnTo>
                  <a:lnTo>
                    <a:pt x="218" y="111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09" y="109"/>
                  </a:lnTo>
                  <a:lnTo>
                    <a:pt x="208" y="106"/>
                  </a:lnTo>
                  <a:lnTo>
                    <a:pt x="203" y="96"/>
                  </a:lnTo>
                  <a:lnTo>
                    <a:pt x="203" y="96"/>
                  </a:lnTo>
                  <a:lnTo>
                    <a:pt x="200" y="92"/>
                  </a:lnTo>
                  <a:lnTo>
                    <a:pt x="197" y="90"/>
                  </a:lnTo>
                  <a:lnTo>
                    <a:pt x="187" y="84"/>
                  </a:lnTo>
                  <a:lnTo>
                    <a:pt x="187" y="84"/>
                  </a:lnTo>
                  <a:lnTo>
                    <a:pt x="181" y="81"/>
                  </a:lnTo>
                  <a:lnTo>
                    <a:pt x="175" y="78"/>
                  </a:lnTo>
                  <a:lnTo>
                    <a:pt x="169" y="78"/>
                  </a:lnTo>
                  <a:lnTo>
                    <a:pt x="166" y="78"/>
                  </a:lnTo>
                  <a:lnTo>
                    <a:pt x="165" y="80"/>
                  </a:lnTo>
                  <a:lnTo>
                    <a:pt x="165" y="8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7" name="Freeform 36">
              <a:extLst>
                <a:ext uri="{FF2B5EF4-FFF2-40B4-BE49-F238E27FC236}">
                  <a16:creationId xmlns:a16="http://schemas.microsoft.com/office/drawing/2014/main" id="{8CAED565-E0BA-E14E-98D8-B1C0676857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3825" y="5221288"/>
              <a:ext cx="358775" cy="430212"/>
            </a:xfrm>
            <a:custGeom>
              <a:avLst/>
              <a:gdLst>
                <a:gd name="T0" fmla="*/ 64 w 226"/>
                <a:gd name="T1" fmla="*/ 164 h 271"/>
                <a:gd name="T2" fmla="*/ 83 w 226"/>
                <a:gd name="T3" fmla="*/ 167 h 271"/>
                <a:gd name="T4" fmla="*/ 95 w 226"/>
                <a:gd name="T5" fmla="*/ 175 h 271"/>
                <a:gd name="T6" fmla="*/ 102 w 226"/>
                <a:gd name="T7" fmla="*/ 198 h 271"/>
                <a:gd name="T8" fmla="*/ 115 w 226"/>
                <a:gd name="T9" fmla="*/ 206 h 271"/>
                <a:gd name="T10" fmla="*/ 129 w 226"/>
                <a:gd name="T11" fmla="*/ 210 h 271"/>
                <a:gd name="T12" fmla="*/ 154 w 226"/>
                <a:gd name="T13" fmla="*/ 213 h 271"/>
                <a:gd name="T14" fmla="*/ 158 w 226"/>
                <a:gd name="T15" fmla="*/ 217 h 271"/>
                <a:gd name="T16" fmla="*/ 169 w 226"/>
                <a:gd name="T17" fmla="*/ 237 h 271"/>
                <a:gd name="T18" fmla="*/ 178 w 226"/>
                <a:gd name="T19" fmla="*/ 259 h 271"/>
                <a:gd name="T20" fmla="*/ 188 w 226"/>
                <a:gd name="T21" fmla="*/ 266 h 271"/>
                <a:gd name="T22" fmla="*/ 204 w 226"/>
                <a:gd name="T23" fmla="*/ 271 h 271"/>
                <a:gd name="T24" fmla="*/ 221 w 226"/>
                <a:gd name="T25" fmla="*/ 260 h 271"/>
                <a:gd name="T26" fmla="*/ 226 w 226"/>
                <a:gd name="T27" fmla="*/ 250 h 271"/>
                <a:gd name="T28" fmla="*/ 224 w 226"/>
                <a:gd name="T29" fmla="*/ 243 h 271"/>
                <a:gd name="T30" fmla="*/ 198 w 226"/>
                <a:gd name="T31" fmla="*/ 216 h 271"/>
                <a:gd name="T32" fmla="*/ 185 w 226"/>
                <a:gd name="T33" fmla="*/ 209 h 271"/>
                <a:gd name="T34" fmla="*/ 164 w 226"/>
                <a:gd name="T35" fmla="*/ 182 h 271"/>
                <a:gd name="T36" fmla="*/ 158 w 226"/>
                <a:gd name="T37" fmla="*/ 160 h 271"/>
                <a:gd name="T38" fmla="*/ 160 w 226"/>
                <a:gd name="T39" fmla="*/ 155 h 271"/>
                <a:gd name="T40" fmla="*/ 173 w 226"/>
                <a:gd name="T41" fmla="*/ 154 h 271"/>
                <a:gd name="T42" fmla="*/ 179 w 226"/>
                <a:gd name="T43" fmla="*/ 143 h 271"/>
                <a:gd name="T44" fmla="*/ 186 w 226"/>
                <a:gd name="T45" fmla="*/ 105 h 271"/>
                <a:gd name="T46" fmla="*/ 188 w 226"/>
                <a:gd name="T47" fmla="*/ 84 h 271"/>
                <a:gd name="T48" fmla="*/ 178 w 226"/>
                <a:gd name="T49" fmla="*/ 63 h 271"/>
                <a:gd name="T50" fmla="*/ 181 w 226"/>
                <a:gd name="T51" fmla="*/ 50 h 271"/>
                <a:gd name="T52" fmla="*/ 163 w 226"/>
                <a:gd name="T53" fmla="*/ 37 h 271"/>
                <a:gd name="T54" fmla="*/ 160 w 226"/>
                <a:gd name="T55" fmla="*/ 37 h 271"/>
                <a:gd name="T56" fmla="*/ 152 w 226"/>
                <a:gd name="T57" fmla="*/ 38 h 271"/>
                <a:gd name="T58" fmla="*/ 89 w 226"/>
                <a:gd name="T59" fmla="*/ 6 h 271"/>
                <a:gd name="T60" fmla="*/ 67 w 226"/>
                <a:gd name="T61" fmla="*/ 1 h 271"/>
                <a:gd name="T62" fmla="*/ 61 w 226"/>
                <a:gd name="T63" fmla="*/ 6 h 271"/>
                <a:gd name="T64" fmla="*/ 64 w 226"/>
                <a:gd name="T65" fmla="*/ 19 h 271"/>
                <a:gd name="T66" fmla="*/ 71 w 226"/>
                <a:gd name="T67" fmla="*/ 53 h 271"/>
                <a:gd name="T68" fmla="*/ 71 w 226"/>
                <a:gd name="T69" fmla="*/ 71 h 271"/>
                <a:gd name="T70" fmla="*/ 61 w 226"/>
                <a:gd name="T71" fmla="*/ 90 h 271"/>
                <a:gd name="T72" fmla="*/ 58 w 226"/>
                <a:gd name="T73" fmla="*/ 90 h 271"/>
                <a:gd name="T74" fmla="*/ 32 w 226"/>
                <a:gd name="T75" fmla="*/ 92 h 271"/>
                <a:gd name="T76" fmla="*/ 19 w 226"/>
                <a:gd name="T77" fmla="*/ 96 h 271"/>
                <a:gd name="T78" fmla="*/ 10 w 226"/>
                <a:gd name="T79" fmla="*/ 95 h 271"/>
                <a:gd name="T80" fmla="*/ 3 w 226"/>
                <a:gd name="T81" fmla="*/ 93 h 271"/>
                <a:gd name="T82" fmla="*/ 0 w 226"/>
                <a:gd name="T83" fmla="*/ 111 h 271"/>
                <a:gd name="T84" fmla="*/ 1 w 226"/>
                <a:gd name="T85" fmla="*/ 138 h 271"/>
                <a:gd name="T86" fmla="*/ 7 w 226"/>
                <a:gd name="T87" fmla="*/ 148 h 271"/>
                <a:gd name="T88" fmla="*/ 32 w 226"/>
                <a:gd name="T89" fmla="*/ 163 h 271"/>
                <a:gd name="T90" fmla="*/ 49 w 226"/>
                <a:gd name="T91" fmla="*/ 163 h 271"/>
                <a:gd name="T92" fmla="*/ 68 w 226"/>
                <a:gd name="T93" fmla="*/ 98 h 271"/>
                <a:gd name="T94" fmla="*/ 68 w 226"/>
                <a:gd name="T95" fmla="*/ 99 h 271"/>
                <a:gd name="T96" fmla="*/ 68 w 226"/>
                <a:gd name="T97" fmla="*/ 98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6" h="271">
                  <a:moveTo>
                    <a:pt x="53" y="161"/>
                  </a:moveTo>
                  <a:lnTo>
                    <a:pt x="53" y="161"/>
                  </a:lnTo>
                  <a:lnTo>
                    <a:pt x="6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83" y="167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5" y="175"/>
                  </a:lnTo>
                  <a:lnTo>
                    <a:pt x="98" y="183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105" y="201"/>
                  </a:lnTo>
                  <a:lnTo>
                    <a:pt x="108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20" y="207"/>
                  </a:lnTo>
                  <a:lnTo>
                    <a:pt x="129" y="210"/>
                  </a:lnTo>
                  <a:lnTo>
                    <a:pt x="129" y="210"/>
                  </a:lnTo>
                  <a:lnTo>
                    <a:pt x="141" y="212"/>
                  </a:lnTo>
                  <a:lnTo>
                    <a:pt x="154" y="213"/>
                  </a:lnTo>
                  <a:lnTo>
                    <a:pt x="154" y="213"/>
                  </a:lnTo>
                  <a:lnTo>
                    <a:pt x="157" y="215"/>
                  </a:lnTo>
                  <a:lnTo>
                    <a:pt x="158" y="217"/>
                  </a:lnTo>
                  <a:lnTo>
                    <a:pt x="163" y="222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3" y="249"/>
                  </a:lnTo>
                  <a:lnTo>
                    <a:pt x="175" y="255"/>
                  </a:lnTo>
                  <a:lnTo>
                    <a:pt x="178" y="259"/>
                  </a:lnTo>
                  <a:lnTo>
                    <a:pt x="178" y="259"/>
                  </a:lnTo>
                  <a:lnTo>
                    <a:pt x="182" y="263"/>
                  </a:lnTo>
                  <a:lnTo>
                    <a:pt x="188" y="266"/>
                  </a:lnTo>
                  <a:lnTo>
                    <a:pt x="195" y="271"/>
                  </a:lnTo>
                  <a:lnTo>
                    <a:pt x="204" y="271"/>
                  </a:lnTo>
                  <a:lnTo>
                    <a:pt x="204" y="271"/>
                  </a:lnTo>
                  <a:lnTo>
                    <a:pt x="210" y="271"/>
                  </a:lnTo>
                  <a:lnTo>
                    <a:pt x="213" y="269"/>
                  </a:lnTo>
                  <a:lnTo>
                    <a:pt x="221" y="260"/>
                  </a:lnTo>
                  <a:lnTo>
                    <a:pt x="221" y="260"/>
                  </a:lnTo>
                  <a:lnTo>
                    <a:pt x="225" y="255"/>
                  </a:lnTo>
                  <a:lnTo>
                    <a:pt x="226" y="250"/>
                  </a:lnTo>
                  <a:lnTo>
                    <a:pt x="226" y="247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15" y="229"/>
                  </a:lnTo>
                  <a:lnTo>
                    <a:pt x="207" y="223"/>
                  </a:lnTo>
                  <a:lnTo>
                    <a:pt x="198" y="216"/>
                  </a:lnTo>
                  <a:lnTo>
                    <a:pt x="198" y="216"/>
                  </a:lnTo>
                  <a:lnTo>
                    <a:pt x="189" y="212"/>
                  </a:lnTo>
                  <a:lnTo>
                    <a:pt x="185" y="209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64" y="182"/>
                  </a:lnTo>
                  <a:lnTo>
                    <a:pt x="160" y="173"/>
                  </a:lnTo>
                  <a:lnTo>
                    <a:pt x="158" y="166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57"/>
                  </a:lnTo>
                  <a:lnTo>
                    <a:pt x="160" y="155"/>
                  </a:lnTo>
                  <a:lnTo>
                    <a:pt x="164" y="154"/>
                  </a:lnTo>
                  <a:lnTo>
                    <a:pt x="173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6" y="151"/>
                  </a:lnTo>
                  <a:lnTo>
                    <a:pt x="179" y="143"/>
                  </a:lnTo>
                  <a:lnTo>
                    <a:pt x="184" y="127"/>
                  </a:lnTo>
                  <a:lnTo>
                    <a:pt x="184" y="127"/>
                  </a:lnTo>
                  <a:lnTo>
                    <a:pt x="186" y="105"/>
                  </a:lnTo>
                  <a:lnTo>
                    <a:pt x="188" y="92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82" y="72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59"/>
                  </a:lnTo>
                  <a:lnTo>
                    <a:pt x="179" y="55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70" y="41"/>
                  </a:lnTo>
                  <a:lnTo>
                    <a:pt x="163" y="37"/>
                  </a:lnTo>
                  <a:lnTo>
                    <a:pt x="160" y="35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78" y="1"/>
                  </a:lnTo>
                  <a:lnTo>
                    <a:pt x="71" y="0"/>
                  </a:lnTo>
                  <a:lnTo>
                    <a:pt x="67" y="1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1" y="6"/>
                  </a:lnTo>
                  <a:lnTo>
                    <a:pt x="62" y="1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71" y="5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1" y="71"/>
                  </a:lnTo>
                  <a:lnTo>
                    <a:pt x="68" y="78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47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5" y="93"/>
                  </a:lnTo>
                  <a:lnTo>
                    <a:pt x="22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6" y="96"/>
                  </a:lnTo>
                  <a:lnTo>
                    <a:pt x="10" y="95"/>
                  </a:lnTo>
                  <a:lnTo>
                    <a:pt x="6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1" y="138"/>
                  </a:lnTo>
                  <a:lnTo>
                    <a:pt x="3" y="143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16" y="155"/>
                  </a:lnTo>
                  <a:lnTo>
                    <a:pt x="24" y="160"/>
                  </a:lnTo>
                  <a:lnTo>
                    <a:pt x="32" y="163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9" y="163"/>
                  </a:lnTo>
                  <a:lnTo>
                    <a:pt x="53" y="161"/>
                  </a:lnTo>
                  <a:close/>
                  <a:moveTo>
                    <a:pt x="68" y="98"/>
                  </a:moveTo>
                  <a:lnTo>
                    <a:pt x="68" y="98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8"/>
                  </a:lnTo>
                  <a:lnTo>
                    <a:pt x="68" y="9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8" name="Freeform 37">
              <a:extLst>
                <a:ext uri="{FF2B5EF4-FFF2-40B4-BE49-F238E27FC236}">
                  <a16:creationId xmlns:a16="http://schemas.microsoft.com/office/drawing/2014/main" id="{4625B0D7-26AA-3343-92EC-33C93B3DF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3825" y="5221288"/>
              <a:ext cx="358775" cy="430212"/>
            </a:xfrm>
            <a:custGeom>
              <a:avLst/>
              <a:gdLst>
                <a:gd name="T0" fmla="*/ 64 w 226"/>
                <a:gd name="T1" fmla="*/ 164 h 271"/>
                <a:gd name="T2" fmla="*/ 83 w 226"/>
                <a:gd name="T3" fmla="*/ 167 h 271"/>
                <a:gd name="T4" fmla="*/ 95 w 226"/>
                <a:gd name="T5" fmla="*/ 175 h 271"/>
                <a:gd name="T6" fmla="*/ 102 w 226"/>
                <a:gd name="T7" fmla="*/ 198 h 271"/>
                <a:gd name="T8" fmla="*/ 115 w 226"/>
                <a:gd name="T9" fmla="*/ 206 h 271"/>
                <a:gd name="T10" fmla="*/ 129 w 226"/>
                <a:gd name="T11" fmla="*/ 210 h 271"/>
                <a:gd name="T12" fmla="*/ 154 w 226"/>
                <a:gd name="T13" fmla="*/ 213 h 271"/>
                <a:gd name="T14" fmla="*/ 158 w 226"/>
                <a:gd name="T15" fmla="*/ 217 h 271"/>
                <a:gd name="T16" fmla="*/ 169 w 226"/>
                <a:gd name="T17" fmla="*/ 237 h 271"/>
                <a:gd name="T18" fmla="*/ 178 w 226"/>
                <a:gd name="T19" fmla="*/ 259 h 271"/>
                <a:gd name="T20" fmla="*/ 188 w 226"/>
                <a:gd name="T21" fmla="*/ 266 h 271"/>
                <a:gd name="T22" fmla="*/ 204 w 226"/>
                <a:gd name="T23" fmla="*/ 271 h 271"/>
                <a:gd name="T24" fmla="*/ 221 w 226"/>
                <a:gd name="T25" fmla="*/ 260 h 271"/>
                <a:gd name="T26" fmla="*/ 226 w 226"/>
                <a:gd name="T27" fmla="*/ 250 h 271"/>
                <a:gd name="T28" fmla="*/ 224 w 226"/>
                <a:gd name="T29" fmla="*/ 243 h 271"/>
                <a:gd name="T30" fmla="*/ 198 w 226"/>
                <a:gd name="T31" fmla="*/ 216 h 271"/>
                <a:gd name="T32" fmla="*/ 185 w 226"/>
                <a:gd name="T33" fmla="*/ 209 h 271"/>
                <a:gd name="T34" fmla="*/ 164 w 226"/>
                <a:gd name="T35" fmla="*/ 182 h 271"/>
                <a:gd name="T36" fmla="*/ 158 w 226"/>
                <a:gd name="T37" fmla="*/ 160 h 271"/>
                <a:gd name="T38" fmla="*/ 160 w 226"/>
                <a:gd name="T39" fmla="*/ 155 h 271"/>
                <a:gd name="T40" fmla="*/ 173 w 226"/>
                <a:gd name="T41" fmla="*/ 154 h 271"/>
                <a:gd name="T42" fmla="*/ 179 w 226"/>
                <a:gd name="T43" fmla="*/ 143 h 271"/>
                <a:gd name="T44" fmla="*/ 186 w 226"/>
                <a:gd name="T45" fmla="*/ 105 h 271"/>
                <a:gd name="T46" fmla="*/ 188 w 226"/>
                <a:gd name="T47" fmla="*/ 84 h 271"/>
                <a:gd name="T48" fmla="*/ 178 w 226"/>
                <a:gd name="T49" fmla="*/ 63 h 271"/>
                <a:gd name="T50" fmla="*/ 181 w 226"/>
                <a:gd name="T51" fmla="*/ 50 h 271"/>
                <a:gd name="T52" fmla="*/ 163 w 226"/>
                <a:gd name="T53" fmla="*/ 37 h 271"/>
                <a:gd name="T54" fmla="*/ 160 w 226"/>
                <a:gd name="T55" fmla="*/ 37 h 271"/>
                <a:gd name="T56" fmla="*/ 152 w 226"/>
                <a:gd name="T57" fmla="*/ 38 h 271"/>
                <a:gd name="T58" fmla="*/ 89 w 226"/>
                <a:gd name="T59" fmla="*/ 6 h 271"/>
                <a:gd name="T60" fmla="*/ 67 w 226"/>
                <a:gd name="T61" fmla="*/ 1 h 271"/>
                <a:gd name="T62" fmla="*/ 61 w 226"/>
                <a:gd name="T63" fmla="*/ 6 h 271"/>
                <a:gd name="T64" fmla="*/ 64 w 226"/>
                <a:gd name="T65" fmla="*/ 19 h 271"/>
                <a:gd name="T66" fmla="*/ 71 w 226"/>
                <a:gd name="T67" fmla="*/ 53 h 271"/>
                <a:gd name="T68" fmla="*/ 71 w 226"/>
                <a:gd name="T69" fmla="*/ 71 h 271"/>
                <a:gd name="T70" fmla="*/ 61 w 226"/>
                <a:gd name="T71" fmla="*/ 90 h 271"/>
                <a:gd name="T72" fmla="*/ 58 w 226"/>
                <a:gd name="T73" fmla="*/ 90 h 271"/>
                <a:gd name="T74" fmla="*/ 32 w 226"/>
                <a:gd name="T75" fmla="*/ 92 h 271"/>
                <a:gd name="T76" fmla="*/ 19 w 226"/>
                <a:gd name="T77" fmla="*/ 96 h 271"/>
                <a:gd name="T78" fmla="*/ 10 w 226"/>
                <a:gd name="T79" fmla="*/ 95 h 271"/>
                <a:gd name="T80" fmla="*/ 3 w 226"/>
                <a:gd name="T81" fmla="*/ 93 h 271"/>
                <a:gd name="T82" fmla="*/ 0 w 226"/>
                <a:gd name="T83" fmla="*/ 111 h 271"/>
                <a:gd name="T84" fmla="*/ 1 w 226"/>
                <a:gd name="T85" fmla="*/ 138 h 271"/>
                <a:gd name="T86" fmla="*/ 7 w 226"/>
                <a:gd name="T87" fmla="*/ 148 h 271"/>
                <a:gd name="T88" fmla="*/ 32 w 226"/>
                <a:gd name="T89" fmla="*/ 163 h 271"/>
                <a:gd name="T90" fmla="*/ 49 w 226"/>
                <a:gd name="T91" fmla="*/ 16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6" h="271">
                  <a:moveTo>
                    <a:pt x="53" y="161"/>
                  </a:moveTo>
                  <a:lnTo>
                    <a:pt x="53" y="161"/>
                  </a:lnTo>
                  <a:lnTo>
                    <a:pt x="6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83" y="167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5" y="175"/>
                  </a:lnTo>
                  <a:lnTo>
                    <a:pt x="98" y="183"/>
                  </a:lnTo>
                  <a:lnTo>
                    <a:pt x="102" y="198"/>
                  </a:lnTo>
                  <a:lnTo>
                    <a:pt x="102" y="198"/>
                  </a:lnTo>
                  <a:lnTo>
                    <a:pt x="105" y="201"/>
                  </a:lnTo>
                  <a:lnTo>
                    <a:pt x="108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20" y="207"/>
                  </a:lnTo>
                  <a:lnTo>
                    <a:pt x="129" y="210"/>
                  </a:lnTo>
                  <a:lnTo>
                    <a:pt x="129" y="210"/>
                  </a:lnTo>
                  <a:lnTo>
                    <a:pt x="141" y="212"/>
                  </a:lnTo>
                  <a:lnTo>
                    <a:pt x="154" y="213"/>
                  </a:lnTo>
                  <a:lnTo>
                    <a:pt x="154" y="213"/>
                  </a:lnTo>
                  <a:lnTo>
                    <a:pt x="157" y="215"/>
                  </a:lnTo>
                  <a:lnTo>
                    <a:pt x="158" y="217"/>
                  </a:lnTo>
                  <a:lnTo>
                    <a:pt x="163" y="222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3" y="249"/>
                  </a:lnTo>
                  <a:lnTo>
                    <a:pt x="175" y="255"/>
                  </a:lnTo>
                  <a:lnTo>
                    <a:pt x="178" y="259"/>
                  </a:lnTo>
                  <a:lnTo>
                    <a:pt x="178" y="259"/>
                  </a:lnTo>
                  <a:lnTo>
                    <a:pt x="182" y="263"/>
                  </a:lnTo>
                  <a:lnTo>
                    <a:pt x="188" y="266"/>
                  </a:lnTo>
                  <a:lnTo>
                    <a:pt x="195" y="271"/>
                  </a:lnTo>
                  <a:lnTo>
                    <a:pt x="204" y="271"/>
                  </a:lnTo>
                  <a:lnTo>
                    <a:pt x="204" y="271"/>
                  </a:lnTo>
                  <a:lnTo>
                    <a:pt x="210" y="271"/>
                  </a:lnTo>
                  <a:lnTo>
                    <a:pt x="213" y="269"/>
                  </a:lnTo>
                  <a:lnTo>
                    <a:pt x="221" y="260"/>
                  </a:lnTo>
                  <a:lnTo>
                    <a:pt x="221" y="260"/>
                  </a:lnTo>
                  <a:lnTo>
                    <a:pt x="225" y="255"/>
                  </a:lnTo>
                  <a:lnTo>
                    <a:pt x="226" y="250"/>
                  </a:lnTo>
                  <a:lnTo>
                    <a:pt x="226" y="247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15" y="229"/>
                  </a:lnTo>
                  <a:lnTo>
                    <a:pt x="207" y="223"/>
                  </a:lnTo>
                  <a:lnTo>
                    <a:pt x="198" y="216"/>
                  </a:lnTo>
                  <a:lnTo>
                    <a:pt x="198" y="216"/>
                  </a:lnTo>
                  <a:lnTo>
                    <a:pt x="189" y="212"/>
                  </a:lnTo>
                  <a:lnTo>
                    <a:pt x="185" y="209"/>
                  </a:lnTo>
                  <a:lnTo>
                    <a:pt x="173" y="194"/>
                  </a:lnTo>
                  <a:lnTo>
                    <a:pt x="173" y="194"/>
                  </a:lnTo>
                  <a:lnTo>
                    <a:pt x="164" y="182"/>
                  </a:lnTo>
                  <a:lnTo>
                    <a:pt x="160" y="173"/>
                  </a:lnTo>
                  <a:lnTo>
                    <a:pt x="158" y="166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57"/>
                  </a:lnTo>
                  <a:lnTo>
                    <a:pt x="160" y="155"/>
                  </a:lnTo>
                  <a:lnTo>
                    <a:pt x="164" y="154"/>
                  </a:lnTo>
                  <a:lnTo>
                    <a:pt x="173" y="154"/>
                  </a:lnTo>
                  <a:lnTo>
                    <a:pt x="173" y="154"/>
                  </a:lnTo>
                  <a:lnTo>
                    <a:pt x="175" y="154"/>
                  </a:lnTo>
                  <a:lnTo>
                    <a:pt x="176" y="151"/>
                  </a:lnTo>
                  <a:lnTo>
                    <a:pt x="179" y="143"/>
                  </a:lnTo>
                  <a:lnTo>
                    <a:pt x="184" y="127"/>
                  </a:lnTo>
                  <a:lnTo>
                    <a:pt x="184" y="127"/>
                  </a:lnTo>
                  <a:lnTo>
                    <a:pt x="186" y="105"/>
                  </a:lnTo>
                  <a:lnTo>
                    <a:pt x="188" y="92"/>
                  </a:lnTo>
                  <a:lnTo>
                    <a:pt x="188" y="84"/>
                  </a:lnTo>
                  <a:lnTo>
                    <a:pt x="188" y="84"/>
                  </a:lnTo>
                  <a:lnTo>
                    <a:pt x="182" y="72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59"/>
                  </a:lnTo>
                  <a:lnTo>
                    <a:pt x="179" y="55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70" y="41"/>
                  </a:lnTo>
                  <a:lnTo>
                    <a:pt x="163" y="37"/>
                  </a:lnTo>
                  <a:lnTo>
                    <a:pt x="160" y="35"/>
                  </a:lnTo>
                  <a:lnTo>
                    <a:pt x="160" y="37"/>
                  </a:lnTo>
                  <a:lnTo>
                    <a:pt x="160" y="37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78" y="1"/>
                  </a:lnTo>
                  <a:lnTo>
                    <a:pt x="71" y="0"/>
                  </a:lnTo>
                  <a:lnTo>
                    <a:pt x="67" y="1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1" y="6"/>
                  </a:lnTo>
                  <a:lnTo>
                    <a:pt x="62" y="1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71" y="5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1" y="71"/>
                  </a:lnTo>
                  <a:lnTo>
                    <a:pt x="68" y="78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47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5" y="93"/>
                  </a:lnTo>
                  <a:lnTo>
                    <a:pt x="22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6" y="96"/>
                  </a:lnTo>
                  <a:lnTo>
                    <a:pt x="10" y="95"/>
                  </a:lnTo>
                  <a:lnTo>
                    <a:pt x="6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0" y="100"/>
                  </a:lnTo>
                  <a:lnTo>
                    <a:pt x="0" y="111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1" y="138"/>
                  </a:lnTo>
                  <a:lnTo>
                    <a:pt x="3" y="143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16" y="155"/>
                  </a:lnTo>
                  <a:lnTo>
                    <a:pt x="24" y="160"/>
                  </a:lnTo>
                  <a:lnTo>
                    <a:pt x="32" y="163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9" y="163"/>
                  </a:lnTo>
                  <a:lnTo>
                    <a:pt x="53" y="161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59" name="Freeform 38">
              <a:extLst>
                <a:ext uri="{FF2B5EF4-FFF2-40B4-BE49-F238E27FC236}">
                  <a16:creationId xmlns:a16="http://schemas.microsoft.com/office/drawing/2014/main" id="{8FF0AFB5-38F0-034C-A2AB-D2B4BBA5A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1775" y="5376863"/>
              <a:ext cx="0" cy="1587"/>
            </a:xfrm>
            <a:custGeom>
              <a:avLst/>
              <a:gdLst>
                <a:gd name="T0" fmla="*/ 0 h 1"/>
                <a:gd name="T1" fmla="*/ 0 h 1"/>
                <a:gd name="T2" fmla="*/ 1 h 1"/>
                <a:gd name="T3" fmla="*/ 1 h 1"/>
                <a:gd name="T4" fmla="*/ 1 h 1"/>
                <a:gd name="T5" fmla="*/ 1 h 1"/>
                <a:gd name="T6" fmla="*/ 0 h 1"/>
                <a:gd name="T7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0" name="Freeform 39">
              <a:extLst>
                <a:ext uri="{FF2B5EF4-FFF2-40B4-BE49-F238E27FC236}">
                  <a16:creationId xmlns:a16="http://schemas.microsoft.com/office/drawing/2014/main" id="{962D8868-F4E7-1940-AF4A-6AB578548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288" y="4214813"/>
              <a:ext cx="1976438" cy="1120775"/>
            </a:xfrm>
            <a:custGeom>
              <a:avLst/>
              <a:gdLst>
                <a:gd name="T0" fmla="*/ 290 w 1245"/>
                <a:gd name="T1" fmla="*/ 580 h 706"/>
                <a:gd name="T2" fmla="*/ 333 w 1245"/>
                <a:gd name="T3" fmla="*/ 603 h 706"/>
                <a:gd name="T4" fmla="*/ 374 w 1245"/>
                <a:gd name="T5" fmla="*/ 626 h 706"/>
                <a:gd name="T6" fmla="*/ 401 w 1245"/>
                <a:gd name="T7" fmla="*/ 634 h 706"/>
                <a:gd name="T8" fmla="*/ 422 w 1245"/>
                <a:gd name="T9" fmla="*/ 637 h 706"/>
                <a:gd name="T10" fmla="*/ 462 w 1245"/>
                <a:gd name="T11" fmla="*/ 631 h 706"/>
                <a:gd name="T12" fmla="*/ 503 w 1245"/>
                <a:gd name="T13" fmla="*/ 665 h 706"/>
                <a:gd name="T14" fmla="*/ 591 w 1245"/>
                <a:gd name="T15" fmla="*/ 706 h 706"/>
                <a:gd name="T16" fmla="*/ 631 w 1245"/>
                <a:gd name="T17" fmla="*/ 665 h 706"/>
                <a:gd name="T18" fmla="*/ 659 w 1245"/>
                <a:gd name="T19" fmla="*/ 631 h 706"/>
                <a:gd name="T20" fmla="*/ 668 w 1245"/>
                <a:gd name="T21" fmla="*/ 573 h 706"/>
                <a:gd name="T22" fmla="*/ 728 w 1245"/>
                <a:gd name="T23" fmla="*/ 524 h 706"/>
                <a:gd name="T24" fmla="*/ 779 w 1245"/>
                <a:gd name="T25" fmla="*/ 455 h 706"/>
                <a:gd name="T26" fmla="*/ 819 w 1245"/>
                <a:gd name="T27" fmla="*/ 429 h 706"/>
                <a:gd name="T28" fmla="*/ 850 w 1245"/>
                <a:gd name="T29" fmla="*/ 459 h 706"/>
                <a:gd name="T30" fmla="*/ 900 w 1245"/>
                <a:gd name="T31" fmla="*/ 423 h 706"/>
                <a:gd name="T32" fmla="*/ 999 w 1245"/>
                <a:gd name="T33" fmla="*/ 413 h 706"/>
                <a:gd name="T34" fmla="*/ 1041 w 1245"/>
                <a:gd name="T35" fmla="*/ 392 h 706"/>
                <a:gd name="T36" fmla="*/ 1100 w 1245"/>
                <a:gd name="T37" fmla="*/ 382 h 706"/>
                <a:gd name="T38" fmla="*/ 1183 w 1245"/>
                <a:gd name="T39" fmla="*/ 361 h 706"/>
                <a:gd name="T40" fmla="*/ 1198 w 1245"/>
                <a:gd name="T41" fmla="*/ 330 h 706"/>
                <a:gd name="T42" fmla="*/ 1220 w 1245"/>
                <a:gd name="T43" fmla="*/ 327 h 706"/>
                <a:gd name="T44" fmla="*/ 1232 w 1245"/>
                <a:gd name="T45" fmla="*/ 284 h 706"/>
                <a:gd name="T46" fmla="*/ 1217 w 1245"/>
                <a:gd name="T47" fmla="*/ 268 h 706"/>
                <a:gd name="T48" fmla="*/ 1223 w 1245"/>
                <a:gd name="T49" fmla="*/ 228 h 706"/>
                <a:gd name="T50" fmla="*/ 1156 w 1245"/>
                <a:gd name="T51" fmla="*/ 243 h 706"/>
                <a:gd name="T52" fmla="*/ 1118 w 1245"/>
                <a:gd name="T53" fmla="*/ 256 h 706"/>
                <a:gd name="T54" fmla="*/ 1076 w 1245"/>
                <a:gd name="T55" fmla="*/ 281 h 706"/>
                <a:gd name="T56" fmla="*/ 922 w 1245"/>
                <a:gd name="T57" fmla="*/ 213 h 706"/>
                <a:gd name="T58" fmla="*/ 708 w 1245"/>
                <a:gd name="T59" fmla="*/ 24 h 706"/>
                <a:gd name="T60" fmla="*/ 659 w 1245"/>
                <a:gd name="T61" fmla="*/ 24 h 706"/>
                <a:gd name="T62" fmla="*/ 543 w 1245"/>
                <a:gd name="T63" fmla="*/ 0 h 706"/>
                <a:gd name="T64" fmla="*/ 463 w 1245"/>
                <a:gd name="T65" fmla="*/ 75 h 706"/>
                <a:gd name="T66" fmla="*/ 472 w 1245"/>
                <a:gd name="T67" fmla="*/ 105 h 706"/>
                <a:gd name="T68" fmla="*/ 453 w 1245"/>
                <a:gd name="T69" fmla="*/ 167 h 706"/>
                <a:gd name="T70" fmla="*/ 414 w 1245"/>
                <a:gd name="T71" fmla="*/ 148 h 706"/>
                <a:gd name="T72" fmla="*/ 386 w 1245"/>
                <a:gd name="T73" fmla="*/ 136 h 706"/>
                <a:gd name="T74" fmla="*/ 360 w 1245"/>
                <a:gd name="T75" fmla="*/ 129 h 706"/>
                <a:gd name="T76" fmla="*/ 349 w 1245"/>
                <a:gd name="T77" fmla="*/ 107 h 706"/>
                <a:gd name="T78" fmla="*/ 283 w 1245"/>
                <a:gd name="T79" fmla="*/ 38 h 706"/>
                <a:gd name="T80" fmla="*/ 260 w 1245"/>
                <a:gd name="T81" fmla="*/ 67 h 706"/>
                <a:gd name="T82" fmla="*/ 256 w 1245"/>
                <a:gd name="T83" fmla="*/ 136 h 706"/>
                <a:gd name="T84" fmla="*/ 238 w 1245"/>
                <a:gd name="T85" fmla="*/ 178 h 706"/>
                <a:gd name="T86" fmla="*/ 192 w 1245"/>
                <a:gd name="T87" fmla="*/ 200 h 706"/>
                <a:gd name="T88" fmla="*/ 166 w 1245"/>
                <a:gd name="T89" fmla="*/ 259 h 706"/>
                <a:gd name="T90" fmla="*/ 197 w 1245"/>
                <a:gd name="T91" fmla="*/ 264 h 706"/>
                <a:gd name="T92" fmla="*/ 243 w 1245"/>
                <a:gd name="T93" fmla="*/ 250 h 706"/>
                <a:gd name="T94" fmla="*/ 185 w 1245"/>
                <a:gd name="T95" fmla="*/ 348 h 706"/>
                <a:gd name="T96" fmla="*/ 163 w 1245"/>
                <a:gd name="T97" fmla="*/ 389 h 706"/>
                <a:gd name="T98" fmla="*/ 120 w 1245"/>
                <a:gd name="T99" fmla="*/ 388 h 706"/>
                <a:gd name="T100" fmla="*/ 83 w 1245"/>
                <a:gd name="T101" fmla="*/ 400 h 706"/>
                <a:gd name="T102" fmla="*/ 40 w 1245"/>
                <a:gd name="T103" fmla="*/ 449 h 706"/>
                <a:gd name="T104" fmla="*/ 3 w 1245"/>
                <a:gd name="T105" fmla="*/ 492 h 706"/>
                <a:gd name="T106" fmla="*/ 10 w 1245"/>
                <a:gd name="T107" fmla="*/ 520 h 706"/>
                <a:gd name="T108" fmla="*/ 10 w 1245"/>
                <a:gd name="T109" fmla="*/ 561 h 706"/>
                <a:gd name="T110" fmla="*/ 43 w 1245"/>
                <a:gd name="T111" fmla="*/ 554 h 706"/>
                <a:gd name="T112" fmla="*/ 99 w 1245"/>
                <a:gd name="T113" fmla="*/ 561 h 706"/>
                <a:gd name="T114" fmla="*/ 145 w 1245"/>
                <a:gd name="T115" fmla="*/ 586 h 706"/>
                <a:gd name="T116" fmla="*/ 200 w 1245"/>
                <a:gd name="T117" fmla="*/ 586 h 706"/>
                <a:gd name="T118" fmla="*/ 212 w 1245"/>
                <a:gd name="T119" fmla="*/ 558 h 706"/>
                <a:gd name="T120" fmla="*/ 250 w 1245"/>
                <a:gd name="T121" fmla="*/ 540 h 706"/>
                <a:gd name="T122" fmla="*/ 271 w 1245"/>
                <a:gd name="T123" fmla="*/ 548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5" h="706">
                  <a:moveTo>
                    <a:pt x="281" y="546"/>
                  </a:moveTo>
                  <a:lnTo>
                    <a:pt x="281" y="546"/>
                  </a:lnTo>
                  <a:lnTo>
                    <a:pt x="286" y="549"/>
                  </a:lnTo>
                  <a:lnTo>
                    <a:pt x="293" y="555"/>
                  </a:lnTo>
                  <a:lnTo>
                    <a:pt x="300" y="561"/>
                  </a:lnTo>
                  <a:lnTo>
                    <a:pt x="302" y="564"/>
                  </a:lnTo>
                  <a:lnTo>
                    <a:pt x="302" y="564"/>
                  </a:lnTo>
                  <a:lnTo>
                    <a:pt x="295" y="572"/>
                  </a:lnTo>
                  <a:lnTo>
                    <a:pt x="290" y="576"/>
                  </a:lnTo>
                  <a:lnTo>
                    <a:pt x="290" y="577"/>
                  </a:lnTo>
                  <a:lnTo>
                    <a:pt x="290" y="580"/>
                  </a:lnTo>
                  <a:lnTo>
                    <a:pt x="290" y="580"/>
                  </a:lnTo>
                  <a:lnTo>
                    <a:pt x="297" y="588"/>
                  </a:lnTo>
                  <a:lnTo>
                    <a:pt x="302" y="591"/>
                  </a:lnTo>
                  <a:lnTo>
                    <a:pt x="303" y="591"/>
                  </a:lnTo>
                  <a:lnTo>
                    <a:pt x="306" y="591"/>
                  </a:lnTo>
                  <a:lnTo>
                    <a:pt x="306" y="591"/>
                  </a:lnTo>
                  <a:lnTo>
                    <a:pt x="312" y="585"/>
                  </a:lnTo>
                  <a:lnTo>
                    <a:pt x="314" y="585"/>
                  </a:lnTo>
                  <a:lnTo>
                    <a:pt x="317" y="586"/>
                  </a:lnTo>
                  <a:lnTo>
                    <a:pt x="317" y="586"/>
                  </a:lnTo>
                  <a:lnTo>
                    <a:pt x="333" y="603"/>
                  </a:lnTo>
                  <a:lnTo>
                    <a:pt x="349" y="622"/>
                  </a:lnTo>
                  <a:lnTo>
                    <a:pt x="349" y="622"/>
                  </a:lnTo>
                  <a:lnTo>
                    <a:pt x="354" y="626"/>
                  </a:lnTo>
                  <a:lnTo>
                    <a:pt x="354" y="626"/>
                  </a:lnTo>
                  <a:lnTo>
                    <a:pt x="358" y="623"/>
                  </a:lnTo>
                  <a:lnTo>
                    <a:pt x="363" y="622"/>
                  </a:lnTo>
                  <a:lnTo>
                    <a:pt x="367" y="622"/>
                  </a:lnTo>
                  <a:lnTo>
                    <a:pt x="367" y="622"/>
                  </a:lnTo>
                  <a:lnTo>
                    <a:pt x="370" y="623"/>
                  </a:lnTo>
                  <a:lnTo>
                    <a:pt x="372" y="625"/>
                  </a:lnTo>
                  <a:lnTo>
                    <a:pt x="374" y="626"/>
                  </a:lnTo>
                  <a:lnTo>
                    <a:pt x="376" y="626"/>
                  </a:lnTo>
                  <a:lnTo>
                    <a:pt x="376" y="626"/>
                  </a:lnTo>
                  <a:lnTo>
                    <a:pt x="382" y="622"/>
                  </a:lnTo>
                  <a:lnTo>
                    <a:pt x="383" y="622"/>
                  </a:lnTo>
                  <a:lnTo>
                    <a:pt x="388" y="622"/>
                  </a:lnTo>
                  <a:lnTo>
                    <a:pt x="388" y="622"/>
                  </a:lnTo>
                  <a:lnTo>
                    <a:pt x="391" y="626"/>
                  </a:lnTo>
                  <a:lnTo>
                    <a:pt x="395" y="631"/>
                  </a:lnTo>
                  <a:lnTo>
                    <a:pt x="398" y="634"/>
                  </a:lnTo>
                  <a:lnTo>
                    <a:pt x="400" y="635"/>
                  </a:lnTo>
                  <a:lnTo>
                    <a:pt x="401" y="634"/>
                  </a:lnTo>
                  <a:lnTo>
                    <a:pt x="401" y="634"/>
                  </a:lnTo>
                  <a:lnTo>
                    <a:pt x="404" y="632"/>
                  </a:lnTo>
                  <a:lnTo>
                    <a:pt x="406" y="629"/>
                  </a:lnTo>
                  <a:lnTo>
                    <a:pt x="409" y="626"/>
                  </a:lnTo>
                  <a:lnTo>
                    <a:pt x="411" y="626"/>
                  </a:lnTo>
                  <a:lnTo>
                    <a:pt x="411" y="626"/>
                  </a:lnTo>
                  <a:lnTo>
                    <a:pt x="413" y="629"/>
                  </a:lnTo>
                  <a:lnTo>
                    <a:pt x="414" y="632"/>
                  </a:lnTo>
                  <a:lnTo>
                    <a:pt x="417" y="635"/>
                  </a:lnTo>
                  <a:lnTo>
                    <a:pt x="422" y="637"/>
                  </a:lnTo>
                  <a:lnTo>
                    <a:pt x="422" y="637"/>
                  </a:lnTo>
                  <a:lnTo>
                    <a:pt x="432" y="638"/>
                  </a:lnTo>
                  <a:lnTo>
                    <a:pt x="435" y="638"/>
                  </a:lnTo>
                  <a:lnTo>
                    <a:pt x="438" y="635"/>
                  </a:lnTo>
                  <a:lnTo>
                    <a:pt x="438" y="635"/>
                  </a:lnTo>
                  <a:lnTo>
                    <a:pt x="441" y="632"/>
                  </a:lnTo>
                  <a:lnTo>
                    <a:pt x="446" y="629"/>
                  </a:lnTo>
                  <a:lnTo>
                    <a:pt x="451" y="626"/>
                  </a:lnTo>
                  <a:lnTo>
                    <a:pt x="456" y="626"/>
                  </a:lnTo>
                  <a:lnTo>
                    <a:pt x="456" y="626"/>
                  </a:lnTo>
                  <a:lnTo>
                    <a:pt x="460" y="628"/>
                  </a:lnTo>
                  <a:lnTo>
                    <a:pt x="462" y="631"/>
                  </a:lnTo>
                  <a:lnTo>
                    <a:pt x="463" y="634"/>
                  </a:lnTo>
                  <a:lnTo>
                    <a:pt x="466" y="638"/>
                  </a:lnTo>
                  <a:lnTo>
                    <a:pt x="466" y="638"/>
                  </a:lnTo>
                  <a:lnTo>
                    <a:pt x="471" y="643"/>
                  </a:lnTo>
                  <a:lnTo>
                    <a:pt x="474" y="646"/>
                  </a:lnTo>
                  <a:lnTo>
                    <a:pt x="478" y="647"/>
                  </a:lnTo>
                  <a:lnTo>
                    <a:pt x="478" y="647"/>
                  </a:lnTo>
                  <a:lnTo>
                    <a:pt x="493" y="649"/>
                  </a:lnTo>
                  <a:lnTo>
                    <a:pt x="502" y="650"/>
                  </a:lnTo>
                  <a:lnTo>
                    <a:pt x="503" y="665"/>
                  </a:lnTo>
                  <a:lnTo>
                    <a:pt x="503" y="665"/>
                  </a:lnTo>
                  <a:lnTo>
                    <a:pt x="524" y="680"/>
                  </a:lnTo>
                  <a:lnTo>
                    <a:pt x="540" y="692"/>
                  </a:lnTo>
                  <a:lnTo>
                    <a:pt x="554" y="699"/>
                  </a:lnTo>
                  <a:lnTo>
                    <a:pt x="554" y="699"/>
                  </a:lnTo>
                  <a:lnTo>
                    <a:pt x="564" y="700"/>
                  </a:lnTo>
                  <a:lnTo>
                    <a:pt x="573" y="700"/>
                  </a:lnTo>
                  <a:lnTo>
                    <a:pt x="583" y="700"/>
                  </a:lnTo>
                  <a:lnTo>
                    <a:pt x="583" y="700"/>
                  </a:lnTo>
                  <a:lnTo>
                    <a:pt x="588" y="702"/>
                  </a:lnTo>
                  <a:lnTo>
                    <a:pt x="589" y="703"/>
                  </a:lnTo>
                  <a:lnTo>
                    <a:pt x="591" y="706"/>
                  </a:lnTo>
                  <a:lnTo>
                    <a:pt x="591" y="706"/>
                  </a:lnTo>
                  <a:lnTo>
                    <a:pt x="594" y="700"/>
                  </a:lnTo>
                  <a:lnTo>
                    <a:pt x="603" y="687"/>
                  </a:lnTo>
                  <a:lnTo>
                    <a:pt x="603" y="687"/>
                  </a:lnTo>
                  <a:lnTo>
                    <a:pt x="605" y="684"/>
                  </a:lnTo>
                  <a:lnTo>
                    <a:pt x="610" y="684"/>
                  </a:lnTo>
                  <a:lnTo>
                    <a:pt x="610" y="684"/>
                  </a:lnTo>
                  <a:lnTo>
                    <a:pt x="623" y="674"/>
                  </a:lnTo>
                  <a:lnTo>
                    <a:pt x="623" y="674"/>
                  </a:lnTo>
                  <a:lnTo>
                    <a:pt x="628" y="669"/>
                  </a:lnTo>
                  <a:lnTo>
                    <a:pt x="631" y="665"/>
                  </a:lnTo>
                  <a:lnTo>
                    <a:pt x="634" y="660"/>
                  </a:lnTo>
                  <a:lnTo>
                    <a:pt x="638" y="656"/>
                  </a:lnTo>
                  <a:lnTo>
                    <a:pt x="638" y="656"/>
                  </a:lnTo>
                  <a:lnTo>
                    <a:pt x="645" y="647"/>
                  </a:lnTo>
                  <a:lnTo>
                    <a:pt x="648" y="644"/>
                  </a:lnTo>
                  <a:lnTo>
                    <a:pt x="651" y="643"/>
                  </a:lnTo>
                  <a:lnTo>
                    <a:pt x="651" y="643"/>
                  </a:lnTo>
                  <a:lnTo>
                    <a:pt x="656" y="640"/>
                  </a:lnTo>
                  <a:lnTo>
                    <a:pt x="657" y="637"/>
                  </a:lnTo>
                  <a:lnTo>
                    <a:pt x="659" y="634"/>
                  </a:lnTo>
                  <a:lnTo>
                    <a:pt x="659" y="631"/>
                  </a:lnTo>
                  <a:lnTo>
                    <a:pt x="659" y="631"/>
                  </a:lnTo>
                  <a:lnTo>
                    <a:pt x="659" y="626"/>
                  </a:lnTo>
                  <a:lnTo>
                    <a:pt x="659" y="620"/>
                  </a:lnTo>
                  <a:lnTo>
                    <a:pt x="660" y="613"/>
                  </a:lnTo>
                  <a:lnTo>
                    <a:pt x="663" y="604"/>
                  </a:lnTo>
                  <a:lnTo>
                    <a:pt x="663" y="604"/>
                  </a:lnTo>
                  <a:lnTo>
                    <a:pt x="666" y="594"/>
                  </a:lnTo>
                  <a:lnTo>
                    <a:pt x="668" y="588"/>
                  </a:lnTo>
                  <a:lnTo>
                    <a:pt x="666" y="576"/>
                  </a:lnTo>
                  <a:lnTo>
                    <a:pt x="666" y="576"/>
                  </a:lnTo>
                  <a:lnTo>
                    <a:pt x="668" y="573"/>
                  </a:lnTo>
                  <a:lnTo>
                    <a:pt x="669" y="570"/>
                  </a:lnTo>
                  <a:lnTo>
                    <a:pt x="675" y="569"/>
                  </a:lnTo>
                  <a:lnTo>
                    <a:pt x="682" y="569"/>
                  </a:lnTo>
                  <a:lnTo>
                    <a:pt x="688" y="567"/>
                  </a:lnTo>
                  <a:lnTo>
                    <a:pt x="688" y="567"/>
                  </a:lnTo>
                  <a:lnTo>
                    <a:pt x="693" y="566"/>
                  </a:lnTo>
                  <a:lnTo>
                    <a:pt x="697" y="561"/>
                  </a:lnTo>
                  <a:lnTo>
                    <a:pt x="706" y="548"/>
                  </a:lnTo>
                  <a:lnTo>
                    <a:pt x="706" y="548"/>
                  </a:lnTo>
                  <a:lnTo>
                    <a:pt x="715" y="538"/>
                  </a:lnTo>
                  <a:lnTo>
                    <a:pt x="728" y="524"/>
                  </a:lnTo>
                  <a:lnTo>
                    <a:pt x="743" y="514"/>
                  </a:lnTo>
                  <a:lnTo>
                    <a:pt x="754" y="506"/>
                  </a:lnTo>
                  <a:lnTo>
                    <a:pt x="754" y="506"/>
                  </a:lnTo>
                  <a:lnTo>
                    <a:pt x="759" y="502"/>
                  </a:lnTo>
                  <a:lnTo>
                    <a:pt x="762" y="496"/>
                  </a:lnTo>
                  <a:lnTo>
                    <a:pt x="765" y="490"/>
                  </a:lnTo>
                  <a:lnTo>
                    <a:pt x="765" y="484"/>
                  </a:lnTo>
                  <a:lnTo>
                    <a:pt x="765" y="484"/>
                  </a:lnTo>
                  <a:lnTo>
                    <a:pt x="768" y="477"/>
                  </a:lnTo>
                  <a:lnTo>
                    <a:pt x="771" y="468"/>
                  </a:lnTo>
                  <a:lnTo>
                    <a:pt x="779" y="455"/>
                  </a:lnTo>
                  <a:lnTo>
                    <a:pt x="779" y="455"/>
                  </a:lnTo>
                  <a:lnTo>
                    <a:pt x="783" y="452"/>
                  </a:lnTo>
                  <a:lnTo>
                    <a:pt x="788" y="450"/>
                  </a:lnTo>
                  <a:lnTo>
                    <a:pt x="792" y="449"/>
                  </a:lnTo>
                  <a:lnTo>
                    <a:pt x="794" y="447"/>
                  </a:lnTo>
                  <a:lnTo>
                    <a:pt x="794" y="447"/>
                  </a:lnTo>
                  <a:lnTo>
                    <a:pt x="795" y="438"/>
                  </a:lnTo>
                  <a:lnTo>
                    <a:pt x="798" y="434"/>
                  </a:lnTo>
                  <a:lnTo>
                    <a:pt x="801" y="432"/>
                  </a:lnTo>
                  <a:lnTo>
                    <a:pt x="801" y="432"/>
                  </a:lnTo>
                  <a:lnTo>
                    <a:pt x="819" y="429"/>
                  </a:lnTo>
                  <a:lnTo>
                    <a:pt x="836" y="428"/>
                  </a:lnTo>
                  <a:lnTo>
                    <a:pt x="836" y="428"/>
                  </a:lnTo>
                  <a:lnTo>
                    <a:pt x="839" y="428"/>
                  </a:lnTo>
                  <a:lnTo>
                    <a:pt x="842" y="431"/>
                  </a:lnTo>
                  <a:lnTo>
                    <a:pt x="844" y="434"/>
                  </a:lnTo>
                  <a:lnTo>
                    <a:pt x="845" y="440"/>
                  </a:lnTo>
                  <a:lnTo>
                    <a:pt x="845" y="440"/>
                  </a:lnTo>
                  <a:lnTo>
                    <a:pt x="845" y="450"/>
                  </a:lnTo>
                  <a:lnTo>
                    <a:pt x="847" y="455"/>
                  </a:lnTo>
                  <a:lnTo>
                    <a:pt x="850" y="459"/>
                  </a:lnTo>
                  <a:lnTo>
                    <a:pt x="850" y="459"/>
                  </a:lnTo>
                  <a:lnTo>
                    <a:pt x="853" y="459"/>
                  </a:lnTo>
                  <a:lnTo>
                    <a:pt x="856" y="459"/>
                  </a:lnTo>
                  <a:lnTo>
                    <a:pt x="866" y="455"/>
                  </a:lnTo>
                  <a:lnTo>
                    <a:pt x="881" y="447"/>
                  </a:lnTo>
                  <a:lnTo>
                    <a:pt x="881" y="447"/>
                  </a:lnTo>
                  <a:lnTo>
                    <a:pt x="885" y="446"/>
                  </a:lnTo>
                  <a:lnTo>
                    <a:pt x="890" y="440"/>
                  </a:lnTo>
                  <a:lnTo>
                    <a:pt x="896" y="432"/>
                  </a:lnTo>
                  <a:lnTo>
                    <a:pt x="899" y="426"/>
                  </a:lnTo>
                  <a:lnTo>
                    <a:pt x="899" y="426"/>
                  </a:lnTo>
                  <a:lnTo>
                    <a:pt x="900" y="423"/>
                  </a:lnTo>
                  <a:lnTo>
                    <a:pt x="902" y="422"/>
                  </a:lnTo>
                  <a:lnTo>
                    <a:pt x="908" y="421"/>
                  </a:lnTo>
                  <a:lnTo>
                    <a:pt x="921" y="421"/>
                  </a:lnTo>
                  <a:lnTo>
                    <a:pt x="921" y="421"/>
                  </a:lnTo>
                  <a:lnTo>
                    <a:pt x="949" y="416"/>
                  </a:lnTo>
                  <a:lnTo>
                    <a:pt x="949" y="416"/>
                  </a:lnTo>
                  <a:lnTo>
                    <a:pt x="965" y="413"/>
                  </a:lnTo>
                  <a:lnTo>
                    <a:pt x="965" y="413"/>
                  </a:lnTo>
                  <a:lnTo>
                    <a:pt x="977" y="412"/>
                  </a:lnTo>
                  <a:lnTo>
                    <a:pt x="989" y="413"/>
                  </a:lnTo>
                  <a:lnTo>
                    <a:pt x="999" y="413"/>
                  </a:lnTo>
                  <a:lnTo>
                    <a:pt x="1004" y="412"/>
                  </a:lnTo>
                  <a:lnTo>
                    <a:pt x="1007" y="410"/>
                  </a:lnTo>
                  <a:lnTo>
                    <a:pt x="1007" y="410"/>
                  </a:lnTo>
                  <a:lnTo>
                    <a:pt x="1011" y="407"/>
                  </a:lnTo>
                  <a:lnTo>
                    <a:pt x="1016" y="404"/>
                  </a:lnTo>
                  <a:lnTo>
                    <a:pt x="1022" y="403"/>
                  </a:lnTo>
                  <a:lnTo>
                    <a:pt x="1027" y="403"/>
                  </a:lnTo>
                  <a:lnTo>
                    <a:pt x="1027" y="403"/>
                  </a:lnTo>
                  <a:lnTo>
                    <a:pt x="1032" y="403"/>
                  </a:lnTo>
                  <a:lnTo>
                    <a:pt x="1036" y="400"/>
                  </a:lnTo>
                  <a:lnTo>
                    <a:pt x="1041" y="392"/>
                  </a:lnTo>
                  <a:lnTo>
                    <a:pt x="1041" y="392"/>
                  </a:lnTo>
                  <a:lnTo>
                    <a:pt x="1044" y="391"/>
                  </a:lnTo>
                  <a:lnTo>
                    <a:pt x="1048" y="392"/>
                  </a:lnTo>
                  <a:lnTo>
                    <a:pt x="1059" y="394"/>
                  </a:lnTo>
                  <a:lnTo>
                    <a:pt x="1059" y="394"/>
                  </a:lnTo>
                  <a:lnTo>
                    <a:pt x="1063" y="392"/>
                  </a:lnTo>
                  <a:lnTo>
                    <a:pt x="1067" y="389"/>
                  </a:lnTo>
                  <a:lnTo>
                    <a:pt x="1072" y="385"/>
                  </a:lnTo>
                  <a:lnTo>
                    <a:pt x="1076" y="382"/>
                  </a:lnTo>
                  <a:lnTo>
                    <a:pt x="1076" y="382"/>
                  </a:lnTo>
                  <a:lnTo>
                    <a:pt x="1100" y="382"/>
                  </a:lnTo>
                  <a:lnTo>
                    <a:pt x="1130" y="382"/>
                  </a:lnTo>
                  <a:lnTo>
                    <a:pt x="1130" y="382"/>
                  </a:lnTo>
                  <a:lnTo>
                    <a:pt x="1134" y="382"/>
                  </a:lnTo>
                  <a:lnTo>
                    <a:pt x="1139" y="379"/>
                  </a:lnTo>
                  <a:lnTo>
                    <a:pt x="1147" y="375"/>
                  </a:lnTo>
                  <a:lnTo>
                    <a:pt x="1156" y="369"/>
                  </a:lnTo>
                  <a:lnTo>
                    <a:pt x="1164" y="364"/>
                  </a:lnTo>
                  <a:lnTo>
                    <a:pt x="1164" y="364"/>
                  </a:lnTo>
                  <a:lnTo>
                    <a:pt x="1171" y="363"/>
                  </a:lnTo>
                  <a:lnTo>
                    <a:pt x="1177" y="361"/>
                  </a:lnTo>
                  <a:lnTo>
                    <a:pt x="1183" y="361"/>
                  </a:lnTo>
                  <a:lnTo>
                    <a:pt x="1189" y="357"/>
                  </a:lnTo>
                  <a:lnTo>
                    <a:pt x="1189" y="357"/>
                  </a:lnTo>
                  <a:lnTo>
                    <a:pt x="1202" y="346"/>
                  </a:lnTo>
                  <a:lnTo>
                    <a:pt x="1205" y="342"/>
                  </a:lnTo>
                  <a:lnTo>
                    <a:pt x="1207" y="339"/>
                  </a:lnTo>
                  <a:lnTo>
                    <a:pt x="1207" y="339"/>
                  </a:lnTo>
                  <a:lnTo>
                    <a:pt x="1205" y="338"/>
                  </a:lnTo>
                  <a:lnTo>
                    <a:pt x="1204" y="336"/>
                  </a:lnTo>
                  <a:lnTo>
                    <a:pt x="1198" y="332"/>
                  </a:lnTo>
                  <a:lnTo>
                    <a:pt x="1198" y="332"/>
                  </a:lnTo>
                  <a:lnTo>
                    <a:pt x="1198" y="330"/>
                  </a:lnTo>
                  <a:lnTo>
                    <a:pt x="1198" y="329"/>
                  </a:lnTo>
                  <a:lnTo>
                    <a:pt x="1199" y="324"/>
                  </a:lnTo>
                  <a:lnTo>
                    <a:pt x="1204" y="320"/>
                  </a:lnTo>
                  <a:lnTo>
                    <a:pt x="1210" y="315"/>
                  </a:lnTo>
                  <a:lnTo>
                    <a:pt x="1210" y="315"/>
                  </a:lnTo>
                  <a:lnTo>
                    <a:pt x="1214" y="312"/>
                  </a:lnTo>
                  <a:lnTo>
                    <a:pt x="1216" y="315"/>
                  </a:lnTo>
                  <a:lnTo>
                    <a:pt x="1216" y="320"/>
                  </a:lnTo>
                  <a:lnTo>
                    <a:pt x="1217" y="324"/>
                  </a:lnTo>
                  <a:lnTo>
                    <a:pt x="1217" y="324"/>
                  </a:lnTo>
                  <a:lnTo>
                    <a:pt x="1220" y="327"/>
                  </a:lnTo>
                  <a:lnTo>
                    <a:pt x="1223" y="327"/>
                  </a:lnTo>
                  <a:lnTo>
                    <a:pt x="1226" y="326"/>
                  </a:lnTo>
                  <a:lnTo>
                    <a:pt x="1227" y="321"/>
                  </a:lnTo>
                  <a:lnTo>
                    <a:pt x="1227" y="321"/>
                  </a:lnTo>
                  <a:lnTo>
                    <a:pt x="1229" y="317"/>
                  </a:lnTo>
                  <a:lnTo>
                    <a:pt x="1229" y="311"/>
                  </a:lnTo>
                  <a:lnTo>
                    <a:pt x="1229" y="305"/>
                  </a:lnTo>
                  <a:lnTo>
                    <a:pt x="1230" y="296"/>
                  </a:lnTo>
                  <a:lnTo>
                    <a:pt x="1230" y="296"/>
                  </a:lnTo>
                  <a:lnTo>
                    <a:pt x="1232" y="287"/>
                  </a:lnTo>
                  <a:lnTo>
                    <a:pt x="1232" y="284"/>
                  </a:lnTo>
                  <a:lnTo>
                    <a:pt x="1230" y="283"/>
                  </a:lnTo>
                  <a:lnTo>
                    <a:pt x="1227" y="283"/>
                  </a:lnTo>
                  <a:lnTo>
                    <a:pt x="1227" y="283"/>
                  </a:lnTo>
                  <a:lnTo>
                    <a:pt x="1220" y="284"/>
                  </a:lnTo>
                  <a:lnTo>
                    <a:pt x="1216" y="286"/>
                  </a:lnTo>
                  <a:lnTo>
                    <a:pt x="1211" y="284"/>
                  </a:lnTo>
                  <a:lnTo>
                    <a:pt x="1211" y="284"/>
                  </a:lnTo>
                  <a:lnTo>
                    <a:pt x="1210" y="283"/>
                  </a:lnTo>
                  <a:lnTo>
                    <a:pt x="1210" y="280"/>
                  </a:lnTo>
                  <a:lnTo>
                    <a:pt x="1213" y="274"/>
                  </a:lnTo>
                  <a:lnTo>
                    <a:pt x="1217" y="268"/>
                  </a:lnTo>
                  <a:lnTo>
                    <a:pt x="1218" y="264"/>
                  </a:lnTo>
                  <a:lnTo>
                    <a:pt x="1218" y="264"/>
                  </a:lnTo>
                  <a:lnTo>
                    <a:pt x="1220" y="261"/>
                  </a:lnTo>
                  <a:lnTo>
                    <a:pt x="1223" y="258"/>
                  </a:lnTo>
                  <a:lnTo>
                    <a:pt x="1232" y="250"/>
                  </a:lnTo>
                  <a:lnTo>
                    <a:pt x="1245" y="241"/>
                  </a:lnTo>
                  <a:lnTo>
                    <a:pt x="1245" y="241"/>
                  </a:lnTo>
                  <a:lnTo>
                    <a:pt x="1239" y="238"/>
                  </a:lnTo>
                  <a:lnTo>
                    <a:pt x="1239" y="238"/>
                  </a:lnTo>
                  <a:lnTo>
                    <a:pt x="1223" y="228"/>
                  </a:lnTo>
                  <a:lnTo>
                    <a:pt x="1223" y="228"/>
                  </a:lnTo>
                  <a:lnTo>
                    <a:pt x="1217" y="226"/>
                  </a:lnTo>
                  <a:lnTo>
                    <a:pt x="1211" y="226"/>
                  </a:lnTo>
                  <a:lnTo>
                    <a:pt x="1205" y="228"/>
                  </a:lnTo>
                  <a:lnTo>
                    <a:pt x="1202" y="231"/>
                  </a:lnTo>
                  <a:lnTo>
                    <a:pt x="1202" y="231"/>
                  </a:lnTo>
                  <a:lnTo>
                    <a:pt x="1198" y="237"/>
                  </a:lnTo>
                  <a:lnTo>
                    <a:pt x="1193" y="240"/>
                  </a:lnTo>
                  <a:lnTo>
                    <a:pt x="1193" y="240"/>
                  </a:lnTo>
                  <a:lnTo>
                    <a:pt x="1179" y="241"/>
                  </a:lnTo>
                  <a:lnTo>
                    <a:pt x="1156" y="243"/>
                  </a:lnTo>
                  <a:lnTo>
                    <a:pt x="1156" y="243"/>
                  </a:lnTo>
                  <a:lnTo>
                    <a:pt x="1152" y="244"/>
                  </a:lnTo>
                  <a:lnTo>
                    <a:pt x="1150" y="247"/>
                  </a:lnTo>
                  <a:lnTo>
                    <a:pt x="1150" y="250"/>
                  </a:lnTo>
                  <a:lnTo>
                    <a:pt x="1150" y="253"/>
                  </a:lnTo>
                  <a:lnTo>
                    <a:pt x="1147" y="256"/>
                  </a:lnTo>
                  <a:lnTo>
                    <a:pt x="1147" y="256"/>
                  </a:lnTo>
                  <a:lnTo>
                    <a:pt x="1143" y="259"/>
                  </a:lnTo>
                  <a:lnTo>
                    <a:pt x="1137" y="259"/>
                  </a:lnTo>
                  <a:lnTo>
                    <a:pt x="1125" y="256"/>
                  </a:lnTo>
                  <a:lnTo>
                    <a:pt x="1125" y="256"/>
                  </a:lnTo>
                  <a:lnTo>
                    <a:pt x="1118" y="256"/>
                  </a:lnTo>
                  <a:lnTo>
                    <a:pt x="1112" y="258"/>
                  </a:lnTo>
                  <a:lnTo>
                    <a:pt x="1106" y="259"/>
                  </a:lnTo>
                  <a:lnTo>
                    <a:pt x="1100" y="262"/>
                  </a:lnTo>
                  <a:lnTo>
                    <a:pt x="1100" y="262"/>
                  </a:lnTo>
                  <a:lnTo>
                    <a:pt x="1096" y="265"/>
                  </a:lnTo>
                  <a:lnTo>
                    <a:pt x="1093" y="269"/>
                  </a:lnTo>
                  <a:lnTo>
                    <a:pt x="1088" y="278"/>
                  </a:lnTo>
                  <a:lnTo>
                    <a:pt x="1088" y="278"/>
                  </a:lnTo>
                  <a:lnTo>
                    <a:pt x="1087" y="280"/>
                  </a:lnTo>
                  <a:lnTo>
                    <a:pt x="1084" y="281"/>
                  </a:lnTo>
                  <a:lnTo>
                    <a:pt x="1076" y="281"/>
                  </a:lnTo>
                  <a:lnTo>
                    <a:pt x="1057" y="281"/>
                  </a:lnTo>
                  <a:lnTo>
                    <a:pt x="1057" y="281"/>
                  </a:lnTo>
                  <a:lnTo>
                    <a:pt x="1033" y="280"/>
                  </a:lnTo>
                  <a:lnTo>
                    <a:pt x="1020" y="278"/>
                  </a:lnTo>
                  <a:lnTo>
                    <a:pt x="1011" y="275"/>
                  </a:lnTo>
                  <a:lnTo>
                    <a:pt x="1011" y="275"/>
                  </a:lnTo>
                  <a:lnTo>
                    <a:pt x="998" y="268"/>
                  </a:lnTo>
                  <a:lnTo>
                    <a:pt x="976" y="250"/>
                  </a:lnTo>
                  <a:lnTo>
                    <a:pt x="976" y="250"/>
                  </a:lnTo>
                  <a:lnTo>
                    <a:pt x="942" y="226"/>
                  </a:lnTo>
                  <a:lnTo>
                    <a:pt x="922" y="213"/>
                  </a:lnTo>
                  <a:lnTo>
                    <a:pt x="905" y="201"/>
                  </a:lnTo>
                  <a:lnTo>
                    <a:pt x="905" y="201"/>
                  </a:lnTo>
                  <a:lnTo>
                    <a:pt x="872" y="175"/>
                  </a:lnTo>
                  <a:lnTo>
                    <a:pt x="838" y="148"/>
                  </a:lnTo>
                  <a:lnTo>
                    <a:pt x="838" y="148"/>
                  </a:lnTo>
                  <a:lnTo>
                    <a:pt x="789" y="109"/>
                  </a:lnTo>
                  <a:lnTo>
                    <a:pt x="748" y="75"/>
                  </a:lnTo>
                  <a:lnTo>
                    <a:pt x="748" y="75"/>
                  </a:lnTo>
                  <a:lnTo>
                    <a:pt x="736" y="62"/>
                  </a:lnTo>
                  <a:lnTo>
                    <a:pt x="724" y="46"/>
                  </a:lnTo>
                  <a:lnTo>
                    <a:pt x="708" y="24"/>
                  </a:lnTo>
                  <a:lnTo>
                    <a:pt x="708" y="24"/>
                  </a:lnTo>
                  <a:lnTo>
                    <a:pt x="705" y="22"/>
                  </a:lnTo>
                  <a:lnTo>
                    <a:pt x="700" y="21"/>
                  </a:lnTo>
                  <a:lnTo>
                    <a:pt x="693" y="21"/>
                  </a:lnTo>
                  <a:lnTo>
                    <a:pt x="693" y="21"/>
                  </a:lnTo>
                  <a:lnTo>
                    <a:pt x="682" y="21"/>
                  </a:lnTo>
                  <a:lnTo>
                    <a:pt x="677" y="21"/>
                  </a:lnTo>
                  <a:lnTo>
                    <a:pt x="671" y="22"/>
                  </a:lnTo>
                  <a:lnTo>
                    <a:pt x="671" y="22"/>
                  </a:lnTo>
                  <a:lnTo>
                    <a:pt x="665" y="24"/>
                  </a:lnTo>
                  <a:lnTo>
                    <a:pt x="659" y="24"/>
                  </a:lnTo>
                  <a:lnTo>
                    <a:pt x="642" y="21"/>
                  </a:lnTo>
                  <a:lnTo>
                    <a:pt x="642" y="21"/>
                  </a:lnTo>
                  <a:lnTo>
                    <a:pt x="622" y="19"/>
                  </a:lnTo>
                  <a:lnTo>
                    <a:pt x="595" y="15"/>
                  </a:lnTo>
                  <a:lnTo>
                    <a:pt x="595" y="15"/>
                  </a:lnTo>
                  <a:lnTo>
                    <a:pt x="583" y="13"/>
                  </a:lnTo>
                  <a:lnTo>
                    <a:pt x="573" y="9"/>
                  </a:lnTo>
                  <a:lnTo>
                    <a:pt x="564" y="6"/>
                  </a:lnTo>
                  <a:lnTo>
                    <a:pt x="554" y="3"/>
                  </a:lnTo>
                  <a:lnTo>
                    <a:pt x="554" y="3"/>
                  </a:lnTo>
                  <a:lnTo>
                    <a:pt x="543" y="0"/>
                  </a:lnTo>
                  <a:lnTo>
                    <a:pt x="536" y="0"/>
                  </a:lnTo>
                  <a:lnTo>
                    <a:pt x="528" y="1"/>
                  </a:lnTo>
                  <a:lnTo>
                    <a:pt x="528" y="1"/>
                  </a:lnTo>
                  <a:lnTo>
                    <a:pt x="500" y="28"/>
                  </a:lnTo>
                  <a:lnTo>
                    <a:pt x="480" y="47"/>
                  </a:lnTo>
                  <a:lnTo>
                    <a:pt x="469" y="58"/>
                  </a:lnTo>
                  <a:lnTo>
                    <a:pt x="469" y="58"/>
                  </a:lnTo>
                  <a:lnTo>
                    <a:pt x="466" y="61"/>
                  </a:lnTo>
                  <a:lnTo>
                    <a:pt x="463" y="65"/>
                  </a:lnTo>
                  <a:lnTo>
                    <a:pt x="463" y="71"/>
                  </a:lnTo>
                  <a:lnTo>
                    <a:pt x="463" y="75"/>
                  </a:lnTo>
                  <a:lnTo>
                    <a:pt x="463" y="75"/>
                  </a:lnTo>
                  <a:lnTo>
                    <a:pt x="466" y="77"/>
                  </a:lnTo>
                  <a:lnTo>
                    <a:pt x="469" y="78"/>
                  </a:lnTo>
                  <a:lnTo>
                    <a:pt x="474" y="78"/>
                  </a:lnTo>
                  <a:lnTo>
                    <a:pt x="477" y="81"/>
                  </a:lnTo>
                  <a:lnTo>
                    <a:pt x="477" y="81"/>
                  </a:lnTo>
                  <a:lnTo>
                    <a:pt x="478" y="84"/>
                  </a:lnTo>
                  <a:lnTo>
                    <a:pt x="478" y="87"/>
                  </a:lnTo>
                  <a:lnTo>
                    <a:pt x="477" y="95"/>
                  </a:lnTo>
                  <a:lnTo>
                    <a:pt x="472" y="105"/>
                  </a:lnTo>
                  <a:lnTo>
                    <a:pt x="472" y="105"/>
                  </a:lnTo>
                  <a:lnTo>
                    <a:pt x="468" y="118"/>
                  </a:lnTo>
                  <a:lnTo>
                    <a:pt x="465" y="126"/>
                  </a:lnTo>
                  <a:lnTo>
                    <a:pt x="465" y="133"/>
                  </a:lnTo>
                  <a:lnTo>
                    <a:pt x="465" y="133"/>
                  </a:lnTo>
                  <a:lnTo>
                    <a:pt x="466" y="158"/>
                  </a:lnTo>
                  <a:lnTo>
                    <a:pt x="466" y="158"/>
                  </a:lnTo>
                  <a:lnTo>
                    <a:pt x="465" y="161"/>
                  </a:lnTo>
                  <a:lnTo>
                    <a:pt x="462" y="166"/>
                  </a:lnTo>
                  <a:lnTo>
                    <a:pt x="459" y="169"/>
                  </a:lnTo>
                  <a:lnTo>
                    <a:pt x="459" y="169"/>
                  </a:lnTo>
                  <a:lnTo>
                    <a:pt x="453" y="167"/>
                  </a:lnTo>
                  <a:lnTo>
                    <a:pt x="447" y="166"/>
                  </a:lnTo>
                  <a:lnTo>
                    <a:pt x="441" y="163"/>
                  </a:lnTo>
                  <a:lnTo>
                    <a:pt x="441" y="163"/>
                  </a:lnTo>
                  <a:lnTo>
                    <a:pt x="437" y="158"/>
                  </a:lnTo>
                  <a:lnTo>
                    <a:pt x="434" y="154"/>
                  </a:lnTo>
                  <a:lnTo>
                    <a:pt x="428" y="145"/>
                  </a:lnTo>
                  <a:lnTo>
                    <a:pt x="428" y="145"/>
                  </a:lnTo>
                  <a:lnTo>
                    <a:pt x="425" y="144"/>
                  </a:lnTo>
                  <a:lnTo>
                    <a:pt x="422" y="145"/>
                  </a:lnTo>
                  <a:lnTo>
                    <a:pt x="417" y="147"/>
                  </a:lnTo>
                  <a:lnTo>
                    <a:pt x="414" y="148"/>
                  </a:lnTo>
                  <a:lnTo>
                    <a:pt x="414" y="148"/>
                  </a:lnTo>
                  <a:lnTo>
                    <a:pt x="411" y="147"/>
                  </a:lnTo>
                  <a:lnTo>
                    <a:pt x="409" y="144"/>
                  </a:lnTo>
                  <a:lnTo>
                    <a:pt x="404" y="138"/>
                  </a:lnTo>
                  <a:lnTo>
                    <a:pt x="404" y="138"/>
                  </a:lnTo>
                  <a:lnTo>
                    <a:pt x="398" y="132"/>
                  </a:lnTo>
                  <a:lnTo>
                    <a:pt x="394" y="132"/>
                  </a:lnTo>
                  <a:lnTo>
                    <a:pt x="391" y="132"/>
                  </a:lnTo>
                  <a:lnTo>
                    <a:pt x="391" y="132"/>
                  </a:lnTo>
                  <a:lnTo>
                    <a:pt x="388" y="133"/>
                  </a:lnTo>
                  <a:lnTo>
                    <a:pt x="386" y="136"/>
                  </a:lnTo>
                  <a:lnTo>
                    <a:pt x="385" y="139"/>
                  </a:lnTo>
                  <a:lnTo>
                    <a:pt x="383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77" y="138"/>
                  </a:lnTo>
                  <a:lnTo>
                    <a:pt x="376" y="135"/>
                  </a:lnTo>
                  <a:lnTo>
                    <a:pt x="372" y="132"/>
                  </a:lnTo>
                  <a:lnTo>
                    <a:pt x="367" y="129"/>
                  </a:lnTo>
                  <a:lnTo>
                    <a:pt x="367" y="129"/>
                  </a:lnTo>
                  <a:lnTo>
                    <a:pt x="363" y="127"/>
                  </a:lnTo>
                  <a:lnTo>
                    <a:pt x="360" y="129"/>
                  </a:lnTo>
                  <a:lnTo>
                    <a:pt x="357" y="129"/>
                  </a:lnTo>
                  <a:lnTo>
                    <a:pt x="354" y="129"/>
                  </a:lnTo>
                  <a:lnTo>
                    <a:pt x="354" y="129"/>
                  </a:lnTo>
                  <a:lnTo>
                    <a:pt x="349" y="126"/>
                  </a:lnTo>
                  <a:lnTo>
                    <a:pt x="348" y="123"/>
                  </a:lnTo>
                  <a:lnTo>
                    <a:pt x="346" y="120"/>
                  </a:lnTo>
                  <a:lnTo>
                    <a:pt x="349" y="115"/>
                  </a:lnTo>
                  <a:lnTo>
                    <a:pt x="349" y="115"/>
                  </a:lnTo>
                  <a:lnTo>
                    <a:pt x="351" y="111"/>
                  </a:lnTo>
                  <a:lnTo>
                    <a:pt x="351" y="108"/>
                  </a:lnTo>
                  <a:lnTo>
                    <a:pt x="349" y="107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33" y="86"/>
                  </a:lnTo>
                  <a:lnTo>
                    <a:pt x="324" y="75"/>
                  </a:lnTo>
                  <a:lnTo>
                    <a:pt x="315" y="68"/>
                  </a:lnTo>
                  <a:lnTo>
                    <a:pt x="315" y="68"/>
                  </a:lnTo>
                  <a:lnTo>
                    <a:pt x="303" y="58"/>
                  </a:lnTo>
                  <a:lnTo>
                    <a:pt x="296" y="52"/>
                  </a:lnTo>
                  <a:lnTo>
                    <a:pt x="289" y="46"/>
                  </a:lnTo>
                  <a:lnTo>
                    <a:pt x="289" y="46"/>
                  </a:lnTo>
                  <a:lnTo>
                    <a:pt x="283" y="38"/>
                  </a:lnTo>
                  <a:lnTo>
                    <a:pt x="278" y="32"/>
                  </a:lnTo>
                  <a:lnTo>
                    <a:pt x="275" y="28"/>
                  </a:lnTo>
                  <a:lnTo>
                    <a:pt x="272" y="24"/>
                  </a:lnTo>
                  <a:lnTo>
                    <a:pt x="272" y="24"/>
                  </a:lnTo>
                  <a:lnTo>
                    <a:pt x="268" y="24"/>
                  </a:lnTo>
                  <a:lnTo>
                    <a:pt x="262" y="25"/>
                  </a:lnTo>
                  <a:lnTo>
                    <a:pt x="256" y="28"/>
                  </a:lnTo>
                  <a:lnTo>
                    <a:pt x="255" y="31"/>
                  </a:lnTo>
                  <a:lnTo>
                    <a:pt x="255" y="31"/>
                  </a:lnTo>
                  <a:lnTo>
                    <a:pt x="256" y="52"/>
                  </a:lnTo>
                  <a:lnTo>
                    <a:pt x="260" y="67"/>
                  </a:lnTo>
                  <a:lnTo>
                    <a:pt x="263" y="78"/>
                  </a:lnTo>
                  <a:lnTo>
                    <a:pt x="263" y="78"/>
                  </a:lnTo>
                  <a:lnTo>
                    <a:pt x="266" y="87"/>
                  </a:lnTo>
                  <a:lnTo>
                    <a:pt x="268" y="96"/>
                  </a:lnTo>
                  <a:lnTo>
                    <a:pt x="269" y="108"/>
                  </a:lnTo>
                  <a:lnTo>
                    <a:pt x="269" y="108"/>
                  </a:lnTo>
                  <a:lnTo>
                    <a:pt x="269" y="114"/>
                  </a:lnTo>
                  <a:lnTo>
                    <a:pt x="266" y="123"/>
                  </a:lnTo>
                  <a:lnTo>
                    <a:pt x="262" y="130"/>
                  </a:lnTo>
                  <a:lnTo>
                    <a:pt x="259" y="135"/>
                  </a:lnTo>
                  <a:lnTo>
                    <a:pt x="256" y="136"/>
                  </a:lnTo>
                  <a:lnTo>
                    <a:pt x="256" y="136"/>
                  </a:lnTo>
                  <a:lnTo>
                    <a:pt x="250" y="139"/>
                  </a:lnTo>
                  <a:lnTo>
                    <a:pt x="246" y="141"/>
                  </a:lnTo>
                  <a:lnTo>
                    <a:pt x="241" y="142"/>
                  </a:lnTo>
                  <a:lnTo>
                    <a:pt x="237" y="145"/>
                  </a:lnTo>
                  <a:lnTo>
                    <a:pt x="237" y="145"/>
                  </a:lnTo>
                  <a:lnTo>
                    <a:pt x="235" y="148"/>
                  </a:lnTo>
                  <a:lnTo>
                    <a:pt x="234" y="152"/>
                  </a:lnTo>
                  <a:lnTo>
                    <a:pt x="234" y="161"/>
                  </a:lnTo>
                  <a:lnTo>
                    <a:pt x="235" y="172"/>
                  </a:lnTo>
                  <a:lnTo>
                    <a:pt x="238" y="178"/>
                  </a:lnTo>
                  <a:lnTo>
                    <a:pt x="238" y="178"/>
                  </a:lnTo>
                  <a:lnTo>
                    <a:pt x="240" y="182"/>
                  </a:lnTo>
                  <a:lnTo>
                    <a:pt x="237" y="184"/>
                  </a:lnTo>
                  <a:lnTo>
                    <a:pt x="219" y="187"/>
                  </a:lnTo>
                  <a:lnTo>
                    <a:pt x="219" y="187"/>
                  </a:lnTo>
                  <a:lnTo>
                    <a:pt x="209" y="188"/>
                  </a:lnTo>
                  <a:lnTo>
                    <a:pt x="201" y="189"/>
                  </a:lnTo>
                  <a:lnTo>
                    <a:pt x="197" y="192"/>
                  </a:lnTo>
                  <a:lnTo>
                    <a:pt x="194" y="195"/>
                  </a:lnTo>
                  <a:lnTo>
                    <a:pt x="194" y="195"/>
                  </a:lnTo>
                  <a:lnTo>
                    <a:pt x="192" y="200"/>
                  </a:lnTo>
                  <a:lnTo>
                    <a:pt x="189" y="206"/>
                  </a:lnTo>
                  <a:lnTo>
                    <a:pt x="172" y="228"/>
                  </a:lnTo>
                  <a:lnTo>
                    <a:pt x="172" y="228"/>
                  </a:lnTo>
                  <a:lnTo>
                    <a:pt x="163" y="241"/>
                  </a:lnTo>
                  <a:lnTo>
                    <a:pt x="157" y="249"/>
                  </a:lnTo>
                  <a:lnTo>
                    <a:pt x="157" y="252"/>
                  </a:lnTo>
                  <a:lnTo>
                    <a:pt x="157" y="255"/>
                  </a:lnTo>
                  <a:lnTo>
                    <a:pt x="161" y="258"/>
                  </a:lnTo>
                  <a:lnTo>
                    <a:pt x="161" y="258"/>
                  </a:lnTo>
                  <a:lnTo>
                    <a:pt x="164" y="259"/>
                  </a:lnTo>
                  <a:lnTo>
                    <a:pt x="166" y="259"/>
                  </a:lnTo>
                  <a:lnTo>
                    <a:pt x="170" y="258"/>
                  </a:lnTo>
                  <a:lnTo>
                    <a:pt x="176" y="250"/>
                  </a:lnTo>
                  <a:lnTo>
                    <a:pt x="176" y="250"/>
                  </a:lnTo>
                  <a:lnTo>
                    <a:pt x="178" y="249"/>
                  </a:lnTo>
                  <a:lnTo>
                    <a:pt x="179" y="249"/>
                  </a:lnTo>
                  <a:lnTo>
                    <a:pt x="182" y="252"/>
                  </a:lnTo>
                  <a:lnTo>
                    <a:pt x="186" y="253"/>
                  </a:lnTo>
                  <a:lnTo>
                    <a:pt x="186" y="253"/>
                  </a:lnTo>
                  <a:lnTo>
                    <a:pt x="191" y="256"/>
                  </a:lnTo>
                  <a:lnTo>
                    <a:pt x="194" y="259"/>
                  </a:lnTo>
                  <a:lnTo>
                    <a:pt x="197" y="264"/>
                  </a:lnTo>
                  <a:lnTo>
                    <a:pt x="203" y="271"/>
                  </a:lnTo>
                  <a:lnTo>
                    <a:pt x="203" y="271"/>
                  </a:lnTo>
                  <a:lnTo>
                    <a:pt x="206" y="272"/>
                  </a:lnTo>
                  <a:lnTo>
                    <a:pt x="209" y="272"/>
                  </a:lnTo>
                  <a:lnTo>
                    <a:pt x="213" y="271"/>
                  </a:lnTo>
                  <a:lnTo>
                    <a:pt x="216" y="268"/>
                  </a:lnTo>
                  <a:lnTo>
                    <a:pt x="228" y="255"/>
                  </a:lnTo>
                  <a:lnTo>
                    <a:pt x="228" y="255"/>
                  </a:lnTo>
                  <a:lnTo>
                    <a:pt x="232" y="252"/>
                  </a:lnTo>
                  <a:lnTo>
                    <a:pt x="237" y="250"/>
                  </a:lnTo>
                  <a:lnTo>
                    <a:pt x="243" y="250"/>
                  </a:lnTo>
                  <a:lnTo>
                    <a:pt x="243" y="250"/>
                  </a:lnTo>
                  <a:lnTo>
                    <a:pt x="249" y="255"/>
                  </a:lnTo>
                  <a:lnTo>
                    <a:pt x="257" y="261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77" y="278"/>
                  </a:lnTo>
                  <a:lnTo>
                    <a:pt x="278" y="284"/>
                  </a:lnTo>
                  <a:lnTo>
                    <a:pt x="280" y="290"/>
                  </a:lnTo>
                  <a:lnTo>
                    <a:pt x="280" y="290"/>
                  </a:lnTo>
                  <a:lnTo>
                    <a:pt x="185" y="348"/>
                  </a:lnTo>
                  <a:lnTo>
                    <a:pt x="185" y="348"/>
                  </a:lnTo>
                  <a:lnTo>
                    <a:pt x="182" y="351"/>
                  </a:lnTo>
                  <a:lnTo>
                    <a:pt x="180" y="354"/>
                  </a:lnTo>
                  <a:lnTo>
                    <a:pt x="182" y="357"/>
                  </a:lnTo>
                  <a:lnTo>
                    <a:pt x="183" y="360"/>
                  </a:lnTo>
                  <a:lnTo>
                    <a:pt x="186" y="364"/>
                  </a:lnTo>
                  <a:lnTo>
                    <a:pt x="189" y="367"/>
                  </a:lnTo>
                  <a:lnTo>
                    <a:pt x="189" y="367"/>
                  </a:lnTo>
                  <a:lnTo>
                    <a:pt x="186" y="369"/>
                  </a:lnTo>
                  <a:lnTo>
                    <a:pt x="178" y="376"/>
                  </a:lnTo>
                  <a:lnTo>
                    <a:pt x="178" y="376"/>
                  </a:lnTo>
                  <a:lnTo>
                    <a:pt x="163" y="389"/>
                  </a:lnTo>
                  <a:lnTo>
                    <a:pt x="155" y="395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5" y="401"/>
                  </a:lnTo>
                  <a:lnTo>
                    <a:pt x="142" y="400"/>
                  </a:lnTo>
                  <a:lnTo>
                    <a:pt x="141" y="397"/>
                  </a:lnTo>
                  <a:lnTo>
                    <a:pt x="138" y="395"/>
                  </a:lnTo>
                  <a:lnTo>
                    <a:pt x="138" y="395"/>
                  </a:lnTo>
                  <a:lnTo>
                    <a:pt x="129" y="391"/>
                  </a:lnTo>
                  <a:lnTo>
                    <a:pt x="120" y="388"/>
                  </a:lnTo>
                  <a:lnTo>
                    <a:pt x="120" y="388"/>
                  </a:lnTo>
                  <a:lnTo>
                    <a:pt x="106" y="385"/>
                  </a:lnTo>
                  <a:lnTo>
                    <a:pt x="99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2" y="386"/>
                  </a:lnTo>
                  <a:lnTo>
                    <a:pt x="89" y="386"/>
                  </a:lnTo>
                  <a:lnTo>
                    <a:pt x="89" y="386"/>
                  </a:lnTo>
                  <a:lnTo>
                    <a:pt x="87" y="392"/>
                  </a:lnTo>
                  <a:lnTo>
                    <a:pt x="86" y="395"/>
                  </a:lnTo>
                  <a:lnTo>
                    <a:pt x="83" y="400"/>
                  </a:lnTo>
                  <a:lnTo>
                    <a:pt x="83" y="400"/>
                  </a:lnTo>
                  <a:lnTo>
                    <a:pt x="61" y="426"/>
                  </a:lnTo>
                  <a:lnTo>
                    <a:pt x="61" y="426"/>
                  </a:lnTo>
                  <a:lnTo>
                    <a:pt x="58" y="431"/>
                  </a:lnTo>
                  <a:lnTo>
                    <a:pt x="58" y="435"/>
                  </a:lnTo>
                  <a:lnTo>
                    <a:pt x="58" y="440"/>
                  </a:lnTo>
                  <a:lnTo>
                    <a:pt x="56" y="446"/>
                  </a:lnTo>
                  <a:lnTo>
                    <a:pt x="56" y="446"/>
                  </a:lnTo>
                  <a:lnTo>
                    <a:pt x="53" y="449"/>
                  </a:lnTo>
                  <a:lnTo>
                    <a:pt x="52" y="450"/>
                  </a:lnTo>
                  <a:lnTo>
                    <a:pt x="47" y="450"/>
                  </a:lnTo>
                  <a:lnTo>
                    <a:pt x="40" y="449"/>
                  </a:lnTo>
                  <a:lnTo>
                    <a:pt x="40" y="449"/>
                  </a:lnTo>
                  <a:lnTo>
                    <a:pt x="37" y="450"/>
                  </a:lnTo>
                  <a:lnTo>
                    <a:pt x="35" y="452"/>
                  </a:lnTo>
                  <a:lnTo>
                    <a:pt x="29" y="460"/>
                  </a:lnTo>
                  <a:lnTo>
                    <a:pt x="21" y="477"/>
                  </a:lnTo>
                  <a:lnTo>
                    <a:pt x="21" y="477"/>
                  </a:lnTo>
                  <a:lnTo>
                    <a:pt x="18" y="481"/>
                  </a:lnTo>
                  <a:lnTo>
                    <a:pt x="13" y="484"/>
                  </a:lnTo>
                  <a:lnTo>
                    <a:pt x="9" y="487"/>
                  </a:lnTo>
                  <a:lnTo>
                    <a:pt x="3" y="492"/>
                  </a:lnTo>
                  <a:lnTo>
                    <a:pt x="3" y="492"/>
                  </a:lnTo>
                  <a:lnTo>
                    <a:pt x="1" y="495"/>
                  </a:lnTo>
                  <a:lnTo>
                    <a:pt x="0" y="498"/>
                  </a:lnTo>
                  <a:lnTo>
                    <a:pt x="0" y="499"/>
                  </a:lnTo>
                  <a:lnTo>
                    <a:pt x="1" y="500"/>
                  </a:lnTo>
                  <a:lnTo>
                    <a:pt x="15" y="509"/>
                  </a:lnTo>
                  <a:lnTo>
                    <a:pt x="15" y="509"/>
                  </a:lnTo>
                  <a:lnTo>
                    <a:pt x="18" y="512"/>
                  </a:lnTo>
                  <a:lnTo>
                    <a:pt x="18" y="515"/>
                  </a:lnTo>
                  <a:lnTo>
                    <a:pt x="18" y="517"/>
                  </a:lnTo>
                  <a:lnTo>
                    <a:pt x="16" y="517"/>
                  </a:lnTo>
                  <a:lnTo>
                    <a:pt x="10" y="520"/>
                  </a:lnTo>
                  <a:lnTo>
                    <a:pt x="6" y="523"/>
                  </a:lnTo>
                  <a:lnTo>
                    <a:pt x="6" y="523"/>
                  </a:lnTo>
                  <a:lnTo>
                    <a:pt x="6" y="524"/>
                  </a:lnTo>
                  <a:lnTo>
                    <a:pt x="6" y="527"/>
                  </a:lnTo>
                  <a:lnTo>
                    <a:pt x="7" y="532"/>
                  </a:lnTo>
                  <a:lnTo>
                    <a:pt x="10" y="538"/>
                  </a:lnTo>
                  <a:lnTo>
                    <a:pt x="13" y="543"/>
                  </a:lnTo>
                  <a:lnTo>
                    <a:pt x="13" y="543"/>
                  </a:lnTo>
                  <a:lnTo>
                    <a:pt x="13" y="549"/>
                  </a:lnTo>
                  <a:lnTo>
                    <a:pt x="13" y="554"/>
                  </a:lnTo>
                  <a:lnTo>
                    <a:pt x="10" y="561"/>
                  </a:lnTo>
                  <a:lnTo>
                    <a:pt x="10" y="561"/>
                  </a:lnTo>
                  <a:lnTo>
                    <a:pt x="9" y="564"/>
                  </a:lnTo>
                  <a:lnTo>
                    <a:pt x="10" y="566"/>
                  </a:lnTo>
                  <a:lnTo>
                    <a:pt x="13" y="569"/>
                  </a:lnTo>
                  <a:lnTo>
                    <a:pt x="21" y="570"/>
                  </a:lnTo>
                  <a:lnTo>
                    <a:pt x="28" y="569"/>
                  </a:lnTo>
                  <a:lnTo>
                    <a:pt x="28" y="569"/>
                  </a:lnTo>
                  <a:lnTo>
                    <a:pt x="34" y="566"/>
                  </a:lnTo>
                  <a:lnTo>
                    <a:pt x="37" y="563"/>
                  </a:lnTo>
                  <a:lnTo>
                    <a:pt x="43" y="554"/>
                  </a:lnTo>
                  <a:lnTo>
                    <a:pt x="43" y="554"/>
                  </a:lnTo>
                  <a:lnTo>
                    <a:pt x="47" y="549"/>
                  </a:lnTo>
                  <a:lnTo>
                    <a:pt x="55" y="548"/>
                  </a:lnTo>
                  <a:lnTo>
                    <a:pt x="64" y="546"/>
                  </a:lnTo>
                  <a:lnTo>
                    <a:pt x="71" y="548"/>
                  </a:lnTo>
                  <a:lnTo>
                    <a:pt x="71" y="548"/>
                  </a:lnTo>
                  <a:lnTo>
                    <a:pt x="83" y="552"/>
                  </a:lnTo>
                  <a:lnTo>
                    <a:pt x="87" y="554"/>
                  </a:lnTo>
                  <a:lnTo>
                    <a:pt x="90" y="557"/>
                  </a:lnTo>
                  <a:lnTo>
                    <a:pt x="90" y="557"/>
                  </a:lnTo>
                  <a:lnTo>
                    <a:pt x="93" y="560"/>
                  </a:lnTo>
                  <a:lnTo>
                    <a:pt x="99" y="561"/>
                  </a:lnTo>
                  <a:lnTo>
                    <a:pt x="115" y="563"/>
                  </a:lnTo>
                  <a:lnTo>
                    <a:pt x="115" y="563"/>
                  </a:lnTo>
                  <a:lnTo>
                    <a:pt x="123" y="564"/>
                  </a:lnTo>
                  <a:lnTo>
                    <a:pt x="129" y="567"/>
                  </a:lnTo>
                  <a:lnTo>
                    <a:pt x="133" y="570"/>
                  </a:lnTo>
                  <a:lnTo>
                    <a:pt x="135" y="573"/>
                  </a:lnTo>
                  <a:lnTo>
                    <a:pt x="135" y="573"/>
                  </a:lnTo>
                  <a:lnTo>
                    <a:pt x="139" y="580"/>
                  </a:lnTo>
                  <a:lnTo>
                    <a:pt x="142" y="585"/>
                  </a:lnTo>
                  <a:lnTo>
                    <a:pt x="145" y="586"/>
                  </a:lnTo>
                  <a:lnTo>
                    <a:pt x="145" y="586"/>
                  </a:lnTo>
                  <a:lnTo>
                    <a:pt x="155" y="583"/>
                  </a:lnTo>
                  <a:lnTo>
                    <a:pt x="161" y="582"/>
                  </a:lnTo>
                  <a:lnTo>
                    <a:pt x="167" y="582"/>
                  </a:lnTo>
                  <a:lnTo>
                    <a:pt x="167" y="582"/>
                  </a:lnTo>
                  <a:lnTo>
                    <a:pt x="175" y="580"/>
                  </a:lnTo>
                  <a:lnTo>
                    <a:pt x="183" y="577"/>
                  </a:lnTo>
                  <a:lnTo>
                    <a:pt x="192" y="575"/>
                  </a:lnTo>
                  <a:lnTo>
                    <a:pt x="197" y="573"/>
                  </a:lnTo>
                  <a:lnTo>
                    <a:pt x="197" y="573"/>
                  </a:lnTo>
                  <a:lnTo>
                    <a:pt x="198" y="577"/>
                  </a:lnTo>
                  <a:lnTo>
                    <a:pt x="200" y="586"/>
                  </a:lnTo>
                  <a:lnTo>
                    <a:pt x="200" y="586"/>
                  </a:lnTo>
                  <a:lnTo>
                    <a:pt x="206" y="583"/>
                  </a:lnTo>
                  <a:lnTo>
                    <a:pt x="209" y="580"/>
                  </a:lnTo>
                  <a:lnTo>
                    <a:pt x="210" y="576"/>
                  </a:lnTo>
                  <a:lnTo>
                    <a:pt x="210" y="576"/>
                  </a:lnTo>
                  <a:lnTo>
                    <a:pt x="212" y="573"/>
                  </a:lnTo>
                  <a:lnTo>
                    <a:pt x="210" y="569"/>
                  </a:lnTo>
                  <a:lnTo>
                    <a:pt x="210" y="566"/>
                  </a:lnTo>
                  <a:lnTo>
                    <a:pt x="210" y="561"/>
                  </a:lnTo>
                  <a:lnTo>
                    <a:pt x="210" y="561"/>
                  </a:lnTo>
                  <a:lnTo>
                    <a:pt x="212" y="558"/>
                  </a:lnTo>
                  <a:lnTo>
                    <a:pt x="213" y="557"/>
                  </a:lnTo>
                  <a:lnTo>
                    <a:pt x="215" y="555"/>
                  </a:lnTo>
                  <a:lnTo>
                    <a:pt x="213" y="551"/>
                  </a:lnTo>
                  <a:lnTo>
                    <a:pt x="213" y="551"/>
                  </a:lnTo>
                  <a:lnTo>
                    <a:pt x="207" y="540"/>
                  </a:lnTo>
                  <a:lnTo>
                    <a:pt x="204" y="538"/>
                  </a:lnTo>
                  <a:lnTo>
                    <a:pt x="206" y="535"/>
                  </a:lnTo>
                  <a:lnTo>
                    <a:pt x="206" y="535"/>
                  </a:lnTo>
                  <a:lnTo>
                    <a:pt x="226" y="521"/>
                  </a:lnTo>
                  <a:lnTo>
                    <a:pt x="226" y="521"/>
                  </a:lnTo>
                  <a:lnTo>
                    <a:pt x="250" y="540"/>
                  </a:lnTo>
                  <a:lnTo>
                    <a:pt x="250" y="540"/>
                  </a:lnTo>
                  <a:lnTo>
                    <a:pt x="252" y="542"/>
                  </a:lnTo>
                  <a:lnTo>
                    <a:pt x="253" y="540"/>
                  </a:lnTo>
                  <a:lnTo>
                    <a:pt x="256" y="539"/>
                  </a:lnTo>
                  <a:lnTo>
                    <a:pt x="260" y="540"/>
                  </a:lnTo>
                  <a:lnTo>
                    <a:pt x="260" y="540"/>
                  </a:lnTo>
                  <a:lnTo>
                    <a:pt x="263" y="543"/>
                  </a:lnTo>
                  <a:lnTo>
                    <a:pt x="266" y="546"/>
                  </a:lnTo>
                  <a:lnTo>
                    <a:pt x="268" y="548"/>
                  </a:lnTo>
                  <a:lnTo>
                    <a:pt x="271" y="548"/>
                  </a:lnTo>
                  <a:lnTo>
                    <a:pt x="271" y="548"/>
                  </a:lnTo>
                  <a:lnTo>
                    <a:pt x="275" y="546"/>
                  </a:lnTo>
                  <a:lnTo>
                    <a:pt x="281" y="546"/>
                  </a:lnTo>
                  <a:lnTo>
                    <a:pt x="281" y="54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1" name="Freeform 40">
              <a:extLst>
                <a:ext uri="{FF2B5EF4-FFF2-40B4-BE49-F238E27FC236}">
                  <a16:creationId xmlns:a16="http://schemas.microsoft.com/office/drawing/2014/main" id="{60A5126B-321E-BC48-B8E5-EE524E1C9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3036888"/>
              <a:ext cx="990600" cy="1027112"/>
            </a:xfrm>
            <a:custGeom>
              <a:avLst/>
              <a:gdLst>
                <a:gd name="T0" fmla="*/ 65 w 624"/>
                <a:gd name="T1" fmla="*/ 487 h 647"/>
                <a:gd name="T2" fmla="*/ 83 w 624"/>
                <a:gd name="T3" fmla="*/ 487 h 647"/>
                <a:gd name="T4" fmla="*/ 99 w 624"/>
                <a:gd name="T5" fmla="*/ 498 h 647"/>
                <a:gd name="T6" fmla="*/ 105 w 624"/>
                <a:gd name="T7" fmla="*/ 487 h 647"/>
                <a:gd name="T8" fmla="*/ 127 w 624"/>
                <a:gd name="T9" fmla="*/ 499 h 647"/>
                <a:gd name="T10" fmla="*/ 133 w 624"/>
                <a:gd name="T11" fmla="*/ 526 h 647"/>
                <a:gd name="T12" fmla="*/ 154 w 624"/>
                <a:gd name="T13" fmla="*/ 521 h 647"/>
                <a:gd name="T14" fmla="*/ 166 w 624"/>
                <a:gd name="T15" fmla="*/ 535 h 647"/>
                <a:gd name="T16" fmla="*/ 166 w 624"/>
                <a:gd name="T17" fmla="*/ 561 h 647"/>
                <a:gd name="T18" fmla="*/ 231 w 624"/>
                <a:gd name="T19" fmla="*/ 591 h 647"/>
                <a:gd name="T20" fmla="*/ 249 w 624"/>
                <a:gd name="T21" fmla="*/ 615 h 647"/>
                <a:gd name="T22" fmla="*/ 256 w 624"/>
                <a:gd name="T23" fmla="*/ 647 h 647"/>
                <a:gd name="T24" fmla="*/ 298 w 624"/>
                <a:gd name="T25" fmla="*/ 629 h 647"/>
                <a:gd name="T26" fmla="*/ 319 w 624"/>
                <a:gd name="T27" fmla="*/ 610 h 647"/>
                <a:gd name="T28" fmla="*/ 319 w 624"/>
                <a:gd name="T29" fmla="*/ 591 h 647"/>
                <a:gd name="T30" fmla="*/ 333 w 624"/>
                <a:gd name="T31" fmla="*/ 585 h 647"/>
                <a:gd name="T32" fmla="*/ 353 w 624"/>
                <a:gd name="T33" fmla="*/ 572 h 647"/>
                <a:gd name="T34" fmla="*/ 353 w 624"/>
                <a:gd name="T35" fmla="*/ 552 h 647"/>
                <a:gd name="T36" fmla="*/ 342 w 624"/>
                <a:gd name="T37" fmla="*/ 533 h 647"/>
                <a:gd name="T38" fmla="*/ 350 w 624"/>
                <a:gd name="T39" fmla="*/ 489 h 647"/>
                <a:gd name="T40" fmla="*/ 378 w 624"/>
                <a:gd name="T41" fmla="*/ 472 h 647"/>
                <a:gd name="T42" fmla="*/ 400 w 624"/>
                <a:gd name="T43" fmla="*/ 440 h 647"/>
                <a:gd name="T44" fmla="*/ 413 w 624"/>
                <a:gd name="T45" fmla="*/ 452 h 647"/>
                <a:gd name="T46" fmla="*/ 435 w 624"/>
                <a:gd name="T47" fmla="*/ 455 h 647"/>
                <a:gd name="T48" fmla="*/ 461 w 624"/>
                <a:gd name="T49" fmla="*/ 437 h 647"/>
                <a:gd name="T50" fmla="*/ 477 w 624"/>
                <a:gd name="T51" fmla="*/ 407 h 647"/>
                <a:gd name="T52" fmla="*/ 487 w 624"/>
                <a:gd name="T53" fmla="*/ 395 h 647"/>
                <a:gd name="T54" fmla="*/ 477 w 624"/>
                <a:gd name="T55" fmla="*/ 372 h 647"/>
                <a:gd name="T56" fmla="*/ 477 w 624"/>
                <a:gd name="T57" fmla="*/ 352 h 647"/>
                <a:gd name="T58" fmla="*/ 496 w 624"/>
                <a:gd name="T59" fmla="*/ 332 h 647"/>
                <a:gd name="T60" fmla="*/ 521 w 624"/>
                <a:gd name="T61" fmla="*/ 309 h 647"/>
                <a:gd name="T62" fmla="*/ 539 w 624"/>
                <a:gd name="T63" fmla="*/ 281 h 647"/>
                <a:gd name="T64" fmla="*/ 569 w 624"/>
                <a:gd name="T65" fmla="*/ 269 h 647"/>
                <a:gd name="T66" fmla="*/ 595 w 624"/>
                <a:gd name="T67" fmla="*/ 264 h 647"/>
                <a:gd name="T68" fmla="*/ 621 w 624"/>
                <a:gd name="T69" fmla="*/ 226 h 647"/>
                <a:gd name="T70" fmla="*/ 613 w 624"/>
                <a:gd name="T71" fmla="*/ 178 h 647"/>
                <a:gd name="T72" fmla="*/ 624 w 624"/>
                <a:gd name="T73" fmla="*/ 157 h 647"/>
                <a:gd name="T74" fmla="*/ 612 w 624"/>
                <a:gd name="T75" fmla="*/ 147 h 647"/>
                <a:gd name="T76" fmla="*/ 584 w 624"/>
                <a:gd name="T77" fmla="*/ 129 h 647"/>
                <a:gd name="T78" fmla="*/ 573 w 624"/>
                <a:gd name="T79" fmla="*/ 99 h 647"/>
                <a:gd name="T80" fmla="*/ 575 w 624"/>
                <a:gd name="T81" fmla="*/ 70 h 647"/>
                <a:gd name="T82" fmla="*/ 555 w 624"/>
                <a:gd name="T83" fmla="*/ 35 h 647"/>
                <a:gd name="T84" fmla="*/ 505 w 624"/>
                <a:gd name="T85" fmla="*/ 46 h 647"/>
                <a:gd name="T86" fmla="*/ 470 w 624"/>
                <a:gd name="T87" fmla="*/ 55 h 647"/>
                <a:gd name="T88" fmla="*/ 427 w 624"/>
                <a:gd name="T89" fmla="*/ 65 h 647"/>
                <a:gd name="T90" fmla="*/ 393 w 624"/>
                <a:gd name="T91" fmla="*/ 95 h 647"/>
                <a:gd name="T92" fmla="*/ 366 w 624"/>
                <a:gd name="T93" fmla="*/ 109 h 647"/>
                <a:gd name="T94" fmla="*/ 351 w 624"/>
                <a:gd name="T95" fmla="*/ 130 h 647"/>
                <a:gd name="T96" fmla="*/ 314 w 624"/>
                <a:gd name="T97" fmla="*/ 166 h 647"/>
                <a:gd name="T98" fmla="*/ 277 w 624"/>
                <a:gd name="T99" fmla="*/ 173 h 647"/>
                <a:gd name="T100" fmla="*/ 261 w 624"/>
                <a:gd name="T101" fmla="*/ 176 h 647"/>
                <a:gd name="T102" fmla="*/ 247 w 624"/>
                <a:gd name="T103" fmla="*/ 212 h 647"/>
                <a:gd name="T104" fmla="*/ 227 w 624"/>
                <a:gd name="T105" fmla="*/ 275 h 647"/>
                <a:gd name="T106" fmla="*/ 153 w 624"/>
                <a:gd name="T107" fmla="*/ 284 h 647"/>
                <a:gd name="T108" fmla="*/ 33 w 624"/>
                <a:gd name="T109" fmla="*/ 268 h 647"/>
                <a:gd name="T110" fmla="*/ 8 w 624"/>
                <a:gd name="T111" fmla="*/ 289 h 647"/>
                <a:gd name="T112" fmla="*/ 2 w 624"/>
                <a:gd name="T113" fmla="*/ 306 h 647"/>
                <a:gd name="T114" fmla="*/ 18 w 624"/>
                <a:gd name="T115" fmla="*/ 349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24" h="647">
                  <a:moveTo>
                    <a:pt x="18" y="349"/>
                  </a:moveTo>
                  <a:lnTo>
                    <a:pt x="48" y="481"/>
                  </a:lnTo>
                  <a:lnTo>
                    <a:pt x="48" y="481"/>
                  </a:lnTo>
                  <a:lnTo>
                    <a:pt x="58" y="484"/>
                  </a:lnTo>
                  <a:lnTo>
                    <a:pt x="65" y="487"/>
                  </a:lnTo>
                  <a:lnTo>
                    <a:pt x="73" y="489"/>
                  </a:lnTo>
                  <a:lnTo>
                    <a:pt x="73" y="489"/>
                  </a:lnTo>
                  <a:lnTo>
                    <a:pt x="77" y="489"/>
                  </a:lnTo>
                  <a:lnTo>
                    <a:pt x="80" y="487"/>
                  </a:lnTo>
                  <a:lnTo>
                    <a:pt x="83" y="487"/>
                  </a:lnTo>
                  <a:lnTo>
                    <a:pt x="86" y="489"/>
                  </a:lnTo>
                  <a:lnTo>
                    <a:pt x="86" y="489"/>
                  </a:lnTo>
                  <a:lnTo>
                    <a:pt x="95" y="496"/>
                  </a:lnTo>
                  <a:lnTo>
                    <a:pt x="98" y="498"/>
                  </a:lnTo>
                  <a:lnTo>
                    <a:pt x="99" y="498"/>
                  </a:lnTo>
                  <a:lnTo>
                    <a:pt x="99" y="496"/>
                  </a:lnTo>
                  <a:lnTo>
                    <a:pt x="99" y="496"/>
                  </a:lnTo>
                  <a:lnTo>
                    <a:pt x="101" y="492"/>
                  </a:lnTo>
                  <a:lnTo>
                    <a:pt x="102" y="489"/>
                  </a:lnTo>
                  <a:lnTo>
                    <a:pt x="105" y="487"/>
                  </a:lnTo>
                  <a:lnTo>
                    <a:pt x="111" y="487"/>
                  </a:lnTo>
                  <a:lnTo>
                    <a:pt x="111" y="487"/>
                  </a:lnTo>
                  <a:lnTo>
                    <a:pt x="119" y="490"/>
                  </a:lnTo>
                  <a:lnTo>
                    <a:pt x="123" y="495"/>
                  </a:lnTo>
                  <a:lnTo>
                    <a:pt x="127" y="499"/>
                  </a:lnTo>
                  <a:lnTo>
                    <a:pt x="129" y="508"/>
                  </a:lnTo>
                  <a:lnTo>
                    <a:pt x="129" y="508"/>
                  </a:lnTo>
                  <a:lnTo>
                    <a:pt x="130" y="515"/>
                  </a:lnTo>
                  <a:lnTo>
                    <a:pt x="132" y="521"/>
                  </a:lnTo>
                  <a:lnTo>
                    <a:pt x="133" y="526"/>
                  </a:lnTo>
                  <a:lnTo>
                    <a:pt x="136" y="526"/>
                  </a:lnTo>
                  <a:lnTo>
                    <a:pt x="138" y="526"/>
                  </a:lnTo>
                  <a:lnTo>
                    <a:pt x="138" y="526"/>
                  </a:lnTo>
                  <a:lnTo>
                    <a:pt x="150" y="521"/>
                  </a:lnTo>
                  <a:lnTo>
                    <a:pt x="154" y="521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5" y="526"/>
                  </a:lnTo>
                  <a:lnTo>
                    <a:pt x="166" y="530"/>
                  </a:lnTo>
                  <a:lnTo>
                    <a:pt x="166" y="535"/>
                  </a:lnTo>
                  <a:lnTo>
                    <a:pt x="166" y="540"/>
                  </a:lnTo>
                  <a:lnTo>
                    <a:pt x="166" y="540"/>
                  </a:lnTo>
                  <a:lnTo>
                    <a:pt x="165" y="551"/>
                  </a:lnTo>
                  <a:lnTo>
                    <a:pt x="165" y="555"/>
                  </a:lnTo>
                  <a:lnTo>
                    <a:pt x="166" y="561"/>
                  </a:lnTo>
                  <a:lnTo>
                    <a:pt x="166" y="561"/>
                  </a:lnTo>
                  <a:lnTo>
                    <a:pt x="169" y="567"/>
                  </a:lnTo>
                  <a:lnTo>
                    <a:pt x="173" y="573"/>
                  </a:lnTo>
                  <a:lnTo>
                    <a:pt x="179" y="576"/>
                  </a:lnTo>
                  <a:lnTo>
                    <a:pt x="231" y="591"/>
                  </a:lnTo>
                  <a:lnTo>
                    <a:pt x="231" y="591"/>
                  </a:lnTo>
                  <a:lnTo>
                    <a:pt x="239" y="598"/>
                  </a:lnTo>
                  <a:lnTo>
                    <a:pt x="246" y="607"/>
                  </a:lnTo>
                  <a:lnTo>
                    <a:pt x="246" y="607"/>
                  </a:lnTo>
                  <a:lnTo>
                    <a:pt x="249" y="615"/>
                  </a:lnTo>
                  <a:lnTo>
                    <a:pt x="250" y="625"/>
                  </a:lnTo>
                  <a:lnTo>
                    <a:pt x="250" y="625"/>
                  </a:lnTo>
                  <a:lnTo>
                    <a:pt x="253" y="640"/>
                  </a:lnTo>
                  <a:lnTo>
                    <a:pt x="256" y="647"/>
                  </a:lnTo>
                  <a:lnTo>
                    <a:pt x="256" y="647"/>
                  </a:lnTo>
                  <a:lnTo>
                    <a:pt x="264" y="643"/>
                  </a:lnTo>
                  <a:lnTo>
                    <a:pt x="277" y="637"/>
                  </a:lnTo>
                  <a:lnTo>
                    <a:pt x="277" y="637"/>
                  </a:lnTo>
                  <a:lnTo>
                    <a:pt x="290" y="632"/>
                  </a:lnTo>
                  <a:lnTo>
                    <a:pt x="298" y="629"/>
                  </a:lnTo>
                  <a:lnTo>
                    <a:pt x="302" y="626"/>
                  </a:lnTo>
                  <a:lnTo>
                    <a:pt x="302" y="626"/>
                  </a:lnTo>
                  <a:lnTo>
                    <a:pt x="313" y="617"/>
                  </a:lnTo>
                  <a:lnTo>
                    <a:pt x="317" y="612"/>
                  </a:lnTo>
                  <a:lnTo>
                    <a:pt x="319" y="610"/>
                  </a:lnTo>
                  <a:lnTo>
                    <a:pt x="319" y="607"/>
                  </a:lnTo>
                  <a:lnTo>
                    <a:pt x="319" y="607"/>
                  </a:lnTo>
                  <a:lnTo>
                    <a:pt x="317" y="598"/>
                  </a:lnTo>
                  <a:lnTo>
                    <a:pt x="317" y="595"/>
                  </a:lnTo>
                  <a:lnTo>
                    <a:pt x="319" y="591"/>
                  </a:lnTo>
                  <a:lnTo>
                    <a:pt x="319" y="591"/>
                  </a:lnTo>
                  <a:lnTo>
                    <a:pt x="323" y="588"/>
                  </a:lnTo>
                  <a:lnTo>
                    <a:pt x="326" y="585"/>
                  </a:lnTo>
                  <a:lnTo>
                    <a:pt x="330" y="583"/>
                  </a:lnTo>
                  <a:lnTo>
                    <a:pt x="333" y="585"/>
                  </a:lnTo>
                  <a:lnTo>
                    <a:pt x="333" y="585"/>
                  </a:lnTo>
                  <a:lnTo>
                    <a:pt x="335" y="585"/>
                  </a:lnTo>
                  <a:lnTo>
                    <a:pt x="339" y="583"/>
                  </a:lnTo>
                  <a:lnTo>
                    <a:pt x="348" y="576"/>
                  </a:lnTo>
                  <a:lnTo>
                    <a:pt x="353" y="572"/>
                  </a:lnTo>
                  <a:lnTo>
                    <a:pt x="356" y="566"/>
                  </a:lnTo>
                  <a:lnTo>
                    <a:pt x="357" y="561"/>
                  </a:lnTo>
                  <a:lnTo>
                    <a:pt x="356" y="558"/>
                  </a:lnTo>
                  <a:lnTo>
                    <a:pt x="356" y="558"/>
                  </a:lnTo>
                  <a:lnTo>
                    <a:pt x="353" y="552"/>
                  </a:lnTo>
                  <a:lnTo>
                    <a:pt x="348" y="548"/>
                  </a:lnTo>
                  <a:lnTo>
                    <a:pt x="345" y="545"/>
                  </a:lnTo>
                  <a:lnTo>
                    <a:pt x="342" y="542"/>
                  </a:lnTo>
                  <a:lnTo>
                    <a:pt x="342" y="542"/>
                  </a:lnTo>
                  <a:lnTo>
                    <a:pt x="342" y="533"/>
                  </a:lnTo>
                  <a:lnTo>
                    <a:pt x="342" y="518"/>
                  </a:lnTo>
                  <a:lnTo>
                    <a:pt x="342" y="503"/>
                  </a:lnTo>
                  <a:lnTo>
                    <a:pt x="345" y="493"/>
                  </a:lnTo>
                  <a:lnTo>
                    <a:pt x="345" y="493"/>
                  </a:lnTo>
                  <a:lnTo>
                    <a:pt x="350" y="489"/>
                  </a:lnTo>
                  <a:lnTo>
                    <a:pt x="354" y="484"/>
                  </a:lnTo>
                  <a:lnTo>
                    <a:pt x="361" y="483"/>
                  </a:lnTo>
                  <a:lnTo>
                    <a:pt x="369" y="478"/>
                  </a:lnTo>
                  <a:lnTo>
                    <a:pt x="369" y="478"/>
                  </a:lnTo>
                  <a:lnTo>
                    <a:pt x="378" y="472"/>
                  </a:lnTo>
                  <a:lnTo>
                    <a:pt x="385" y="465"/>
                  </a:lnTo>
                  <a:lnTo>
                    <a:pt x="393" y="458"/>
                  </a:lnTo>
                  <a:lnTo>
                    <a:pt x="397" y="450"/>
                  </a:lnTo>
                  <a:lnTo>
                    <a:pt x="397" y="450"/>
                  </a:lnTo>
                  <a:lnTo>
                    <a:pt x="400" y="440"/>
                  </a:lnTo>
                  <a:lnTo>
                    <a:pt x="401" y="438"/>
                  </a:lnTo>
                  <a:lnTo>
                    <a:pt x="403" y="440"/>
                  </a:lnTo>
                  <a:lnTo>
                    <a:pt x="403" y="440"/>
                  </a:lnTo>
                  <a:lnTo>
                    <a:pt x="407" y="444"/>
                  </a:lnTo>
                  <a:lnTo>
                    <a:pt x="413" y="452"/>
                  </a:lnTo>
                  <a:lnTo>
                    <a:pt x="421" y="458"/>
                  </a:lnTo>
                  <a:lnTo>
                    <a:pt x="424" y="459"/>
                  </a:lnTo>
                  <a:lnTo>
                    <a:pt x="427" y="459"/>
                  </a:lnTo>
                  <a:lnTo>
                    <a:pt x="427" y="459"/>
                  </a:lnTo>
                  <a:lnTo>
                    <a:pt x="435" y="455"/>
                  </a:lnTo>
                  <a:lnTo>
                    <a:pt x="443" y="449"/>
                  </a:lnTo>
                  <a:lnTo>
                    <a:pt x="453" y="441"/>
                  </a:lnTo>
                  <a:lnTo>
                    <a:pt x="459" y="441"/>
                  </a:lnTo>
                  <a:lnTo>
                    <a:pt x="459" y="441"/>
                  </a:lnTo>
                  <a:lnTo>
                    <a:pt x="461" y="437"/>
                  </a:lnTo>
                  <a:lnTo>
                    <a:pt x="464" y="432"/>
                  </a:lnTo>
                  <a:lnTo>
                    <a:pt x="470" y="423"/>
                  </a:lnTo>
                  <a:lnTo>
                    <a:pt x="470" y="423"/>
                  </a:lnTo>
                  <a:lnTo>
                    <a:pt x="473" y="415"/>
                  </a:lnTo>
                  <a:lnTo>
                    <a:pt x="477" y="407"/>
                  </a:lnTo>
                  <a:lnTo>
                    <a:pt x="477" y="407"/>
                  </a:lnTo>
                  <a:lnTo>
                    <a:pt x="481" y="403"/>
                  </a:lnTo>
                  <a:lnTo>
                    <a:pt x="484" y="400"/>
                  </a:lnTo>
                  <a:lnTo>
                    <a:pt x="487" y="395"/>
                  </a:lnTo>
                  <a:lnTo>
                    <a:pt x="487" y="395"/>
                  </a:lnTo>
                  <a:lnTo>
                    <a:pt x="489" y="389"/>
                  </a:lnTo>
                  <a:lnTo>
                    <a:pt x="487" y="385"/>
                  </a:lnTo>
                  <a:lnTo>
                    <a:pt x="486" y="381"/>
                  </a:lnTo>
                  <a:lnTo>
                    <a:pt x="483" y="378"/>
                  </a:lnTo>
                  <a:lnTo>
                    <a:pt x="477" y="372"/>
                  </a:lnTo>
                  <a:lnTo>
                    <a:pt x="475" y="369"/>
                  </a:lnTo>
                  <a:lnTo>
                    <a:pt x="475" y="364"/>
                  </a:lnTo>
                  <a:lnTo>
                    <a:pt x="475" y="364"/>
                  </a:lnTo>
                  <a:lnTo>
                    <a:pt x="477" y="358"/>
                  </a:lnTo>
                  <a:lnTo>
                    <a:pt x="477" y="352"/>
                  </a:lnTo>
                  <a:lnTo>
                    <a:pt x="480" y="346"/>
                  </a:lnTo>
                  <a:lnTo>
                    <a:pt x="480" y="346"/>
                  </a:lnTo>
                  <a:lnTo>
                    <a:pt x="484" y="342"/>
                  </a:lnTo>
                  <a:lnTo>
                    <a:pt x="487" y="338"/>
                  </a:lnTo>
                  <a:lnTo>
                    <a:pt x="496" y="332"/>
                  </a:lnTo>
                  <a:lnTo>
                    <a:pt x="507" y="326"/>
                  </a:lnTo>
                  <a:lnTo>
                    <a:pt x="515" y="320"/>
                  </a:lnTo>
                  <a:lnTo>
                    <a:pt x="515" y="320"/>
                  </a:lnTo>
                  <a:lnTo>
                    <a:pt x="518" y="315"/>
                  </a:lnTo>
                  <a:lnTo>
                    <a:pt x="521" y="309"/>
                  </a:lnTo>
                  <a:lnTo>
                    <a:pt x="526" y="299"/>
                  </a:lnTo>
                  <a:lnTo>
                    <a:pt x="526" y="299"/>
                  </a:lnTo>
                  <a:lnTo>
                    <a:pt x="527" y="295"/>
                  </a:lnTo>
                  <a:lnTo>
                    <a:pt x="532" y="289"/>
                  </a:lnTo>
                  <a:lnTo>
                    <a:pt x="539" y="281"/>
                  </a:lnTo>
                  <a:lnTo>
                    <a:pt x="550" y="275"/>
                  </a:lnTo>
                  <a:lnTo>
                    <a:pt x="550" y="275"/>
                  </a:lnTo>
                  <a:lnTo>
                    <a:pt x="554" y="272"/>
                  </a:lnTo>
                  <a:lnTo>
                    <a:pt x="560" y="271"/>
                  </a:lnTo>
                  <a:lnTo>
                    <a:pt x="569" y="269"/>
                  </a:lnTo>
                  <a:lnTo>
                    <a:pt x="578" y="269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91" y="266"/>
                  </a:lnTo>
                  <a:lnTo>
                    <a:pt x="595" y="264"/>
                  </a:lnTo>
                  <a:lnTo>
                    <a:pt x="604" y="255"/>
                  </a:lnTo>
                  <a:lnTo>
                    <a:pt x="612" y="244"/>
                  </a:lnTo>
                  <a:lnTo>
                    <a:pt x="618" y="235"/>
                  </a:lnTo>
                  <a:lnTo>
                    <a:pt x="618" y="235"/>
                  </a:lnTo>
                  <a:lnTo>
                    <a:pt x="621" y="226"/>
                  </a:lnTo>
                  <a:lnTo>
                    <a:pt x="621" y="218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15" y="182"/>
                  </a:lnTo>
                  <a:lnTo>
                    <a:pt x="613" y="178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21" y="169"/>
                  </a:lnTo>
                  <a:lnTo>
                    <a:pt x="622" y="163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4" y="151"/>
                  </a:lnTo>
                  <a:lnTo>
                    <a:pt x="624" y="151"/>
                  </a:lnTo>
                  <a:lnTo>
                    <a:pt x="615" y="148"/>
                  </a:lnTo>
                  <a:lnTo>
                    <a:pt x="612" y="147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06" y="142"/>
                  </a:lnTo>
                  <a:lnTo>
                    <a:pt x="600" y="138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78" y="123"/>
                  </a:lnTo>
                  <a:lnTo>
                    <a:pt x="575" y="115"/>
                  </a:lnTo>
                  <a:lnTo>
                    <a:pt x="573" y="108"/>
                  </a:lnTo>
                  <a:lnTo>
                    <a:pt x="573" y="99"/>
                  </a:lnTo>
                  <a:lnTo>
                    <a:pt x="573" y="99"/>
                  </a:lnTo>
                  <a:lnTo>
                    <a:pt x="576" y="87"/>
                  </a:lnTo>
                  <a:lnTo>
                    <a:pt x="576" y="78"/>
                  </a:lnTo>
                  <a:lnTo>
                    <a:pt x="576" y="78"/>
                  </a:lnTo>
                  <a:lnTo>
                    <a:pt x="575" y="70"/>
                  </a:lnTo>
                  <a:lnTo>
                    <a:pt x="572" y="61"/>
                  </a:lnTo>
                  <a:lnTo>
                    <a:pt x="567" y="52"/>
                  </a:lnTo>
                  <a:lnTo>
                    <a:pt x="561" y="44"/>
                  </a:lnTo>
                  <a:lnTo>
                    <a:pt x="561" y="44"/>
                  </a:lnTo>
                  <a:lnTo>
                    <a:pt x="555" y="35"/>
                  </a:lnTo>
                  <a:lnTo>
                    <a:pt x="548" y="22"/>
                  </a:lnTo>
                  <a:lnTo>
                    <a:pt x="538" y="0"/>
                  </a:lnTo>
                  <a:lnTo>
                    <a:pt x="538" y="0"/>
                  </a:lnTo>
                  <a:lnTo>
                    <a:pt x="505" y="46"/>
                  </a:lnTo>
                  <a:lnTo>
                    <a:pt x="505" y="46"/>
                  </a:lnTo>
                  <a:lnTo>
                    <a:pt x="499" y="50"/>
                  </a:lnTo>
                  <a:lnTo>
                    <a:pt x="493" y="55"/>
                  </a:lnTo>
                  <a:lnTo>
                    <a:pt x="487" y="56"/>
                  </a:lnTo>
                  <a:lnTo>
                    <a:pt x="481" y="56"/>
                  </a:lnTo>
                  <a:lnTo>
                    <a:pt x="470" y="55"/>
                  </a:lnTo>
                  <a:lnTo>
                    <a:pt x="461" y="55"/>
                  </a:lnTo>
                  <a:lnTo>
                    <a:pt x="461" y="55"/>
                  </a:lnTo>
                  <a:lnTo>
                    <a:pt x="441" y="59"/>
                  </a:lnTo>
                  <a:lnTo>
                    <a:pt x="433" y="62"/>
                  </a:lnTo>
                  <a:lnTo>
                    <a:pt x="427" y="65"/>
                  </a:lnTo>
                  <a:lnTo>
                    <a:pt x="427" y="65"/>
                  </a:lnTo>
                  <a:lnTo>
                    <a:pt x="412" y="78"/>
                  </a:lnTo>
                  <a:lnTo>
                    <a:pt x="398" y="92"/>
                  </a:lnTo>
                  <a:lnTo>
                    <a:pt x="398" y="92"/>
                  </a:lnTo>
                  <a:lnTo>
                    <a:pt x="393" y="95"/>
                  </a:lnTo>
                  <a:lnTo>
                    <a:pt x="382" y="98"/>
                  </a:lnTo>
                  <a:lnTo>
                    <a:pt x="372" y="102"/>
                  </a:lnTo>
                  <a:lnTo>
                    <a:pt x="367" y="107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4" y="117"/>
                  </a:lnTo>
                  <a:lnTo>
                    <a:pt x="361" y="123"/>
                  </a:lnTo>
                  <a:lnTo>
                    <a:pt x="357" y="127"/>
                  </a:lnTo>
                  <a:lnTo>
                    <a:pt x="351" y="130"/>
                  </a:lnTo>
                  <a:lnTo>
                    <a:pt x="351" y="130"/>
                  </a:lnTo>
                  <a:lnTo>
                    <a:pt x="347" y="132"/>
                  </a:lnTo>
                  <a:lnTo>
                    <a:pt x="341" y="136"/>
                  </a:lnTo>
                  <a:lnTo>
                    <a:pt x="332" y="147"/>
                  </a:lnTo>
                  <a:lnTo>
                    <a:pt x="321" y="157"/>
                  </a:lnTo>
                  <a:lnTo>
                    <a:pt x="314" y="166"/>
                  </a:lnTo>
                  <a:lnTo>
                    <a:pt x="314" y="166"/>
                  </a:lnTo>
                  <a:lnTo>
                    <a:pt x="305" y="170"/>
                  </a:lnTo>
                  <a:lnTo>
                    <a:pt x="295" y="173"/>
                  </a:lnTo>
                  <a:lnTo>
                    <a:pt x="286" y="175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3" y="173"/>
                  </a:lnTo>
                  <a:lnTo>
                    <a:pt x="270" y="173"/>
                  </a:lnTo>
                  <a:lnTo>
                    <a:pt x="265" y="173"/>
                  </a:lnTo>
                  <a:lnTo>
                    <a:pt x="261" y="176"/>
                  </a:lnTo>
                  <a:lnTo>
                    <a:pt x="258" y="181"/>
                  </a:lnTo>
                  <a:lnTo>
                    <a:pt x="253" y="188"/>
                  </a:lnTo>
                  <a:lnTo>
                    <a:pt x="250" y="198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2" y="240"/>
                  </a:lnTo>
                  <a:lnTo>
                    <a:pt x="239" y="252"/>
                  </a:lnTo>
                  <a:lnTo>
                    <a:pt x="236" y="262"/>
                  </a:lnTo>
                  <a:lnTo>
                    <a:pt x="231" y="269"/>
                  </a:lnTo>
                  <a:lnTo>
                    <a:pt x="227" y="275"/>
                  </a:lnTo>
                  <a:lnTo>
                    <a:pt x="219" y="280"/>
                  </a:lnTo>
                  <a:lnTo>
                    <a:pt x="212" y="283"/>
                  </a:lnTo>
                  <a:lnTo>
                    <a:pt x="212" y="283"/>
                  </a:lnTo>
                  <a:lnTo>
                    <a:pt x="187" y="284"/>
                  </a:lnTo>
                  <a:lnTo>
                    <a:pt x="153" y="284"/>
                  </a:lnTo>
                  <a:lnTo>
                    <a:pt x="120" y="283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58" y="272"/>
                  </a:lnTo>
                  <a:lnTo>
                    <a:pt x="33" y="268"/>
                  </a:lnTo>
                  <a:lnTo>
                    <a:pt x="11" y="266"/>
                  </a:lnTo>
                  <a:lnTo>
                    <a:pt x="11" y="266"/>
                  </a:lnTo>
                  <a:lnTo>
                    <a:pt x="11" y="277"/>
                  </a:lnTo>
                  <a:lnTo>
                    <a:pt x="11" y="283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2" y="299"/>
                  </a:lnTo>
                  <a:lnTo>
                    <a:pt x="0" y="302"/>
                  </a:lnTo>
                  <a:lnTo>
                    <a:pt x="2" y="306"/>
                  </a:lnTo>
                  <a:lnTo>
                    <a:pt x="2" y="306"/>
                  </a:lnTo>
                  <a:lnTo>
                    <a:pt x="5" y="309"/>
                  </a:lnTo>
                  <a:lnTo>
                    <a:pt x="8" y="312"/>
                  </a:lnTo>
                  <a:lnTo>
                    <a:pt x="9" y="314"/>
                  </a:lnTo>
                  <a:lnTo>
                    <a:pt x="11" y="314"/>
                  </a:lnTo>
                  <a:lnTo>
                    <a:pt x="18" y="349"/>
                  </a:lnTo>
                  <a:lnTo>
                    <a:pt x="18" y="34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2" name="Freeform 41">
              <a:extLst>
                <a:ext uri="{FF2B5EF4-FFF2-40B4-BE49-F238E27FC236}">
                  <a16:creationId xmlns:a16="http://schemas.microsoft.com/office/drawing/2014/main" id="{163A21D0-D2C7-5F49-9407-30F346FB7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6019800"/>
              <a:ext cx="596900" cy="692150"/>
            </a:xfrm>
            <a:custGeom>
              <a:avLst/>
              <a:gdLst>
                <a:gd name="T0" fmla="*/ 140 w 376"/>
                <a:gd name="T1" fmla="*/ 378 h 436"/>
                <a:gd name="T2" fmla="*/ 151 w 376"/>
                <a:gd name="T3" fmla="*/ 419 h 436"/>
                <a:gd name="T4" fmla="*/ 207 w 376"/>
                <a:gd name="T5" fmla="*/ 433 h 436"/>
                <a:gd name="T6" fmla="*/ 250 w 376"/>
                <a:gd name="T7" fmla="*/ 405 h 436"/>
                <a:gd name="T8" fmla="*/ 229 w 376"/>
                <a:gd name="T9" fmla="*/ 374 h 436"/>
                <a:gd name="T10" fmla="*/ 238 w 376"/>
                <a:gd name="T11" fmla="*/ 356 h 436"/>
                <a:gd name="T12" fmla="*/ 287 w 376"/>
                <a:gd name="T13" fmla="*/ 342 h 436"/>
                <a:gd name="T14" fmla="*/ 275 w 376"/>
                <a:gd name="T15" fmla="*/ 328 h 436"/>
                <a:gd name="T16" fmla="*/ 275 w 376"/>
                <a:gd name="T17" fmla="*/ 298 h 436"/>
                <a:gd name="T18" fmla="*/ 284 w 376"/>
                <a:gd name="T19" fmla="*/ 297 h 436"/>
                <a:gd name="T20" fmla="*/ 306 w 376"/>
                <a:gd name="T21" fmla="*/ 298 h 436"/>
                <a:gd name="T22" fmla="*/ 327 w 376"/>
                <a:gd name="T23" fmla="*/ 305 h 436"/>
                <a:gd name="T24" fmla="*/ 342 w 376"/>
                <a:gd name="T25" fmla="*/ 277 h 436"/>
                <a:gd name="T26" fmla="*/ 345 w 376"/>
                <a:gd name="T27" fmla="*/ 220 h 436"/>
                <a:gd name="T28" fmla="*/ 376 w 376"/>
                <a:gd name="T29" fmla="*/ 218 h 436"/>
                <a:gd name="T30" fmla="*/ 339 w 376"/>
                <a:gd name="T31" fmla="*/ 191 h 436"/>
                <a:gd name="T32" fmla="*/ 334 w 376"/>
                <a:gd name="T33" fmla="*/ 175 h 436"/>
                <a:gd name="T34" fmla="*/ 345 w 376"/>
                <a:gd name="T35" fmla="*/ 137 h 436"/>
                <a:gd name="T36" fmla="*/ 367 w 376"/>
                <a:gd name="T37" fmla="*/ 113 h 436"/>
                <a:gd name="T38" fmla="*/ 354 w 376"/>
                <a:gd name="T39" fmla="*/ 83 h 436"/>
                <a:gd name="T40" fmla="*/ 340 w 376"/>
                <a:gd name="T41" fmla="*/ 67 h 436"/>
                <a:gd name="T42" fmla="*/ 329 w 376"/>
                <a:gd name="T43" fmla="*/ 49 h 436"/>
                <a:gd name="T44" fmla="*/ 326 w 376"/>
                <a:gd name="T45" fmla="*/ 31 h 436"/>
                <a:gd name="T46" fmla="*/ 315 w 376"/>
                <a:gd name="T47" fmla="*/ 45 h 436"/>
                <a:gd name="T48" fmla="*/ 290 w 376"/>
                <a:gd name="T49" fmla="*/ 54 h 436"/>
                <a:gd name="T50" fmla="*/ 284 w 376"/>
                <a:gd name="T51" fmla="*/ 33 h 436"/>
                <a:gd name="T52" fmla="*/ 271 w 376"/>
                <a:gd name="T53" fmla="*/ 34 h 436"/>
                <a:gd name="T54" fmla="*/ 246 w 376"/>
                <a:gd name="T55" fmla="*/ 30 h 436"/>
                <a:gd name="T56" fmla="*/ 217 w 376"/>
                <a:gd name="T57" fmla="*/ 40 h 436"/>
                <a:gd name="T58" fmla="*/ 216 w 376"/>
                <a:gd name="T59" fmla="*/ 74 h 436"/>
                <a:gd name="T60" fmla="*/ 234 w 376"/>
                <a:gd name="T61" fmla="*/ 71 h 436"/>
                <a:gd name="T62" fmla="*/ 252 w 376"/>
                <a:gd name="T63" fmla="*/ 65 h 436"/>
                <a:gd name="T64" fmla="*/ 228 w 376"/>
                <a:gd name="T65" fmla="*/ 95 h 436"/>
                <a:gd name="T66" fmla="*/ 172 w 376"/>
                <a:gd name="T67" fmla="*/ 113 h 436"/>
                <a:gd name="T68" fmla="*/ 155 w 376"/>
                <a:gd name="T69" fmla="*/ 123 h 436"/>
                <a:gd name="T70" fmla="*/ 133 w 376"/>
                <a:gd name="T71" fmla="*/ 138 h 436"/>
                <a:gd name="T72" fmla="*/ 108 w 376"/>
                <a:gd name="T73" fmla="*/ 114 h 436"/>
                <a:gd name="T74" fmla="*/ 100 w 376"/>
                <a:gd name="T75" fmla="*/ 79 h 436"/>
                <a:gd name="T76" fmla="*/ 89 w 376"/>
                <a:gd name="T77" fmla="*/ 74 h 436"/>
                <a:gd name="T78" fmla="*/ 80 w 376"/>
                <a:gd name="T79" fmla="*/ 57 h 436"/>
                <a:gd name="T80" fmla="*/ 83 w 376"/>
                <a:gd name="T81" fmla="*/ 24 h 436"/>
                <a:gd name="T82" fmla="*/ 35 w 376"/>
                <a:gd name="T83" fmla="*/ 33 h 436"/>
                <a:gd name="T84" fmla="*/ 10 w 376"/>
                <a:gd name="T85" fmla="*/ 23 h 436"/>
                <a:gd name="T86" fmla="*/ 1 w 376"/>
                <a:gd name="T87" fmla="*/ 37 h 436"/>
                <a:gd name="T88" fmla="*/ 15 w 376"/>
                <a:gd name="T89" fmla="*/ 61 h 436"/>
                <a:gd name="T90" fmla="*/ 38 w 376"/>
                <a:gd name="T91" fmla="*/ 54 h 436"/>
                <a:gd name="T92" fmla="*/ 32 w 376"/>
                <a:gd name="T93" fmla="*/ 71 h 436"/>
                <a:gd name="T94" fmla="*/ 58 w 376"/>
                <a:gd name="T95" fmla="*/ 85 h 436"/>
                <a:gd name="T96" fmla="*/ 80 w 376"/>
                <a:gd name="T97" fmla="*/ 91 h 436"/>
                <a:gd name="T98" fmla="*/ 105 w 376"/>
                <a:gd name="T99" fmla="*/ 157 h 436"/>
                <a:gd name="T100" fmla="*/ 105 w 376"/>
                <a:gd name="T101" fmla="*/ 191 h 436"/>
                <a:gd name="T102" fmla="*/ 98 w 376"/>
                <a:gd name="T103" fmla="*/ 230 h 436"/>
                <a:gd name="T104" fmla="*/ 115 w 376"/>
                <a:gd name="T105" fmla="*/ 313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6" h="436">
                  <a:moveTo>
                    <a:pt x="114" y="345"/>
                  </a:moveTo>
                  <a:lnTo>
                    <a:pt x="114" y="345"/>
                  </a:lnTo>
                  <a:lnTo>
                    <a:pt x="123" y="357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40" y="378"/>
                  </a:lnTo>
                  <a:lnTo>
                    <a:pt x="143" y="384"/>
                  </a:lnTo>
                  <a:lnTo>
                    <a:pt x="145" y="390"/>
                  </a:lnTo>
                  <a:lnTo>
                    <a:pt x="145" y="399"/>
                  </a:lnTo>
                  <a:lnTo>
                    <a:pt x="145" y="399"/>
                  </a:lnTo>
                  <a:lnTo>
                    <a:pt x="146" y="409"/>
                  </a:lnTo>
                  <a:lnTo>
                    <a:pt x="151" y="419"/>
                  </a:lnTo>
                  <a:lnTo>
                    <a:pt x="158" y="436"/>
                  </a:lnTo>
                  <a:lnTo>
                    <a:pt x="158" y="436"/>
                  </a:lnTo>
                  <a:lnTo>
                    <a:pt x="173" y="434"/>
                  </a:lnTo>
                  <a:lnTo>
                    <a:pt x="194" y="433"/>
                  </a:lnTo>
                  <a:lnTo>
                    <a:pt x="194" y="433"/>
                  </a:lnTo>
                  <a:lnTo>
                    <a:pt x="207" y="433"/>
                  </a:lnTo>
                  <a:lnTo>
                    <a:pt x="216" y="431"/>
                  </a:lnTo>
                  <a:lnTo>
                    <a:pt x="223" y="428"/>
                  </a:lnTo>
                  <a:lnTo>
                    <a:pt x="232" y="421"/>
                  </a:lnTo>
                  <a:lnTo>
                    <a:pt x="232" y="421"/>
                  </a:lnTo>
                  <a:lnTo>
                    <a:pt x="246" y="409"/>
                  </a:lnTo>
                  <a:lnTo>
                    <a:pt x="250" y="405"/>
                  </a:lnTo>
                  <a:lnTo>
                    <a:pt x="254" y="403"/>
                  </a:lnTo>
                  <a:lnTo>
                    <a:pt x="253" y="387"/>
                  </a:lnTo>
                  <a:lnTo>
                    <a:pt x="253" y="387"/>
                  </a:lnTo>
                  <a:lnTo>
                    <a:pt x="232" y="376"/>
                  </a:lnTo>
                  <a:lnTo>
                    <a:pt x="232" y="376"/>
                  </a:lnTo>
                  <a:lnTo>
                    <a:pt x="229" y="374"/>
                  </a:lnTo>
                  <a:lnTo>
                    <a:pt x="226" y="371"/>
                  </a:lnTo>
                  <a:lnTo>
                    <a:pt x="228" y="365"/>
                  </a:lnTo>
                  <a:lnTo>
                    <a:pt x="231" y="360"/>
                  </a:lnTo>
                  <a:lnTo>
                    <a:pt x="231" y="360"/>
                  </a:lnTo>
                  <a:lnTo>
                    <a:pt x="234" y="357"/>
                  </a:lnTo>
                  <a:lnTo>
                    <a:pt x="238" y="356"/>
                  </a:lnTo>
                  <a:lnTo>
                    <a:pt x="253" y="350"/>
                  </a:lnTo>
                  <a:lnTo>
                    <a:pt x="268" y="347"/>
                  </a:lnTo>
                  <a:lnTo>
                    <a:pt x="280" y="345"/>
                  </a:lnTo>
                  <a:lnTo>
                    <a:pt x="280" y="345"/>
                  </a:lnTo>
                  <a:lnTo>
                    <a:pt x="286" y="342"/>
                  </a:lnTo>
                  <a:lnTo>
                    <a:pt x="287" y="342"/>
                  </a:lnTo>
                  <a:lnTo>
                    <a:pt x="287" y="341"/>
                  </a:lnTo>
                  <a:lnTo>
                    <a:pt x="284" y="338"/>
                  </a:lnTo>
                  <a:lnTo>
                    <a:pt x="281" y="335"/>
                  </a:lnTo>
                  <a:lnTo>
                    <a:pt x="281" y="335"/>
                  </a:lnTo>
                  <a:lnTo>
                    <a:pt x="277" y="332"/>
                  </a:lnTo>
                  <a:lnTo>
                    <a:pt x="275" y="328"/>
                  </a:lnTo>
                  <a:lnTo>
                    <a:pt x="275" y="322"/>
                  </a:lnTo>
                  <a:lnTo>
                    <a:pt x="277" y="314"/>
                  </a:lnTo>
                  <a:lnTo>
                    <a:pt x="277" y="314"/>
                  </a:lnTo>
                  <a:lnTo>
                    <a:pt x="277" y="308"/>
                  </a:lnTo>
                  <a:lnTo>
                    <a:pt x="275" y="302"/>
                  </a:lnTo>
                  <a:lnTo>
                    <a:pt x="275" y="298"/>
                  </a:lnTo>
                  <a:lnTo>
                    <a:pt x="277" y="295"/>
                  </a:lnTo>
                  <a:lnTo>
                    <a:pt x="278" y="294"/>
                  </a:lnTo>
                  <a:lnTo>
                    <a:pt x="278" y="294"/>
                  </a:lnTo>
                  <a:lnTo>
                    <a:pt x="280" y="294"/>
                  </a:lnTo>
                  <a:lnTo>
                    <a:pt x="281" y="294"/>
                  </a:lnTo>
                  <a:lnTo>
                    <a:pt x="284" y="297"/>
                  </a:lnTo>
                  <a:lnTo>
                    <a:pt x="289" y="302"/>
                  </a:lnTo>
                  <a:lnTo>
                    <a:pt x="289" y="302"/>
                  </a:lnTo>
                  <a:lnTo>
                    <a:pt x="291" y="304"/>
                  </a:lnTo>
                  <a:lnTo>
                    <a:pt x="294" y="304"/>
                  </a:lnTo>
                  <a:lnTo>
                    <a:pt x="306" y="298"/>
                  </a:lnTo>
                  <a:lnTo>
                    <a:pt x="306" y="298"/>
                  </a:lnTo>
                  <a:lnTo>
                    <a:pt x="309" y="297"/>
                  </a:lnTo>
                  <a:lnTo>
                    <a:pt x="312" y="298"/>
                  </a:lnTo>
                  <a:lnTo>
                    <a:pt x="317" y="304"/>
                  </a:lnTo>
                  <a:lnTo>
                    <a:pt x="317" y="304"/>
                  </a:lnTo>
                  <a:lnTo>
                    <a:pt x="321" y="305"/>
                  </a:lnTo>
                  <a:lnTo>
                    <a:pt x="327" y="305"/>
                  </a:lnTo>
                  <a:lnTo>
                    <a:pt x="336" y="302"/>
                  </a:lnTo>
                  <a:lnTo>
                    <a:pt x="336" y="302"/>
                  </a:lnTo>
                  <a:lnTo>
                    <a:pt x="337" y="301"/>
                  </a:lnTo>
                  <a:lnTo>
                    <a:pt x="339" y="298"/>
                  </a:lnTo>
                  <a:lnTo>
                    <a:pt x="340" y="289"/>
                  </a:lnTo>
                  <a:lnTo>
                    <a:pt x="342" y="277"/>
                  </a:lnTo>
                  <a:lnTo>
                    <a:pt x="340" y="264"/>
                  </a:lnTo>
                  <a:lnTo>
                    <a:pt x="340" y="264"/>
                  </a:lnTo>
                  <a:lnTo>
                    <a:pt x="339" y="251"/>
                  </a:lnTo>
                  <a:lnTo>
                    <a:pt x="342" y="237"/>
                  </a:lnTo>
                  <a:lnTo>
                    <a:pt x="343" y="225"/>
                  </a:lnTo>
                  <a:lnTo>
                    <a:pt x="345" y="220"/>
                  </a:lnTo>
                  <a:lnTo>
                    <a:pt x="345" y="220"/>
                  </a:lnTo>
                  <a:lnTo>
                    <a:pt x="351" y="220"/>
                  </a:lnTo>
                  <a:lnTo>
                    <a:pt x="363" y="220"/>
                  </a:lnTo>
                  <a:lnTo>
                    <a:pt x="373" y="220"/>
                  </a:lnTo>
                  <a:lnTo>
                    <a:pt x="376" y="218"/>
                  </a:lnTo>
                  <a:lnTo>
                    <a:pt x="376" y="218"/>
                  </a:lnTo>
                  <a:lnTo>
                    <a:pt x="366" y="214"/>
                  </a:lnTo>
                  <a:lnTo>
                    <a:pt x="355" y="209"/>
                  </a:lnTo>
                  <a:lnTo>
                    <a:pt x="346" y="202"/>
                  </a:lnTo>
                  <a:lnTo>
                    <a:pt x="346" y="202"/>
                  </a:lnTo>
                  <a:lnTo>
                    <a:pt x="339" y="196"/>
                  </a:lnTo>
                  <a:lnTo>
                    <a:pt x="339" y="191"/>
                  </a:lnTo>
                  <a:lnTo>
                    <a:pt x="339" y="188"/>
                  </a:lnTo>
                  <a:lnTo>
                    <a:pt x="339" y="185"/>
                  </a:lnTo>
                  <a:lnTo>
                    <a:pt x="337" y="182"/>
                  </a:lnTo>
                  <a:lnTo>
                    <a:pt x="337" y="182"/>
                  </a:lnTo>
                  <a:lnTo>
                    <a:pt x="336" y="178"/>
                  </a:lnTo>
                  <a:lnTo>
                    <a:pt x="334" y="175"/>
                  </a:lnTo>
                  <a:lnTo>
                    <a:pt x="336" y="168"/>
                  </a:lnTo>
                  <a:lnTo>
                    <a:pt x="339" y="160"/>
                  </a:lnTo>
                  <a:lnTo>
                    <a:pt x="340" y="150"/>
                  </a:lnTo>
                  <a:lnTo>
                    <a:pt x="340" y="150"/>
                  </a:lnTo>
                  <a:lnTo>
                    <a:pt x="343" y="141"/>
                  </a:lnTo>
                  <a:lnTo>
                    <a:pt x="345" y="137"/>
                  </a:lnTo>
                  <a:lnTo>
                    <a:pt x="349" y="132"/>
                  </a:lnTo>
                  <a:lnTo>
                    <a:pt x="349" y="132"/>
                  </a:lnTo>
                  <a:lnTo>
                    <a:pt x="358" y="122"/>
                  </a:lnTo>
                  <a:lnTo>
                    <a:pt x="364" y="117"/>
                  </a:lnTo>
                  <a:lnTo>
                    <a:pt x="367" y="113"/>
                  </a:lnTo>
                  <a:lnTo>
                    <a:pt x="367" y="113"/>
                  </a:lnTo>
                  <a:lnTo>
                    <a:pt x="364" y="111"/>
                  </a:lnTo>
                  <a:lnTo>
                    <a:pt x="361" y="108"/>
                  </a:lnTo>
                  <a:lnTo>
                    <a:pt x="358" y="104"/>
                  </a:lnTo>
                  <a:lnTo>
                    <a:pt x="355" y="98"/>
                  </a:lnTo>
                  <a:lnTo>
                    <a:pt x="355" y="98"/>
                  </a:lnTo>
                  <a:lnTo>
                    <a:pt x="354" y="83"/>
                  </a:lnTo>
                  <a:lnTo>
                    <a:pt x="352" y="76"/>
                  </a:lnTo>
                  <a:lnTo>
                    <a:pt x="349" y="70"/>
                  </a:lnTo>
                  <a:lnTo>
                    <a:pt x="349" y="70"/>
                  </a:lnTo>
                  <a:lnTo>
                    <a:pt x="348" y="67"/>
                  </a:lnTo>
                  <a:lnTo>
                    <a:pt x="343" y="67"/>
                  </a:lnTo>
                  <a:lnTo>
                    <a:pt x="340" y="67"/>
                  </a:lnTo>
                  <a:lnTo>
                    <a:pt x="336" y="67"/>
                  </a:lnTo>
                  <a:lnTo>
                    <a:pt x="336" y="67"/>
                  </a:lnTo>
                  <a:lnTo>
                    <a:pt x="333" y="65"/>
                  </a:lnTo>
                  <a:lnTo>
                    <a:pt x="330" y="61"/>
                  </a:lnTo>
                  <a:lnTo>
                    <a:pt x="329" y="57"/>
                  </a:lnTo>
                  <a:lnTo>
                    <a:pt x="329" y="49"/>
                  </a:lnTo>
                  <a:lnTo>
                    <a:pt x="329" y="49"/>
                  </a:lnTo>
                  <a:lnTo>
                    <a:pt x="330" y="43"/>
                  </a:lnTo>
                  <a:lnTo>
                    <a:pt x="330" y="39"/>
                  </a:lnTo>
                  <a:lnTo>
                    <a:pt x="329" y="34"/>
                  </a:lnTo>
                  <a:lnTo>
                    <a:pt x="326" y="31"/>
                  </a:lnTo>
                  <a:lnTo>
                    <a:pt x="326" y="31"/>
                  </a:lnTo>
                  <a:lnTo>
                    <a:pt x="323" y="31"/>
                  </a:lnTo>
                  <a:lnTo>
                    <a:pt x="320" y="34"/>
                  </a:lnTo>
                  <a:lnTo>
                    <a:pt x="317" y="37"/>
                  </a:lnTo>
                  <a:lnTo>
                    <a:pt x="315" y="42"/>
                  </a:lnTo>
                  <a:lnTo>
                    <a:pt x="315" y="42"/>
                  </a:lnTo>
                  <a:lnTo>
                    <a:pt x="315" y="45"/>
                  </a:lnTo>
                  <a:lnTo>
                    <a:pt x="314" y="48"/>
                  </a:lnTo>
                  <a:lnTo>
                    <a:pt x="306" y="51"/>
                  </a:lnTo>
                  <a:lnTo>
                    <a:pt x="306" y="51"/>
                  </a:lnTo>
                  <a:lnTo>
                    <a:pt x="296" y="54"/>
                  </a:lnTo>
                  <a:lnTo>
                    <a:pt x="291" y="54"/>
                  </a:lnTo>
                  <a:lnTo>
                    <a:pt x="290" y="54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7" y="48"/>
                  </a:lnTo>
                  <a:lnTo>
                    <a:pt x="287" y="43"/>
                  </a:lnTo>
                  <a:lnTo>
                    <a:pt x="287" y="37"/>
                  </a:lnTo>
                  <a:lnTo>
                    <a:pt x="284" y="33"/>
                  </a:lnTo>
                  <a:lnTo>
                    <a:pt x="284" y="33"/>
                  </a:lnTo>
                  <a:lnTo>
                    <a:pt x="281" y="31"/>
                  </a:lnTo>
                  <a:lnTo>
                    <a:pt x="280" y="31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1" y="34"/>
                  </a:lnTo>
                  <a:lnTo>
                    <a:pt x="268" y="33"/>
                  </a:lnTo>
                  <a:lnTo>
                    <a:pt x="260" y="30"/>
                  </a:lnTo>
                  <a:lnTo>
                    <a:pt x="260" y="30"/>
                  </a:lnTo>
                  <a:lnTo>
                    <a:pt x="256" y="28"/>
                  </a:lnTo>
                  <a:lnTo>
                    <a:pt x="252" y="28"/>
                  </a:lnTo>
                  <a:lnTo>
                    <a:pt x="246" y="30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34" y="33"/>
                  </a:lnTo>
                  <a:lnTo>
                    <a:pt x="226" y="36"/>
                  </a:lnTo>
                  <a:lnTo>
                    <a:pt x="217" y="40"/>
                  </a:lnTo>
                  <a:lnTo>
                    <a:pt x="217" y="40"/>
                  </a:lnTo>
                  <a:lnTo>
                    <a:pt x="219" y="46"/>
                  </a:lnTo>
                  <a:lnTo>
                    <a:pt x="219" y="52"/>
                  </a:lnTo>
                  <a:lnTo>
                    <a:pt x="219" y="52"/>
                  </a:lnTo>
                  <a:lnTo>
                    <a:pt x="217" y="61"/>
                  </a:lnTo>
                  <a:lnTo>
                    <a:pt x="216" y="68"/>
                  </a:lnTo>
                  <a:lnTo>
                    <a:pt x="216" y="74"/>
                  </a:lnTo>
                  <a:lnTo>
                    <a:pt x="216" y="76"/>
                  </a:lnTo>
                  <a:lnTo>
                    <a:pt x="217" y="77"/>
                  </a:lnTo>
                  <a:lnTo>
                    <a:pt x="217" y="77"/>
                  </a:lnTo>
                  <a:lnTo>
                    <a:pt x="222" y="79"/>
                  </a:lnTo>
                  <a:lnTo>
                    <a:pt x="226" y="77"/>
                  </a:lnTo>
                  <a:lnTo>
                    <a:pt x="234" y="71"/>
                  </a:lnTo>
                  <a:lnTo>
                    <a:pt x="234" y="71"/>
                  </a:lnTo>
                  <a:lnTo>
                    <a:pt x="238" y="68"/>
                  </a:lnTo>
                  <a:lnTo>
                    <a:pt x="244" y="65"/>
                  </a:lnTo>
                  <a:lnTo>
                    <a:pt x="247" y="64"/>
                  </a:lnTo>
                  <a:lnTo>
                    <a:pt x="250" y="64"/>
                  </a:lnTo>
                  <a:lnTo>
                    <a:pt x="252" y="65"/>
                  </a:lnTo>
                  <a:lnTo>
                    <a:pt x="253" y="68"/>
                  </a:lnTo>
                  <a:lnTo>
                    <a:pt x="253" y="68"/>
                  </a:lnTo>
                  <a:lnTo>
                    <a:pt x="253" y="70"/>
                  </a:lnTo>
                  <a:lnTo>
                    <a:pt x="252" y="73"/>
                  </a:lnTo>
                  <a:lnTo>
                    <a:pt x="246" y="80"/>
                  </a:lnTo>
                  <a:lnTo>
                    <a:pt x="228" y="95"/>
                  </a:lnTo>
                  <a:lnTo>
                    <a:pt x="209" y="110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1" y="120"/>
                  </a:lnTo>
                  <a:lnTo>
                    <a:pt x="183" y="119"/>
                  </a:lnTo>
                  <a:lnTo>
                    <a:pt x="172" y="113"/>
                  </a:lnTo>
                  <a:lnTo>
                    <a:pt x="167" y="111"/>
                  </a:lnTo>
                  <a:lnTo>
                    <a:pt x="163" y="110"/>
                  </a:lnTo>
                  <a:lnTo>
                    <a:pt x="160" y="111"/>
                  </a:lnTo>
                  <a:lnTo>
                    <a:pt x="157" y="116"/>
                  </a:lnTo>
                  <a:lnTo>
                    <a:pt x="157" y="116"/>
                  </a:lnTo>
                  <a:lnTo>
                    <a:pt x="155" y="123"/>
                  </a:lnTo>
                  <a:lnTo>
                    <a:pt x="151" y="129"/>
                  </a:lnTo>
                  <a:lnTo>
                    <a:pt x="146" y="135"/>
                  </a:lnTo>
                  <a:lnTo>
                    <a:pt x="142" y="138"/>
                  </a:lnTo>
                  <a:lnTo>
                    <a:pt x="142" y="138"/>
                  </a:lnTo>
                  <a:lnTo>
                    <a:pt x="137" y="138"/>
                  </a:lnTo>
                  <a:lnTo>
                    <a:pt x="133" y="138"/>
                  </a:lnTo>
                  <a:lnTo>
                    <a:pt x="127" y="137"/>
                  </a:lnTo>
                  <a:lnTo>
                    <a:pt x="121" y="134"/>
                  </a:lnTo>
                  <a:lnTo>
                    <a:pt x="117" y="131"/>
                  </a:lnTo>
                  <a:lnTo>
                    <a:pt x="112" y="126"/>
                  </a:lnTo>
                  <a:lnTo>
                    <a:pt x="109" y="120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04"/>
                  </a:lnTo>
                  <a:lnTo>
                    <a:pt x="106" y="94"/>
                  </a:lnTo>
                  <a:lnTo>
                    <a:pt x="103" y="85"/>
                  </a:lnTo>
                  <a:lnTo>
                    <a:pt x="100" y="79"/>
                  </a:lnTo>
                  <a:lnTo>
                    <a:pt x="100" y="79"/>
                  </a:lnTo>
                  <a:lnTo>
                    <a:pt x="98" y="76"/>
                  </a:lnTo>
                  <a:lnTo>
                    <a:pt x="93" y="73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7"/>
                  </a:lnTo>
                  <a:lnTo>
                    <a:pt x="87" y="76"/>
                  </a:lnTo>
                  <a:lnTo>
                    <a:pt x="84" y="71"/>
                  </a:lnTo>
                  <a:lnTo>
                    <a:pt x="81" y="64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1" y="49"/>
                  </a:lnTo>
                  <a:lnTo>
                    <a:pt x="83" y="39"/>
                  </a:lnTo>
                  <a:lnTo>
                    <a:pt x="84" y="30"/>
                  </a:lnTo>
                  <a:lnTo>
                    <a:pt x="84" y="25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52" y="18"/>
                  </a:lnTo>
                  <a:lnTo>
                    <a:pt x="41" y="30"/>
                  </a:lnTo>
                  <a:lnTo>
                    <a:pt x="37" y="33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23" y="24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0" y="23"/>
                  </a:lnTo>
                  <a:lnTo>
                    <a:pt x="6" y="25"/>
                  </a:lnTo>
                  <a:lnTo>
                    <a:pt x="3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3" y="42"/>
                  </a:lnTo>
                  <a:lnTo>
                    <a:pt x="4" y="48"/>
                  </a:lnTo>
                  <a:lnTo>
                    <a:pt x="9" y="54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5" y="61"/>
                  </a:lnTo>
                  <a:lnTo>
                    <a:pt x="18" y="60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31" y="51"/>
                  </a:lnTo>
                  <a:lnTo>
                    <a:pt x="34" y="51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0" y="55"/>
                  </a:lnTo>
                  <a:lnTo>
                    <a:pt x="40" y="60"/>
                  </a:lnTo>
                  <a:lnTo>
                    <a:pt x="37" y="65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1" y="74"/>
                  </a:lnTo>
                  <a:lnTo>
                    <a:pt x="31" y="77"/>
                  </a:lnTo>
                  <a:lnTo>
                    <a:pt x="34" y="79"/>
                  </a:lnTo>
                  <a:lnTo>
                    <a:pt x="37" y="80"/>
                  </a:lnTo>
                  <a:lnTo>
                    <a:pt x="47" y="82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65" y="88"/>
                  </a:lnTo>
                  <a:lnTo>
                    <a:pt x="71" y="89"/>
                  </a:lnTo>
                  <a:lnTo>
                    <a:pt x="77" y="89"/>
                  </a:lnTo>
                  <a:lnTo>
                    <a:pt x="80" y="91"/>
                  </a:lnTo>
                  <a:lnTo>
                    <a:pt x="80" y="91"/>
                  </a:lnTo>
                  <a:lnTo>
                    <a:pt x="84" y="98"/>
                  </a:lnTo>
                  <a:lnTo>
                    <a:pt x="90" y="110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2" y="148"/>
                  </a:lnTo>
                  <a:lnTo>
                    <a:pt x="105" y="157"/>
                  </a:lnTo>
                  <a:lnTo>
                    <a:pt x="112" y="172"/>
                  </a:lnTo>
                  <a:lnTo>
                    <a:pt x="112" y="172"/>
                  </a:lnTo>
                  <a:lnTo>
                    <a:pt x="112" y="175"/>
                  </a:lnTo>
                  <a:lnTo>
                    <a:pt x="112" y="178"/>
                  </a:lnTo>
                  <a:lnTo>
                    <a:pt x="109" y="184"/>
                  </a:lnTo>
                  <a:lnTo>
                    <a:pt x="105" y="191"/>
                  </a:lnTo>
                  <a:lnTo>
                    <a:pt x="100" y="199"/>
                  </a:lnTo>
                  <a:lnTo>
                    <a:pt x="100" y="199"/>
                  </a:lnTo>
                  <a:lnTo>
                    <a:pt x="98" y="208"/>
                  </a:lnTo>
                  <a:lnTo>
                    <a:pt x="98" y="215"/>
                  </a:lnTo>
                  <a:lnTo>
                    <a:pt x="98" y="230"/>
                  </a:lnTo>
                  <a:lnTo>
                    <a:pt x="98" y="230"/>
                  </a:lnTo>
                  <a:lnTo>
                    <a:pt x="99" y="239"/>
                  </a:lnTo>
                  <a:lnTo>
                    <a:pt x="102" y="251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11" y="291"/>
                  </a:lnTo>
                  <a:lnTo>
                    <a:pt x="115" y="313"/>
                  </a:lnTo>
                  <a:lnTo>
                    <a:pt x="115" y="313"/>
                  </a:lnTo>
                  <a:lnTo>
                    <a:pt x="115" y="323"/>
                  </a:lnTo>
                  <a:lnTo>
                    <a:pt x="115" y="334"/>
                  </a:lnTo>
                  <a:lnTo>
                    <a:pt x="114" y="345"/>
                  </a:lnTo>
                  <a:lnTo>
                    <a:pt x="114" y="34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3" name="Freeform 42">
              <a:extLst>
                <a:ext uri="{FF2B5EF4-FFF2-40B4-BE49-F238E27FC236}">
                  <a16:creationId xmlns:a16="http://schemas.microsoft.com/office/drawing/2014/main" id="{CF3C680B-FC74-1F43-97E3-FB4BED5AC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088" y="6621463"/>
              <a:ext cx="234950" cy="177800"/>
            </a:xfrm>
            <a:custGeom>
              <a:avLst/>
              <a:gdLst>
                <a:gd name="T0" fmla="*/ 146 w 148"/>
                <a:gd name="T1" fmla="*/ 26 h 112"/>
                <a:gd name="T2" fmla="*/ 146 w 148"/>
                <a:gd name="T3" fmla="*/ 15 h 112"/>
                <a:gd name="T4" fmla="*/ 148 w 148"/>
                <a:gd name="T5" fmla="*/ 9 h 112"/>
                <a:gd name="T6" fmla="*/ 146 w 148"/>
                <a:gd name="T7" fmla="*/ 5 h 112"/>
                <a:gd name="T8" fmla="*/ 143 w 148"/>
                <a:gd name="T9" fmla="*/ 3 h 112"/>
                <a:gd name="T10" fmla="*/ 129 w 148"/>
                <a:gd name="T11" fmla="*/ 5 h 112"/>
                <a:gd name="T12" fmla="*/ 123 w 148"/>
                <a:gd name="T13" fmla="*/ 3 h 112"/>
                <a:gd name="T14" fmla="*/ 118 w 148"/>
                <a:gd name="T15" fmla="*/ 0 h 112"/>
                <a:gd name="T16" fmla="*/ 112 w 148"/>
                <a:gd name="T17" fmla="*/ 9 h 112"/>
                <a:gd name="T18" fmla="*/ 105 w 148"/>
                <a:gd name="T19" fmla="*/ 11 h 112"/>
                <a:gd name="T20" fmla="*/ 93 w 148"/>
                <a:gd name="T21" fmla="*/ 3 h 112"/>
                <a:gd name="T22" fmla="*/ 83 w 148"/>
                <a:gd name="T23" fmla="*/ 0 h 112"/>
                <a:gd name="T24" fmla="*/ 78 w 148"/>
                <a:gd name="T25" fmla="*/ 3 h 112"/>
                <a:gd name="T26" fmla="*/ 71 w 148"/>
                <a:gd name="T27" fmla="*/ 11 h 112"/>
                <a:gd name="T28" fmla="*/ 71 w 148"/>
                <a:gd name="T29" fmla="*/ 17 h 112"/>
                <a:gd name="T30" fmla="*/ 68 w 148"/>
                <a:gd name="T31" fmla="*/ 42 h 112"/>
                <a:gd name="T32" fmla="*/ 59 w 148"/>
                <a:gd name="T33" fmla="*/ 63 h 112"/>
                <a:gd name="T34" fmla="*/ 57 w 148"/>
                <a:gd name="T35" fmla="*/ 66 h 112"/>
                <a:gd name="T36" fmla="*/ 46 w 148"/>
                <a:gd name="T37" fmla="*/ 61 h 112"/>
                <a:gd name="T38" fmla="*/ 40 w 148"/>
                <a:gd name="T39" fmla="*/ 58 h 112"/>
                <a:gd name="T40" fmla="*/ 0 w 148"/>
                <a:gd name="T41" fmla="*/ 63 h 112"/>
                <a:gd name="T42" fmla="*/ 13 w 148"/>
                <a:gd name="T43" fmla="*/ 72 h 112"/>
                <a:gd name="T44" fmla="*/ 23 w 148"/>
                <a:gd name="T45" fmla="*/ 77 h 112"/>
                <a:gd name="T46" fmla="*/ 37 w 148"/>
                <a:gd name="T47" fmla="*/ 94 h 112"/>
                <a:gd name="T48" fmla="*/ 41 w 148"/>
                <a:gd name="T49" fmla="*/ 106 h 112"/>
                <a:gd name="T50" fmla="*/ 43 w 148"/>
                <a:gd name="T51" fmla="*/ 112 h 112"/>
                <a:gd name="T52" fmla="*/ 65 w 148"/>
                <a:gd name="T53" fmla="*/ 94 h 112"/>
                <a:gd name="T54" fmla="*/ 71 w 148"/>
                <a:gd name="T55" fmla="*/ 91 h 112"/>
                <a:gd name="T56" fmla="*/ 83 w 148"/>
                <a:gd name="T57" fmla="*/ 89 h 112"/>
                <a:gd name="T58" fmla="*/ 90 w 148"/>
                <a:gd name="T59" fmla="*/ 85 h 112"/>
                <a:gd name="T60" fmla="*/ 99 w 148"/>
                <a:gd name="T61" fmla="*/ 75 h 112"/>
                <a:gd name="T62" fmla="*/ 106 w 148"/>
                <a:gd name="T63" fmla="*/ 66 h 112"/>
                <a:gd name="T64" fmla="*/ 111 w 148"/>
                <a:gd name="T65" fmla="*/ 61 h 112"/>
                <a:gd name="T66" fmla="*/ 127 w 148"/>
                <a:gd name="T67" fmla="*/ 42 h 112"/>
                <a:gd name="T68" fmla="*/ 133 w 148"/>
                <a:gd name="T69" fmla="*/ 37 h 112"/>
                <a:gd name="T70" fmla="*/ 143 w 148"/>
                <a:gd name="T71" fmla="*/ 30 h 112"/>
                <a:gd name="T72" fmla="*/ 146 w 148"/>
                <a:gd name="T73" fmla="*/ 2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12">
                  <a:moveTo>
                    <a:pt x="146" y="26"/>
                  </a:moveTo>
                  <a:lnTo>
                    <a:pt x="146" y="26"/>
                  </a:lnTo>
                  <a:lnTo>
                    <a:pt x="146" y="20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8" y="9"/>
                  </a:lnTo>
                  <a:lnTo>
                    <a:pt x="148" y="6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3" y="3"/>
                  </a:lnTo>
                  <a:lnTo>
                    <a:pt x="137" y="3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3" y="3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5" y="5"/>
                  </a:lnTo>
                  <a:lnTo>
                    <a:pt x="112" y="9"/>
                  </a:lnTo>
                  <a:lnTo>
                    <a:pt x="108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93" y="3"/>
                  </a:lnTo>
                  <a:lnTo>
                    <a:pt x="87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8" y="3"/>
                  </a:lnTo>
                  <a:lnTo>
                    <a:pt x="74" y="6"/>
                  </a:lnTo>
                  <a:lnTo>
                    <a:pt x="71" y="11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68" y="42"/>
                  </a:lnTo>
                  <a:lnTo>
                    <a:pt x="62" y="58"/>
                  </a:lnTo>
                  <a:lnTo>
                    <a:pt x="59" y="63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2" y="64"/>
                  </a:lnTo>
                  <a:lnTo>
                    <a:pt x="46" y="61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6" y="67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23" y="77"/>
                  </a:lnTo>
                  <a:lnTo>
                    <a:pt x="32" y="88"/>
                  </a:lnTo>
                  <a:lnTo>
                    <a:pt x="37" y="94"/>
                  </a:lnTo>
                  <a:lnTo>
                    <a:pt x="40" y="100"/>
                  </a:lnTo>
                  <a:lnTo>
                    <a:pt x="41" y="106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52" y="104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71" y="91"/>
                  </a:lnTo>
                  <a:lnTo>
                    <a:pt x="77" y="91"/>
                  </a:lnTo>
                  <a:lnTo>
                    <a:pt x="83" y="89"/>
                  </a:lnTo>
                  <a:lnTo>
                    <a:pt x="90" y="85"/>
                  </a:lnTo>
                  <a:lnTo>
                    <a:pt x="90" y="85"/>
                  </a:lnTo>
                  <a:lnTo>
                    <a:pt x="94" y="80"/>
                  </a:lnTo>
                  <a:lnTo>
                    <a:pt x="99" y="75"/>
                  </a:lnTo>
                  <a:lnTo>
                    <a:pt x="102" y="69"/>
                  </a:lnTo>
                  <a:lnTo>
                    <a:pt x="106" y="66"/>
                  </a:lnTo>
                  <a:lnTo>
                    <a:pt x="106" y="66"/>
                  </a:lnTo>
                  <a:lnTo>
                    <a:pt x="111" y="61"/>
                  </a:lnTo>
                  <a:lnTo>
                    <a:pt x="115" y="55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33" y="37"/>
                  </a:lnTo>
                  <a:lnTo>
                    <a:pt x="139" y="33"/>
                  </a:lnTo>
                  <a:lnTo>
                    <a:pt x="143" y="30"/>
                  </a:lnTo>
                  <a:lnTo>
                    <a:pt x="146" y="26"/>
                  </a:lnTo>
                  <a:lnTo>
                    <a:pt x="146" y="2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4" name="Freeform 43">
              <a:extLst>
                <a:ext uri="{FF2B5EF4-FFF2-40B4-BE49-F238E27FC236}">
                  <a16:creationId xmlns:a16="http://schemas.microsoft.com/office/drawing/2014/main" id="{6A905649-C53D-0040-90B3-57928723A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75" y="6567488"/>
              <a:ext cx="446088" cy="666750"/>
            </a:xfrm>
            <a:custGeom>
              <a:avLst/>
              <a:gdLst>
                <a:gd name="T0" fmla="*/ 115 w 281"/>
                <a:gd name="T1" fmla="*/ 188 h 420"/>
                <a:gd name="T2" fmla="*/ 98 w 281"/>
                <a:gd name="T3" fmla="*/ 181 h 420"/>
                <a:gd name="T4" fmla="*/ 90 w 281"/>
                <a:gd name="T5" fmla="*/ 183 h 420"/>
                <a:gd name="T6" fmla="*/ 72 w 281"/>
                <a:gd name="T7" fmla="*/ 193 h 420"/>
                <a:gd name="T8" fmla="*/ 53 w 281"/>
                <a:gd name="T9" fmla="*/ 197 h 420"/>
                <a:gd name="T10" fmla="*/ 7 w 281"/>
                <a:gd name="T11" fmla="*/ 193 h 420"/>
                <a:gd name="T12" fmla="*/ 1 w 281"/>
                <a:gd name="T13" fmla="*/ 205 h 420"/>
                <a:gd name="T14" fmla="*/ 1 w 281"/>
                <a:gd name="T15" fmla="*/ 226 h 420"/>
                <a:gd name="T16" fmla="*/ 10 w 281"/>
                <a:gd name="T17" fmla="*/ 254 h 420"/>
                <a:gd name="T18" fmla="*/ 21 w 281"/>
                <a:gd name="T19" fmla="*/ 292 h 420"/>
                <a:gd name="T20" fmla="*/ 27 w 281"/>
                <a:gd name="T21" fmla="*/ 347 h 420"/>
                <a:gd name="T22" fmla="*/ 24 w 281"/>
                <a:gd name="T23" fmla="*/ 378 h 420"/>
                <a:gd name="T24" fmla="*/ 29 w 281"/>
                <a:gd name="T25" fmla="*/ 400 h 420"/>
                <a:gd name="T26" fmla="*/ 41 w 281"/>
                <a:gd name="T27" fmla="*/ 408 h 420"/>
                <a:gd name="T28" fmla="*/ 55 w 281"/>
                <a:gd name="T29" fmla="*/ 411 h 420"/>
                <a:gd name="T30" fmla="*/ 127 w 281"/>
                <a:gd name="T31" fmla="*/ 417 h 420"/>
                <a:gd name="T32" fmla="*/ 160 w 281"/>
                <a:gd name="T33" fmla="*/ 396 h 420"/>
                <a:gd name="T34" fmla="*/ 172 w 281"/>
                <a:gd name="T35" fmla="*/ 303 h 420"/>
                <a:gd name="T36" fmla="*/ 182 w 281"/>
                <a:gd name="T37" fmla="*/ 263 h 420"/>
                <a:gd name="T38" fmla="*/ 198 w 281"/>
                <a:gd name="T39" fmla="*/ 240 h 420"/>
                <a:gd name="T40" fmla="*/ 218 w 281"/>
                <a:gd name="T41" fmla="*/ 224 h 420"/>
                <a:gd name="T42" fmla="*/ 258 w 281"/>
                <a:gd name="T43" fmla="*/ 166 h 420"/>
                <a:gd name="T44" fmla="*/ 259 w 281"/>
                <a:gd name="T45" fmla="*/ 126 h 420"/>
                <a:gd name="T46" fmla="*/ 260 w 281"/>
                <a:gd name="T47" fmla="*/ 106 h 420"/>
                <a:gd name="T48" fmla="*/ 269 w 281"/>
                <a:gd name="T49" fmla="*/ 94 h 420"/>
                <a:gd name="T50" fmla="*/ 281 w 281"/>
                <a:gd name="T51" fmla="*/ 91 h 420"/>
                <a:gd name="T52" fmla="*/ 269 w 281"/>
                <a:gd name="T53" fmla="*/ 64 h 420"/>
                <a:gd name="T54" fmla="*/ 268 w 281"/>
                <a:gd name="T55" fmla="*/ 45 h 420"/>
                <a:gd name="T56" fmla="*/ 259 w 281"/>
                <a:gd name="T57" fmla="*/ 29 h 420"/>
                <a:gd name="T58" fmla="*/ 237 w 281"/>
                <a:gd name="T59" fmla="*/ 0 h 420"/>
                <a:gd name="T60" fmla="*/ 222 w 281"/>
                <a:gd name="T61" fmla="*/ 11 h 420"/>
                <a:gd name="T62" fmla="*/ 210 w 281"/>
                <a:gd name="T63" fmla="*/ 12 h 420"/>
                <a:gd name="T64" fmla="*/ 201 w 281"/>
                <a:gd name="T65" fmla="*/ 9 h 420"/>
                <a:gd name="T66" fmla="*/ 185 w 281"/>
                <a:gd name="T67" fmla="*/ 2 h 420"/>
                <a:gd name="T68" fmla="*/ 181 w 281"/>
                <a:gd name="T69" fmla="*/ 3 h 420"/>
                <a:gd name="T70" fmla="*/ 176 w 281"/>
                <a:gd name="T71" fmla="*/ 20 h 420"/>
                <a:gd name="T72" fmla="*/ 175 w 281"/>
                <a:gd name="T73" fmla="*/ 24 h 420"/>
                <a:gd name="T74" fmla="*/ 163 w 281"/>
                <a:gd name="T75" fmla="*/ 24 h 420"/>
                <a:gd name="T76" fmla="*/ 149 w 281"/>
                <a:gd name="T77" fmla="*/ 17 h 420"/>
                <a:gd name="T78" fmla="*/ 142 w 281"/>
                <a:gd name="T79" fmla="*/ 15 h 420"/>
                <a:gd name="T80" fmla="*/ 144 w 281"/>
                <a:gd name="T81" fmla="*/ 34 h 420"/>
                <a:gd name="T82" fmla="*/ 148 w 281"/>
                <a:gd name="T83" fmla="*/ 39 h 420"/>
                <a:gd name="T84" fmla="*/ 151 w 281"/>
                <a:gd name="T85" fmla="*/ 42 h 420"/>
                <a:gd name="T86" fmla="*/ 141 w 281"/>
                <a:gd name="T87" fmla="*/ 54 h 420"/>
                <a:gd name="T88" fmla="*/ 157 w 281"/>
                <a:gd name="T89" fmla="*/ 76 h 420"/>
                <a:gd name="T90" fmla="*/ 161 w 281"/>
                <a:gd name="T91" fmla="*/ 91 h 420"/>
                <a:gd name="T92" fmla="*/ 161 w 281"/>
                <a:gd name="T93" fmla="*/ 101 h 420"/>
                <a:gd name="T94" fmla="*/ 170 w 281"/>
                <a:gd name="T95" fmla="*/ 107 h 420"/>
                <a:gd name="T96" fmla="*/ 185 w 281"/>
                <a:gd name="T97" fmla="*/ 110 h 420"/>
                <a:gd name="T98" fmla="*/ 192 w 281"/>
                <a:gd name="T99" fmla="*/ 122 h 420"/>
                <a:gd name="T100" fmla="*/ 191 w 281"/>
                <a:gd name="T101" fmla="*/ 132 h 420"/>
                <a:gd name="T102" fmla="*/ 170 w 281"/>
                <a:gd name="T103" fmla="*/ 135 h 420"/>
                <a:gd name="T104" fmla="*/ 157 w 281"/>
                <a:gd name="T105" fmla="*/ 138 h 420"/>
                <a:gd name="T106" fmla="*/ 141 w 281"/>
                <a:gd name="T107" fmla="*/ 151 h 420"/>
                <a:gd name="T108" fmla="*/ 138 w 281"/>
                <a:gd name="T109" fmla="*/ 166 h 420"/>
                <a:gd name="T110" fmla="*/ 130 w 281"/>
                <a:gd name="T111" fmla="*/ 186 h 420"/>
                <a:gd name="T112" fmla="*/ 120 w 281"/>
                <a:gd name="T113" fmla="*/ 188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1" h="420">
                  <a:moveTo>
                    <a:pt x="120" y="188"/>
                  </a:moveTo>
                  <a:lnTo>
                    <a:pt x="120" y="188"/>
                  </a:lnTo>
                  <a:lnTo>
                    <a:pt x="115" y="188"/>
                  </a:lnTo>
                  <a:lnTo>
                    <a:pt x="111" y="188"/>
                  </a:lnTo>
                  <a:lnTo>
                    <a:pt x="104" y="184"/>
                  </a:lnTo>
                  <a:lnTo>
                    <a:pt x="98" y="181"/>
                  </a:lnTo>
                  <a:lnTo>
                    <a:pt x="93" y="181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83" y="186"/>
                  </a:lnTo>
                  <a:lnTo>
                    <a:pt x="78" y="188"/>
                  </a:lnTo>
                  <a:lnTo>
                    <a:pt x="72" y="193"/>
                  </a:lnTo>
                  <a:lnTo>
                    <a:pt x="65" y="196"/>
                  </a:lnTo>
                  <a:lnTo>
                    <a:pt x="65" y="196"/>
                  </a:lnTo>
                  <a:lnTo>
                    <a:pt x="53" y="197"/>
                  </a:lnTo>
                  <a:lnTo>
                    <a:pt x="41" y="199"/>
                  </a:lnTo>
                  <a:lnTo>
                    <a:pt x="27" y="199"/>
                  </a:lnTo>
                  <a:lnTo>
                    <a:pt x="7" y="193"/>
                  </a:lnTo>
                  <a:lnTo>
                    <a:pt x="7" y="193"/>
                  </a:lnTo>
                  <a:lnTo>
                    <a:pt x="4" y="197"/>
                  </a:lnTo>
                  <a:lnTo>
                    <a:pt x="1" y="205"/>
                  </a:lnTo>
                  <a:lnTo>
                    <a:pt x="1" y="205"/>
                  </a:lnTo>
                  <a:lnTo>
                    <a:pt x="0" y="214"/>
                  </a:lnTo>
                  <a:lnTo>
                    <a:pt x="1" y="226"/>
                  </a:lnTo>
                  <a:lnTo>
                    <a:pt x="4" y="239"/>
                  </a:lnTo>
                  <a:lnTo>
                    <a:pt x="10" y="254"/>
                  </a:lnTo>
                  <a:lnTo>
                    <a:pt x="10" y="254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21" y="292"/>
                  </a:lnTo>
                  <a:lnTo>
                    <a:pt x="25" y="313"/>
                  </a:lnTo>
                  <a:lnTo>
                    <a:pt x="27" y="331"/>
                  </a:lnTo>
                  <a:lnTo>
                    <a:pt x="27" y="347"/>
                  </a:lnTo>
                  <a:lnTo>
                    <a:pt x="27" y="347"/>
                  </a:lnTo>
                  <a:lnTo>
                    <a:pt x="24" y="368"/>
                  </a:lnTo>
                  <a:lnTo>
                    <a:pt x="24" y="378"/>
                  </a:lnTo>
                  <a:lnTo>
                    <a:pt x="24" y="387"/>
                  </a:lnTo>
                  <a:lnTo>
                    <a:pt x="27" y="396"/>
                  </a:lnTo>
                  <a:lnTo>
                    <a:pt x="29" y="400"/>
                  </a:lnTo>
                  <a:lnTo>
                    <a:pt x="32" y="403"/>
                  </a:lnTo>
                  <a:lnTo>
                    <a:pt x="37" y="406"/>
                  </a:lnTo>
                  <a:lnTo>
                    <a:pt x="41" y="408"/>
                  </a:lnTo>
                  <a:lnTo>
                    <a:pt x="47" y="409"/>
                  </a:lnTo>
                  <a:lnTo>
                    <a:pt x="55" y="411"/>
                  </a:lnTo>
                  <a:lnTo>
                    <a:pt x="55" y="411"/>
                  </a:lnTo>
                  <a:lnTo>
                    <a:pt x="104" y="415"/>
                  </a:lnTo>
                  <a:lnTo>
                    <a:pt x="127" y="417"/>
                  </a:lnTo>
                  <a:lnTo>
                    <a:pt x="127" y="417"/>
                  </a:lnTo>
                  <a:lnTo>
                    <a:pt x="157" y="420"/>
                  </a:lnTo>
                  <a:lnTo>
                    <a:pt x="157" y="420"/>
                  </a:lnTo>
                  <a:lnTo>
                    <a:pt x="160" y="396"/>
                  </a:lnTo>
                  <a:lnTo>
                    <a:pt x="160" y="396"/>
                  </a:lnTo>
                  <a:lnTo>
                    <a:pt x="166" y="347"/>
                  </a:lnTo>
                  <a:lnTo>
                    <a:pt x="172" y="303"/>
                  </a:lnTo>
                  <a:lnTo>
                    <a:pt x="172" y="303"/>
                  </a:lnTo>
                  <a:lnTo>
                    <a:pt x="175" y="282"/>
                  </a:lnTo>
                  <a:lnTo>
                    <a:pt x="182" y="263"/>
                  </a:lnTo>
                  <a:lnTo>
                    <a:pt x="186" y="255"/>
                  </a:lnTo>
                  <a:lnTo>
                    <a:pt x="192" y="248"/>
                  </a:lnTo>
                  <a:lnTo>
                    <a:pt x="198" y="240"/>
                  </a:lnTo>
                  <a:lnTo>
                    <a:pt x="204" y="236"/>
                  </a:lnTo>
                  <a:lnTo>
                    <a:pt x="204" y="236"/>
                  </a:lnTo>
                  <a:lnTo>
                    <a:pt x="218" y="224"/>
                  </a:lnTo>
                  <a:lnTo>
                    <a:pt x="229" y="214"/>
                  </a:lnTo>
                  <a:lnTo>
                    <a:pt x="240" y="202"/>
                  </a:lnTo>
                  <a:lnTo>
                    <a:pt x="258" y="166"/>
                  </a:lnTo>
                  <a:lnTo>
                    <a:pt x="258" y="166"/>
                  </a:lnTo>
                  <a:lnTo>
                    <a:pt x="259" y="151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59" y="116"/>
                  </a:lnTo>
                  <a:lnTo>
                    <a:pt x="260" y="106"/>
                  </a:lnTo>
                  <a:lnTo>
                    <a:pt x="262" y="101"/>
                  </a:lnTo>
                  <a:lnTo>
                    <a:pt x="265" y="97"/>
                  </a:lnTo>
                  <a:lnTo>
                    <a:pt x="269" y="94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4" y="74"/>
                  </a:lnTo>
                  <a:lnTo>
                    <a:pt x="269" y="64"/>
                  </a:lnTo>
                  <a:lnTo>
                    <a:pt x="269" y="54"/>
                  </a:lnTo>
                  <a:lnTo>
                    <a:pt x="269" y="54"/>
                  </a:lnTo>
                  <a:lnTo>
                    <a:pt x="268" y="45"/>
                  </a:lnTo>
                  <a:lnTo>
                    <a:pt x="266" y="39"/>
                  </a:lnTo>
                  <a:lnTo>
                    <a:pt x="263" y="33"/>
                  </a:lnTo>
                  <a:lnTo>
                    <a:pt x="259" y="29"/>
                  </a:lnTo>
                  <a:lnTo>
                    <a:pt x="259" y="29"/>
                  </a:lnTo>
                  <a:lnTo>
                    <a:pt x="246" y="12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32" y="3"/>
                  </a:lnTo>
                  <a:lnTo>
                    <a:pt x="222" y="11"/>
                  </a:lnTo>
                  <a:lnTo>
                    <a:pt x="222" y="11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206" y="11"/>
                  </a:lnTo>
                  <a:lnTo>
                    <a:pt x="201" y="9"/>
                  </a:lnTo>
                  <a:lnTo>
                    <a:pt x="201" y="9"/>
                  </a:lnTo>
                  <a:lnTo>
                    <a:pt x="194" y="5"/>
                  </a:lnTo>
                  <a:lnTo>
                    <a:pt x="189" y="2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2" y="2"/>
                  </a:lnTo>
                  <a:lnTo>
                    <a:pt x="181" y="3"/>
                  </a:lnTo>
                  <a:lnTo>
                    <a:pt x="178" y="8"/>
                  </a:lnTo>
                  <a:lnTo>
                    <a:pt x="176" y="14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75" y="23"/>
                  </a:lnTo>
                  <a:lnTo>
                    <a:pt x="175" y="24"/>
                  </a:lnTo>
                  <a:lnTo>
                    <a:pt x="170" y="26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9" y="17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2" y="15"/>
                  </a:lnTo>
                  <a:lnTo>
                    <a:pt x="141" y="15"/>
                  </a:lnTo>
                  <a:lnTo>
                    <a:pt x="141" y="21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5" y="37"/>
                  </a:lnTo>
                  <a:lnTo>
                    <a:pt x="148" y="39"/>
                  </a:lnTo>
                  <a:lnTo>
                    <a:pt x="149" y="39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6"/>
                  </a:lnTo>
                  <a:lnTo>
                    <a:pt x="148" y="49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51" y="66"/>
                  </a:lnTo>
                  <a:lnTo>
                    <a:pt x="157" y="76"/>
                  </a:lnTo>
                  <a:lnTo>
                    <a:pt x="161" y="85"/>
                  </a:lnTo>
                  <a:lnTo>
                    <a:pt x="161" y="85"/>
                  </a:lnTo>
                  <a:lnTo>
                    <a:pt x="161" y="91"/>
                  </a:lnTo>
                  <a:lnTo>
                    <a:pt x="161" y="95"/>
                  </a:lnTo>
                  <a:lnTo>
                    <a:pt x="160" y="100"/>
                  </a:lnTo>
                  <a:lnTo>
                    <a:pt x="161" y="101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70" y="107"/>
                  </a:lnTo>
                  <a:lnTo>
                    <a:pt x="176" y="109"/>
                  </a:lnTo>
                  <a:lnTo>
                    <a:pt x="181" y="109"/>
                  </a:lnTo>
                  <a:lnTo>
                    <a:pt x="185" y="110"/>
                  </a:lnTo>
                  <a:lnTo>
                    <a:pt x="185" y="110"/>
                  </a:lnTo>
                  <a:lnTo>
                    <a:pt x="188" y="114"/>
                  </a:lnTo>
                  <a:lnTo>
                    <a:pt x="192" y="122"/>
                  </a:lnTo>
                  <a:lnTo>
                    <a:pt x="192" y="126"/>
                  </a:lnTo>
                  <a:lnTo>
                    <a:pt x="192" y="129"/>
                  </a:lnTo>
                  <a:lnTo>
                    <a:pt x="191" y="132"/>
                  </a:lnTo>
                  <a:lnTo>
                    <a:pt x="186" y="134"/>
                  </a:lnTo>
                  <a:lnTo>
                    <a:pt x="186" y="134"/>
                  </a:lnTo>
                  <a:lnTo>
                    <a:pt x="170" y="135"/>
                  </a:lnTo>
                  <a:lnTo>
                    <a:pt x="163" y="137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51" y="141"/>
                  </a:lnTo>
                  <a:lnTo>
                    <a:pt x="145" y="146"/>
                  </a:lnTo>
                  <a:lnTo>
                    <a:pt x="141" y="151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8" y="166"/>
                  </a:lnTo>
                  <a:lnTo>
                    <a:pt x="135" y="177"/>
                  </a:lnTo>
                  <a:lnTo>
                    <a:pt x="133" y="181"/>
                  </a:lnTo>
                  <a:lnTo>
                    <a:pt x="130" y="186"/>
                  </a:lnTo>
                  <a:lnTo>
                    <a:pt x="126" y="188"/>
                  </a:lnTo>
                  <a:lnTo>
                    <a:pt x="120" y="188"/>
                  </a:lnTo>
                  <a:lnTo>
                    <a:pt x="120" y="18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5" name="Freeform 44">
              <a:extLst>
                <a:ext uri="{FF2B5EF4-FFF2-40B4-BE49-F238E27FC236}">
                  <a16:creationId xmlns:a16="http://schemas.microsoft.com/office/drawing/2014/main" id="{A19F70F2-90A3-B44D-A2A8-372DC766F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9625" y="6981825"/>
              <a:ext cx="1843088" cy="1455737"/>
            </a:xfrm>
            <a:custGeom>
              <a:avLst/>
              <a:gdLst>
                <a:gd name="T0" fmla="*/ 1027 w 1161"/>
                <a:gd name="T1" fmla="*/ 34 h 917"/>
                <a:gd name="T2" fmla="*/ 1016 w 1161"/>
                <a:gd name="T3" fmla="*/ 15 h 917"/>
                <a:gd name="T4" fmla="*/ 974 w 1161"/>
                <a:gd name="T5" fmla="*/ 74 h 917"/>
                <a:gd name="T6" fmla="*/ 925 w 1161"/>
                <a:gd name="T7" fmla="*/ 108 h 917"/>
                <a:gd name="T8" fmla="*/ 884 w 1161"/>
                <a:gd name="T9" fmla="*/ 101 h 917"/>
                <a:gd name="T10" fmla="*/ 844 w 1161"/>
                <a:gd name="T11" fmla="*/ 82 h 917"/>
                <a:gd name="T12" fmla="*/ 820 w 1161"/>
                <a:gd name="T13" fmla="*/ 93 h 917"/>
                <a:gd name="T14" fmla="*/ 780 w 1161"/>
                <a:gd name="T15" fmla="*/ 90 h 917"/>
                <a:gd name="T16" fmla="*/ 762 w 1161"/>
                <a:gd name="T17" fmla="*/ 95 h 917"/>
                <a:gd name="T18" fmla="*/ 703 w 1161"/>
                <a:gd name="T19" fmla="*/ 110 h 917"/>
                <a:gd name="T20" fmla="*/ 677 w 1161"/>
                <a:gd name="T21" fmla="*/ 135 h 917"/>
                <a:gd name="T22" fmla="*/ 604 w 1161"/>
                <a:gd name="T23" fmla="*/ 170 h 917"/>
                <a:gd name="T24" fmla="*/ 623 w 1161"/>
                <a:gd name="T25" fmla="*/ 209 h 917"/>
                <a:gd name="T26" fmla="*/ 629 w 1161"/>
                <a:gd name="T27" fmla="*/ 230 h 917"/>
                <a:gd name="T28" fmla="*/ 622 w 1161"/>
                <a:gd name="T29" fmla="*/ 278 h 917"/>
                <a:gd name="T30" fmla="*/ 632 w 1161"/>
                <a:gd name="T31" fmla="*/ 327 h 917"/>
                <a:gd name="T32" fmla="*/ 642 w 1161"/>
                <a:gd name="T33" fmla="*/ 385 h 917"/>
                <a:gd name="T34" fmla="*/ 400 w 1161"/>
                <a:gd name="T35" fmla="*/ 776 h 917"/>
                <a:gd name="T36" fmla="*/ 340 w 1161"/>
                <a:gd name="T37" fmla="*/ 781 h 917"/>
                <a:gd name="T38" fmla="*/ 305 w 1161"/>
                <a:gd name="T39" fmla="*/ 748 h 917"/>
                <a:gd name="T40" fmla="*/ 283 w 1161"/>
                <a:gd name="T41" fmla="*/ 714 h 917"/>
                <a:gd name="T42" fmla="*/ 250 w 1161"/>
                <a:gd name="T43" fmla="*/ 675 h 917"/>
                <a:gd name="T44" fmla="*/ 209 w 1161"/>
                <a:gd name="T45" fmla="*/ 668 h 917"/>
                <a:gd name="T46" fmla="*/ 124 w 1161"/>
                <a:gd name="T47" fmla="*/ 600 h 917"/>
                <a:gd name="T48" fmla="*/ 120 w 1161"/>
                <a:gd name="T49" fmla="*/ 566 h 917"/>
                <a:gd name="T50" fmla="*/ 84 w 1161"/>
                <a:gd name="T51" fmla="*/ 558 h 917"/>
                <a:gd name="T52" fmla="*/ 31 w 1161"/>
                <a:gd name="T53" fmla="*/ 603 h 917"/>
                <a:gd name="T54" fmla="*/ 12 w 1161"/>
                <a:gd name="T55" fmla="*/ 618 h 917"/>
                <a:gd name="T56" fmla="*/ 3 w 1161"/>
                <a:gd name="T57" fmla="*/ 658 h 917"/>
                <a:gd name="T58" fmla="*/ 0 w 1161"/>
                <a:gd name="T59" fmla="*/ 695 h 917"/>
                <a:gd name="T60" fmla="*/ 32 w 1161"/>
                <a:gd name="T61" fmla="*/ 726 h 917"/>
                <a:gd name="T62" fmla="*/ 106 w 1161"/>
                <a:gd name="T63" fmla="*/ 748 h 917"/>
                <a:gd name="T64" fmla="*/ 200 w 1161"/>
                <a:gd name="T65" fmla="*/ 779 h 917"/>
                <a:gd name="T66" fmla="*/ 219 w 1161"/>
                <a:gd name="T67" fmla="*/ 815 h 917"/>
                <a:gd name="T68" fmla="*/ 256 w 1161"/>
                <a:gd name="T69" fmla="*/ 872 h 917"/>
                <a:gd name="T70" fmla="*/ 324 w 1161"/>
                <a:gd name="T71" fmla="*/ 906 h 917"/>
                <a:gd name="T72" fmla="*/ 422 w 1161"/>
                <a:gd name="T73" fmla="*/ 890 h 917"/>
                <a:gd name="T74" fmla="*/ 536 w 1161"/>
                <a:gd name="T75" fmla="*/ 881 h 917"/>
                <a:gd name="T76" fmla="*/ 600 w 1161"/>
                <a:gd name="T77" fmla="*/ 908 h 917"/>
                <a:gd name="T78" fmla="*/ 651 w 1161"/>
                <a:gd name="T79" fmla="*/ 858 h 917"/>
                <a:gd name="T80" fmla="*/ 688 w 1161"/>
                <a:gd name="T81" fmla="*/ 826 h 917"/>
                <a:gd name="T82" fmla="*/ 662 w 1161"/>
                <a:gd name="T83" fmla="*/ 792 h 917"/>
                <a:gd name="T84" fmla="*/ 674 w 1161"/>
                <a:gd name="T85" fmla="*/ 745 h 917"/>
                <a:gd name="T86" fmla="*/ 705 w 1161"/>
                <a:gd name="T87" fmla="*/ 718 h 917"/>
                <a:gd name="T88" fmla="*/ 768 w 1161"/>
                <a:gd name="T89" fmla="*/ 702 h 917"/>
                <a:gd name="T90" fmla="*/ 834 w 1161"/>
                <a:gd name="T91" fmla="*/ 689 h 917"/>
                <a:gd name="T92" fmla="*/ 888 w 1161"/>
                <a:gd name="T93" fmla="*/ 629 h 917"/>
                <a:gd name="T94" fmla="*/ 908 w 1161"/>
                <a:gd name="T95" fmla="*/ 594 h 917"/>
                <a:gd name="T96" fmla="*/ 946 w 1161"/>
                <a:gd name="T97" fmla="*/ 578 h 917"/>
                <a:gd name="T98" fmla="*/ 985 w 1161"/>
                <a:gd name="T99" fmla="*/ 557 h 917"/>
                <a:gd name="T100" fmla="*/ 1030 w 1161"/>
                <a:gd name="T101" fmla="*/ 523 h 917"/>
                <a:gd name="T102" fmla="*/ 1025 w 1161"/>
                <a:gd name="T103" fmla="*/ 474 h 917"/>
                <a:gd name="T104" fmla="*/ 996 w 1161"/>
                <a:gd name="T105" fmla="*/ 447 h 917"/>
                <a:gd name="T106" fmla="*/ 989 w 1161"/>
                <a:gd name="T107" fmla="*/ 422 h 917"/>
                <a:gd name="T108" fmla="*/ 1042 w 1161"/>
                <a:gd name="T109" fmla="*/ 391 h 917"/>
                <a:gd name="T110" fmla="*/ 1087 w 1161"/>
                <a:gd name="T111" fmla="*/ 314 h 917"/>
                <a:gd name="T112" fmla="*/ 1158 w 1161"/>
                <a:gd name="T113" fmla="*/ 247 h 917"/>
                <a:gd name="T114" fmla="*/ 1125 w 1161"/>
                <a:gd name="T115" fmla="*/ 206 h 917"/>
                <a:gd name="T116" fmla="*/ 1096 w 1161"/>
                <a:gd name="T117" fmla="*/ 197 h 917"/>
                <a:gd name="T118" fmla="*/ 1062 w 1161"/>
                <a:gd name="T119" fmla="*/ 161 h 917"/>
                <a:gd name="T120" fmla="*/ 1051 w 1161"/>
                <a:gd name="T121" fmla="*/ 123 h 917"/>
                <a:gd name="T122" fmla="*/ 1038 w 1161"/>
                <a:gd name="T123" fmla="*/ 95 h 917"/>
                <a:gd name="T124" fmla="*/ 1011 w 1161"/>
                <a:gd name="T125" fmla="*/ 6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1" h="917">
                  <a:moveTo>
                    <a:pt x="1020" y="56"/>
                  </a:moveTo>
                  <a:lnTo>
                    <a:pt x="1020" y="56"/>
                  </a:lnTo>
                  <a:lnTo>
                    <a:pt x="1022" y="52"/>
                  </a:lnTo>
                  <a:lnTo>
                    <a:pt x="1022" y="49"/>
                  </a:lnTo>
                  <a:lnTo>
                    <a:pt x="1022" y="40"/>
                  </a:lnTo>
                  <a:lnTo>
                    <a:pt x="1022" y="40"/>
                  </a:lnTo>
                  <a:lnTo>
                    <a:pt x="1022" y="37"/>
                  </a:lnTo>
                  <a:lnTo>
                    <a:pt x="1023" y="36"/>
                  </a:lnTo>
                  <a:lnTo>
                    <a:pt x="1026" y="36"/>
                  </a:lnTo>
                  <a:lnTo>
                    <a:pt x="1027" y="34"/>
                  </a:lnTo>
                  <a:lnTo>
                    <a:pt x="1027" y="34"/>
                  </a:lnTo>
                  <a:lnTo>
                    <a:pt x="1030" y="28"/>
                  </a:lnTo>
                  <a:lnTo>
                    <a:pt x="1041" y="10"/>
                  </a:lnTo>
                  <a:lnTo>
                    <a:pt x="1041" y="10"/>
                  </a:lnTo>
                  <a:lnTo>
                    <a:pt x="1044" y="6"/>
                  </a:lnTo>
                  <a:lnTo>
                    <a:pt x="1042" y="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6" y="0"/>
                  </a:lnTo>
                  <a:lnTo>
                    <a:pt x="1032" y="2"/>
                  </a:lnTo>
                  <a:lnTo>
                    <a:pt x="1032" y="2"/>
                  </a:lnTo>
                  <a:lnTo>
                    <a:pt x="1016" y="15"/>
                  </a:lnTo>
                  <a:lnTo>
                    <a:pt x="1008" y="21"/>
                  </a:lnTo>
                  <a:lnTo>
                    <a:pt x="1001" y="24"/>
                  </a:lnTo>
                  <a:lnTo>
                    <a:pt x="1001" y="24"/>
                  </a:lnTo>
                  <a:lnTo>
                    <a:pt x="982" y="25"/>
                  </a:lnTo>
                  <a:lnTo>
                    <a:pt x="974" y="28"/>
                  </a:lnTo>
                  <a:lnTo>
                    <a:pt x="971" y="30"/>
                  </a:lnTo>
                  <a:lnTo>
                    <a:pt x="971" y="33"/>
                  </a:lnTo>
                  <a:lnTo>
                    <a:pt x="971" y="33"/>
                  </a:lnTo>
                  <a:lnTo>
                    <a:pt x="974" y="58"/>
                  </a:lnTo>
                  <a:lnTo>
                    <a:pt x="974" y="67"/>
                  </a:lnTo>
                  <a:lnTo>
                    <a:pt x="974" y="74"/>
                  </a:lnTo>
                  <a:lnTo>
                    <a:pt x="973" y="79"/>
                  </a:lnTo>
                  <a:lnTo>
                    <a:pt x="971" y="80"/>
                  </a:lnTo>
                  <a:lnTo>
                    <a:pt x="970" y="80"/>
                  </a:lnTo>
                  <a:lnTo>
                    <a:pt x="970" y="80"/>
                  </a:lnTo>
                  <a:lnTo>
                    <a:pt x="952" y="83"/>
                  </a:lnTo>
                  <a:lnTo>
                    <a:pt x="945" y="86"/>
                  </a:lnTo>
                  <a:lnTo>
                    <a:pt x="940" y="89"/>
                  </a:lnTo>
                  <a:lnTo>
                    <a:pt x="940" y="89"/>
                  </a:lnTo>
                  <a:lnTo>
                    <a:pt x="933" y="102"/>
                  </a:lnTo>
                  <a:lnTo>
                    <a:pt x="927" y="108"/>
                  </a:lnTo>
                  <a:lnTo>
                    <a:pt x="925" y="108"/>
                  </a:lnTo>
                  <a:lnTo>
                    <a:pt x="922" y="108"/>
                  </a:lnTo>
                  <a:lnTo>
                    <a:pt x="922" y="108"/>
                  </a:lnTo>
                  <a:lnTo>
                    <a:pt x="919" y="105"/>
                  </a:lnTo>
                  <a:lnTo>
                    <a:pt x="916" y="102"/>
                  </a:lnTo>
                  <a:lnTo>
                    <a:pt x="915" y="99"/>
                  </a:lnTo>
                  <a:lnTo>
                    <a:pt x="909" y="98"/>
                  </a:lnTo>
                  <a:lnTo>
                    <a:pt x="909" y="98"/>
                  </a:lnTo>
                  <a:lnTo>
                    <a:pt x="902" y="98"/>
                  </a:lnTo>
                  <a:lnTo>
                    <a:pt x="894" y="98"/>
                  </a:lnTo>
                  <a:lnTo>
                    <a:pt x="888" y="99"/>
                  </a:lnTo>
                  <a:lnTo>
                    <a:pt x="884" y="101"/>
                  </a:lnTo>
                  <a:lnTo>
                    <a:pt x="884" y="101"/>
                  </a:lnTo>
                  <a:lnTo>
                    <a:pt x="878" y="102"/>
                  </a:lnTo>
                  <a:lnTo>
                    <a:pt x="868" y="105"/>
                  </a:lnTo>
                  <a:lnTo>
                    <a:pt x="862" y="105"/>
                  </a:lnTo>
                  <a:lnTo>
                    <a:pt x="857" y="104"/>
                  </a:lnTo>
                  <a:lnTo>
                    <a:pt x="853" y="102"/>
                  </a:lnTo>
                  <a:lnTo>
                    <a:pt x="851" y="99"/>
                  </a:lnTo>
                  <a:lnTo>
                    <a:pt x="851" y="99"/>
                  </a:lnTo>
                  <a:lnTo>
                    <a:pt x="848" y="92"/>
                  </a:lnTo>
                  <a:lnTo>
                    <a:pt x="847" y="86"/>
                  </a:lnTo>
                  <a:lnTo>
                    <a:pt x="844" y="82"/>
                  </a:lnTo>
                  <a:lnTo>
                    <a:pt x="842" y="80"/>
                  </a:lnTo>
                  <a:lnTo>
                    <a:pt x="841" y="80"/>
                  </a:lnTo>
                  <a:lnTo>
                    <a:pt x="841" y="80"/>
                  </a:lnTo>
                  <a:lnTo>
                    <a:pt x="839" y="82"/>
                  </a:lnTo>
                  <a:lnTo>
                    <a:pt x="838" y="83"/>
                  </a:lnTo>
                  <a:lnTo>
                    <a:pt x="838" y="87"/>
                  </a:lnTo>
                  <a:lnTo>
                    <a:pt x="835" y="90"/>
                  </a:lnTo>
                  <a:lnTo>
                    <a:pt x="832" y="92"/>
                  </a:lnTo>
                  <a:lnTo>
                    <a:pt x="828" y="93"/>
                  </a:lnTo>
                  <a:lnTo>
                    <a:pt x="828" y="93"/>
                  </a:lnTo>
                  <a:lnTo>
                    <a:pt x="820" y="93"/>
                  </a:lnTo>
                  <a:lnTo>
                    <a:pt x="814" y="92"/>
                  </a:lnTo>
                  <a:lnTo>
                    <a:pt x="805" y="90"/>
                  </a:lnTo>
                  <a:lnTo>
                    <a:pt x="805" y="90"/>
                  </a:lnTo>
                  <a:lnTo>
                    <a:pt x="802" y="90"/>
                  </a:lnTo>
                  <a:lnTo>
                    <a:pt x="798" y="93"/>
                  </a:lnTo>
                  <a:lnTo>
                    <a:pt x="795" y="95"/>
                  </a:lnTo>
                  <a:lnTo>
                    <a:pt x="794" y="96"/>
                  </a:lnTo>
                  <a:lnTo>
                    <a:pt x="791" y="95"/>
                  </a:lnTo>
                  <a:lnTo>
                    <a:pt x="791" y="95"/>
                  </a:lnTo>
                  <a:lnTo>
                    <a:pt x="782" y="92"/>
                  </a:lnTo>
                  <a:lnTo>
                    <a:pt x="780" y="90"/>
                  </a:lnTo>
                  <a:lnTo>
                    <a:pt x="779" y="86"/>
                  </a:lnTo>
                  <a:lnTo>
                    <a:pt x="779" y="86"/>
                  </a:lnTo>
                  <a:lnTo>
                    <a:pt x="779" y="82"/>
                  </a:lnTo>
                  <a:lnTo>
                    <a:pt x="779" y="77"/>
                  </a:lnTo>
                  <a:lnTo>
                    <a:pt x="776" y="74"/>
                  </a:lnTo>
                  <a:lnTo>
                    <a:pt x="774" y="74"/>
                  </a:lnTo>
                  <a:lnTo>
                    <a:pt x="773" y="77"/>
                  </a:lnTo>
                  <a:lnTo>
                    <a:pt x="773" y="77"/>
                  </a:lnTo>
                  <a:lnTo>
                    <a:pt x="770" y="82"/>
                  </a:lnTo>
                  <a:lnTo>
                    <a:pt x="765" y="87"/>
                  </a:lnTo>
                  <a:lnTo>
                    <a:pt x="762" y="95"/>
                  </a:lnTo>
                  <a:lnTo>
                    <a:pt x="757" y="102"/>
                  </a:lnTo>
                  <a:lnTo>
                    <a:pt x="757" y="102"/>
                  </a:lnTo>
                  <a:lnTo>
                    <a:pt x="751" y="108"/>
                  </a:lnTo>
                  <a:lnTo>
                    <a:pt x="745" y="111"/>
                  </a:lnTo>
                  <a:lnTo>
                    <a:pt x="737" y="111"/>
                  </a:lnTo>
                  <a:lnTo>
                    <a:pt x="727" y="111"/>
                  </a:lnTo>
                  <a:lnTo>
                    <a:pt x="727" y="111"/>
                  </a:lnTo>
                  <a:lnTo>
                    <a:pt x="718" y="111"/>
                  </a:lnTo>
                  <a:lnTo>
                    <a:pt x="712" y="113"/>
                  </a:lnTo>
                  <a:lnTo>
                    <a:pt x="709" y="113"/>
                  </a:lnTo>
                  <a:lnTo>
                    <a:pt x="703" y="110"/>
                  </a:lnTo>
                  <a:lnTo>
                    <a:pt x="703" y="110"/>
                  </a:lnTo>
                  <a:lnTo>
                    <a:pt x="696" y="105"/>
                  </a:lnTo>
                  <a:lnTo>
                    <a:pt x="685" y="102"/>
                  </a:lnTo>
                  <a:lnTo>
                    <a:pt x="677" y="102"/>
                  </a:lnTo>
                  <a:lnTo>
                    <a:pt x="674" y="104"/>
                  </a:lnTo>
                  <a:lnTo>
                    <a:pt x="672" y="105"/>
                  </a:lnTo>
                  <a:lnTo>
                    <a:pt x="672" y="105"/>
                  </a:lnTo>
                  <a:lnTo>
                    <a:pt x="672" y="113"/>
                  </a:lnTo>
                  <a:lnTo>
                    <a:pt x="674" y="123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66" y="133"/>
                  </a:lnTo>
                  <a:lnTo>
                    <a:pt x="656" y="133"/>
                  </a:lnTo>
                  <a:lnTo>
                    <a:pt x="647" y="136"/>
                  </a:lnTo>
                  <a:lnTo>
                    <a:pt x="647" y="136"/>
                  </a:lnTo>
                  <a:lnTo>
                    <a:pt x="638" y="142"/>
                  </a:lnTo>
                  <a:lnTo>
                    <a:pt x="626" y="153"/>
                  </a:lnTo>
                  <a:lnTo>
                    <a:pt x="614" y="161"/>
                  </a:lnTo>
                  <a:lnTo>
                    <a:pt x="608" y="166"/>
                  </a:lnTo>
                  <a:lnTo>
                    <a:pt x="608" y="166"/>
                  </a:lnTo>
                  <a:lnTo>
                    <a:pt x="605" y="167"/>
                  </a:lnTo>
                  <a:lnTo>
                    <a:pt x="604" y="170"/>
                  </a:lnTo>
                  <a:lnTo>
                    <a:pt x="601" y="182"/>
                  </a:lnTo>
                  <a:lnTo>
                    <a:pt x="601" y="182"/>
                  </a:lnTo>
                  <a:lnTo>
                    <a:pt x="601" y="190"/>
                  </a:lnTo>
                  <a:lnTo>
                    <a:pt x="601" y="196"/>
                  </a:lnTo>
                  <a:lnTo>
                    <a:pt x="604" y="199"/>
                  </a:lnTo>
                  <a:lnTo>
                    <a:pt x="608" y="201"/>
                  </a:lnTo>
                  <a:lnTo>
                    <a:pt x="608" y="201"/>
                  </a:lnTo>
                  <a:lnTo>
                    <a:pt x="614" y="200"/>
                  </a:lnTo>
                  <a:lnTo>
                    <a:pt x="617" y="203"/>
                  </a:lnTo>
                  <a:lnTo>
                    <a:pt x="623" y="209"/>
                  </a:lnTo>
                  <a:lnTo>
                    <a:pt x="623" y="209"/>
                  </a:lnTo>
                  <a:lnTo>
                    <a:pt x="631" y="218"/>
                  </a:lnTo>
                  <a:lnTo>
                    <a:pt x="638" y="221"/>
                  </a:lnTo>
                  <a:lnTo>
                    <a:pt x="638" y="221"/>
                  </a:lnTo>
                  <a:lnTo>
                    <a:pt x="651" y="225"/>
                  </a:lnTo>
                  <a:lnTo>
                    <a:pt x="653" y="227"/>
                  </a:lnTo>
                  <a:lnTo>
                    <a:pt x="653" y="228"/>
                  </a:lnTo>
                  <a:lnTo>
                    <a:pt x="647" y="230"/>
                  </a:lnTo>
                  <a:lnTo>
                    <a:pt x="647" y="230"/>
                  </a:lnTo>
                  <a:lnTo>
                    <a:pt x="638" y="230"/>
                  </a:lnTo>
                  <a:lnTo>
                    <a:pt x="632" y="230"/>
                  </a:lnTo>
                  <a:lnTo>
                    <a:pt x="629" y="230"/>
                  </a:lnTo>
                  <a:lnTo>
                    <a:pt x="628" y="231"/>
                  </a:lnTo>
                  <a:lnTo>
                    <a:pt x="628" y="234"/>
                  </a:lnTo>
                  <a:lnTo>
                    <a:pt x="626" y="239"/>
                  </a:lnTo>
                  <a:lnTo>
                    <a:pt x="626" y="239"/>
                  </a:lnTo>
                  <a:lnTo>
                    <a:pt x="625" y="249"/>
                  </a:lnTo>
                  <a:lnTo>
                    <a:pt x="620" y="259"/>
                  </a:lnTo>
                  <a:lnTo>
                    <a:pt x="619" y="265"/>
                  </a:lnTo>
                  <a:lnTo>
                    <a:pt x="619" y="270"/>
                  </a:lnTo>
                  <a:lnTo>
                    <a:pt x="620" y="274"/>
                  </a:lnTo>
                  <a:lnTo>
                    <a:pt x="622" y="278"/>
                  </a:lnTo>
                  <a:lnTo>
                    <a:pt x="622" y="278"/>
                  </a:lnTo>
                  <a:lnTo>
                    <a:pt x="628" y="286"/>
                  </a:lnTo>
                  <a:lnTo>
                    <a:pt x="629" y="293"/>
                  </a:lnTo>
                  <a:lnTo>
                    <a:pt x="629" y="299"/>
                  </a:lnTo>
                  <a:lnTo>
                    <a:pt x="631" y="305"/>
                  </a:lnTo>
                  <a:lnTo>
                    <a:pt x="631" y="305"/>
                  </a:lnTo>
                  <a:lnTo>
                    <a:pt x="634" y="307"/>
                  </a:lnTo>
                  <a:lnTo>
                    <a:pt x="635" y="310"/>
                  </a:lnTo>
                  <a:lnTo>
                    <a:pt x="637" y="313"/>
                  </a:lnTo>
                  <a:lnTo>
                    <a:pt x="635" y="318"/>
                  </a:lnTo>
                  <a:lnTo>
                    <a:pt x="635" y="318"/>
                  </a:lnTo>
                  <a:lnTo>
                    <a:pt x="632" y="327"/>
                  </a:lnTo>
                  <a:lnTo>
                    <a:pt x="631" y="335"/>
                  </a:lnTo>
                  <a:lnTo>
                    <a:pt x="632" y="351"/>
                  </a:lnTo>
                  <a:lnTo>
                    <a:pt x="632" y="351"/>
                  </a:lnTo>
                  <a:lnTo>
                    <a:pt x="631" y="363"/>
                  </a:lnTo>
                  <a:lnTo>
                    <a:pt x="631" y="372"/>
                  </a:lnTo>
                  <a:lnTo>
                    <a:pt x="629" y="378"/>
                  </a:lnTo>
                  <a:lnTo>
                    <a:pt x="629" y="381"/>
                  </a:lnTo>
                  <a:lnTo>
                    <a:pt x="629" y="381"/>
                  </a:lnTo>
                  <a:lnTo>
                    <a:pt x="635" y="384"/>
                  </a:lnTo>
                  <a:lnTo>
                    <a:pt x="642" y="385"/>
                  </a:lnTo>
                  <a:lnTo>
                    <a:pt x="642" y="385"/>
                  </a:lnTo>
                  <a:lnTo>
                    <a:pt x="644" y="387"/>
                  </a:lnTo>
                  <a:lnTo>
                    <a:pt x="637" y="471"/>
                  </a:lnTo>
                  <a:lnTo>
                    <a:pt x="573" y="578"/>
                  </a:lnTo>
                  <a:lnTo>
                    <a:pt x="500" y="643"/>
                  </a:lnTo>
                  <a:lnTo>
                    <a:pt x="422" y="755"/>
                  </a:lnTo>
                  <a:lnTo>
                    <a:pt x="422" y="755"/>
                  </a:lnTo>
                  <a:lnTo>
                    <a:pt x="413" y="770"/>
                  </a:lnTo>
                  <a:lnTo>
                    <a:pt x="413" y="770"/>
                  </a:lnTo>
                  <a:lnTo>
                    <a:pt x="411" y="773"/>
                  </a:lnTo>
                  <a:lnTo>
                    <a:pt x="409" y="775"/>
                  </a:lnTo>
                  <a:lnTo>
                    <a:pt x="400" y="776"/>
                  </a:lnTo>
                  <a:lnTo>
                    <a:pt x="380" y="776"/>
                  </a:lnTo>
                  <a:lnTo>
                    <a:pt x="380" y="776"/>
                  </a:lnTo>
                  <a:lnTo>
                    <a:pt x="372" y="778"/>
                  </a:lnTo>
                  <a:lnTo>
                    <a:pt x="364" y="781"/>
                  </a:lnTo>
                  <a:lnTo>
                    <a:pt x="349" y="788"/>
                  </a:lnTo>
                  <a:lnTo>
                    <a:pt x="349" y="788"/>
                  </a:lnTo>
                  <a:lnTo>
                    <a:pt x="346" y="788"/>
                  </a:lnTo>
                  <a:lnTo>
                    <a:pt x="345" y="788"/>
                  </a:lnTo>
                  <a:lnTo>
                    <a:pt x="343" y="788"/>
                  </a:lnTo>
                  <a:lnTo>
                    <a:pt x="342" y="785"/>
                  </a:lnTo>
                  <a:lnTo>
                    <a:pt x="340" y="781"/>
                  </a:lnTo>
                  <a:lnTo>
                    <a:pt x="339" y="773"/>
                  </a:lnTo>
                  <a:lnTo>
                    <a:pt x="339" y="773"/>
                  </a:lnTo>
                  <a:lnTo>
                    <a:pt x="336" y="767"/>
                  </a:lnTo>
                  <a:lnTo>
                    <a:pt x="332" y="763"/>
                  </a:lnTo>
                  <a:lnTo>
                    <a:pt x="324" y="761"/>
                  </a:lnTo>
                  <a:lnTo>
                    <a:pt x="317" y="760"/>
                  </a:lnTo>
                  <a:lnTo>
                    <a:pt x="317" y="760"/>
                  </a:lnTo>
                  <a:lnTo>
                    <a:pt x="311" y="760"/>
                  </a:lnTo>
                  <a:lnTo>
                    <a:pt x="308" y="757"/>
                  </a:lnTo>
                  <a:lnTo>
                    <a:pt x="306" y="752"/>
                  </a:lnTo>
                  <a:lnTo>
                    <a:pt x="305" y="748"/>
                  </a:lnTo>
                  <a:lnTo>
                    <a:pt x="305" y="748"/>
                  </a:lnTo>
                  <a:lnTo>
                    <a:pt x="302" y="744"/>
                  </a:lnTo>
                  <a:lnTo>
                    <a:pt x="302" y="738"/>
                  </a:lnTo>
                  <a:lnTo>
                    <a:pt x="305" y="724"/>
                  </a:lnTo>
                  <a:lnTo>
                    <a:pt x="305" y="724"/>
                  </a:lnTo>
                  <a:lnTo>
                    <a:pt x="305" y="720"/>
                  </a:lnTo>
                  <a:lnTo>
                    <a:pt x="303" y="718"/>
                  </a:lnTo>
                  <a:lnTo>
                    <a:pt x="299" y="718"/>
                  </a:lnTo>
                  <a:lnTo>
                    <a:pt x="293" y="717"/>
                  </a:lnTo>
                  <a:lnTo>
                    <a:pt x="293" y="717"/>
                  </a:lnTo>
                  <a:lnTo>
                    <a:pt x="283" y="714"/>
                  </a:lnTo>
                  <a:lnTo>
                    <a:pt x="278" y="711"/>
                  </a:lnTo>
                  <a:lnTo>
                    <a:pt x="274" y="707"/>
                  </a:lnTo>
                  <a:lnTo>
                    <a:pt x="274" y="707"/>
                  </a:lnTo>
                  <a:lnTo>
                    <a:pt x="268" y="701"/>
                  </a:lnTo>
                  <a:lnTo>
                    <a:pt x="263" y="695"/>
                  </a:lnTo>
                  <a:lnTo>
                    <a:pt x="263" y="695"/>
                  </a:lnTo>
                  <a:lnTo>
                    <a:pt x="260" y="692"/>
                  </a:lnTo>
                  <a:lnTo>
                    <a:pt x="259" y="689"/>
                  </a:lnTo>
                  <a:lnTo>
                    <a:pt x="255" y="680"/>
                  </a:lnTo>
                  <a:lnTo>
                    <a:pt x="255" y="680"/>
                  </a:lnTo>
                  <a:lnTo>
                    <a:pt x="250" y="675"/>
                  </a:lnTo>
                  <a:lnTo>
                    <a:pt x="244" y="674"/>
                  </a:lnTo>
                  <a:lnTo>
                    <a:pt x="228" y="672"/>
                  </a:lnTo>
                  <a:lnTo>
                    <a:pt x="228" y="672"/>
                  </a:lnTo>
                  <a:lnTo>
                    <a:pt x="220" y="671"/>
                  </a:lnTo>
                  <a:lnTo>
                    <a:pt x="218" y="672"/>
                  </a:lnTo>
                  <a:lnTo>
                    <a:pt x="218" y="675"/>
                  </a:lnTo>
                  <a:lnTo>
                    <a:pt x="215" y="677"/>
                  </a:lnTo>
                  <a:lnTo>
                    <a:pt x="215" y="677"/>
                  </a:lnTo>
                  <a:lnTo>
                    <a:pt x="212" y="677"/>
                  </a:lnTo>
                  <a:lnTo>
                    <a:pt x="210" y="675"/>
                  </a:lnTo>
                  <a:lnTo>
                    <a:pt x="209" y="668"/>
                  </a:lnTo>
                  <a:lnTo>
                    <a:pt x="209" y="668"/>
                  </a:lnTo>
                  <a:lnTo>
                    <a:pt x="207" y="664"/>
                  </a:lnTo>
                  <a:lnTo>
                    <a:pt x="204" y="662"/>
                  </a:lnTo>
                  <a:lnTo>
                    <a:pt x="197" y="658"/>
                  </a:lnTo>
                  <a:lnTo>
                    <a:pt x="197" y="658"/>
                  </a:lnTo>
                  <a:lnTo>
                    <a:pt x="166" y="637"/>
                  </a:lnTo>
                  <a:lnTo>
                    <a:pt x="166" y="637"/>
                  </a:lnTo>
                  <a:lnTo>
                    <a:pt x="143" y="619"/>
                  </a:lnTo>
                  <a:lnTo>
                    <a:pt x="132" y="609"/>
                  </a:lnTo>
                  <a:lnTo>
                    <a:pt x="127" y="604"/>
                  </a:lnTo>
                  <a:lnTo>
                    <a:pt x="124" y="600"/>
                  </a:lnTo>
                  <a:lnTo>
                    <a:pt x="124" y="600"/>
                  </a:lnTo>
                  <a:lnTo>
                    <a:pt x="120" y="592"/>
                  </a:lnTo>
                  <a:lnTo>
                    <a:pt x="115" y="588"/>
                  </a:lnTo>
                  <a:lnTo>
                    <a:pt x="106" y="581"/>
                  </a:lnTo>
                  <a:lnTo>
                    <a:pt x="106" y="581"/>
                  </a:lnTo>
                  <a:lnTo>
                    <a:pt x="105" y="579"/>
                  </a:lnTo>
                  <a:lnTo>
                    <a:pt x="106" y="576"/>
                  </a:lnTo>
                  <a:lnTo>
                    <a:pt x="111" y="573"/>
                  </a:lnTo>
                  <a:lnTo>
                    <a:pt x="117" y="570"/>
                  </a:lnTo>
                  <a:lnTo>
                    <a:pt x="118" y="567"/>
                  </a:lnTo>
                  <a:lnTo>
                    <a:pt x="120" y="566"/>
                  </a:lnTo>
                  <a:lnTo>
                    <a:pt x="120" y="566"/>
                  </a:lnTo>
                  <a:lnTo>
                    <a:pt x="120" y="563"/>
                  </a:lnTo>
                  <a:lnTo>
                    <a:pt x="118" y="560"/>
                  </a:lnTo>
                  <a:lnTo>
                    <a:pt x="112" y="554"/>
                  </a:lnTo>
                  <a:lnTo>
                    <a:pt x="101" y="547"/>
                  </a:lnTo>
                  <a:lnTo>
                    <a:pt x="101" y="547"/>
                  </a:lnTo>
                  <a:lnTo>
                    <a:pt x="98" y="545"/>
                  </a:lnTo>
                  <a:lnTo>
                    <a:pt x="96" y="547"/>
                  </a:lnTo>
                  <a:lnTo>
                    <a:pt x="92" y="550"/>
                  </a:lnTo>
                  <a:lnTo>
                    <a:pt x="87" y="554"/>
                  </a:lnTo>
                  <a:lnTo>
                    <a:pt x="84" y="558"/>
                  </a:lnTo>
                  <a:lnTo>
                    <a:pt x="84" y="558"/>
                  </a:lnTo>
                  <a:lnTo>
                    <a:pt x="78" y="561"/>
                  </a:lnTo>
                  <a:lnTo>
                    <a:pt x="74" y="567"/>
                  </a:lnTo>
                  <a:lnTo>
                    <a:pt x="74" y="567"/>
                  </a:lnTo>
                  <a:lnTo>
                    <a:pt x="68" y="575"/>
                  </a:lnTo>
                  <a:lnTo>
                    <a:pt x="59" y="582"/>
                  </a:lnTo>
                  <a:lnTo>
                    <a:pt x="46" y="591"/>
                  </a:lnTo>
                  <a:lnTo>
                    <a:pt x="32" y="603"/>
                  </a:lnTo>
                  <a:lnTo>
                    <a:pt x="32" y="603"/>
                  </a:lnTo>
                  <a:lnTo>
                    <a:pt x="31" y="603"/>
                  </a:lnTo>
                  <a:lnTo>
                    <a:pt x="31" y="603"/>
                  </a:lnTo>
                  <a:lnTo>
                    <a:pt x="15" y="600"/>
                  </a:lnTo>
                  <a:lnTo>
                    <a:pt x="15" y="600"/>
                  </a:lnTo>
                  <a:lnTo>
                    <a:pt x="10" y="597"/>
                  </a:lnTo>
                  <a:lnTo>
                    <a:pt x="9" y="595"/>
                  </a:lnTo>
                  <a:lnTo>
                    <a:pt x="6" y="595"/>
                  </a:lnTo>
                  <a:lnTo>
                    <a:pt x="4" y="598"/>
                  </a:lnTo>
                  <a:lnTo>
                    <a:pt x="4" y="598"/>
                  </a:lnTo>
                  <a:lnTo>
                    <a:pt x="4" y="604"/>
                  </a:lnTo>
                  <a:lnTo>
                    <a:pt x="6" y="609"/>
                  </a:lnTo>
                  <a:lnTo>
                    <a:pt x="12" y="618"/>
                  </a:lnTo>
                  <a:lnTo>
                    <a:pt x="12" y="618"/>
                  </a:lnTo>
                  <a:lnTo>
                    <a:pt x="13" y="621"/>
                  </a:lnTo>
                  <a:lnTo>
                    <a:pt x="15" y="624"/>
                  </a:lnTo>
                  <a:lnTo>
                    <a:pt x="13" y="627"/>
                  </a:lnTo>
                  <a:lnTo>
                    <a:pt x="10" y="629"/>
                  </a:lnTo>
                  <a:lnTo>
                    <a:pt x="10" y="629"/>
                  </a:lnTo>
                  <a:lnTo>
                    <a:pt x="6" y="632"/>
                  </a:lnTo>
                  <a:lnTo>
                    <a:pt x="3" y="637"/>
                  </a:lnTo>
                  <a:lnTo>
                    <a:pt x="1" y="643"/>
                  </a:lnTo>
                  <a:lnTo>
                    <a:pt x="3" y="650"/>
                  </a:lnTo>
                  <a:lnTo>
                    <a:pt x="3" y="650"/>
                  </a:lnTo>
                  <a:lnTo>
                    <a:pt x="3" y="658"/>
                  </a:lnTo>
                  <a:lnTo>
                    <a:pt x="3" y="662"/>
                  </a:lnTo>
                  <a:lnTo>
                    <a:pt x="1" y="667"/>
                  </a:lnTo>
                  <a:lnTo>
                    <a:pt x="1" y="671"/>
                  </a:lnTo>
                  <a:lnTo>
                    <a:pt x="1" y="671"/>
                  </a:lnTo>
                  <a:lnTo>
                    <a:pt x="3" y="675"/>
                  </a:lnTo>
                  <a:lnTo>
                    <a:pt x="6" y="678"/>
                  </a:lnTo>
                  <a:lnTo>
                    <a:pt x="6" y="680"/>
                  </a:lnTo>
                  <a:lnTo>
                    <a:pt x="4" y="684"/>
                  </a:lnTo>
                  <a:lnTo>
                    <a:pt x="4" y="684"/>
                  </a:lnTo>
                  <a:lnTo>
                    <a:pt x="1" y="690"/>
                  </a:lnTo>
                  <a:lnTo>
                    <a:pt x="0" y="695"/>
                  </a:lnTo>
                  <a:lnTo>
                    <a:pt x="0" y="699"/>
                  </a:lnTo>
                  <a:lnTo>
                    <a:pt x="1" y="702"/>
                  </a:lnTo>
                  <a:lnTo>
                    <a:pt x="1" y="702"/>
                  </a:lnTo>
                  <a:lnTo>
                    <a:pt x="6" y="711"/>
                  </a:lnTo>
                  <a:lnTo>
                    <a:pt x="6" y="711"/>
                  </a:lnTo>
                  <a:lnTo>
                    <a:pt x="9" y="711"/>
                  </a:lnTo>
                  <a:lnTo>
                    <a:pt x="9" y="711"/>
                  </a:lnTo>
                  <a:lnTo>
                    <a:pt x="15" y="714"/>
                  </a:lnTo>
                  <a:lnTo>
                    <a:pt x="19" y="718"/>
                  </a:lnTo>
                  <a:lnTo>
                    <a:pt x="25" y="723"/>
                  </a:lnTo>
                  <a:lnTo>
                    <a:pt x="32" y="726"/>
                  </a:lnTo>
                  <a:lnTo>
                    <a:pt x="32" y="726"/>
                  </a:lnTo>
                  <a:lnTo>
                    <a:pt x="41" y="729"/>
                  </a:lnTo>
                  <a:lnTo>
                    <a:pt x="47" y="733"/>
                  </a:lnTo>
                  <a:lnTo>
                    <a:pt x="53" y="739"/>
                  </a:lnTo>
                  <a:lnTo>
                    <a:pt x="62" y="745"/>
                  </a:lnTo>
                  <a:lnTo>
                    <a:pt x="62" y="745"/>
                  </a:lnTo>
                  <a:lnTo>
                    <a:pt x="68" y="748"/>
                  </a:lnTo>
                  <a:lnTo>
                    <a:pt x="74" y="751"/>
                  </a:lnTo>
                  <a:lnTo>
                    <a:pt x="86" y="751"/>
                  </a:lnTo>
                  <a:lnTo>
                    <a:pt x="98" y="751"/>
                  </a:lnTo>
                  <a:lnTo>
                    <a:pt x="106" y="748"/>
                  </a:lnTo>
                  <a:lnTo>
                    <a:pt x="106" y="748"/>
                  </a:lnTo>
                  <a:lnTo>
                    <a:pt x="111" y="748"/>
                  </a:lnTo>
                  <a:lnTo>
                    <a:pt x="114" y="748"/>
                  </a:lnTo>
                  <a:lnTo>
                    <a:pt x="123" y="751"/>
                  </a:lnTo>
                  <a:lnTo>
                    <a:pt x="142" y="761"/>
                  </a:lnTo>
                  <a:lnTo>
                    <a:pt x="142" y="761"/>
                  </a:lnTo>
                  <a:lnTo>
                    <a:pt x="155" y="767"/>
                  </a:lnTo>
                  <a:lnTo>
                    <a:pt x="170" y="773"/>
                  </a:lnTo>
                  <a:lnTo>
                    <a:pt x="186" y="778"/>
                  </a:lnTo>
                  <a:lnTo>
                    <a:pt x="194" y="779"/>
                  </a:lnTo>
                  <a:lnTo>
                    <a:pt x="200" y="779"/>
                  </a:lnTo>
                  <a:lnTo>
                    <a:pt x="200" y="779"/>
                  </a:lnTo>
                  <a:lnTo>
                    <a:pt x="203" y="781"/>
                  </a:lnTo>
                  <a:lnTo>
                    <a:pt x="206" y="782"/>
                  </a:lnTo>
                  <a:lnTo>
                    <a:pt x="207" y="786"/>
                  </a:lnTo>
                  <a:lnTo>
                    <a:pt x="207" y="789"/>
                  </a:lnTo>
                  <a:lnTo>
                    <a:pt x="207" y="800"/>
                  </a:lnTo>
                  <a:lnTo>
                    <a:pt x="209" y="804"/>
                  </a:lnTo>
                  <a:lnTo>
                    <a:pt x="210" y="807"/>
                  </a:lnTo>
                  <a:lnTo>
                    <a:pt x="210" y="807"/>
                  </a:lnTo>
                  <a:lnTo>
                    <a:pt x="215" y="812"/>
                  </a:lnTo>
                  <a:lnTo>
                    <a:pt x="219" y="815"/>
                  </a:lnTo>
                  <a:lnTo>
                    <a:pt x="223" y="819"/>
                  </a:lnTo>
                  <a:lnTo>
                    <a:pt x="226" y="828"/>
                  </a:lnTo>
                  <a:lnTo>
                    <a:pt x="226" y="828"/>
                  </a:lnTo>
                  <a:lnTo>
                    <a:pt x="229" y="838"/>
                  </a:lnTo>
                  <a:lnTo>
                    <a:pt x="235" y="846"/>
                  </a:lnTo>
                  <a:lnTo>
                    <a:pt x="240" y="852"/>
                  </a:lnTo>
                  <a:lnTo>
                    <a:pt x="244" y="859"/>
                  </a:lnTo>
                  <a:lnTo>
                    <a:pt x="244" y="859"/>
                  </a:lnTo>
                  <a:lnTo>
                    <a:pt x="247" y="866"/>
                  </a:lnTo>
                  <a:lnTo>
                    <a:pt x="250" y="871"/>
                  </a:lnTo>
                  <a:lnTo>
                    <a:pt x="256" y="872"/>
                  </a:lnTo>
                  <a:lnTo>
                    <a:pt x="260" y="874"/>
                  </a:lnTo>
                  <a:lnTo>
                    <a:pt x="260" y="874"/>
                  </a:lnTo>
                  <a:lnTo>
                    <a:pt x="263" y="875"/>
                  </a:lnTo>
                  <a:lnTo>
                    <a:pt x="265" y="877"/>
                  </a:lnTo>
                  <a:lnTo>
                    <a:pt x="265" y="880"/>
                  </a:lnTo>
                  <a:lnTo>
                    <a:pt x="269" y="884"/>
                  </a:lnTo>
                  <a:lnTo>
                    <a:pt x="274" y="887"/>
                  </a:lnTo>
                  <a:lnTo>
                    <a:pt x="280" y="890"/>
                  </a:lnTo>
                  <a:lnTo>
                    <a:pt x="280" y="890"/>
                  </a:lnTo>
                  <a:lnTo>
                    <a:pt x="302" y="899"/>
                  </a:lnTo>
                  <a:lnTo>
                    <a:pt x="324" y="906"/>
                  </a:lnTo>
                  <a:lnTo>
                    <a:pt x="324" y="906"/>
                  </a:lnTo>
                  <a:lnTo>
                    <a:pt x="337" y="911"/>
                  </a:lnTo>
                  <a:lnTo>
                    <a:pt x="352" y="914"/>
                  </a:lnTo>
                  <a:lnTo>
                    <a:pt x="374" y="917"/>
                  </a:lnTo>
                  <a:lnTo>
                    <a:pt x="374" y="917"/>
                  </a:lnTo>
                  <a:lnTo>
                    <a:pt x="380" y="915"/>
                  </a:lnTo>
                  <a:lnTo>
                    <a:pt x="388" y="911"/>
                  </a:lnTo>
                  <a:lnTo>
                    <a:pt x="400" y="901"/>
                  </a:lnTo>
                  <a:lnTo>
                    <a:pt x="400" y="901"/>
                  </a:lnTo>
                  <a:lnTo>
                    <a:pt x="409" y="896"/>
                  </a:lnTo>
                  <a:lnTo>
                    <a:pt x="422" y="890"/>
                  </a:lnTo>
                  <a:lnTo>
                    <a:pt x="450" y="880"/>
                  </a:lnTo>
                  <a:lnTo>
                    <a:pt x="450" y="880"/>
                  </a:lnTo>
                  <a:lnTo>
                    <a:pt x="474" y="871"/>
                  </a:lnTo>
                  <a:lnTo>
                    <a:pt x="486" y="868"/>
                  </a:lnTo>
                  <a:lnTo>
                    <a:pt x="493" y="868"/>
                  </a:lnTo>
                  <a:lnTo>
                    <a:pt x="499" y="868"/>
                  </a:lnTo>
                  <a:lnTo>
                    <a:pt x="499" y="868"/>
                  </a:lnTo>
                  <a:lnTo>
                    <a:pt x="511" y="871"/>
                  </a:lnTo>
                  <a:lnTo>
                    <a:pt x="520" y="875"/>
                  </a:lnTo>
                  <a:lnTo>
                    <a:pt x="527" y="878"/>
                  </a:lnTo>
                  <a:lnTo>
                    <a:pt x="536" y="881"/>
                  </a:lnTo>
                  <a:lnTo>
                    <a:pt x="536" y="881"/>
                  </a:lnTo>
                  <a:lnTo>
                    <a:pt x="546" y="883"/>
                  </a:lnTo>
                  <a:lnTo>
                    <a:pt x="554" y="881"/>
                  </a:lnTo>
                  <a:lnTo>
                    <a:pt x="560" y="880"/>
                  </a:lnTo>
                  <a:lnTo>
                    <a:pt x="565" y="881"/>
                  </a:lnTo>
                  <a:lnTo>
                    <a:pt x="565" y="881"/>
                  </a:lnTo>
                  <a:lnTo>
                    <a:pt x="573" y="886"/>
                  </a:lnTo>
                  <a:lnTo>
                    <a:pt x="583" y="895"/>
                  </a:lnTo>
                  <a:lnTo>
                    <a:pt x="592" y="903"/>
                  </a:lnTo>
                  <a:lnTo>
                    <a:pt x="600" y="908"/>
                  </a:lnTo>
                  <a:lnTo>
                    <a:pt x="600" y="908"/>
                  </a:lnTo>
                  <a:lnTo>
                    <a:pt x="607" y="909"/>
                  </a:lnTo>
                  <a:lnTo>
                    <a:pt x="617" y="909"/>
                  </a:lnTo>
                  <a:lnTo>
                    <a:pt x="640" y="909"/>
                  </a:lnTo>
                  <a:lnTo>
                    <a:pt x="640" y="909"/>
                  </a:lnTo>
                  <a:lnTo>
                    <a:pt x="638" y="878"/>
                  </a:lnTo>
                  <a:lnTo>
                    <a:pt x="638" y="878"/>
                  </a:lnTo>
                  <a:lnTo>
                    <a:pt x="638" y="871"/>
                  </a:lnTo>
                  <a:lnTo>
                    <a:pt x="641" y="866"/>
                  </a:lnTo>
                  <a:lnTo>
                    <a:pt x="648" y="861"/>
                  </a:lnTo>
                  <a:lnTo>
                    <a:pt x="648" y="861"/>
                  </a:lnTo>
                  <a:lnTo>
                    <a:pt x="651" y="858"/>
                  </a:lnTo>
                  <a:lnTo>
                    <a:pt x="654" y="853"/>
                  </a:lnTo>
                  <a:lnTo>
                    <a:pt x="656" y="849"/>
                  </a:lnTo>
                  <a:lnTo>
                    <a:pt x="656" y="849"/>
                  </a:lnTo>
                  <a:lnTo>
                    <a:pt x="663" y="846"/>
                  </a:lnTo>
                  <a:lnTo>
                    <a:pt x="671" y="843"/>
                  </a:lnTo>
                  <a:lnTo>
                    <a:pt x="671" y="843"/>
                  </a:lnTo>
                  <a:lnTo>
                    <a:pt x="681" y="838"/>
                  </a:lnTo>
                  <a:lnTo>
                    <a:pt x="685" y="834"/>
                  </a:lnTo>
                  <a:lnTo>
                    <a:pt x="688" y="829"/>
                  </a:lnTo>
                  <a:lnTo>
                    <a:pt x="688" y="829"/>
                  </a:lnTo>
                  <a:lnTo>
                    <a:pt x="688" y="826"/>
                  </a:lnTo>
                  <a:lnTo>
                    <a:pt x="688" y="825"/>
                  </a:lnTo>
                  <a:lnTo>
                    <a:pt x="684" y="822"/>
                  </a:lnTo>
                  <a:lnTo>
                    <a:pt x="672" y="819"/>
                  </a:lnTo>
                  <a:lnTo>
                    <a:pt x="672" y="819"/>
                  </a:lnTo>
                  <a:lnTo>
                    <a:pt x="665" y="815"/>
                  </a:lnTo>
                  <a:lnTo>
                    <a:pt x="662" y="813"/>
                  </a:lnTo>
                  <a:lnTo>
                    <a:pt x="662" y="810"/>
                  </a:lnTo>
                  <a:lnTo>
                    <a:pt x="662" y="810"/>
                  </a:lnTo>
                  <a:lnTo>
                    <a:pt x="662" y="803"/>
                  </a:lnTo>
                  <a:lnTo>
                    <a:pt x="662" y="797"/>
                  </a:lnTo>
                  <a:lnTo>
                    <a:pt x="662" y="792"/>
                  </a:lnTo>
                  <a:lnTo>
                    <a:pt x="662" y="792"/>
                  </a:lnTo>
                  <a:lnTo>
                    <a:pt x="660" y="788"/>
                  </a:lnTo>
                  <a:lnTo>
                    <a:pt x="662" y="782"/>
                  </a:lnTo>
                  <a:lnTo>
                    <a:pt x="665" y="772"/>
                  </a:lnTo>
                  <a:lnTo>
                    <a:pt x="665" y="772"/>
                  </a:lnTo>
                  <a:lnTo>
                    <a:pt x="672" y="763"/>
                  </a:lnTo>
                  <a:lnTo>
                    <a:pt x="678" y="754"/>
                  </a:lnTo>
                  <a:lnTo>
                    <a:pt x="678" y="754"/>
                  </a:lnTo>
                  <a:lnTo>
                    <a:pt x="680" y="752"/>
                  </a:lnTo>
                  <a:lnTo>
                    <a:pt x="678" y="751"/>
                  </a:lnTo>
                  <a:lnTo>
                    <a:pt x="674" y="745"/>
                  </a:lnTo>
                  <a:lnTo>
                    <a:pt x="674" y="745"/>
                  </a:lnTo>
                  <a:lnTo>
                    <a:pt x="672" y="741"/>
                  </a:lnTo>
                  <a:lnTo>
                    <a:pt x="672" y="736"/>
                  </a:lnTo>
                  <a:lnTo>
                    <a:pt x="674" y="727"/>
                  </a:lnTo>
                  <a:lnTo>
                    <a:pt x="674" y="727"/>
                  </a:lnTo>
                  <a:lnTo>
                    <a:pt x="675" y="724"/>
                  </a:lnTo>
                  <a:lnTo>
                    <a:pt x="677" y="723"/>
                  </a:lnTo>
                  <a:lnTo>
                    <a:pt x="684" y="720"/>
                  </a:lnTo>
                  <a:lnTo>
                    <a:pt x="697" y="717"/>
                  </a:lnTo>
                  <a:lnTo>
                    <a:pt x="697" y="717"/>
                  </a:lnTo>
                  <a:lnTo>
                    <a:pt x="705" y="718"/>
                  </a:lnTo>
                  <a:lnTo>
                    <a:pt x="714" y="720"/>
                  </a:lnTo>
                  <a:lnTo>
                    <a:pt x="722" y="723"/>
                  </a:lnTo>
                  <a:lnTo>
                    <a:pt x="730" y="724"/>
                  </a:lnTo>
                  <a:lnTo>
                    <a:pt x="730" y="724"/>
                  </a:lnTo>
                  <a:lnTo>
                    <a:pt x="733" y="724"/>
                  </a:lnTo>
                  <a:lnTo>
                    <a:pt x="736" y="723"/>
                  </a:lnTo>
                  <a:lnTo>
                    <a:pt x="743" y="718"/>
                  </a:lnTo>
                  <a:lnTo>
                    <a:pt x="752" y="712"/>
                  </a:lnTo>
                  <a:lnTo>
                    <a:pt x="759" y="708"/>
                  </a:lnTo>
                  <a:lnTo>
                    <a:pt x="759" y="708"/>
                  </a:lnTo>
                  <a:lnTo>
                    <a:pt x="768" y="702"/>
                  </a:lnTo>
                  <a:lnTo>
                    <a:pt x="774" y="698"/>
                  </a:lnTo>
                  <a:lnTo>
                    <a:pt x="782" y="690"/>
                  </a:lnTo>
                  <a:lnTo>
                    <a:pt x="782" y="690"/>
                  </a:lnTo>
                  <a:lnTo>
                    <a:pt x="794" y="690"/>
                  </a:lnTo>
                  <a:lnTo>
                    <a:pt x="811" y="692"/>
                  </a:lnTo>
                  <a:lnTo>
                    <a:pt x="811" y="692"/>
                  </a:lnTo>
                  <a:lnTo>
                    <a:pt x="819" y="693"/>
                  </a:lnTo>
                  <a:lnTo>
                    <a:pt x="825" y="692"/>
                  </a:lnTo>
                  <a:lnTo>
                    <a:pt x="832" y="690"/>
                  </a:lnTo>
                  <a:lnTo>
                    <a:pt x="832" y="690"/>
                  </a:lnTo>
                  <a:lnTo>
                    <a:pt x="834" y="689"/>
                  </a:lnTo>
                  <a:lnTo>
                    <a:pt x="835" y="686"/>
                  </a:lnTo>
                  <a:lnTo>
                    <a:pt x="838" y="681"/>
                  </a:lnTo>
                  <a:lnTo>
                    <a:pt x="841" y="671"/>
                  </a:lnTo>
                  <a:lnTo>
                    <a:pt x="841" y="671"/>
                  </a:lnTo>
                  <a:lnTo>
                    <a:pt x="850" y="662"/>
                  </a:lnTo>
                  <a:lnTo>
                    <a:pt x="862" y="653"/>
                  </a:lnTo>
                  <a:lnTo>
                    <a:pt x="862" y="653"/>
                  </a:lnTo>
                  <a:lnTo>
                    <a:pt x="875" y="644"/>
                  </a:lnTo>
                  <a:lnTo>
                    <a:pt x="885" y="634"/>
                  </a:lnTo>
                  <a:lnTo>
                    <a:pt x="885" y="634"/>
                  </a:lnTo>
                  <a:lnTo>
                    <a:pt x="888" y="629"/>
                  </a:lnTo>
                  <a:lnTo>
                    <a:pt x="888" y="625"/>
                  </a:lnTo>
                  <a:lnTo>
                    <a:pt x="890" y="616"/>
                  </a:lnTo>
                  <a:lnTo>
                    <a:pt x="890" y="616"/>
                  </a:lnTo>
                  <a:lnTo>
                    <a:pt x="891" y="615"/>
                  </a:lnTo>
                  <a:lnTo>
                    <a:pt x="896" y="612"/>
                  </a:lnTo>
                  <a:lnTo>
                    <a:pt x="900" y="609"/>
                  </a:lnTo>
                  <a:lnTo>
                    <a:pt x="900" y="609"/>
                  </a:lnTo>
                  <a:lnTo>
                    <a:pt x="906" y="595"/>
                  </a:lnTo>
                  <a:lnTo>
                    <a:pt x="906" y="595"/>
                  </a:lnTo>
                  <a:lnTo>
                    <a:pt x="906" y="594"/>
                  </a:lnTo>
                  <a:lnTo>
                    <a:pt x="908" y="594"/>
                  </a:lnTo>
                  <a:lnTo>
                    <a:pt x="913" y="594"/>
                  </a:lnTo>
                  <a:lnTo>
                    <a:pt x="918" y="595"/>
                  </a:lnTo>
                  <a:lnTo>
                    <a:pt x="922" y="597"/>
                  </a:lnTo>
                  <a:lnTo>
                    <a:pt x="922" y="597"/>
                  </a:lnTo>
                  <a:lnTo>
                    <a:pt x="925" y="598"/>
                  </a:lnTo>
                  <a:lnTo>
                    <a:pt x="928" y="597"/>
                  </a:lnTo>
                  <a:lnTo>
                    <a:pt x="931" y="594"/>
                  </a:lnTo>
                  <a:lnTo>
                    <a:pt x="934" y="590"/>
                  </a:lnTo>
                  <a:lnTo>
                    <a:pt x="934" y="590"/>
                  </a:lnTo>
                  <a:lnTo>
                    <a:pt x="942" y="581"/>
                  </a:lnTo>
                  <a:lnTo>
                    <a:pt x="946" y="578"/>
                  </a:lnTo>
                  <a:lnTo>
                    <a:pt x="950" y="576"/>
                  </a:lnTo>
                  <a:lnTo>
                    <a:pt x="950" y="576"/>
                  </a:lnTo>
                  <a:lnTo>
                    <a:pt x="958" y="575"/>
                  </a:lnTo>
                  <a:lnTo>
                    <a:pt x="964" y="572"/>
                  </a:lnTo>
                  <a:lnTo>
                    <a:pt x="968" y="569"/>
                  </a:lnTo>
                  <a:lnTo>
                    <a:pt x="970" y="566"/>
                  </a:lnTo>
                  <a:lnTo>
                    <a:pt x="970" y="566"/>
                  </a:lnTo>
                  <a:lnTo>
                    <a:pt x="971" y="563"/>
                  </a:lnTo>
                  <a:lnTo>
                    <a:pt x="976" y="560"/>
                  </a:lnTo>
                  <a:lnTo>
                    <a:pt x="980" y="557"/>
                  </a:lnTo>
                  <a:lnTo>
                    <a:pt x="985" y="557"/>
                  </a:lnTo>
                  <a:lnTo>
                    <a:pt x="985" y="557"/>
                  </a:lnTo>
                  <a:lnTo>
                    <a:pt x="995" y="555"/>
                  </a:lnTo>
                  <a:lnTo>
                    <a:pt x="1004" y="551"/>
                  </a:lnTo>
                  <a:lnTo>
                    <a:pt x="1004" y="551"/>
                  </a:lnTo>
                  <a:lnTo>
                    <a:pt x="1008" y="548"/>
                  </a:lnTo>
                  <a:lnTo>
                    <a:pt x="1013" y="542"/>
                  </a:lnTo>
                  <a:lnTo>
                    <a:pt x="1022" y="530"/>
                  </a:lnTo>
                  <a:lnTo>
                    <a:pt x="1022" y="530"/>
                  </a:lnTo>
                  <a:lnTo>
                    <a:pt x="1025" y="527"/>
                  </a:lnTo>
                  <a:lnTo>
                    <a:pt x="1027" y="524"/>
                  </a:lnTo>
                  <a:lnTo>
                    <a:pt x="1030" y="523"/>
                  </a:lnTo>
                  <a:lnTo>
                    <a:pt x="1033" y="520"/>
                  </a:lnTo>
                  <a:lnTo>
                    <a:pt x="1033" y="520"/>
                  </a:lnTo>
                  <a:lnTo>
                    <a:pt x="1035" y="505"/>
                  </a:lnTo>
                  <a:lnTo>
                    <a:pt x="1035" y="489"/>
                  </a:lnTo>
                  <a:lnTo>
                    <a:pt x="1035" y="489"/>
                  </a:lnTo>
                  <a:lnTo>
                    <a:pt x="1035" y="486"/>
                  </a:lnTo>
                  <a:lnTo>
                    <a:pt x="1033" y="484"/>
                  </a:lnTo>
                  <a:lnTo>
                    <a:pt x="1032" y="484"/>
                  </a:lnTo>
                  <a:lnTo>
                    <a:pt x="1029" y="483"/>
                  </a:lnTo>
                  <a:lnTo>
                    <a:pt x="1027" y="480"/>
                  </a:lnTo>
                  <a:lnTo>
                    <a:pt x="1025" y="474"/>
                  </a:lnTo>
                  <a:lnTo>
                    <a:pt x="1025" y="474"/>
                  </a:lnTo>
                  <a:lnTo>
                    <a:pt x="1020" y="464"/>
                  </a:lnTo>
                  <a:lnTo>
                    <a:pt x="1019" y="462"/>
                  </a:lnTo>
                  <a:lnTo>
                    <a:pt x="1017" y="461"/>
                  </a:lnTo>
                  <a:lnTo>
                    <a:pt x="1013" y="461"/>
                  </a:lnTo>
                  <a:lnTo>
                    <a:pt x="1008" y="461"/>
                  </a:lnTo>
                  <a:lnTo>
                    <a:pt x="1008" y="461"/>
                  </a:lnTo>
                  <a:lnTo>
                    <a:pt x="1004" y="459"/>
                  </a:lnTo>
                  <a:lnTo>
                    <a:pt x="999" y="456"/>
                  </a:lnTo>
                  <a:lnTo>
                    <a:pt x="996" y="452"/>
                  </a:lnTo>
                  <a:lnTo>
                    <a:pt x="996" y="447"/>
                  </a:lnTo>
                  <a:lnTo>
                    <a:pt x="996" y="447"/>
                  </a:lnTo>
                  <a:lnTo>
                    <a:pt x="996" y="441"/>
                  </a:lnTo>
                  <a:lnTo>
                    <a:pt x="995" y="438"/>
                  </a:lnTo>
                  <a:lnTo>
                    <a:pt x="990" y="435"/>
                  </a:lnTo>
                  <a:lnTo>
                    <a:pt x="986" y="433"/>
                  </a:lnTo>
                  <a:lnTo>
                    <a:pt x="986" y="433"/>
                  </a:lnTo>
                  <a:lnTo>
                    <a:pt x="983" y="431"/>
                  </a:lnTo>
                  <a:lnTo>
                    <a:pt x="982" y="428"/>
                  </a:lnTo>
                  <a:lnTo>
                    <a:pt x="983" y="427"/>
                  </a:lnTo>
                  <a:lnTo>
                    <a:pt x="985" y="425"/>
                  </a:lnTo>
                  <a:lnTo>
                    <a:pt x="989" y="422"/>
                  </a:lnTo>
                  <a:lnTo>
                    <a:pt x="998" y="419"/>
                  </a:lnTo>
                  <a:lnTo>
                    <a:pt x="998" y="419"/>
                  </a:lnTo>
                  <a:lnTo>
                    <a:pt x="1001" y="419"/>
                  </a:lnTo>
                  <a:lnTo>
                    <a:pt x="1004" y="418"/>
                  </a:lnTo>
                  <a:lnTo>
                    <a:pt x="1008" y="413"/>
                  </a:lnTo>
                  <a:lnTo>
                    <a:pt x="1011" y="409"/>
                  </a:lnTo>
                  <a:lnTo>
                    <a:pt x="1014" y="406"/>
                  </a:lnTo>
                  <a:lnTo>
                    <a:pt x="1014" y="406"/>
                  </a:lnTo>
                  <a:lnTo>
                    <a:pt x="1027" y="400"/>
                  </a:lnTo>
                  <a:lnTo>
                    <a:pt x="1035" y="395"/>
                  </a:lnTo>
                  <a:lnTo>
                    <a:pt x="1042" y="391"/>
                  </a:lnTo>
                  <a:lnTo>
                    <a:pt x="1042" y="391"/>
                  </a:lnTo>
                  <a:lnTo>
                    <a:pt x="1053" y="379"/>
                  </a:lnTo>
                  <a:lnTo>
                    <a:pt x="1062" y="369"/>
                  </a:lnTo>
                  <a:lnTo>
                    <a:pt x="1062" y="369"/>
                  </a:lnTo>
                  <a:lnTo>
                    <a:pt x="1064" y="366"/>
                  </a:lnTo>
                  <a:lnTo>
                    <a:pt x="1066" y="360"/>
                  </a:lnTo>
                  <a:lnTo>
                    <a:pt x="1070" y="347"/>
                  </a:lnTo>
                  <a:lnTo>
                    <a:pt x="1075" y="332"/>
                  </a:lnTo>
                  <a:lnTo>
                    <a:pt x="1079" y="321"/>
                  </a:lnTo>
                  <a:lnTo>
                    <a:pt x="1079" y="321"/>
                  </a:lnTo>
                  <a:lnTo>
                    <a:pt x="1087" y="314"/>
                  </a:lnTo>
                  <a:lnTo>
                    <a:pt x="1099" y="307"/>
                  </a:lnTo>
                  <a:lnTo>
                    <a:pt x="1112" y="299"/>
                  </a:lnTo>
                  <a:lnTo>
                    <a:pt x="1116" y="298"/>
                  </a:lnTo>
                  <a:lnTo>
                    <a:pt x="1121" y="298"/>
                  </a:lnTo>
                  <a:lnTo>
                    <a:pt x="1121" y="298"/>
                  </a:lnTo>
                  <a:lnTo>
                    <a:pt x="1134" y="296"/>
                  </a:lnTo>
                  <a:lnTo>
                    <a:pt x="1139" y="296"/>
                  </a:lnTo>
                  <a:lnTo>
                    <a:pt x="1140" y="295"/>
                  </a:lnTo>
                  <a:lnTo>
                    <a:pt x="1140" y="295"/>
                  </a:lnTo>
                  <a:lnTo>
                    <a:pt x="1150" y="267"/>
                  </a:lnTo>
                  <a:lnTo>
                    <a:pt x="1158" y="247"/>
                  </a:lnTo>
                  <a:lnTo>
                    <a:pt x="1159" y="240"/>
                  </a:lnTo>
                  <a:lnTo>
                    <a:pt x="1161" y="236"/>
                  </a:lnTo>
                  <a:lnTo>
                    <a:pt x="1161" y="236"/>
                  </a:lnTo>
                  <a:lnTo>
                    <a:pt x="1152" y="222"/>
                  </a:lnTo>
                  <a:lnTo>
                    <a:pt x="1146" y="215"/>
                  </a:lnTo>
                  <a:lnTo>
                    <a:pt x="1143" y="212"/>
                  </a:lnTo>
                  <a:lnTo>
                    <a:pt x="1140" y="210"/>
                  </a:lnTo>
                  <a:lnTo>
                    <a:pt x="1140" y="210"/>
                  </a:lnTo>
                  <a:lnTo>
                    <a:pt x="1133" y="209"/>
                  </a:lnTo>
                  <a:lnTo>
                    <a:pt x="1125" y="206"/>
                  </a:lnTo>
                  <a:lnTo>
                    <a:pt x="1125" y="206"/>
                  </a:lnTo>
                  <a:lnTo>
                    <a:pt x="1121" y="203"/>
                  </a:lnTo>
                  <a:lnTo>
                    <a:pt x="1119" y="201"/>
                  </a:lnTo>
                  <a:lnTo>
                    <a:pt x="1119" y="199"/>
                  </a:lnTo>
                  <a:lnTo>
                    <a:pt x="1118" y="196"/>
                  </a:lnTo>
                  <a:lnTo>
                    <a:pt x="1118" y="196"/>
                  </a:lnTo>
                  <a:lnTo>
                    <a:pt x="1115" y="193"/>
                  </a:lnTo>
                  <a:lnTo>
                    <a:pt x="1110" y="193"/>
                  </a:lnTo>
                  <a:lnTo>
                    <a:pt x="1103" y="196"/>
                  </a:lnTo>
                  <a:lnTo>
                    <a:pt x="1103" y="196"/>
                  </a:lnTo>
                  <a:lnTo>
                    <a:pt x="1100" y="196"/>
                  </a:lnTo>
                  <a:lnTo>
                    <a:pt x="1096" y="197"/>
                  </a:lnTo>
                  <a:lnTo>
                    <a:pt x="1090" y="196"/>
                  </a:lnTo>
                  <a:lnTo>
                    <a:pt x="1081" y="193"/>
                  </a:lnTo>
                  <a:lnTo>
                    <a:pt x="1081" y="193"/>
                  </a:lnTo>
                  <a:lnTo>
                    <a:pt x="1075" y="190"/>
                  </a:lnTo>
                  <a:lnTo>
                    <a:pt x="1072" y="188"/>
                  </a:lnTo>
                  <a:lnTo>
                    <a:pt x="1070" y="185"/>
                  </a:lnTo>
                  <a:lnTo>
                    <a:pt x="1069" y="182"/>
                  </a:lnTo>
                  <a:lnTo>
                    <a:pt x="1067" y="176"/>
                  </a:lnTo>
                  <a:lnTo>
                    <a:pt x="1064" y="169"/>
                  </a:lnTo>
                  <a:lnTo>
                    <a:pt x="1064" y="169"/>
                  </a:lnTo>
                  <a:lnTo>
                    <a:pt x="1062" y="161"/>
                  </a:lnTo>
                  <a:lnTo>
                    <a:pt x="1059" y="154"/>
                  </a:lnTo>
                  <a:lnTo>
                    <a:pt x="1059" y="142"/>
                  </a:lnTo>
                  <a:lnTo>
                    <a:pt x="1059" y="142"/>
                  </a:lnTo>
                  <a:lnTo>
                    <a:pt x="1057" y="138"/>
                  </a:lnTo>
                  <a:lnTo>
                    <a:pt x="1056" y="135"/>
                  </a:lnTo>
                  <a:lnTo>
                    <a:pt x="1051" y="132"/>
                  </a:lnTo>
                  <a:lnTo>
                    <a:pt x="1047" y="129"/>
                  </a:lnTo>
                  <a:lnTo>
                    <a:pt x="1047" y="129"/>
                  </a:lnTo>
                  <a:lnTo>
                    <a:pt x="1045" y="126"/>
                  </a:lnTo>
                  <a:lnTo>
                    <a:pt x="1045" y="124"/>
                  </a:lnTo>
                  <a:lnTo>
                    <a:pt x="1051" y="123"/>
                  </a:lnTo>
                  <a:lnTo>
                    <a:pt x="1051" y="123"/>
                  </a:lnTo>
                  <a:lnTo>
                    <a:pt x="1051" y="120"/>
                  </a:lnTo>
                  <a:lnTo>
                    <a:pt x="1051" y="119"/>
                  </a:lnTo>
                  <a:lnTo>
                    <a:pt x="1047" y="113"/>
                  </a:lnTo>
                  <a:lnTo>
                    <a:pt x="1047" y="113"/>
                  </a:lnTo>
                  <a:lnTo>
                    <a:pt x="1042" y="111"/>
                  </a:lnTo>
                  <a:lnTo>
                    <a:pt x="1039" y="108"/>
                  </a:lnTo>
                  <a:lnTo>
                    <a:pt x="1036" y="104"/>
                  </a:lnTo>
                  <a:lnTo>
                    <a:pt x="1036" y="104"/>
                  </a:lnTo>
                  <a:lnTo>
                    <a:pt x="1036" y="99"/>
                  </a:lnTo>
                  <a:lnTo>
                    <a:pt x="1038" y="95"/>
                  </a:lnTo>
                  <a:lnTo>
                    <a:pt x="1042" y="87"/>
                  </a:lnTo>
                  <a:lnTo>
                    <a:pt x="1042" y="87"/>
                  </a:lnTo>
                  <a:lnTo>
                    <a:pt x="1041" y="83"/>
                  </a:lnTo>
                  <a:lnTo>
                    <a:pt x="1039" y="82"/>
                  </a:lnTo>
                  <a:lnTo>
                    <a:pt x="1033" y="79"/>
                  </a:lnTo>
                  <a:lnTo>
                    <a:pt x="1033" y="79"/>
                  </a:lnTo>
                  <a:lnTo>
                    <a:pt x="1022" y="76"/>
                  </a:lnTo>
                  <a:lnTo>
                    <a:pt x="1016" y="74"/>
                  </a:lnTo>
                  <a:lnTo>
                    <a:pt x="1013" y="70"/>
                  </a:lnTo>
                  <a:lnTo>
                    <a:pt x="1013" y="70"/>
                  </a:lnTo>
                  <a:lnTo>
                    <a:pt x="1011" y="67"/>
                  </a:lnTo>
                  <a:lnTo>
                    <a:pt x="1013" y="64"/>
                  </a:lnTo>
                  <a:lnTo>
                    <a:pt x="1016" y="61"/>
                  </a:lnTo>
                  <a:lnTo>
                    <a:pt x="1020" y="56"/>
                  </a:lnTo>
                  <a:lnTo>
                    <a:pt x="1020" y="5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6" name="Freeform 45">
              <a:extLst>
                <a:ext uri="{FF2B5EF4-FFF2-40B4-BE49-F238E27FC236}">
                  <a16:creationId xmlns:a16="http://schemas.microsoft.com/office/drawing/2014/main" id="{240D82CC-E192-B344-B68E-45A073720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1625" y="5789613"/>
              <a:ext cx="695325" cy="914400"/>
            </a:xfrm>
            <a:custGeom>
              <a:avLst/>
              <a:gdLst>
                <a:gd name="T0" fmla="*/ 251 w 438"/>
                <a:gd name="T1" fmla="*/ 31 h 576"/>
                <a:gd name="T2" fmla="*/ 201 w 438"/>
                <a:gd name="T3" fmla="*/ 3 h 576"/>
                <a:gd name="T4" fmla="*/ 166 w 438"/>
                <a:gd name="T5" fmla="*/ 14 h 576"/>
                <a:gd name="T6" fmla="*/ 154 w 438"/>
                <a:gd name="T7" fmla="*/ 59 h 576"/>
                <a:gd name="T8" fmla="*/ 115 w 438"/>
                <a:gd name="T9" fmla="*/ 73 h 576"/>
                <a:gd name="T10" fmla="*/ 80 w 438"/>
                <a:gd name="T11" fmla="*/ 67 h 576"/>
                <a:gd name="T12" fmla="*/ 65 w 438"/>
                <a:gd name="T13" fmla="*/ 110 h 576"/>
                <a:gd name="T14" fmla="*/ 4 w 438"/>
                <a:gd name="T15" fmla="*/ 221 h 576"/>
                <a:gd name="T16" fmla="*/ 16 w 438"/>
                <a:gd name="T17" fmla="*/ 259 h 576"/>
                <a:gd name="T18" fmla="*/ 35 w 438"/>
                <a:gd name="T19" fmla="*/ 299 h 576"/>
                <a:gd name="T20" fmla="*/ 17 w 438"/>
                <a:gd name="T21" fmla="*/ 326 h 576"/>
                <a:gd name="T22" fmla="*/ 22 w 438"/>
                <a:gd name="T23" fmla="*/ 350 h 576"/>
                <a:gd name="T24" fmla="*/ 4 w 438"/>
                <a:gd name="T25" fmla="*/ 360 h 576"/>
                <a:gd name="T26" fmla="*/ 14 w 438"/>
                <a:gd name="T27" fmla="*/ 382 h 576"/>
                <a:gd name="T28" fmla="*/ 9 w 438"/>
                <a:gd name="T29" fmla="*/ 412 h 576"/>
                <a:gd name="T30" fmla="*/ 37 w 438"/>
                <a:gd name="T31" fmla="*/ 400 h 576"/>
                <a:gd name="T32" fmla="*/ 63 w 438"/>
                <a:gd name="T33" fmla="*/ 413 h 576"/>
                <a:gd name="T34" fmla="*/ 40 w 438"/>
                <a:gd name="T35" fmla="*/ 456 h 576"/>
                <a:gd name="T36" fmla="*/ 19 w 438"/>
                <a:gd name="T37" fmla="*/ 496 h 576"/>
                <a:gd name="T38" fmla="*/ 22 w 438"/>
                <a:gd name="T39" fmla="*/ 514 h 576"/>
                <a:gd name="T40" fmla="*/ 34 w 438"/>
                <a:gd name="T41" fmla="*/ 523 h 576"/>
                <a:gd name="T42" fmla="*/ 53 w 438"/>
                <a:gd name="T43" fmla="*/ 535 h 576"/>
                <a:gd name="T44" fmla="*/ 81 w 438"/>
                <a:gd name="T45" fmla="*/ 533 h 576"/>
                <a:gd name="T46" fmla="*/ 105 w 438"/>
                <a:gd name="T47" fmla="*/ 566 h 576"/>
                <a:gd name="T48" fmla="*/ 130 w 438"/>
                <a:gd name="T49" fmla="*/ 567 h 576"/>
                <a:gd name="T50" fmla="*/ 148 w 438"/>
                <a:gd name="T51" fmla="*/ 539 h 576"/>
                <a:gd name="T52" fmla="*/ 167 w 438"/>
                <a:gd name="T53" fmla="*/ 551 h 576"/>
                <a:gd name="T54" fmla="*/ 171 w 438"/>
                <a:gd name="T55" fmla="*/ 529 h 576"/>
                <a:gd name="T56" fmla="*/ 188 w 438"/>
                <a:gd name="T57" fmla="*/ 508 h 576"/>
                <a:gd name="T58" fmla="*/ 232 w 438"/>
                <a:gd name="T59" fmla="*/ 465 h 576"/>
                <a:gd name="T60" fmla="*/ 254 w 438"/>
                <a:gd name="T61" fmla="*/ 418 h 576"/>
                <a:gd name="T62" fmla="*/ 281 w 438"/>
                <a:gd name="T63" fmla="*/ 403 h 576"/>
                <a:gd name="T64" fmla="*/ 321 w 438"/>
                <a:gd name="T65" fmla="*/ 404 h 576"/>
                <a:gd name="T66" fmla="*/ 355 w 438"/>
                <a:gd name="T67" fmla="*/ 399 h 576"/>
                <a:gd name="T68" fmla="*/ 365 w 438"/>
                <a:gd name="T69" fmla="*/ 376 h 576"/>
                <a:gd name="T70" fmla="*/ 397 w 438"/>
                <a:gd name="T71" fmla="*/ 354 h 576"/>
                <a:gd name="T72" fmla="*/ 358 w 438"/>
                <a:gd name="T73" fmla="*/ 350 h 576"/>
                <a:gd name="T74" fmla="*/ 299 w 438"/>
                <a:gd name="T75" fmla="*/ 336 h 576"/>
                <a:gd name="T76" fmla="*/ 281 w 438"/>
                <a:gd name="T77" fmla="*/ 325 h 576"/>
                <a:gd name="T78" fmla="*/ 257 w 438"/>
                <a:gd name="T79" fmla="*/ 308 h 576"/>
                <a:gd name="T80" fmla="*/ 256 w 438"/>
                <a:gd name="T81" fmla="*/ 270 h 576"/>
                <a:gd name="T82" fmla="*/ 260 w 438"/>
                <a:gd name="T83" fmla="*/ 243 h 576"/>
                <a:gd name="T84" fmla="*/ 278 w 438"/>
                <a:gd name="T85" fmla="*/ 219 h 576"/>
                <a:gd name="T86" fmla="*/ 308 w 438"/>
                <a:gd name="T87" fmla="*/ 216 h 576"/>
                <a:gd name="T88" fmla="*/ 320 w 438"/>
                <a:gd name="T89" fmla="*/ 242 h 576"/>
                <a:gd name="T90" fmla="*/ 303 w 438"/>
                <a:gd name="T91" fmla="*/ 285 h 576"/>
                <a:gd name="T92" fmla="*/ 330 w 438"/>
                <a:gd name="T93" fmla="*/ 289 h 576"/>
                <a:gd name="T94" fmla="*/ 333 w 438"/>
                <a:gd name="T95" fmla="*/ 307 h 576"/>
                <a:gd name="T96" fmla="*/ 348 w 438"/>
                <a:gd name="T97" fmla="*/ 277 h 576"/>
                <a:gd name="T98" fmla="*/ 373 w 438"/>
                <a:gd name="T99" fmla="*/ 270 h 576"/>
                <a:gd name="T100" fmla="*/ 394 w 438"/>
                <a:gd name="T101" fmla="*/ 273 h 576"/>
                <a:gd name="T102" fmla="*/ 429 w 438"/>
                <a:gd name="T103" fmla="*/ 277 h 576"/>
                <a:gd name="T104" fmla="*/ 405 w 438"/>
                <a:gd name="T105" fmla="*/ 262 h 576"/>
                <a:gd name="T106" fmla="*/ 410 w 438"/>
                <a:gd name="T107" fmla="*/ 236 h 576"/>
                <a:gd name="T108" fmla="*/ 437 w 438"/>
                <a:gd name="T109" fmla="*/ 224 h 576"/>
                <a:gd name="T110" fmla="*/ 422 w 438"/>
                <a:gd name="T111" fmla="*/ 202 h 576"/>
                <a:gd name="T112" fmla="*/ 402 w 438"/>
                <a:gd name="T113" fmla="*/ 176 h 576"/>
                <a:gd name="T114" fmla="*/ 364 w 438"/>
                <a:gd name="T115" fmla="*/ 147 h 576"/>
                <a:gd name="T116" fmla="*/ 339 w 438"/>
                <a:gd name="T117" fmla="*/ 129 h 576"/>
                <a:gd name="T118" fmla="*/ 324 w 438"/>
                <a:gd name="T119" fmla="*/ 83 h 576"/>
                <a:gd name="T120" fmla="*/ 288 w 438"/>
                <a:gd name="T121" fmla="*/ 58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8" h="576">
                  <a:moveTo>
                    <a:pt x="265" y="55"/>
                  </a:moveTo>
                  <a:lnTo>
                    <a:pt x="265" y="55"/>
                  </a:lnTo>
                  <a:lnTo>
                    <a:pt x="263" y="49"/>
                  </a:lnTo>
                  <a:lnTo>
                    <a:pt x="260" y="45"/>
                  </a:lnTo>
                  <a:lnTo>
                    <a:pt x="257" y="42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51" y="31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47" y="19"/>
                  </a:lnTo>
                  <a:lnTo>
                    <a:pt x="245" y="16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5" y="0"/>
                  </a:lnTo>
                  <a:lnTo>
                    <a:pt x="201" y="3"/>
                  </a:lnTo>
                  <a:lnTo>
                    <a:pt x="201" y="3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200" y="6"/>
                  </a:lnTo>
                  <a:lnTo>
                    <a:pt x="192" y="8"/>
                  </a:lnTo>
                  <a:lnTo>
                    <a:pt x="182" y="9"/>
                  </a:lnTo>
                  <a:lnTo>
                    <a:pt x="173" y="9"/>
                  </a:lnTo>
                  <a:lnTo>
                    <a:pt x="173" y="9"/>
                  </a:lnTo>
                  <a:lnTo>
                    <a:pt x="167" y="11"/>
                  </a:lnTo>
                  <a:lnTo>
                    <a:pt x="166" y="14"/>
                  </a:lnTo>
                  <a:lnTo>
                    <a:pt x="166" y="19"/>
                  </a:lnTo>
                  <a:lnTo>
                    <a:pt x="166" y="19"/>
                  </a:lnTo>
                  <a:lnTo>
                    <a:pt x="167" y="33"/>
                  </a:lnTo>
                  <a:lnTo>
                    <a:pt x="168" y="40"/>
                  </a:lnTo>
                  <a:lnTo>
                    <a:pt x="167" y="43"/>
                  </a:lnTo>
                  <a:lnTo>
                    <a:pt x="167" y="45"/>
                  </a:lnTo>
                  <a:lnTo>
                    <a:pt x="167" y="45"/>
                  </a:lnTo>
                  <a:lnTo>
                    <a:pt x="161" y="49"/>
                  </a:lnTo>
                  <a:lnTo>
                    <a:pt x="154" y="59"/>
                  </a:lnTo>
                  <a:lnTo>
                    <a:pt x="154" y="59"/>
                  </a:lnTo>
                  <a:lnTo>
                    <a:pt x="146" y="68"/>
                  </a:lnTo>
                  <a:lnTo>
                    <a:pt x="142" y="73"/>
                  </a:lnTo>
                  <a:lnTo>
                    <a:pt x="142" y="73"/>
                  </a:lnTo>
                  <a:lnTo>
                    <a:pt x="137" y="74"/>
                  </a:lnTo>
                  <a:lnTo>
                    <a:pt x="130" y="73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15" y="73"/>
                  </a:lnTo>
                  <a:lnTo>
                    <a:pt x="111" y="74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97" y="67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86" y="61"/>
                  </a:lnTo>
                  <a:lnTo>
                    <a:pt x="83" y="62"/>
                  </a:lnTo>
                  <a:lnTo>
                    <a:pt x="80" y="67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1" y="91"/>
                  </a:lnTo>
                  <a:lnTo>
                    <a:pt x="81" y="96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7" y="104"/>
                  </a:lnTo>
                  <a:lnTo>
                    <a:pt x="74" y="107"/>
                  </a:lnTo>
                  <a:lnTo>
                    <a:pt x="65" y="110"/>
                  </a:lnTo>
                  <a:lnTo>
                    <a:pt x="52" y="111"/>
                  </a:lnTo>
                  <a:lnTo>
                    <a:pt x="52" y="111"/>
                  </a:lnTo>
                  <a:lnTo>
                    <a:pt x="46" y="119"/>
                  </a:lnTo>
                  <a:lnTo>
                    <a:pt x="31" y="138"/>
                  </a:lnTo>
                  <a:lnTo>
                    <a:pt x="10" y="166"/>
                  </a:lnTo>
                  <a:lnTo>
                    <a:pt x="10" y="191"/>
                  </a:lnTo>
                  <a:lnTo>
                    <a:pt x="10" y="191"/>
                  </a:lnTo>
                  <a:lnTo>
                    <a:pt x="7" y="206"/>
                  </a:lnTo>
                  <a:lnTo>
                    <a:pt x="4" y="221"/>
                  </a:lnTo>
                  <a:lnTo>
                    <a:pt x="4" y="221"/>
                  </a:lnTo>
                  <a:lnTo>
                    <a:pt x="3" y="227"/>
                  </a:lnTo>
                  <a:lnTo>
                    <a:pt x="3" y="234"/>
                  </a:lnTo>
                  <a:lnTo>
                    <a:pt x="4" y="240"/>
                  </a:lnTo>
                  <a:lnTo>
                    <a:pt x="7" y="246"/>
                  </a:lnTo>
                  <a:lnTo>
                    <a:pt x="7" y="246"/>
                  </a:lnTo>
                  <a:lnTo>
                    <a:pt x="13" y="250"/>
                  </a:lnTo>
                  <a:lnTo>
                    <a:pt x="16" y="253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76"/>
                  </a:lnTo>
                  <a:lnTo>
                    <a:pt x="16" y="282"/>
                  </a:lnTo>
                  <a:lnTo>
                    <a:pt x="17" y="283"/>
                  </a:lnTo>
                  <a:lnTo>
                    <a:pt x="19" y="285"/>
                  </a:lnTo>
                  <a:lnTo>
                    <a:pt x="19" y="285"/>
                  </a:lnTo>
                  <a:lnTo>
                    <a:pt x="35" y="290"/>
                  </a:lnTo>
                  <a:lnTo>
                    <a:pt x="35" y="290"/>
                  </a:lnTo>
                  <a:lnTo>
                    <a:pt x="35" y="299"/>
                  </a:lnTo>
                  <a:lnTo>
                    <a:pt x="34" y="305"/>
                  </a:lnTo>
                  <a:lnTo>
                    <a:pt x="32" y="307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26" y="311"/>
                  </a:lnTo>
                  <a:lnTo>
                    <a:pt x="22" y="316"/>
                  </a:lnTo>
                  <a:lnTo>
                    <a:pt x="17" y="320"/>
                  </a:lnTo>
                  <a:lnTo>
                    <a:pt x="17" y="323"/>
                  </a:lnTo>
                  <a:lnTo>
                    <a:pt x="17" y="326"/>
                  </a:lnTo>
                  <a:lnTo>
                    <a:pt x="17" y="326"/>
                  </a:lnTo>
                  <a:lnTo>
                    <a:pt x="22" y="332"/>
                  </a:lnTo>
                  <a:lnTo>
                    <a:pt x="26" y="338"/>
                  </a:lnTo>
                  <a:lnTo>
                    <a:pt x="31" y="342"/>
                  </a:lnTo>
                  <a:lnTo>
                    <a:pt x="32" y="345"/>
                  </a:lnTo>
                  <a:lnTo>
                    <a:pt x="32" y="345"/>
                  </a:lnTo>
                  <a:lnTo>
                    <a:pt x="31" y="347"/>
                  </a:lnTo>
                  <a:lnTo>
                    <a:pt x="26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19" y="357"/>
                  </a:lnTo>
                  <a:lnTo>
                    <a:pt x="16" y="359"/>
                  </a:lnTo>
                  <a:lnTo>
                    <a:pt x="13" y="360"/>
                  </a:lnTo>
                  <a:lnTo>
                    <a:pt x="12" y="359"/>
                  </a:lnTo>
                  <a:lnTo>
                    <a:pt x="12" y="359"/>
                  </a:lnTo>
                  <a:lnTo>
                    <a:pt x="9" y="359"/>
                  </a:lnTo>
                  <a:lnTo>
                    <a:pt x="4" y="360"/>
                  </a:lnTo>
                  <a:lnTo>
                    <a:pt x="3" y="363"/>
                  </a:lnTo>
                  <a:lnTo>
                    <a:pt x="3" y="365"/>
                  </a:lnTo>
                  <a:lnTo>
                    <a:pt x="4" y="366"/>
                  </a:lnTo>
                  <a:lnTo>
                    <a:pt x="4" y="366"/>
                  </a:lnTo>
                  <a:lnTo>
                    <a:pt x="10" y="370"/>
                  </a:lnTo>
                  <a:lnTo>
                    <a:pt x="14" y="375"/>
                  </a:lnTo>
                  <a:lnTo>
                    <a:pt x="16" y="379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6" y="390"/>
                  </a:lnTo>
                  <a:lnTo>
                    <a:pt x="1" y="394"/>
                  </a:lnTo>
                  <a:lnTo>
                    <a:pt x="0" y="397"/>
                  </a:lnTo>
                  <a:lnTo>
                    <a:pt x="1" y="399"/>
                  </a:lnTo>
                  <a:lnTo>
                    <a:pt x="1" y="399"/>
                  </a:lnTo>
                  <a:lnTo>
                    <a:pt x="4" y="406"/>
                  </a:lnTo>
                  <a:lnTo>
                    <a:pt x="6" y="409"/>
                  </a:lnTo>
                  <a:lnTo>
                    <a:pt x="9" y="412"/>
                  </a:lnTo>
                  <a:lnTo>
                    <a:pt x="9" y="412"/>
                  </a:lnTo>
                  <a:lnTo>
                    <a:pt x="13" y="412"/>
                  </a:lnTo>
                  <a:lnTo>
                    <a:pt x="17" y="412"/>
                  </a:lnTo>
                  <a:lnTo>
                    <a:pt x="23" y="409"/>
                  </a:lnTo>
                  <a:lnTo>
                    <a:pt x="26" y="406"/>
                  </a:lnTo>
                  <a:lnTo>
                    <a:pt x="26" y="406"/>
                  </a:lnTo>
                  <a:lnTo>
                    <a:pt x="31" y="402"/>
                  </a:lnTo>
                  <a:lnTo>
                    <a:pt x="34" y="400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46" y="400"/>
                  </a:lnTo>
                  <a:lnTo>
                    <a:pt x="49" y="400"/>
                  </a:lnTo>
                  <a:lnTo>
                    <a:pt x="50" y="403"/>
                  </a:lnTo>
                  <a:lnTo>
                    <a:pt x="50" y="403"/>
                  </a:lnTo>
                  <a:lnTo>
                    <a:pt x="52" y="409"/>
                  </a:lnTo>
                  <a:lnTo>
                    <a:pt x="53" y="412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63" y="413"/>
                  </a:lnTo>
                  <a:lnTo>
                    <a:pt x="66" y="415"/>
                  </a:lnTo>
                  <a:lnTo>
                    <a:pt x="68" y="416"/>
                  </a:lnTo>
                  <a:lnTo>
                    <a:pt x="68" y="416"/>
                  </a:lnTo>
                  <a:lnTo>
                    <a:pt x="57" y="422"/>
                  </a:lnTo>
                  <a:lnTo>
                    <a:pt x="52" y="430"/>
                  </a:lnTo>
                  <a:lnTo>
                    <a:pt x="47" y="436"/>
                  </a:lnTo>
                  <a:lnTo>
                    <a:pt x="47" y="436"/>
                  </a:lnTo>
                  <a:lnTo>
                    <a:pt x="43" y="449"/>
                  </a:lnTo>
                  <a:lnTo>
                    <a:pt x="40" y="456"/>
                  </a:lnTo>
                  <a:lnTo>
                    <a:pt x="35" y="461"/>
                  </a:lnTo>
                  <a:lnTo>
                    <a:pt x="35" y="461"/>
                  </a:lnTo>
                  <a:lnTo>
                    <a:pt x="26" y="471"/>
                  </a:lnTo>
                  <a:lnTo>
                    <a:pt x="22" y="476"/>
                  </a:lnTo>
                  <a:lnTo>
                    <a:pt x="22" y="482"/>
                  </a:lnTo>
                  <a:lnTo>
                    <a:pt x="22" y="482"/>
                  </a:lnTo>
                  <a:lnTo>
                    <a:pt x="22" y="490"/>
                  </a:lnTo>
                  <a:lnTo>
                    <a:pt x="22" y="495"/>
                  </a:lnTo>
                  <a:lnTo>
                    <a:pt x="19" y="496"/>
                  </a:lnTo>
                  <a:lnTo>
                    <a:pt x="19" y="496"/>
                  </a:lnTo>
                  <a:lnTo>
                    <a:pt x="13" y="501"/>
                  </a:lnTo>
                  <a:lnTo>
                    <a:pt x="12" y="502"/>
                  </a:lnTo>
                  <a:lnTo>
                    <a:pt x="12" y="505"/>
                  </a:lnTo>
                  <a:lnTo>
                    <a:pt x="12" y="505"/>
                  </a:lnTo>
                  <a:lnTo>
                    <a:pt x="13" y="508"/>
                  </a:lnTo>
                  <a:lnTo>
                    <a:pt x="17" y="513"/>
                  </a:lnTo>
                  <a:lnTo>
                    <a:pt x="20" y="514"/>
                  </a:lnTo>
                  <a:lnTo>
                    <a:pt x="22" y="514"/>
                  </a:lnTo>
                  <a:lnTo>
                    <a:pt x="23" y="513"/>
                  </a:lnTo>
                  <a:lnTo>
                    <a:pt x="23" y="513"/>
                  </a:lnTo>
                  <a:lnTo>
                    <a:pt x="26" y="507"/>
                  </a:lnTo>
                  <a:lnTo>
                    <a:pt x="28" y="505"/>
                  </a:lnTo>
                  <a:lnTo>
                    <a:pt x="29" y="507"/>
                  </a:lnTo>
                  <a:lnTo>
                    <a:pt x="29" y="507"/>
                  </a:lnTo>
                  <a:lnTo>
                    <a:pt x="34" y="514"/>
                  </a:lnTo>
                  <a:lnTo>
                    <a:pt x="35" y="519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31" y="532"/>
                  </a:lnTo>
                  <a:lnTo>
                    <a:pt x="32" y="535"/>
                  </a:lnTo>
                  <a:lnTo>
                    <a:pt x="37" y="535"/>
                  </a:lnTo>
                  <a:lnTo>
                    <a:pt x="37" y="535"/>
                  </a:lnTo>
                  <a:lnTo>
                    <a:pt x="43" y="535"/>
                  </a:lnTo>
                  <a:lnTo>
                    <a:pt x="47" y="533"/>
                  </a:lnTo>
                  <a:lnTo>
                    <a:pt x="50" y="532"/>
                  </a:lnTo>
                  <a:lnTo>
                    <a:pt x="53" y="535"/>
                  </a:lnTo>
                  <a:lnTo>
                    <a:pt x="53" y="535"/>
                  </a:lnTo>
                  <a:lnTo>
                    <a:pt x="59" y="539"/>
                  </a:lnTo>
                  <a:lnTo>
                    <a:pt x="60" y="541"/>
                  </a:lnTo>
                  <a:lnTo>
                    <a:pt x="63" y="541"/>
                  </a:lnTo>
                  <a:lnTo>
                    <a:pt x="63" y="541"/>
                  </a:lnTo>
                  <a:lnTo>
                    <a:pt x="68" y="538"/>
                  </a:lnTo>
                  <a:lnTo>
                    <a:pt x="72" y="533"/>
                  </a:lnTo>
                  <a:lnTo>
                    <a:pt x="72" y="533"/>
                  </a:lnTo>
                  <a:lnTo>
                    <a:pt x="81" y="533"/>
                  </a:lnTo>
                  <a:lnTo>
                    <a:pt x="86" y="533"/>
                  </a:lnTo>
                  <a:lnTo>
                    <a:pt x="87" y="535"/>
                  </a:lnTo>
                  <a:lnTo>
                    <a:pt x="87" y="535"/>
                  </a:lnTo>
                  <a:lnTo>
                    <a:pt x="90" y="544"/>
                  </a:lnTo>
                  <a:lnTo>
                    <a:pt x="91" y="551"/>
                  </a:lnTo>
                  <a:lnTo>
                    <a:pt x="94" y="559"/>
                  </a:lnTo>
                  <a:lnTo>
                    <a:pt x="94" y="559"/>
                  </a:lnTo>
                  <a:lnTo>
                    <a:pt x="99" y="563"/>
                  </a:lnTo>
                  <a:lnTo>
                    <a:pt x="105" y="566"/>
                  </a:lnTo>
                  <a:lnTo>
                    <a:pt x="109" y="567"/>
                  </a:lnTo>
                  <a:lnTo>
                    <a:pt x="114" y="570"/>
                  </a:lnTo>
                  <a:lnTo>
                    <a:pt x="114" y="570"/>
                  </a:lnTo>
                  <a:lnTo>
                    <a:pt x="121" y="575"/>
                  </a:lnTo>
                  <a:lnTo>
                    <a:pt x="124" y="576"/>
                  </a:lnTo>
                  <a:lnTo>
                    <a:pt x="127" y="573"/>
                  </a:lnTo>
                  <a:lnTo>
                    <a:pt x="127" y="573"/>
                  </a:lnTo>
                  <a:lnTo>
                    <a:pt x="129" y="570"/>
                  </a:lnTo>
                  <a:lnTo>
                    <a:pt x="130" y="567"/>
                  </a:lnTo>
                  <a:lnTo>
                    <a:pt x="131" y="563"/>
                  </a:lnTo>
                  <a:lnTo>
                    <a:pt x="133" y="560"/>
                  </a:lnTo>
                  <a:lnTo>
                    <a:pt x="133" y="560"/>
                  </a:lnTo>
                  <a:lnTo>
                    <a:pt x="137" y="557"/>
                  </a:lnTo>
                  <a:lnTo>
                    <a:pt x="142" y="554"/>
                  </a:lnTo>
                  <a:lnTo>
                    <a:pt x="145" y="551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8" y="539"/>
                  </a:lnTo>
                  <a:lnTo>
                    <a:pt x="149" y="535"/>
                  </a:lnTo>
                  <a:lnTo>
                    <a:pt x="152" y="533"/>
                  </a:lnTo>
                  <a:lnTo>
                    <a:pt x="155" y="533"/>
                  </a:lnTo>
                  <a:lnTo>
                    <a:pt x="157" y="535"/>
                  </a:lnTo>
                  <a:lnTo>
                    <a:pt x="157" y="535"/>
                  </a:lnTo>
                  <a:lnTo>
                    <a:pt x="161" y="541"/>
                  </a:lnTo>
                  <a:lnTo>
                    <a:pt x="163" y="548"/>
                  </a:lnTo>
                  <a:lnTo>
                    <a:pt x="166" y="551"/>
                  </a:lnTo>
                  <a:lnTo>
                    <a:pt x="167" y="551"/>
                  </a:lnTo>
                  <a:lnTo>
                    <a:pt x="168" y="550"/>
                  </a:lnTo>
                  <a:lnTo>
                    <a:pt x="168" y="550"/>
                  </a:lnTo>
                  <a:lnTo>
                    <a:pt x="170" y="545"/>
                  </a:lnTo>
                  <a:lnTo>
                    <a:pt x="170" y="541"/>
                  </a:lnTo>
                  <a:lnTo>
                    <a:pt x="170" y="541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30"/>
                  </a:lnTo>
                  <a:lnTo>
                    <a:pt x="171" y="529"/>
                  </a:lnTo>
                  <a:lnTo>
                    <a:pt x="179" y="526"/>
                  </a:lnTo>
                  <a:lnTo>
                    <a:pt x="179" y="526"/>
                  </a:lnTo>
                  <a:lnTo>
                    <a:pt x="188" y="524"/>
                  </a:lnTo>
                  <a:lnTo>
                    <a:pt x="191" y="521"/>
                  </a:lnTo>
                  <a:lnTo>
                    <a:pt x="192" y="519"/>
                  </a:lnTo>
                  <a:lnTo>
                    <a:pt x="192" y="519"/>
                  </a:lnTo>
                  <a:lnTo>
                    <a:pt x="189" y="513"/>
                  </a:lnTo>
                  <a:lnTo>
                    <a:pt x="188" y="511"/>
                  </a:lnTo>
                  <a:lnTo>
                    <a:pt x="188" y="508"/>
                  </a:lnTo>
                  <a:lnTo>
                    <a:pt x="188" y="508"/>
                  </a:lnTo>
                  <a:lnTo>
                    <a:pt x="192" y="501"/>
                  </a:lnTo>
                  <a:lnTo>
                    <a:pt x="200" y="490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20" y="473"/>
                  </a:lnTo>
                  <a:lnTo>
                    <a:pt x="228" y="470"/>
                  </a:lnTo>
                  <a:lnTo>
                    <a:pt x="231" y="467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41" y="449"/>
                  </a:lnTo>
                  <a:lnTo>
                    <a:pt x="245" y="440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7" y="430"/>
                  </a:lnTo>
                  <a:lnTo>
                    <a:pt x="248" y="425"/>
                  </a:lnTo>
                  <a:lnTo>
                    <a:pt x="254" y="418"/>
                  </a:lnTo>
                  <a:lnTo>
                    <a:pt x="254" y="418"/>
                  </a:lnTo>
                  <a:lnTo>
                    <a:pt x="262" y="410"/>
                  </a:lnTo>
                  <a:lnTo>
                    <a:pt x="265" y="407"/>
                  </a:lnTo>
                  <a:lnTo>
                    <a:pt x="269" y="407"/>
                  </a:lnTo>
                  <a:lnTo>
                    <a:pt x="269" y="407"/>
                  </a:lnTo>
                  <a:lnTo>
                    <a:pt x="272" y="406"/>
                  </a:lnTo>
                  <a:lnTo>
                    <a:pt x="275" y="404"/>
                  </a:lnTo>
                  <a:lnTo>
                    <a:pt x="278" y="403"/>
                  </a:lnTo>
                  <a:lnTo>
                    <a:pt x="281" y="403"/>
                  </a:lnTo>
                  <a:lnTo>
                    <a:pt x="281" y="403"/>
                  </a:lnTo>
                  <a:lnTo>
                    <a:pt x="288" y="406"/>
                  </a:lnTo>
                  <a:lnTo>
                    <a:pt x="293" y="407"/>
                  </a:lnTo>
                  <a:lnTo>
                    <a:pt x="296" y="406"/>
                  </a:lnTo>
                  <a:lnTo>
                    <a:pt x="296" y="406"/>
                  </a:lnTo>
                  <a:lnTo>
                    <a:pt x="305" y="402"/>
                  </a:lnTo>
                  <a:lnTo>
                    <a:pt x="309" y="400"/>
                  </a:lnTo>
                  <a:lnTo>
                    <a:pt x="315" y="400"/>
                  </a:lnTo>
                  <a:lnTo>
                    <a:pt x="315" y="400"/>
                  </a:lnTo>
                  <a:lnTo>
                    <a:pt x="321" y="404"/>
                  </a:lnTo>
                  <a:lnTo>
                    <a:pt x="328" y="409"/>
                  </a:lnTo>
                  <a:lnTo>
                    <a:pt x="334" y="412"/>
                  </a:lnTo>
                  <a:lnTo>
                    <a:pt x="339" y="412"/>
                  </a:lnTo>
                  <a:lnTo>
                    <a:pt x="342" y="412"/>
                  </a:lnTo>
                  <a:lnTo>
                    <a:pt x="342" y="412"/>
                  </a:lnTo>
                  <a:lnTo>
                    <a:pt x="346" y="407"/>
                  </a:lnTo>
                  <a:lnTo>
                    <a:pt x="351" y="404"/>
                  </a:lnTo>
                  <a:lnTo>
                    <a:pt x="355" y="399"/>
                  </a:lnTo>
                  <a:lnTo>
                    <a:pt x="355" y="399"/>
                  </a:lnTo>
                  <a:lnTo>
                    <a:pt x="358" y="394"/>
                  </a:lnTo>
                  <a:lnTo>
                    <a:pt x="360" y="391"/>
                  </a:lnTo>
                  <a:lnTo>
                    <a:pt x="360" y="387"/>
                  </a:lnTo>
                  <a:lnTo>
                    <a:pt x="360" y="387"/>
                  </a:lnTo>
                  <a:lnTo>
                    <a:pt x="358" y="382"/>
                  </a:lnTo>
                  <a:lnTo>
                    <a:pt x="358" y="379"/>
                  </a:lnTo>
                  <a:lnTo>
                    <a:pt x="361" y="378"/>
                  </a:lnTo>
                  <a:lnTo>
                    <a:pt x="365" y="376"/>
                  </a:lnTo>
                  <a:lnTo>
                    <a:pt x="365" y="376"/>
                  </a:lnTo>
                  <a:lnTo>
                    <a:pt x="376" y="376"/>
                  </a:lnTo>
                  <a:lnTo>
                    <a:pt x="379" y="376"/>
                  </a:lnTo>
                  <a:lnTo>
                    <a:pt x="382" y="372"/>
                  </a:lnTo>
                  <a:lnTo>
                    <a:pt x="382" y="372"/>
                  </a:lnTo>
                  <a:lnTo>
                    <a:pt x="391" y="365"/>
                  </a:lnTo>
                  <a:lnTo>
                    <a:pt x="397" y="359"/>
                  </a:lnTo>
                  <a:lnTo>
                    <a:pt x="397" y="359"/>
                  </a:lnTo>
                  <a:lnTo>
                    <a:pt x="397" y="356"/>
                  </a:lnTo>
                  <a:lnTo>
                    <a:pt x="397" y="354"/>
                  </a:lnTo>
                  <a:lnTo>
                    <a:pt x="392" y="350"/>
                  </a:lnTo>
                  <a:lnTo>
                    <a:pt x="388" y="347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79" y="347"/>
                  </a:lnTo>
                  <a:lnTo>
                    <a:pt x="374" y="350"/>
                  </a:lnTo>
                  <a:lnTo>
                    <a:pt x="367" y="351"/>
                  </a:lnTo>
                  <a:lnTo>
                    <a:pt x="362" y="351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42" y="342"/>
                  </a:lnTo>
                  <a:lnTo>
                    <a:pt x="334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0" y="341"/>
                  </a:lnTo>
                  <a:lnTo>
                    <a:pt x="309" y="339"/>
                  </a:lnTo>
                  <a:lnTo>
                    <a:pt x="300" y="338"/>
                  </a:lnTo>
                  <a:lnTo>
                    <a:pt x="299" y="336"/>
                  </a:lnTo>
                  <a:lnTo>
                    <a:pt x="299" y="335"/>
                  </a:lnTo>
                  <a:lnTo>
                    <a:pt x="299" y="335"/>
                  </a:lnTo>
                  <a:lnTo>
                    <a:pt x="299" y="330"/>
                  </a:lnTo>
                  <a:lnTo>
                    <a:pt x="300" y="329"/>
                  </a:lnTo>
                  <a:lnTo>
                    <a:pt x="299" y="327"/>
                  </a:lnTo>
                  <a:lnTo>
                    <a:pt x="297" y="326"/>
                  </a:lnTo>
                  <a:lnTo>
                    <a:pt x="293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4" y="325"/>
                  </a:lnTo>
                  <a:lnTo>
                    <a:pt x="266" y="323"/>
                  </a:lnTo>
                  <a:lnTo>
                    <a:pt x="262" y="322"/>
                  </a:lnTo>
                  <a:lnTo>
                    <a:pt x="259" y="320"/>
                  </a:lnTo>
                  <a:lnTo>
                    <a:pt x="256" y="317"/>
                  </a:lnTo>
                  <a:lnTo>
                    <a:pt x="256" y="316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7" y="308"/>
                  </a:lnTo>
                  <a:lnTo>
                    <a:pt x="259" y="307"/>
                  </a:lnTo>
                  <a:lnTo>
                    <a:pt x="260" y="305"/>
                  </a:lnTo>
                  <a:lnTo>
                    <a:pt x="262" y="304"/>
                  </a:lnTo>
                  <a:lnTo>
                    <a:pt x="262" y="304"/>
                  </a:lnTo>
                  <a:lnTo>
                    <a:pt x="259" y="293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6" y="279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3" y="262"/>
                  </a:lnTo>
                  <a:lnTo>
                    <a:pt x="253" y="258"/>
                  </a:lnTo>
                  <a:lnTo>
                    <a:pt x="253" y="255"/>
                  </a:lnTo>
                  <a:lnTo>
                    <a:pt x="253" y="255"/>
                  </a:lnTo>
                  <a:lnTo>
                    <a:pt x="254" y="249"/>
                  </a:lnTo>
                  <a:lnTo>
                    <a:pt x="259" y="246"/>
                  </a:lnTo>
                  <a:lnTo>
                    <a:pt x="259" y="246"/>
                  </a:lnTo>
                  <a:lnTo>
                    <a:pt x="260" y="243"/>
                  </a:lnTo>
                  <a:lnTo>
                    <a:pt x="260" y="240"/>
                  </a:lnTo>
                  <a:lnTo>
                    <a:pt x="262" y="231"/>
                  </a:lnTo>
                  <a:lnTo>
                    <a:pt x="262" y="224"/>
                  </a:lnTo>
                  <a:lnTo>
                    <a:pt x="263" y="222"/>
                  </a:lnTo>
                  <a:lnTo>
                    <a:pt x="263" y="221"/>
                  </a:lnTo>
                  <a:lnTo>
                    <a:pt x="263" y="221"/>
                  </a:lnTo>
                  <a:lnTo>
                    <a:pt x="268" y="221"/>
                  </a:lnTo>
                  <a:lnTo>
                    <a:pt x="272" y="221"/>
                  </a:lnTo>
                  <a:lnTo>
                    <a:pt x="278" y="219"/>
                  </a:lnTo>
                  <a:lnTo>
                    <a:pt x="278" y="219"/>
                  </a:lnTo>
                  <a:lnTo>
                    <a:pt x="283" y="218"/>
                  </a:lnTo>
                  <a:lnTo>
                    <a:pt x="285" y="215"/>
                  </a:lnTo>
                  <a:lnTo>
                    <a:pt x="288" y="212"/>
                  </a:lnTo>
                  <a:lnTo>
                    <a:pt x="291" y="210"/>
                  </a:lnTo>
                  <a:lnTo>
                    <a:pt x="291" y="210"/>
                  </a:lnTo>
                  <a:lnTo>
                    <a:pt x="299" y="210"/>
                  </a:lnTo>
                  <a:lnTo>
                    <a:pt x="302" y="212"/>
                  </a:lnTo>
                  <a:lnTo>
                    <a:pt x="308" y="216"/>
                  </a:lnTo>
                  <a:lnTo>
                    <a:pt x="308" y="216"/>
                  </a:lnTo>
                  <a:lnTo>
                    <a:pt x="312" y="221"/>
                  </a:lnTo>
                  <a:lnTo>
                    <a:pt x="315" y="224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22" y="234"/>
                  </a:lnTo>
                  <a:lnTo>
                    <a:pt x="322" y="237"/>
                  </a:lnTo>
                  <a:lnTo>
                    <a:pt x="320" y="242"/>
                  </a:lnTo>
                  <a:lnTo>
                    <a:pt x="320" y="242"/>
                  </a:lnTo>
                  <a:lnTo>
                    <a:pt x="315" y="248"/>
                  </a:lnTo>
                  <a:lnTo>
                    <a:pt x="312" y="253"/>
                  </a:lnTo>
                  <a:lnTo>
                    <a:pt x="308" y="265"/>
                  </a:lnTo>
                  <a:lnTo>
                    <a:pt x="308" y="265"/>
                  </a:lnTo>
                  <a:lnTo>
                    <a:pt x="302" y="277"/>
                  </a:lnTo>
                  <a:lnTo>
                    <a:pt x="300" y="282"/>
                  </a:lnTo>
                  <a:lnTo>
                    <a:pt x="302" y="283"/>
                  </a:lnTo>
                  <a:lnTo>
                    <a:pt x="303" y="285"/>
                  </a:lnTo>
                  <a:lnTo>
                    <a:pt x="303" y="285"/>
                  </a:lnTo>
                  <a:lnTo>
                    <a:pt x="308" y="285"/>
                  </a:lnTo>
                  <a:lnTo>
                    <a:pt x="311" y="285"/>
                  </a:lnTo>
                  <a:lnTo>
                    <a:pt x="314" y="285"/>
                  </a:lnTo>
                  <a:lnTo>
                    <a:pt x="317" y="287"/>
                  </a:lnTo>
                  <a:lnTo>
                    <a:pt x="317" y="287"/>
                  </a:lnTo>
                  <a:lnTo>
                    <a:pt x="318" y="289"/>
                  </a:lnTo>
                  <a:lnTo>
                    <a:pt x="320" y="289"/>
                  </a:lnTo>
                  <a:lnTo>
                    <a:pt x="325" y="289"/>
                  </a:lnTo>
                  <a:lnTo>
                    <a:pt x="330" y="289"/>
                  </a:lnTo>
                  <a:lnTo>
                    <a:pt x="331" y="289"/>
                  </a:lnTo>
                  <a:lnTo>
                    <a:pt x="331" y="290"/>
                  </a:lnTo>
                  <a:lnTo>
                    <a:pt x="331" y="290"/>
                  </a:lnTo>
                  <a:lnTo>
                    <a:pt x="331" y="293"/>
                  </a:lnTo>
                  <a:lnTo>
                    <a:pt x="330" y="299"/>
                  </a:lnTo>
                  <a:lnTo>
                    <a:pt x="330" y="304"/>
                  </a:lnTo>
                  <a:lnTo>
                    <a:pt x="331" y="305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7" y="307"/>
                  </a:lnTo>
                  <a:lnTo>
                    <a:pt x="342" y="307"/>
                  </a:lnTo>
                  <a:lnTo>
                    <a:pt x="345" y="304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9" y="287"/>
                  </a:lnTo>
                  <a:lnTo>
                    <a:pt x="349" y="282"/>
                  </a:lnTo>
                  <a:lnTo>
                    <a:pt x="348" y="277"/>
                  </a:lnTo>
                  <a:lnTo>
                    <a:pt x="348" y="277"/>
                  </a:lnTo>
                  <a:lnTo>
                    <a:pt x="345" y="268"/>
                  </a:lnTo>
                  <a:lnTo>
                    <a:pt x="345" y="264"/>
                  </a:lnTo>
                  <a:lnTo>
                    <a:pt x="345" y="264"/>
                  </a:lnTo>
                  <a:lnTo>
                    <a:pt x="348" y="264"/>
                  </a:lnTo>
                  <a:lnTo>
                    <a:pt x="348" y="264"/>
                  </a:lnTo>
                  <a:lnTo>
                    <a:pt x="361" y="264"/>
                  </a:lnTo>
                  <a:lnTo>
                    <a:pt x="368" y="267"/>
                  </a:lnTo>
                  <a:lnTo>
                    <a:pt x="371" y="268"/>
                  </a:lnTo>
                  <a:lnTo>
                    <a:pt x="373" y="270"/>
                  </a:lnTo>
                  <a:lnTo>
                    <a:pt x="373" y="270"/>
                  </a:lnTo>
                  <a:lnTo>
                    <a:pt x="376" y="274"/>
                  </a:lnTo>
                  <a:lnTo>
                    <a:pt x="380" y="279"/>
                  </a:lnTo>
                  <a:lnTo>
                    <a:pt x="383" y="280"/>
                  </a:lnTo>
                  <a:lnTo>
                    <a:pt x="386" y="280"/>
                  </a:lnTo>
                  <a:lnTo>
                    <a:pt x="386" y="280"/>
                  </a:lnTo>
                  <a:lnTo>
                    <a:pt x="391" y="276"/>
                  </a:lnTo>
                  <a:lnTo>
                    <a:pt x="391" y="274"/>
                  </a:lnTo>
                  <a:lnTo>
                    <a:pt x="394" y="273"/>
                  </a:lnTo>
                  <a:lnTo>
                    <a:pt x="394" y="273"/>
                  </a:lnTo>
                  <a:lnTo>
                    <a:pt x="395" y="274"/>
                  </a:lnTo>
                  <a:lnTo>
                    <a:pt x="398" y="276"/>
                  </a:lnTo>
                  <a:lnTo>
                    <a:pt x="402" y="277"/>
                  </a:lnTo>
                  <a:lnTo>
                    <a:pt x="408" y="279"/>
                  </a:lnTo>
                  <a:lnTo>
                    <a:pt x="408" y="279"/>
                  </a:lnTo>
                  <a:lnTo>
                    <a:pt x="425" y="279"/>
                  </a:lnTo>
                  <a:lnTo>
                    <a:pt x="429" y="279"/>
                  </a:lnTo>
                  <a:lnTo>
                    <a:pt x="429" y="277"/>
                  </a:lnTo>
                  <a:lnTo>
                    <a:pt x="429" y="276"/>
                  </a:lnTo>
                  <a:lnTo>
                    <a:pt x="429" y="276"/>
                  </a:lnTo>
                  <a:lnTo>
                    <a:pt x="428" y="273"/>
                  </a:lnTo>
                  <a:lnTo>
                    <a:pt x="423" y="271"/>
                  </a:lnTo>
                  <a:lnTo>
                    <a:pt x="419" y="270"/>
                  </a:lnTo>
                  <a:lnTo>
                    <a:pt x="414" y="267"/>
                  </a:lnTo>
                  <a:lnTo>
                    <a:pt x="414" y="267"/>
                  </a:lnTo>
                  <a:lnTo>
                    <a:pt x="410" y="264"/>
                  </a:lnTo>
                  <a:lnTo>
                    <a:pt x="405" y="262"/>
                  </a:lnTo>
                  <a:lnTo>
                    <a:pt x="404" y="261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14" y="250"/>
                  </a:lnTo>
                  <a:lnTo>
                    <a:pt x="417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3" y="240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11" y="233"/>
                  </a:lnTo>
                  <a:lnTo>
                    <a:pt x="414" y="228"/>
                  </a:lnTo>
                  <a:lnTo>
                    <a:pt x="419" y="224"/>
                  </a:lnTo>
                  <a:lnTo>
                    <a:pt x="422" y="224"/>
                  </a:lnTo>
                  <a:lnTo>
                    <a:pt x="423" y="224"/>
                  </a:lnTo>
                  <a:lnTo>
                    <a:pt x="423" y="224"/>
                  </a:lnTo>
                  <a:lnTo>
                    <a:pt x="434" y="225"/>
                  </a:lnTo>
                  <a:lnTo>
                    <a:pt x="437" y="224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16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4" y="206"/>
                  </a:lnTo>
                  <a:lnTo>
                    <a:pt x="434" y="206"/>
                  </a:lnTo>
                  <a:lnTo>
                    <a:pt x="429" y="205"/>
                  </a:lnTo>
                  <a:lnTo>
                    <a:pt x="422" y="202"/>
                  </a:lnTo>
                  <a:lnTo>
                    <a:pt x="413" y="199"/>
                  </a:lnTo>
                  <a:lnTo>
                    <a:pt x="411" y="197"/>
                  </a:lnTo>
                  <a:lnTo>
                    <a:pt x="410" y="196"/>
                  </a:lnTo>
                  <a:lnTo>
                    <a:pt x="410" y="196"/>
                  </a:lnTo>
                  <a:lnTo>
                    <a:pt x="411" y="190"/>
                  </a:lnTo>
                  <a:lnTo>
                    <a:pt x="411" y="184"/>
                  </a:lnTo>
                  <a:lnTo>
                    <a:pt x="408" y="178"/>
                  </a:lnTo>
                  <a:lnTo>
                    <a:pt x="405" y="176"/>
                  </a:lnTo>
                  <a:lnTo>
                    <a:pt x="402" y="176"/>
                  </a:lnTo>
                  <a:lnTo>
                    <a:pt x="402" y="176"/>
                  </a:lnTo>
                  <a:lnTo>
                    <a:pt x="397" y="175"/>
                  </a:lnTo>
                  <a:lnTo>
                    <a:pt x="391" y="173"/>
                  </a:lnTo>
                  <a:lnTo>
                    <a:pt x="385" y="169"/>
                  </a:lnTo>
                  <a:lnTo>
                    <a:pt x="379" y="165"/>
                  </a:lnTo>
                  <a:lnTo>
                    <a:pt x="379" y="165"/>
                  </a:lnTo>
                  <a:lnTo>
                    <a:pt x="368" y="156"/>
                  </a:lnTo>
                  <a:lnTo>
                    <a:pt x="365" y="151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2" y="138"/>
                  </a:lnTo>
                  <a:lnTo>
                    <a:pt x="362" y="133"/>
                  </a:lnTo>
                  <a:lnTo>
                    <a:pt x="360" y="131"/>
                  </a:lnTo>
                  <a:lnTo>
                    <a:pt x="360" y="131"/>
                  </a:lnTo>
                  <a:lnTo>
                    <a:pt x="357" y="129"/>
                  </a:lnTo>
                  <a:lnTo>
                    <a:pt x="357" y="129"/>
                  </a:lnTo>
                  <a:lnTo>
                    <a:pt x="348" y="129"/>
                  </a:lnTo>
                  <a:lnTo>
                    <a:pt x="339" y="129"/>
                  </a:lnTo>
                  <a:lnTo>
                    <a:pt x="331" y="129"/>
                  </a:lnTo>
                  <a:lnTo>
                    <a:pt x="330" y="128"/>
                  </a:lnTo>
                  <a:lnTo>
                    <a:pt x="328" y="125"/>
                  </a:lnTo>
                  <a:lnTo>
                    <a:pt x="328" y="125"/>
                  </a:lnTo>
                  <a:lnTo>
                    <a:pt x="327" y="101"/>
                  </a:lnTo>
                  <a:lnTo>
                    <a:pt x="325" y="89"/>
                  </a:lnTo>
                  <a:lnTo>
                    <a:pt x="325" y="85"/>
                  </a:lnTo>
                  <a:lnTo>
                    <a:pt x="324" y="83"/>
                  </a:lnTo>
                  <a:lnTo>
                    <a:pt x="324" y="83"/>
                  </a:lnTo>
                  <a:lnTo>
                    <a:pt x="311" y="85"/>
                  </a:lnTo>
                  <a:lnTo>
                    <a:pt x="302" y="83"/>
                  </a:lnTo>
                  <a:lnTo>
                    <a:pt x="300" y="83"/>
                  </a:lnTo>
                  <a:lnTo>
                    <a:pt x="299" y="82"/>
                  </a:lnTo>
                  <a:lnTo>
                    <a:pt x="299" y="82"/>
                  </a:lnTo>
                  <a:lnTo>
                    <a:pt x="296" y="68"/>
                  </a:lnTo>
                  <a:lnTo>
                    <a:pt x="293" y="61"/>
                  </a:lnTo>
                  <a:lnTo>
                    <a:pt x="291" y="58"/>
                  </a:lnTo>
                  <a:lnTo>
                    <a:pt x="288" y="58"/>
                  </a:lnTo>
                  <a:lnTo>
                    <a:pt x="288" y="58"/>
                  </a:lnTo>
                  <a:lnTo>
                    <a:pt x="275" y="59"/>
                  </a:lnTo>
                  <a:lnTo>
                    <a:pt x="268" y="59"/>
                  </a:lnTo>
                  <a:lnTo>
                    <a:pt x="265" y="58"/>
                  </a:lnTo>
                  <a:lnTo>
                    <a:pt x="265" y="55"/>
                  </a:lnTo>
                  <a:lnTo>
                    <a:pt x="265" y="5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7" name="Freeform 46">
              <a:extLst>
                <a:ext uri="{FF2B5EF4-FFF2-40B4-BE49-F238E27FC236}">
                  <a16:creationId xmlns:a16="http://schemas.microsoft.com/office/drawing/2014/main" id="{A2DE6EC1-1584-4243-8590-65DE3F4E5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2588" y="7842250"/>
              <a:ext cx="657225" cy="633412"/>
            </a:xfrm>
            <a:custGeom>
              <a:avLst/>
              <a:gdLst>
                <a:gd name="T0" fmla="*/ 305 w 414"/>
                <a:gd name="T1" fmla="*/ 30 h 399"/>
                <a:gd name="T2" fmla="*/ 274 w 414"/>
                <a:gd name="T3" fmla="*/ 13 h 399"/>
                <a:gd name="T4" fmla="*/ 266 w 414"/>
                <a:gd name="T5" fmla="*/ 0 h 399"/>
                <a:gd name="T6" fmla="*/ 240 w 414"/>
                <a:gd name="T7" fmla="*/ 19 h 399"/>
                <a:gd name="T8" fmla="*/ 240 w 414"/>
                <a:gd name="T9" fmla="*/ 49 h 399"/>
                <a:gd name="T10" fmla="*/ 219 w 414"/>
                <a:gd name="T11" fmla="*/ 55 h 399"/>
                <a:gd name="T12" fmla="*/ 195 w 414"/>
                <a:gd name="T13" fmla="*/ 53 h 399"/>
                <a:gd name="T14" fmla="*/ 166 w 414"/>
                <a:gd name="T15" fmla="*/ 40 h 399"/>
                <a:gd name="T16" fmla="*/ 161 w 414"/>
                <a:gd name="T17" fmla="*/ 55 h 399"/>
                <a:gd name="T18" fmla="*/ 160 w 414"/>
                <a:gd name="T19" fmla="*/ 68 h 399"/>
                <a:gd name="T20" fmla="*/ 140 w 414"/>
                <a:gd name="T21" fmla="*/ 82 h 399"/>
                <a:gd name="T22" fmla="*/ 133 w 414"/>
                <a:gd name="T23" fmla="*/ 96 h 399"/>
                <a:gd name="T24" fmla="*/ 112 w 414"/>
                <a:gd name="T25" fmla="*/ 98 h 399"/>
                <a:gd name="T26" fmla="*/ 93 w 414"/>
                <a:gd name="T27" fmla="*/ 98 h 399"/>
                <a:gd name="T28" fmla="*/ 57 w 414"/>
                <a:gd name="T29" fmla="*/ 102 h 399"/>
                <a:gd name="T30" fmla="*/ 34 w 414"/>
                <a:gd name="T31" fmla="*/ 107 h 399"/>
                <a:gd name="T32" fmla="*/ 15 w 414"/>
                <a:gd name="T33" fmla="*/ 116 h 399"/>
                <a:gd name="T34" fmla="*/ 38 w 414"/>
                <a:gd name="T35" fmla="*/ 141 h 399"/>
                <a:gd name="T36" fmla="*/ 49 w 414"/>
                <a:gd name="T37" fmla="*/ 162 h 399"/>
                <a:gd name="T38" fmla="*/ 25 w 414"/>
                <a:gd name="T39" fmla="*/ 172 h 399"/>
                <a:gd name="T40" fmla="*/ 6 w 414"/>
                <a:gd name="T41" fmla="*/ 206 h 399"/>
                <a:gd name="T42" fmla="*/ 32 w 414"/>
                <a:gd name="T43" fmla="*/ 230 h 399"/>
                <a:gd name="T44" fmla="*/ 56 w 414"/>
                <a:gd name="T45" fmla="*/ 267 h 399"/>
                <a:gd name="T46" fmla="*/ 50 w 414"/>
                <a:gd name="T47" fmla="*/ 296 h 399"/>
                <a:gd name="T48" fmla="*/ 80 w 414"/>
                <a:gd name="T49" fmla="*/ 324 h 399"/>
                <a:gd name="T50" fmla="*/ 136 w 414"/>
                <a:gd name="T51" fmla="*/ 339 h 399"/>
                <a:gd name="T52" fmla="*/ 152 w 414"/>
                <a:gd name="T53" fmla="*/ 335 h 399"/>
                <a:gd name="T54" fmla="*/ 180 w 414"/>
                <a:gd name="T55" fmla="*/ 385 h 399"/>
                <a:gd name="T56" fmla="*/ 201 w 414"/>
                <a:gd name="T57" fmla="*/ 399 h 399"/>
                <a:gd name="T58" fmla="*/ 254 w 414"/>
                <a:gd name="T59" fmla="*/ 394 h 399"/>
                <a:gd name="T60" fmla="*/ 288 w 414"/>
                <a:gd name="T61" fmla="*/ 376 h 399"/>
                <a:gd name="T62" fmla="*/ 334 w 414"/>
                <a:gd name="T63" fmla="*/ 385 h 399"/>
                <a:gd name="T64" fmla="*/ 361 w 414"/>
                <a:gd name="T65" fmla="*/ 363 h 399"/>
                <a:gd name="T66" fmla="*/ 394 w 414"/>
                <a:gd name="T67" fmla="*/ 361 h 399"/>
                <a:gd name="T68" fmla="*/ 397 w 414"/>
                <a:gd name="T69" fmla="*/ 347 h 399"/>
                <a:gd name="T70" fmla="*/ 388 w 414"/>
                <a:gd name="T71" fmla="*/ 304 h 399"/>
                <a:gd name="T72" fmla="*/ 382 w 414"/>
                <a:gd name="T73" fmla="*/ 287 h 399"/>
                <a:gd name="T74" fmla="*/ 405 w 414"/>
                <a:gd name="T75" fmla="*/ 279 h 399"/>
                <a:gd name="T76" fmla="*/ 413 w 414"/>
                <a:gd name="T77" fmla="*/ 270 h 399"/>
                <a:gd name="T78" fmla="*/ 385 w 414"/>
                <a:gd name="T79" fmla="*/ 233 h 399"/>
                <a:gd name="T80" fmla="*/ 368 w 414"/>
                <a:gd name="T81" fmla="*/ 197 h 399"/>
                <a:gd name="T82" fmla="*/ 365 w 414"/>
                <a:gd name="T83" fmla="*/ 173 h 399"/>
                <a:gd name="T84" fmla="*/ 363 w 414"/>
                <a:gd name="T85" fmla="*/ 150 h 399"/>
                <a:gd name="T86" fmla="*/ 346 w 414"/>
                <a:gd name="T87" fmla="*/ 150 h 399"/>
                <a:gd name="T88" fmla="*/ 345 w 414"/>
                <a:gd name="T89" fmla="*/ 173 h 399"/>
                <a:gd name="T90" fmla="*/ 323 w 414"/>
                <a:gd name="T91" fmla="*/ 167 h 399"/>
                <a:gd name="T92" fmla="*/ 311 w 414"/>
                <a:gd name="T93" fmla="*/ 150 h 399"/>
                <a:gd name="T94" fmla="*/ 297 w 414"/>
                <a:gd name="T95" fmla="*/ 129 h 399"/>
                <a:gd name="T96" fmla="*/ 314 w 414"/>
                <a:gd name="T97" fmla="*/ 120 h 399"/>
                <a:gd name="T98" fmla="*/ 315 w 414"/>
                <a:gd name="T99" fmla="*/ 95 h 399"/>
                <a:gd name="T100" fmla="*/ 323 w 414"/>
                <a:gd name="T101" fmla="*/ 80 h 399"/>
                <a:gd name="T102" fmla="*/ 343 w 414"/>
                <a:gd name="T103" fmla="*/ 74 h 399"/>
                <a:gd name="T104" fmla="*/ 345 w 414"/>
                <a:gd name="T105" fmla="*/ 43 h 399"/>
                <a:gd name="T106" fmla="*/ 323 w 414"/>
                <a:gd name="T107" fmla="*/ 31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399">
                  <a:moveTo>
                    <a:pt x="323" y="31"/>
                  </a:moveTo>
                  <a:lnTo>
                    <a:pt x="323" y="31"/>
                  </a:lnTo>
                  <a:lnTo>
                    <a:pt x="318" y="28"/>
                  </a:lnTo>
                  <a:lnTo>
                    <a:pt x="314" y="27"/>
                  </a:lnTo>
                  <a:lnTo>
                    <a:pt x="305" y="30"/>
                  </a:lnTo>
                  <a:lnTo>
                    <a:pt x="305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7" y="27"/>
                  </a:lnTo>
                  <a:lnTo>
                    <a:pt x="290" y="22"/>
                  </a:lnTo>
                  <a:lnTo>
                    <a:pt x="290" y="22"/>
                  </a:lnTo>
                  <a:lnTo>
                    <a:pt x="274" y="13"/>
                  </a:lnTo>
                  <a:lnTo>
                    <a:pt x="269" y="10"/>
                  </a:lnTo>
                  <a:lnTo>
                    <a:pt x="269" y="9"/>
                  </a:lnTo>
                  <a:lnTo>
                    <a:pt x="268" y="6"/>
                  </a:lnTo>
                  <a:lnTo>
                    <a:pt x="268" y="6"/>
                  </a:lnTo>
                  <a:lnTo>
                    <a:pt x="268" y="3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47" y="5"/>
                  </a:lnTo>
                  <a:lnTo>
                    <a:pt x="247" y="5"/>
                  </a:lnTo>
                  <a:lnTo>
                    <a:pt x="243" y="8"/>
                  </a:lnTo>
                  <a:lnTo>
                    <a:pt x="241" y="10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0" y="28"/>
                  </a:lnTo>
                  <a:lnTo>
                    <a:pt x="241" y="37"/>
                  </a:lnTo>
                  <a:lnTo>
                    <a:pt x="241" y="37"/>
                  </a:lnTo>
                  <a:lnTo>
                    <a:pt x="241" y="43"/>
                  </a:lnTo>
                  <a:lnTo>
                    <a:pt x="240" y="49"/>
                  </a:lnTo>
                  <a:lnTo>
                    <a:pt x="238" y="52"/>
                  </a:lnTo>
                  <a:lnTo>
                    <a:pt x="234" y="55"/>
                  </a:lnTo>
                  <a:lnTo>
                    <a:pt x="234" y="55"/>
                  </a:lnTo>
                  <a:lnTo>
                    <a:pt x="229" y="56"/>
                  </a:lnTo>
                  <a:lnTo>
                    <a:pt x="225" y="55"/>
                  </a:lnTo>
                  <a:lnTo>
                    <a:pt x="219" y="55"/>
                  </a:lnTo>
                  <a:lnTo>
                    <a:pt x="214" y="55"/>
                  </a:lnTo>
                  <a:lnTo>
                    <a:pt x="214" y="55"/>
                  </a:lnTo>
                  <a:lnTo>
                    <a:pt x="204" y="56"/>
                  </a:lnTo>
                  <a:lnTo>
                    <a:pt x="200" y="56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186" y="48"/>
                  </a:lnTo>
                  <a:lnTo>
                    <a:pt x="180" y="45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67" y="40"/>
                  </a:lnTo>
                  <a:lnTo>
                    <a:pt x="166" y="40"/>
                  </a:lnTo>
                  <a:lnTo>
                    <a:pt x="163" y="42"/>
                  </a:lnTo>
                  <a:lnTo>
                    <a:pt x="161" y="43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3" y="58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4"/>
                  </a:lnTo>
                  <a:lnTo>
                    <a:pt x="164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7" y="71"/>
                  </a:lnTo>
                  <a:lnTo>
                    <a:pt x="154" y="74"/>
                  </a:lnTo>
                  <a:lnTo>
                    <a:pt x="151" y="77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37" y="83"/>
                  </a:lnTo>
                  <a:lnTo>
                    <a:pt x="136" y="85"/>
                  </a:lnTo>
                  <a:lnTo>
                    <a:pt x="134" y="90"/>
                  </a:lnTo>
                  <a:lnTo>
                    <a:pt x="134" y="95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26" y="95"/>
                  </a:lnTo>
                  <a:lnTo>
                    <a:pt x="121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12" y="98"/>
                  </a:lnTo>
                  <a:lnTo>
                    <a:pt x="109" y="98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3" y="96"/>
                  </a:lnTo>
                  <a:lnTo>
                    <a:pt x="97" y="96"/>
                  </a:lnTo>
                  <a:lnTo>
                    <a:pt x="93" y="98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87" y="102"/>
                  </a:lnTo>
                  <a:lnTo>
                    <a:pt x="78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49" y="102"/>
                  </a:lnTo>
                  <a:lnTo>
                    <a:pt x="41" y="102"/>
                  </a:lnTo>
                  <a:lnTo>
                    <a:pt x="37" y="105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2" y="110"/>
                  </a:lnTo>
                  <a:lnTo>
                    <a:pt x="29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19" y="111"/>
                  </a:lnTo>
                  <a:lnTo>
                    <a:pt x="15" y="116"/>
                  </a:lnTo>
                  <a:lnTo>
                    <a:pt x="13" y="120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6" y="127"/>
                  </a:lnTo>
                  <a:lnTo>
                    <a:pt x="22" y="132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46" y="145"/>
                  </a:lnTo>
                  <a:lnTo>
                    <a:pt x="49" y="150"/>
                  </a:lnTo>
                  <a:lnTo>
                    <a:pt x="49" y="156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7" y="166"/>
                  </a:lnTo>
                  <a:lnTo>
                    <a:pt x="46" y="167"/>
                  </a:lnTo>
                  <a:lnTo>
                    <a:pt x="40" y="170"/>
                  </a:lnTo>
                  <a:lnTo>
                    <a:pt x="32" y="172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10" y="173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3" y="194"/>
                  </a:lnTo>
                  <a:lnTo>
                    <a:pt x="6" y="206"/>
                  </a:lnTo>
                  <a:lnTo>
                    <a:pt x="6" y="206"/>
                  </a:lnTo>
                  <a:lnTo>
                    <a:pt x="9" y="213"/>
                  </a:lnTo>
                  <a:lnTo>
                    <a:pt x="12" y="218"/>
                  </a:lnTo>
                  <a:lnTo>
                    <a:pt x="16" y="221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32" y="230"/>
                  </a:lnTo>
                  <a:lnTo>
                    <a:pt x="43" y="239"/>
                  </a:lnTo>
                  <a:lnTo>
                    <a:pt x="52" y="249"/>
                  </a:lnTo>
                  <a:lnTo>
                    <a:pt x="55" y="253"/>
                  </a:lnTo>
                  <a:lnTo>
                    <a:pt x="55" y="259"/>
                  </a:lnTo>
                  <a:lnTo>
                    <a:pt x="55" y="259"/>
                  </a:lnTo>
                  <a:lnTo>
                    <a:pt x="56" y="267"/>
                  </a:lnTo>
                  <a:lnTo>
                    <a:pt x="56" y="273"/>
                  </a:lnTo>
                  <a:lnTo>
                    <a:pt x="55" y="280"/>
                  </a:lnTo>
                  <a:lnTo>
                    <a:pt x="52" y="287"/>
                  </a:lnTo>
                  <a:lnTo>
                    <a:pt x="52" y="287"/>
                  </a:lnTo>
                  <a:lnTo>
                    <a:pt x="50" y="292"/>
                  </a:lnTo>
                  <a:lnTo>
                    <a:pt x="50" y="296"/>
                  </a:lnTo>
                  <a:lnTo>
                    <a:pt x="52" y="301"/>
                  </a:lnTo>
                  <a:lnTo>
                    <a:pt x="55" y="305"/>
                  </a:lnTo>
                  <a:lnTo>
                    <a:pt x="60" y="313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80" y="324"/>
                  </a:lnTo>
                  <a:lnTo>
                    <a:pt x="94" y="330"/>
                  </a:lnTo>
                  <a:lnTo>
                    <a:pt x="109" y="336"/>
                  </a:lnTo>
                  <a:lnTo>
                    <a:pt x="121" y="339"/>
                  </a:lnTo>
                  <a:lnTo>
                    <a:pt x="121" y="339"/>
                  </a:lnTo>
                  <a:lnTo>
                    <a:pt x="130" y="339"/>
                  </a:lnTo>
                  <a:lnTo>
                    <a:pt x="136" y="339"/>
                  </a:lnTo>
                  <a:lnTo>
                    <a:pt x="142" y="338"/>
                  </a:lnTo>
                  <a:lnTo>
                    <a:pt x="146" y="333"/>
                  </a:lnTo>
                  <a:lnTo>
                    <a:pt x="146" y="333"/>
                  </a:lnTo>
                  <a:lnTo>
                    <a:pt x="148" y="332"/>
                  </a:lnTo>
                  <a:lnTo>
                    <a:pt x="149" y="332"/>
                  </a:lnTo>
                  <a:lnTo>
                    <a:pt x="152" y="335"/>
                  </a:lnTo>
                  <a:lnTo>
                    <a:pt x="154" y="344"/>
                  </a:lnTo>
                  <a:lnTo>
                    <a:pt x="154" y="344"/>
                  </a:lnTo>
                  <a:lnTo>
                    <a:pt x="158" y="351"/>
                  </a:lnTo>
                  <a:lnTo>
                    <a:pt x="166" y="361"/>
                  </a:lnTo>
                  <a:lnTo>
                    <a:pt x="174" y="373"/>
                  </a:lnTo>
                  <a:lnTo>
                    <a:pt x="180" y="385"/>
                  </a:lnTo>
                  <a:lnTo>
                    <a:pt x="180" y="385"/>
                  </a:lnTo>
                  <a:lnTo>
                    <a:pt x="183" y="393"/>
                  </a:lnTo>
                  <a:lnTo>
                    <a:pt x="188" y="396"/>
                  </a:lnTo>
                  <a:lnTo>
                    <a:pt x="194" y="397"/>
                  </a:lnTo>
                  <a:lnTo>
                    <a:pt x="201" y="399"/>
                  </a:lnTo>
                  <a:lnTo>
                    <a:pt x="201" y="399"/>
                  </a:lnTo>
                  <a:lnTo>
                    <a:pt x="217" y="397"/>
                  </a:lnTo>
                  <a:lnTo>
                    <a:pt x="235" y="396"/>
                  </a:lnTo>
                  <a:lnTo>
                    <a:pt x="235" y="396"/>
                  </a:lnTo>
                  <a:lnTo>
                    <a:pt x="248" y="394"/>
                  </a:lnTo>
                  <a:lnTo>
                    <a:pt x="248" y="394"/>
                  </a:lnTo>
                  <a:lnTo>
                    <a:pt x="254" y="394"/>
                  </a:lnTo>
                  <a:lnTo>
                    <a:pt x="260" y="393"/>
                  </a:lnTo>
                  <a:lnTo>
                    <a:pt x="268" y="388"/>
                  </a:lnTo>
                  <a:lnTo>
                    <a:pt x="275" y="382"/>
                  </a:lnTo>
                  <a:lnTo>
                    <a:pt x="275" y="382"/>
                  </a:lnTo>
                  <a:lnTo>
                    <a:pt x="281" y="378"/>
                  </a:lnTo>
                  <a:lnTo>
                    <a:pt x="288" y="376"/>
                  </a:lnTo>
                  <a:lnTo>
                    <a:pt x="296" y="378"/>
                  </a:lnTo>
                  <a:lnTo>
                    <a:pt x="306" y="381"/>
                  </a:lnTo>
                  <a:lnTo>
                    <a:pt x="306" y="381"/>
                  </a:lnTo>
                  <a:lnTo>
                    <a:pt x="318" y="385"/>
                  </a:lnTo>
                  <a:lnTo>
                    <a:pt x="327" y="387"/>
                  </a:lnTo>
                  <a:lnTo>
                    <a:pt x="334" y="385"/>
                  </a:lnTo>
                  <a:lnTo>
                    <a:pt x="342" y="382"/>
                  </a:lnTo>
                  <a:lnTo>
                    <a:pt x="342" y="382"/>
                  </a:lnTo>
                  <a:lnTo>
                    <a:pt x="348" y="376"/>
                  </a:lnTo>
                  <a:lnTo>
                    <a:pt x="352" y="370"/>
                  </a:lnTo>
                  <a:lnTo>
                    <a:pt x="358" y="364"/>
                  </a:lnTo>
                  <a:lnTo>
                    <a:pt x="361" y="363"/>
                  </a:lnTo>
                  <a:lnTo>
                    <a:pt x="364" y="363"/>
                  </a:lnTo>
                  <a:lnTo>
                    <a:pt x="364" y="363"/>
                  </a:lnTo>
                  <a:lnTo>
                    <a:pt x="379" y="363"/>
                  </a:lnTo>
                  <a:lnTo>
                    <a:pt x="388" y="363"/>
                  </a:lnTo>
                  <a:lnTo>
                    <a:pt x="391" y="363"/>
                  </a:lnTo>
                  <a:lnTo>
                    <a:pt x="394" y="361"/>
                  </a:lnTo>
                  <a:lnTo>
                    <a:pt x="394" y="361"/>
                  </a:lnTo>
                  <a:lnTo>
                    <a:pt x="395" y="359"/>
                  </a:lnTo>
                  <a:lnTo>
                    <a:pt x="395" y="354"/>
                  </a:lnTo>
                  <a:lnTo>
                    <a:pt x="395" y="351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1" y="335"/>
                  </a:lnTo>
                  <a:lnTo>
                    <a:pt x="389" y="329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11"/>
                  </a:lnTo>
                  <a:lnTo>
                    <a:pt x="388" y="304"/>
                  </a:lnTo>
                  <a:lnTo>
                    <a:pt x="388" y="304"/>
                  </a:lnTo>
                  <a:lnTo>
                    <a:pt x="383" y="298"/>
                  </a:lnTo>
                  <a:lnTo>
                    <a:pt x="382" y="295"/>
                  </a:lnTo>
                  <a:lnTo>
                    <a:pt x="380" y="290"/>
                  </a:lnTo>
                  <a:lnTo>
                    <a:pt x="380" y="290"/>
                  </a:lnTo>
                  <a:lnTo>
                    <a:pt x="382" y="287"/>
                  </a:lnTo>
                  <a:lnTo>
                    <a:pt x="385" y="284"/>
                  </a:lnTo>
                  <a:lnTo>
                    <a:pt x="397" y="280"/>
                  </a:lnTo>
                  <a:lnTo>
                    <a:pt x="397" y="280"/>
                  </a:lnTo>
                  <a:lnTo>
                    <a:pt x="401" y="277"/>
                  </a:lnTo>
                  <a:lnTo>
                    <a:pt x="402" y="277"/>
                  </a:lnTo>
                  <a:lnTo>
                    <a:pt x="405" y="279"/>
                  </a:lnTo>
                  <a:lnTo>
                    <a:pt x="411" y="279"/>
                  </a:lnTo>
                  <a:lnTo>
                    <a:pt x="411" y="279"/>
                  </a:lnTo>
                  <a:lnTo>
                    <a:pt x="414" y="277"/>
                  </a:lnTo>
                  <a:lnTo>
                    <a:pt x="414" y="276"/>
                  </a:lnTo>
                  <a:lnTo>
                    <a:pt x="414" y="273"/>
                  </a:lnTo>
                  <a:lnTo>
                    <a:pt x="413" y="270"/>
                  </a:lnTo>
                  <a:lnTo>
                    <a:pt x="407" y="264"/>
                  </a:lnTo>
                  <a:lnTo>
                    <a:pt x="400" y="256"/>
                  </a:lnTo>
                  <a:lnTo>
                    <a:pt x="400" y="256"/>
                  </a:lnTo>
                  <a:lnTo>
                    <a:pt x="394" y="250"/>
                  </a:lnTo>
                  <a:lnTo>
                    <a:pt x="389" y="243"/>
                  </a:lnTo>
                  <a:lnTo>
                    <a:pt x="385" y="233"/>
                  </a:lnTo>
                  <a:lnTo>
                    <a:pt x="379" y="222"/>
                  </a:lnTo>
                  <a:lnTo>
                    <a:pt x="379" y="222"/>
                  </a:lnTo>
                  <a:lnTo>
                    <a:pt x="374" y="213"/>
                  </a:lnTo>
                  <a:lnTo>
                    <a:pt x="371" y="207"/>
                  </a:lnTo>
                  <a:lnTo>
                    <a:pt x="370" y="202"/>
                  </a:lnTo>
                  <a:lnTo>
                    <a:pt x="368" y="197"/>
                  </a:lnTo>
                  <a:lnTo>
                    <a:pt x="368" y="197"/>
                  </a:lnTo>
                  <a:lnTo>
                    <a:pt x="363" y="187"/>
                  </a:lnTo>
                  <a:lnTo>
                    <a:pt x="361" y="182"/>
                  </a:lnTo>
                  <a:lnTo>
                    <a:pt x="364" y="178"/>
                  </a:lnTo>
                  <a:lnTo>
                    <a:pt x="364" y="178"/>
                  </a:lnTo>
                  <a:lnTo>
                    <a:pt x="365" y="173"/>
                  </a:lnTo>
                  <a:lnTo>
                    <a:pt x="367" y="169"/>
                  </a:lnTo>
                  <a:lnTo>
                    <a:pt x="367" y="166"/>
                  </a:lnTo>
                  <a:lnTo>
                    <a:pt x="367" y="159"/>
                  </a:lnTo>
                  <a:lnTo>
                    <a:pt x="367" y="159"/>
                  </a:lnTo>
                  <a:lnTo>
                    <a:pt x="364" y="153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57" y="147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48" y="148"/>
                  </a:lnTo>
                  <a:lnTo>
                    <a:pt x="346" y="150"/>
                  </a:lnTo>
                  <a:lnTo>
                    <a:pt x="345" y="154"/>
                  </a:lnTo>
                  <a:lnTo>
                    <a:pt x="346" y="160"/>
                  </a:lnTo>
                  <a:lnTo>
                    <a:pt x="346" y="167"/>
                  </a:lnTo>
                  <a:lnTo>
                    <a:pt x="346" y="167"/>
                  </a:lnTo>
                  <a:lnTo>
                    <a:pt x="346" y="170"/>
                  </a:lnTo>
                  <a:lnTo>
                    <a:pt x="345" y="173"/>
                  </a:lnTo>
                  <a:lnTo>
                    <a:pt x="343" y="173"/>
                  </a:lnTo>
                  <a:lnTo>
                    <a:pt x="340" y="175"/>
                  </a:lnTo>
                  <a:lnTo>
                    <a:pt x="336" y="173"/>
                  </a:lnTo>
                  <a:lnTo>
                    <a:pt x="330" y="170"/>
                  </a:lnTo>
                  <a:lnTo>
                    <a:pt x="330" y="170"/>
                  </a:lnTo>
                  <a:lnTo>
                    <a:pt x="323" y="167"/>
                  </a:lnTo>
                  <a:lnTo>
                    <a:pt x="318" y="165"/>
                  </a:lnTo>
                  <a:lnTo>
                    <a:pt x="314" y="160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2" y="153"/>
                  </a:lnTo>
                  <a:lnTo>
                    <a:pt x="311" y="150"/>
                  </a:lnTo>
                  <a:lnTo>
                    <a:pt x="306" y="144"/>
                  </a:lnTo>
                  <a:lnTo>
                    <a:pt x="300" y="138"/>
                  </a:lnTo>
                  <a:lnTo>
                    <a:pt x="299" y="135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29"/>
                  </a:lnTo>
                  <a:lnTo>
                    <a:pt x="299" y="127"/>
                  </a:lnTo>
                  <a:lnTo>
                    <a:pt x="303" y="126"/>
                  </a:lnTo>
                  <a:lnTo>
                    <a:pt x="308" y="126"/>
                  </a:lnTo>
                  <a:lnTo>
                    <a:pt x="312" y="123"/>
                  </a:lnTo>
                  <a:lnTo>
                    <a:pt x="312" y="123"/>
                  </a:lnTo>
                  <a:lnTo>
                    <a:pt x="314" y="120"/>
                  </a:lnTo>
                  <a:lnTo>
                    <a:pt x="312" y="116"/>
                  </a:lnTo>
                  <a:lnTo>
                    <a:pt x="311" y="110"/>
                  </a:lnTo>
                  <a:lnTo>
                    <a:pt x="309" y="104"/>
                  </a:lnTo>
                  <a:lnTo>
                    <a:pt x="309" y="104"/>
                  </a:lnTo>
                  <a:lnTo>
                    <a:pt x="312" y="99"/>
                  </a:lnTo>
                  <a:lnTo>
                    <a:pt x="315" y="95"/>
                  </a:lnTo>
                  <a:lnTo>
                    <a:pt x="320" y="89"/>
                  </a:lnTo>
                  <a:lnTo>
                    <a:pt x="321" y="87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1" y="82"/>
                  </a:lnTo>
                  <a:lnTo>
                    <a:pt x="323" y="80"/>
                  </a:lnTo>
                  <a:lnTo>
                    <a:pt x="325" y="77"/>
                  </a:lnTo>
                  <a:lnTo>
                    <a:pt x="330" y="77"/>
                  </a:lnTo>
                  <a:lnTo>
                    <a:pt x="334" y="77"/>
                  </a:lnTo>
                  <a:lnTo>
                    <a:pt x="334" y="77"/>
                  </a:lnTo>
                  <a:lnTo>
                    <a:pt x="340" y="76"/>
                  </a:lnTo>
                  <a:lnTo>
                    <a:pt x="343" y="74"/>
                  </a:lnTo>
                  <a:lnTo>
                    <a:pt x="343" y="74"/>
                  </a:lnTo>
                  <a:lnTo>
                    <a:pt x="346" y="62"/>
                  </a:lnTo>
                  <a:lnTo>
                    <a:pt x="348" y="53"/>
                  </a:lnTo>
                  <a:lnTo>
                    <a:pt x="348" y="53"/>
                  </a:lnTo>
                  <a:lnTo>
                    <a:pt x="348" y="48"/>
                  </a:lnTo>
                  <a:lnTo>
                    <a:pt x="345" y="43"/>
                  </a:lnTo>
                  <a:lnTo>
                    <a:pt x="342" y="40"/>
                  </a:lnTo>
                  <a:lnTo>
                    <a:pt x="337" y="39"/>
                  </a:lnTo>
                  <a:lnTo>
                    <a:pt x="337" y="39"/>
                  </a:lnTo>
                  <a:lnTo>
                    <a:pt x="333" y="39"/>
                  </a:lnTo>
                  <a:lnTo>
                    <a:pt x="330" y="37"/>
                  </a:lnTo>
                  <a:lnTo>
                    <a:pt x="323" y="31"/>
                  </a:lnTo>
                  <a:lnTo>
                    <a:pt x="323" y="3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8" name="Freeform 47">
              <a:extLst>
                <a:ext uri="{FF2B5EF4-FFF2-40B4-BE49-F238E27FC236}">
                  <a16:creationId xmlns:a16="http://schemas.microsoft.com/office/drawing/2014/main" id="{27D07836-9E98-B842-BB62-7B1751ACF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5865813"/>
              <a:ext cx="196850" cy="280987"/>
            </a:xfrm>
            <a:custGeom>
              <a:avLst/>
              <a:gdLst>
                <a:gd name="T0" fmla="*/ 90 w 124"/>
                <a:gd name="T1" fmla="*/ 83 h 177"/>
                <a:gd name="T2" fmla="*/ 87 w 124"/>
                <a:gd name="T3" fmla="*/ 88 h 177"/>
                <a:gd name="T4" fmla="*/ 77 w 124"/>
                <a:gd name="T5" fmla="*/ 91 h 177"/>
                <a:gd name="T6" fmla="*/ 68 w 124"/>
                <a:gd name="T7" fmla="*/ 97 h 177"/>
                <a:gd name="T8" fmla="*/ 60 w 124"/>
                <a:gd name="T9" fmla="*/ 106 h 177"/>
                <a:gd name="T10" fmla="*/ 49 w 124"/>
                <a:gd name="T11" fmla="*/ 124 h 177"/>
                <a:gd name="T12" fmla="*/ 43 w 124"/>
                <a:gd name="T13" fmla="*/ 128 h 177"/>
                <a:gd name="T14" fmla="*/ 34 w 124"/>
                <a:gd name="T15" fmla="*/ 128 h 177"/>
                <a:gd name="T16" fmla="*/ 25 w 124"/>
                <a:gd name="T17" fmla="*/ 125 h 177"/>
                <a:gd name="T18" fmla="*/ 12 w 124"/>
                <a:gd name="T19" fmla="*/ 120 h 177"/>
                <a:gd name="T20" fmla="*/ 6 w 124"/>
                <a:gd name="T21" fmla="*/ 121 h 177"/>
                <a:gd name="T22" fmla="*/ 4 w 124"/>
                <a:gd name="T23" fmla="*/ 133 h 177"/>
                <a:gd name="T24" fmla="*/ 3 w 124"/>
                <a:gd name="T25" fmla="*/ 149 h 177"/>
                <a:gd name="T26" fmla="*/ 0 w 124"/>
                <a:gd name="T27" fmla="*/ 168 h 177"/>
                <a:gd name="T28" fmla="*/ 3 w 124"/>
                <a:gd name="T29" fmla="*/ 176 h 177"/>
                <a:gd name="T30" fmla="*/ 7 w 124"/>
                <a:gd name="T31" fmla="*/ 177 h 177"/>
                <a:gd name="T32" fmla="*/ 28 w 124"/>
                <a:gd name="T33" fmla="*/ 176 h 177"/>
                <a:gd name="T34" fmla="*/ 41 w 124"/>
                <a:gd name="T35" fmla="*/ 170 h 177"/>
                <a:gd name="T36" fmla="*/ 43 w 124"/>
                <a:gd name="T37" fmla="*/ 167 h 177"/>
                <a:gd name="T38" fmla="*/ 46 w 124"/>
                <a:gd name="T39" fmla="*/ 158 h 177"/>
                <a:gd name="T40" fmla="*/ 52 w 124"/>
                <a:gd name="T41" fmla="*/ 155 h 177"/>
                <a:gd name="T42" fmla="*/ 54 w 124"/>
                <a:gd name="T43" fmla="*/ 155 h 177"/>
                <a:gd name="T44" fmla="*/ 60 w 124"/>
                <a:gd name="T45" fmla="*/ 148 h 177"/>
                <a:gd name="T46" fmla="*/ 69 w 124"/>
                <a:gd name="T47" fmla="*/ 137 h 177"/>
                <a:gd name="T48" fmla="*/ 72 w 124"/>
                <a:gd name="T49" fmla="*/ 137 h 177"/>
                <a:gd name="T50" fmla="*/ 75 w 124"/>
                <a:gd name="T51" fmla="*/ 137 h 177"/>
                <a:gd name="T52" fmla="*/ 80 w 124"/>
                <a:gd name="T53" fmla="*/ 145 h 177"/>
                <a:gd name="T54" fmla="*/ 80 w 124"/>
                <a:gd name="T55" fmla="*/ 152 h 177"/>
                <a:gd name="T56" fmla="*/ 83 w 124"/>
                <a:gd name="T57" fmla="*/ 160 h 177"/>
                <a:gd name="T58" fmla="*/ 89 w 124"/>
                <a:gd name="T59" fmla="*/ 164 h 177"/>
                <a:gd name="T60" fmla="*/ 96 w 124"/>
                <a:gd name="T61" fmla="*/ 167 h 177"/>
                <a:gd name="T62" fmla="*/ 102 w 124"/>
                <a:gd name="T63" fmla="*/ 164 h 177"/>
                <a:gd name="T64" fmla="*/ 115 w 124"/>
                <a:gd name="T65" fmla="*/ 140 h 177"/>
                <a:gd name="T66" fmla="*/ 124 w 124"/>
                <a:gd name="T67" fmla="*/ 118 h 177"/>
                <a:gd name="T68" fmla="*/ 123 w 124"/>
                <a:gd name="T69" fmla="*/ 111 h 177"/>
                <a:gd name="T70" fmla="*/ 111 w 124"/>
                <a:gd name="T71" fmla="*/ 85 h 177"/>
                <a:gd name="T72" fmla="*/ 106 w 124"/>
                <a:gd name="T73" fmla="*/ 77 h 177"/>
                <a:gd name="T74" fmla="*/ 100 w 124"/>
                <a:gd name="T75" fmla="*/ 57 h 177"/>
                <a:gd name="T76" fmla="*/ 97 w 124"/>
                <a:gd name="T77" fmla="*/ 53 h 177"/>
                <a:gd name="T78" fmla="*/ 72 w 124"/>
                <a:gd name="T79" fmla="*/ 34 h 177"/>
                <a:gd name="T80" fmla="*/ 65 w 124"/>
                <a:gd name="T81" fmla="*/ 26 h 177"/>
                <a:gd name="T82" fmla="*/ 56 w 124"/>
                <a:gd name="T83" fmla="*/ 5 h 177"/>
                <a:gd name="T84" fmla="*/ 54 w 124"/>
                <a:gd name="T85" fmla="*/ 4 h 177"/>
                <a:gd name="T86" fmla="*/ 47 w 124"/>
                <a:gd name="T87" fmla="*/ 0 h 177"/>
                <a:gd name="T88" fmla="*/ 40 w 124"/>
                <a:gd name="T89" fmla="*/ 1 h 177"/>
                <a:gd name="T90" fmla="*/ 28 w 124"/>
                <a:gd name="T91" fmla="*/ 13 h 177"/>
                <a:gd name="T92" fmla="*/ 26 w 124"/>
                <a:gd name="T93" fmla="*/ 20 h 177"/>
                <a:gd name="T94" fmla="*/ 31 w 124"/>
                <a:gd name="T95" fmla="*/ 29 h 177"/>
                <a:gd name="T96" fmla="*/ 44 w 124"/>
                <a:gd name="T97" fmla="*/ 50 h 177"/>
                <a:gd name="T98" fmla="*/ 52 w 124"/>
                <a:gd name="T99" fmla="*/ 56 h 177"/>
                <a:gd name="T100" fmla="*/ 56 w 124"/>
                <a:gd name="T101" fmla="*/ 56 h 177"/>
                <a:gd name="T102" fmla="*/ 63 w 124"/>
                <a:gd name="T103" fmla="*/ 53 h 177"/>
                <a:gd name="T104" fmla="*/ 69 w 124"/>
                <a:gd name="T105" fmla="*/ 54 h 177"/>
                <a:gd name="T106" fmla="*/ 75 w 124"/>
                <a:gd name="T107" fmla="*/ 57 h 177"/>
                <a:gd name="T108" fmla="*/ 80 w 124"/>
                <a:gd name="T109" fmla="*/ 66 h 177"/>
                <a:gd name="T110" fmla="*/ 83 w 124"/>
                <a:gd name="T111" fmla="*/ 71 h 177"/>
                <a:gd name="T112" fmla="*/ 89 w 124"/>
                <a:gd name="T113" fmla="*/ 75 h 177"/>
                <a:gd name="T114" fmla="*/ 90 w 124"/>
                <a:gd name="T115" fmla="*/ 83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4" h="177">
                  <a:moveTo>
                    <a:pt x="90" y="83"/>
                  </a:moveTo>
                  <a:lnTo>
                    <a:pt x="90" y="83"/>
                  </a:lnTo>
                  <a:lnTo>
                    <a:pt x="89" y="85"/>
                  </a:lnTo>
                  <a:lnTo>
                    <a:pt x="87" y="88"/>
                  </a:lnTo>
                  <a:lnTo>
                    <a:pt x="83" y="90"/>
                  </a:lnTo>
                  <a:lnTo>
                    <a:pt x="77" y="91"/>
                  </a:lnTo>
                  <a:lnTo>
                    <a:pt x="72" y="94"/>
                  </a:lnTo>
                  <a:lnTo>
                    <a:pt x="68" y="97"/>
                  </a:lnTo>
                  <a:lnTo>
                    <a:pt x="68" y="97"/>
                  </a:lnTo>
                  <a:lnTo>
                    <a:pt x="60" y="106"/>
                  </a:lnTo>
                  <a:lnTo>
                    <a:pt x="54" y="115"/>
                  </a:lnTo>
                  <a:lnTo>
                    <a:pt x="49" y="124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38" y="130"/>
                  </a:lnTo>
                  <a:lnTo>
                    <a:pt x="34" y="128"/>
                  </a:lnTo>
                  <a:lnTo>
                    <a:pt x="25" y="125"/>
                  </a:lnTo>
                  <a:lnTo>
                    <a:pt x="25" y="125"/>
                  </a:lnTo>
                  <a:lnTo>
                    <a:pt x="17" y="122"/>
                  </a:lnTo>
                  <a:lnTo>
                    <a:pt x="12" y="120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5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3" y="149"/>
                  </a:lnTo>
                  <a:lnTo>
                    <a:pt x="0" y="162"/>
                  </a:lnTo>
                  <a:lnTo>
                    <a:pt x="0" y="168"/>
                  </a:lnTo>
                  <a:lnTo>
                    <a:pt x="1" y="173"/>
                  </a:lnTo>
                  <a:lnTo>
                    <a:pt x="3" y="176"/>
                  </a:lnTo>
                  <a:lnTo>
                    <a:pt x="7" y="177"/>
                  </a:lnTo>
                  <a:lnTo>
                    <a:pt x="7" y="177"/>
                  </a:lnTo>
                  <a:lnTo>
                    <a:pt x="17" y="177"/>
                  </a:lnTo>
                  <a:lnTo>
                    <a:pt x="28" y="176"/>
                  </a:lnTo>
                  <a:lnTo>
                    <a:pt x="38" y="173"/>
                  </a:lnTo>
                  <a:lnTo>
                    <a:pt x="41" y="170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4" y="161"/>
                  </a:lnTo>
                  <a:lnTo>
                    <a:pt x="46" y="158"/>
                  </a:lnTo>
                  <a:lnTo>
                    <a:pt x="49" y="157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4" y="155"/>
                  </a:lnTo>
                  <a:lnTo>
                    <a:pt x="56" y="154"/>
                  </a:lnTo>
                  <a:lnTo>
                    <a:pt x="60" y="148"/>
                  </a:lnTo>
                  <a:lnTo>
                    <a:pt x="65" y="143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72" y="137"/>
                  </a:lnTo>
                  <a:lnTo>
                    <a:pt x="74" y="137"/>
                  </a:lnTo>
                  <a:lnTo>
                    <a:pt x="75" y="137"/>
                  </a:lnTo>
                  <a:lnTo>
                    <a:pt x="77" y="139"/>
                  </a:lnTo>
                  <a:lnTo>
                    <a:pt x="80" y="145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1" y="157"/>
                  </a:lnTo>
                  <a:lnTo>
                    <a:pt x="83" y="160"/>
                  </a:lnTo>
                  <a:lnTo>
                    <a:pt x="86" y="162"/>
                  </a:lnTo>
                  <a:lnTo>
                    <a:pt x="89" y="164"/>
                  </a:lnTo>
                  <a:lnTo>
                    <a:pt x="93" y="165"/>
                  </a:lnTo>
                  <a:lnTo>
                    <a:pt x="96" y="167"/>
                  </a:lnTo>
                  <a:lnTo>
                    <a:pt x="99" y="165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15" y="140"/>
                  </a:lnTo>
                  <a:lnTo>
                    <a:pt x="121" y="127"/>
                  </a:lnTo>
                  <a:lnTo>
                    <a:pt x="124" y="118"/>
                  </a:lnTo>
                  <a:lnTo>
                    <a:pt x="124" y="118"/>
                  </a:lnTo>
                  <a:lnTo>
                    <a:pt x="123" y="111"/>
                  </a:lnTo>
                  <a:lnTo>
                    <a:pt x="120" y="103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06" y="77"/>
                  </a:lnTo>
                  <a:lnTo>
                    <a:pt x="103" y="66"/>
                  </a:lnTo>
                  <a:lnTo>
                    <a:pt x="100" y="57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81" y="41"/>
                  </a:lnTo>
                  <a:lnTo>
                    <a:pt x="72" y="34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59" y="16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4" y="4"/>
                  </a:lnTo>
                  <a:lnTo>
                    <a:pt x="52" y="1"/>
                  </a:lnTo>
                  <a:lnTo>
                    <a:pt x="47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2" y="7"/>
                  </a:lnTo>
                  <a:lnTo>
                    <a:pt x="28" y="13"/>
                  </a:lnTo>
                  <a:lnTo>
                    <a:pt x="26" y="16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31" y="29"/>
                  </a:lnTo>
                  <a:lnTo>
                    <a:pt x="37" y="40"/>
                  </a:lnTo>
                  <a:lnTo>
                    <a:pt x="44" y="5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60" y="54"/>
                  </a:lnTo>
                  <a:lnTo>
                    <a:pt x="63" y="53"/>
                  </a:lnTo>
                  <a:lnTo>
                    <a:pt x="66" y="53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5" y="57"/>
                  </a:lnTo>
                  <a:lnTo>
                    <a:pt x="77" y="59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3" y="71"/>
                  </a:lnTo>
                  <a:lnTo>
                    <a:pt x="87" y="72"/>
                  </a:lnTo>
                  <a:lnTo>
                    <a:pt x="89" y="75"/>
                  </a:lnTo>
                  <a:lnTo>
                    <a:pt x="90" y="83"/>
                  </a:lnTo>
                  <a:lnTo>
                    <a:pt x="90" y="8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69" name="Freeform 48">
              <a:extLst>
                <a:ext uri="{FF2B5EF4-FFF2-40B4-BE49-F238E27FC236}">
                  <a16:creationId xmlns:a16="http://schemas.microsoft.com/office/drawing/2014/main" id="{F3CC1B4B-F697-FB4F-A599-2AC43AC39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813" y="3541713"/>
              <a:ext cx="474663" cy="601662"/>
            </a:xfrm>
            <a:custGeom>
              <a:avLst/>
              <a:gdLst>
                <a:gd name="T0" fmla="*/ 139 w 299"/>
                <a:gd name="T1" fmla="*/ 304 h 379"/>
                <a:gd name="T2" fmla="*/ 156 w 299"/>
                <a:gd name="T3" fmla="*/ 288 h 379"/>
                <a:gd name="T4" fmla="*/ 181 w 299"/>
                <a:gd name="T5" fmla="*/ 280 h 379"/>
                <a:gd name="T6" fmla="*/ 176 w 299"/>
                <a:gd name="T7" fmla="*/ 267 h 379"/>
                <a:gd name="T8" fmla="*/ 196 w 299"/>
                <a:gd name="T9" fmla="*/ 240 h 379"/>
                <a:gd name="T10" fmla="*/ 219 w 299"/>
                <a:gd name="T11" fmla="*/ 224 h 379"/>
                <a:gd name="T12" fmla="*/ 246 w 299"/>
                <a:gd name="T13" fmla="*/ 208 h 379"/>
                <a:gd name="T14" fmla="*/ 249 w 299"/>
                <a:gd name="T15" fmla="*/ 191 h 379"/>
                <a:gd name="T16" fmla="*/ 245 w 299"/>
                <a:gd name="T17" fmla="*/ 160 h 379"/>
                <a:gd name="T18" fmla="*/ 245 w 299"/>
                <a:gd name="T19" fmla="*/ 148 h 379"/>
                <a:gd name="T20" fmla="*/ 256 w 299"/>
                <a:gd name="T21" fmla="*/ 141 h 379"/>
                <a:gd name="T22" fmla="*/ 271 w 299"/>
                <a:gd name="T23" fmla="*/ 156 h 379"/>
                <a:gd name="T24" fmla="*/ 282 w 299"/>
                <a:gd name="T25" fmla="*/ 156 h 379"/>
                <a:gd name="T26" fmla="*/ 286 w 299"/>
                <a:gd name="T27" fmla="*/ 150 h 379"/>
                <a:gd name="T28" fmla="*/ 282 w 299"/>
                <a:gd name="T29" fmla="*/ 128 h 379"/>
                <a:gd name="T30" fmla="*/ 289 w 299"/>
                <a:gd name="T31" fmla="*/ 111 h 379"/>
                <a:gd name="T32" fmla="*/ 283 w 299"/>
                <a:gd name="T33" fmla="*/ 104 h 379"/>
                <a:gd name="T34" fmla="*/ 296 w 299"/>
                <a:gd name="T35" fmla="*/ 94 h 379"/>
                <a:gd name="T36" fmla="*/ 299 w 299"/>
                <a:gd name="T37" fmla="*/ 76 h 379"/>
                <a:gd name="T38" fmla="*/ 293 w 299"/>
                <a:gd name="T39" fmla="*/ 57 h 379"/>
                <a:gd name="T40" fmla="*/ 286 w 299"/>
                <a:gd name="T41" fmla="*/ 30 h 379"/>
                <a:gd name="T42" fmla="*/ 285 w 299"/>
                <a:gd name="T43" fmla="*/ 0 h 379"/>
                <a:gd name="T44" fmla="*/ 240 w 299"/>
                <a:gd name="T45" fmla="*/ 15 h 379"/>
                <a:gd name="T46" fmla="*/ 193 w 299"/>
                <a:gd name="T47" fmla="*/ 43 h 379"/>
                <a:gd name="T48" fmla="*/ 157 w 299"/>
                <a:gd name="T49" fmla="*/ 55 h 379"/>
                <a:gd name="T50" fmla="*/ 132 w 299"/>
                <a:gd name="T51" fmla="*/ 61 h 379"/>
                <a:gd name="T52" fmla="*/ 110 w 299"/>
                <a:gd name="T53" fmla="*/ 94 h 379"/>
                <a:gd name="T54" fmla="*/ 97 w 299"/>
                <a:gd name="T55" fmla="*/ 105 h 379"/>
                <a:gd name="T56" fmla="*/ 79 w 299"/>
                <a:gd name="T57" fmla="*/ 107 h 379"/>
                <a:gd name="T58" fmla="*/ 67 w 299"/>
                <a:gd name="T59" fmla="*/ 108 h 379"/>
                <a:gd name="T60" fmla="*/ 52 w 299"/>
                <a:gd name="T61" fmla="*/ 141 h 379"/>
                <a:gd name="T62" fmla="*/ 24 w 299"/>
                <a:gd name="T63" fmla="*/ 165 h 379"/>
                <a:gd name="T64" fmla="*/ 5 w 299"/>
                <a:gd name="T65" fmla="*/ 181 h 379"/>
                <a:gd name="T66" fmla="*/ 15 w 299"/>
                <a:gd name="T67" fmla="*/ 206 h 379"/>
                <a:gd name="T68" fmla="*/ 6 w 299"/>
                <a:gd name="T69" fmla="*/ 215 h 379"/>
                <a:gd name="T70" fmla="*/ 6 w 299"/>
                <a:gd name="T71" fmla="*/ 225 h 379"/>
                <a:gd name="T72" fmla="*/ 18 w 299"/>
                <a:gd name="T73" fmla="*/ 239 h 379"/>
                <a:gd name="T74" fmla="*/ 9 w 299"/>
                <a:gd name="T75" fmla="*/ 249 h 379"/>
                <a:gd name="T76" fmla="*/ 2 w 299"/>
                <a:gd name="T77" fmla="*/ 265 h 379"/>
                <a:gd name="T78" fmla="*/ 22 w 299"/>
                <a:gd name="T79" fmla="*/ 292 h 379"/>
                <a:gd name="T80" fmla="*/ 33 w 299"/>
                <a:gd name="T81" fmla="*/ 298 h 379"/>
                <a:gd name="T82" fmla="*/ 40 w 299"/>
                <a:gd name="T83" fmla="*/ 325 h 379"/>
                <a:gd name="T84" fmla="*/ 46 w 299"/>
                <a:gd name="T85" fmla="*/ 353 h 379"/>
                <a:gd name="T86" fmla="*/ 62 w 299"/>
                <a:gd name="T87" fmla="*/ 363 h 379"/>
                <a:gd name="T88" fmla="*/ 73 w 299"/>
                <a:gd name="T89" fmla="*/ 379 h 379"/>
                <a:gd name="T90" fmla="*/ 89 w 299"/>
                <a:gd name="T91" fmla="*/ 365 h 379"/>
                <a:gd name="T92" fmla="*/ 114 w 299"/>
                <a:gd name="T93" fmla="*/ 359 h 379"/>
                <a:gd name="T94" fmla="*/ 136 w 299"/>
                <a:gd name="T95" fmla="*/ 342 h 379"/>
                <a:gd name="T96" fmla="*/ 132 w 299"/>
                <a:gd name="T97" fmla="*/ 317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9" h="379">
                  <a:moveTo>
                    <a:pt x="132" y="317"/>
                  </a:moveTo>
                  <a:lnTo>
                    <a:pt x="132" y="317"/>
                  </a:lnTo>
                  <a:lnTo>
                    <a:pt x="135" y="311"/>
                  </a:lnTo>
                  <a:lnTo>
                    <a:pt x="139" y="304"/>
                  </a:lnTo>
                  <a:lnTo>
                    <a:pt x="150" y="291"/>
                  </a:lnTo>
                  <a:lnTo>
                    <a:pt x="150" y="291"/>
                  </a:lnTo>
                  <a:lnTo>
                    <a:pt x="153" y="289"/>
                  </a:lnTo>
                  <a:lnTo>
                    <a:pt x="156" y="288"/>
                  </a:lnTo>
                  <a:lnTo>
                    <a:pt x="168" y="289"/>
                  </a:lnTo>
                  <a:lnTo>
                    <a:pt x="182" y="292"/>
                  </a:lnTo>
                  <a:lnTo>
                    <a:pt x="182" y="292"/>
                  </a:lnTo>
                  <a:lnTo>
                    <a:pt x="181" y="280"/>
                  </a:lnTo>
                  <a:lnTo>
                    <a:pt x="179" y="276"/>
                  </a:lnTo>
                  <a:lnTo>
                    <a:pt x="176" y="270"/>
                  </a:lnTo>
                  <a:lnTo>
                    <a:pt x="176" y="270"/>
                  </a:lnTo>
                  <a:lnTo>
                    <a:pt x="176" y="267"/>
                  </a:lnTo>
                  <a:lnTo>
                    <a:pt x="176" y="262"/>
                  </a:lnTo>
                  <a:lnTo>
                    <a:pt x="181" y="255"/>
                  </a:lnTo>
                  <a:lnTo>
                    <a:pt x="188" y="246"/>
                  </a:lnTo>
                  <a:lnTo>
                    <a:pt x="196" y="240"/>
                  </a:lnTo>
                  <a:lnTo>
                    <a:pt x="196" y="240"/>
                  </a:lnTo>
                  <a:lnTo>
                    <a:pt x="206" y="231"/>
                  </a:lnTo>
                  <a:lnTo>
                    <a:pt x="212" y="227"/>
                  </a:lnTo>
                  <a:lnTo>
                    <a:pt x="219" y="224"/>
                  </a:lnTo>
                  <a:lnTo>
                    <a:pt x="219" y="224"/>
                  </a:lnTo>
                  <a:lnTo>
                    <a:pt x="227" y="221"/>
                  </a:lnTo>
                  <a:lnTo>
                    <a:pt x="234" y="217"/>
                  </a:lnTo>
                  <a:lnTo>
                    <a:pt x="246" y="208"/>
                  </a:lnTo>
                  <a:lnTo>
                    <a:pt x="246" y="208"/>
                  </a:lnTo>
                  <a:lnTo>
                    <a:pt x="249" y="205"/>
                  </a:lnTo>
                  <a:lnTo>
                    <a:pt x="249" y="200"/>
                  </a:lnTo>
                  <a:lnTo>
                    <a:pt x="249" y="191"/>
                  </a:lnTo>
                  <a:lnTo>
                    <a:pt x="246" y="174"/>
                  </a:lnTo>
                  <a:lnTo>
                    <a:pt x="246" y="174"/>
                  </a:lnTo>
                  <a:lnTo>
                    <a:pt x="245" y="166"/>
                  </a:lnTo>
                  <a:lnTo>
                    <a:pt x="245" y="160"/>
                  </a:lnTo>
                  <a:lnTo>
                    <a:pt x="245" y="156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48"/>
                  </a:lnTo>
                  <a:lnTo>
                    <a:pt x="245" y="147"/>
                  </a:lnTo>
                  <a:lnTo>
                    <a:pt x="248" y="144"/>
                  </a:lnTo>
                  <a:lnTo>
                    <a:pt x="256" y="141"/>
                  </a:lnTo>
                  <a:lnTo>
                    <a:pt x="256" y="141"/>
                  </a:lnTo>
                  <a:lnTo>
                    <a:pt x="258" y="141"/>
                  </a:lnTo>
                  <a:lnTo>
                    <a:pt x="261" y="143"/>
                  </a:lnTo>
                  <a:lnTo>
                    <a:pt x="264" y="145"/>
                  </a:lnTo>
                  <a:lnTo>
                    <a:pt x="271" y="156"/>
                  </a:lnTo>
                  <a:lnTo>
                    <a:pt x="271" y="156"/>
                  </a:lnTo>
                  <a:lnTo>
                    <a:pt x="273" y="157"/>
                  </a:lnTo>
                  <a:lnTo>
                    <a:pt x="276" y="157"/>
                  </a:lnTo>
                  <a:lnTo>
                    <a:pt x="282" y="156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89" y="151"/>
                  </a:lnTo>
                  <a:lnTo>
                    <a:pt x="286" y="150"/>
                  </a:lnTo>
                  <a:lnTo>
                    <a:pt x="283" y="143"/>
                  </a:lnTo>
                  <a:lnTo>
                    <a:pt x="282" y="135"/>
                  </a:lnTo>
                  <a:lnTo>
                    <a:pt x="282" y="128"/>
                  </a:lnTo>
                  <a:lnTo>
                    <a:pt x="282" y="128"/>
                  </a:lnTo>
                  <a:lnTo>
                    <a:pt x="285" y="123"/>
                  </a:lnTo>
                  <a:lnTo>
                    <a:pt x="288" y="117"/>
                  </a:lnTo>
                  <a:lnTo>
                    <a:pt x="289" y="114"/>
                  </a:lnTo>
                  <a:lnTo>
                    <a:pt x="289" y="111"/>
                  </a:lnTo>
                  <a:lnTo>
                    <a:pt x="289" y="111"/>
                  </a:lnTo>
                  <a:lnTo>
                    <a:pt x="286" y="108"/>
                  </a:lnTo>
                  <a:lnTo>
                    <a:pt x="285" y="105"/>
                  </a:lnTo>
                  <a:lnTo>
                    <a:pt x="283" y="104"/>
                  </a:lnTo>
                  <a:lnTo>
                    <a:pt x="283" y="104"/>
                  </a:lnTo>
                  <a:lnTo>
                    <a:pt x="285" y="101"/>
                  </a:lnTo>
                  <a:lnTo>
                    <a:pt x="289" y="100"/>
                  </a:lnTo>
                  <a:lnTo>
                    <a:pt x="296" y="94"/>
                  </a:lnTo>
                  <a:lnTo>
                    <a:pt x="296" y="94"/>
                  </a:lnTo>
                  <a:lnTo>
                    <a:pt x="298" y="91"/>
                  </a:lnTo>
                  <a:lnTo>
                    <a:pt x="299" y="88"/>
                  </a:lnTo>
                  <a:lnTo>
                    <a:pt x="299" y="76"/>
                  </a:lnTo>
                  <a:lnTo>
                    <a:pt x="298" y="64"/>
                  </a:lnTo>
                  <a:lnTo>
                    <a:pt x="296" y="60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4"/>
                  </a:lnTo>
                  <a:lnTo>
                    <a:pt x="290" y="51"/>
                  </a:lnTo>
                  <a:lnTo>
                    <a:pt x="289" y="43"/>
                  </a:lnTo>
                  <a:lnTo>
                    <a:pt x="286" y="30"/>
                  </a:lnTo>
                  <a:lnTo>
                    <a:pt x="286" y="30"/>
                  </a:lnTo>
                  <a:lnTo>
                    <a:pt x="285" y="14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68" y="3"/>
                  </a:lnTo>
                  <a:lnTo>
                    <a:pt x="259" y="8"/>
                  </a:lnTo>
                  <a:lnTo>
                    <a:pt x="259" y="8"/>
                  </a:lnTo>
                  <a:lnTo>
                    <a:pt x="240" y="15"/>
                  </a:lnTo>
                  <a:lnTo>
                    <a:pt x="230" y="21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193" y="43"/>
                  </a:lnTo>
                  <a:lnTo>
                    <a:pt x="182" y="49"/>
                  </a:lnTo>
                  <a:lnTo>
                    <a:pt x="172" y="52"/>
                  </a:lnTo>
                  <a:lnTo>
                    <a:pt x="172" y="52"/>
                  </a:lnTo>
                  <a:lnTo>
                    <a:pt x="157" y="55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26" y="67"/>
                  </a:lnTo>
                  <a:lnTo>
                    <a:pt x="119" y="76"/>
                  </a:lnTo>
                  <a:lnTo>
                    <a:pt x="113" y="85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07" y="100"/>
                  </a:lnTo>
                  <a:lnTo>
                    <a:pt x="102" y="104"/>
                  </a:lnTo>
                  <a:lnTo>
                    <a:pt x="97" y="105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2" y="108"/>
                  </a:lnTo>
                  <a:lnTo>
                    <a:pt x="79" y="107"/>
                  </a:lnTo>
                  <a:lnTo>
                    <a:pt x="74" y="104"/>
                  </a:lnTo>
                  <a:lnTo>
                    <a:pt x="73" y="104"/>
                  </a:lnTo>
                  <a:lnTo>
                    <a:pt x="73" y="103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61" y="120"/>
                  </a:lnTo>
                  <a:lnTo>
                    <a:pt x="57" y="131"/>
                  </a:lnTo>
                  <a:lnTo>
                    <a:pt x="52" y="141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39" y="156"/>
                  </a:lnTo>
                  <a:lnTo>
                    <a:pt x="24" y="165"/>
                  </a:lnTo>
                  <a:lnTo>
                    <a:pt x="11" y="174"/>
                  </a:lnTo>
                  <a:lnTo>
                    <a:pt x="6" y="178"/>
                  </a:lnTo>
                  <a:lnTo>
                    <a:pt x="5" y="181"/>
                  </a:lnTo>
                  <a:lnTo>
                    <a:pt x="5" y="181"/>
                  </a:lnTo>
                  <a:lnTo>
                    <a:pt x="6" y="187"/>
                  </a:lnTo>
                  <a:lnTo>
                    <a:pt x="9" y="193"/>
                  </a:lnTo>
                  <a:lnTo>
                    <a:pt x="14" y="200"/>
                  </a:lnTo>
                  <a:lnTo>
                    <a:pt x="15" y="206"/>
                  </a:lnTo>
                  <a:lnTo>
                    <a:pt x="15" y="206"/>
                  </a:lnTo>
                  <a:lnTo>
                    <a:pt x="14" y="209"/>
                  </a:lnTo>
                  <a:lnTo>
                    <a:pt x="11" y="212"/>
                  </a:lnTo>
                  <a:lnTo>
                    <a:pt x="6" y="215"/>
                  </a:lnTo>
                  <a:lnTo>
                    <a:pt x="5" y="218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14" y="231"/>
                  </a:lnTo>
                  <a:lnTo>
                    <a:pt x="18" y="237"/>
                  </a:lnTo>
                  <a:lnTo>
                    <a:pt x="18" y="239"/>
                  </a:lnTo>
                  <a:lnTo>
                    <a:pt x="18" y="242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9" y="249"/>
                  </a:lnTo>
                  <a:lnTo>
                    <a:pt x="3" y="255"/>
                  </a:lnTo>
                  <a:lnTo>
                    <a:pt x="0" y="261"/>
                  </a:lnTo>
                  <a:lnTo>
                    <a:pt x="0" y="264"/>
                  </a:lnTo>
                  <a:lnTo>
                    <a:pt x="2" y="265"/>
                  </a:lnTo>
                  <a:lnTo>
                    <a:pt x="2" y="265"/>
                  </a:lnTo>
                  <a:lnTo>
                    <a:pt x="12" y="282"/>
                  </a:lnTo>
                  <a:lnTo>
                    <a:pt x="18" y="289"/>
                  </a:lnTo>
                  <a:lnTo>
                    <a:pt x="22" y="292"/>
                  </a:lnTo>
                  <a:lnTo>
                    <a:pt x="25" y="294"/>
                  </a:lnTo>
                  <a:lnTo>
                    <a:pt x="25" y="294"/>
                  </a:lnTo>
                  <a:lnTo>
                    <a:pt x="30" y="295"/>
                  </a:lnTo>
                  <a:lnTo>
                    <a:pt x="33" y="298"/>
                  </a:lnTo>
                  <a:lnTo>
                    <a:pt x="37" y="305"/>
                  </a:lnTo>
                  <a:lnTo>
                    <a:pt x="40" y="314"/>
                  </a:lnTo>
                  <a:lnTo>
                    <a:pt x="40" y="325"/>
                  </a:lnTo>
                  <a:lnTo>
                    <a:pt x="40" y="325"/>
                  </a:lnTo>
                  <a:lnTo>
                    <a:pt x="37" y="341"/>
                  </a:lnTo>
                  <a:lnTo>
                    <a:pt x="37" y="341"/>
                  </a:lnTo>
                  <a:lnTo>
                    <a:pt x="42" y="347"/>
                  </a:lnTo>
                  <a:lnTo>
                    <a:pt x="46" y="353"/>
                  </a:lnTo>
                  <a:lnTo>
                    <a:pt x="46" y="353"/>
                  </a:lnTo>
                  <a:lnTo>
                    <a:pt x="49" y="356"/>
                  </a:lnTo>
                  <a:lnTo>
                    <a:pt x="52" y="359"/>
                  </a:lnTo>
                  <a:lnTo>
                    <a:pt x="62" y="363"/>
                  </a:lnTo>
                  <a:lnTo>
                    <a:pt x="62" y="363"/>
                  </a:lnTo>
                  <a:lnTo>
                    <a:pt x="67" y="368"/>
                  </a:lnTo>
                  <a:lnTo>
                    <a:pt x="70" y="372"/>
                  </a:lnTo>
                  <a:lnTo>
                    <a:pt x="73" y="379"/>
                  </a:lnTo>
                  <a:lnTo>
                    <a:pt x="73" y="379"/>
                  </a:lnTo>
                  <a:lnTo>
                    <a:pt x="85" y="368"/>
                  </a:lnTo>
                  <a:lnTo>
                    <a:pt x="85" y="368"/>
                  </a:lnTo>
                  <a:lnTo>
                    <a:pt x="89" y="365"/>
                  </a:lnTo>
                  <a:lnTo>
                    <a:pt x="98" y="362"/>
                  </a:lnTo>
                  <a:lnTo>
                    <a:pt x="105" y="360"/>
                  </a:lnTo>
                  <a:lnTo>
                    <a:pt x="114" y="359"/>
                  </a:lnTo>
                  <a:lnTo>
                    <a:pt x="114" y="359"/>
                  </a:lnTo>
                  <a:lnTo>
                    <a:pt x="129" y="350"/>
                  </a:lnTo>
                  <a:lnTo>
                    <a:pt x="134" y="345"/>
                  </a:lnTo>
                  <a:lnTo>
                    <a:pt x="136" y="342"/>
                  </a:lnTo>
                  <a:lnTo>
                    <a:pt x="136" y="342"/>
                  </a:lnTo>
                  <a:lnTo>
                    <a:pt x="136" y="337"/>
                  </a:lnTo>
                  <a:lnTo>
                    <a:pt x="134" y="331"/>
                  </a:lnTo>
                  <a:lnTo>
                    <a:pt x="132" y="323"/>
                  </a:lnTo>
                  <a:lnTo>
                    <a:pt x="132" y="317"/>
                  </a:lnTo>
                  <a:lnTo>
                    <a:pt x="132" y="31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0" name="Freeform 49">
              <a:extLst>
                <a:ext uri="{FF2B5EF4-FFF2-40B4-BE49-F238E27FC236}">
                  <a16:creationId xmlns:a16="http://schemas.microsoft.com/office/drawing/2014/main" id="{AC3B661B-DCDF-C240-B734-32799606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60600" y="7373938"/>
              <a:ext cx="631825" cy="1411287"/>
            </a:xfrm>
            <a:custGeom>
              <a:avLst/>
              <a:gdLst>
                <a:gd name="T0" fmla="*/ 105 w 398"/>
                <a:gd name="T1" fmla="*/ 785 h 889"/>
                <a:gd name="T2" fmla="*/ 101 w 398"/>
                <a:gd name="T3" fmla="*/ 834 h 889"/>
                <a:gd name="T4" fmla="*/ 74 w 398"/>
                <a:gd name="T5" fmla="*/ 861 h 889"/>
                <a:gd name="T6" fmla="*/ 128 w 398"/>
                <a:gd name="T7" fmla="*/ 889 h 889"/>
                <a:gd name="T8" fmla="*/ 107 w 398"/>
                <a:gd name="T9" fmla="*/ 871 h 889"/>
                <a:gd name="T10" fmla="*/ 90 w 398"/>
                <a:gd name="T11" fmla="*/ 864 h 889"/>
                <a:gd name="T12" fmla="*/ 123 w 398"/>
                <a:gd name="T13" fmla="*/ 852 h 889"/>
                <a:gd name="T14" fmla="*/ 141 w 398"/>
                <a:gd name="T15" fmla="*/ 813 h 889"/>
                <a:gd name="T16" fmla="*/ 150 w 398"/>
                <a:gd name="T17" fmla="*/ 782 h 889"/>
                <a:gd name="T18" fmla="*/ 173 w 398"/>
                <a:gd name="T19" fmla="*/ 779 h 889"/>
                <a:gd name="T20" fmla="*/ 182 w 398"/>
                <a:gd name="T21" fmla="*/ 741 h 889"/>
                <a:gd name="T22" fmla="*/ 200 w 398"/>
                <a:gd name="T23" fmla="*/ 741 h 889"/>
                <a:gd name="T24" fmla="*/ 212 w 398"/>
                <a:gd name="T25" fmla="*/ 775 h 889"/>
                <a:gd name="T26" fmla="*/ 244 w 398"/>
                <a:gd name="T27" fmla="*/ 759 h 889"/>
                <a:gd name="T28" fmla="*/ 283 w 398"/>
                <a:gd name="T29" fmla="*/ 759 h 889"/>
                <a:gd name="T30" fmla="*/ 342 w 398"/>
                <a:gd name="T31" fmla="*/ 664 h 889"/>
                <a:gd name="T32" fmla="*/ 376 w 398"/>
                <a:gd name="T33" fmla="*/ 565 h 889"/>
                <a:gd name="T34" fmla="*/ 364 w 398"/>
                <a:gd name="T35" fmla="*/ 511 h 889"/>
                <a:gd name="T36" fmla="*/ 379 w 398"/>
                <a:gd name="T37" fmla="*/ 474 h 889"/>
                <a:gd name="T38" fmla="*/ 385 w 398"/>
                <a:gd name="T39" fmla="*/ 397 h 889"/>
                <a:gd name="T40" fmla="*/ 398 w 398"/>
                <a:gd name="T41" fmla="*/ 209 h 889"/>
                <a:gd name="T42" fmla="*/ 382 w 398"/>
                <a:gd name="T43" fmla="*/ 148 h 889"/>
                <a:gd name="T44" fmla="*/ 381 w 398"/>
                <a:gd name="T45" fmla="*/ 64 h 889"/>
                <a:gd name="T46" fmla="*/ 367 w 398"/>
                <a:gd name="T47" fmla="*/ 76 h 889"/>
                <a:gd name="T48" fmla="*/ 353 w 398"/>
                <a:gd name="T49" fmla="*/ 70 h 889"/>
                <a:gd name="T50" fmla="*/ 353 w 398"/>
                <a:gd name="T51" fmla="*/ 52 h 889"/>
                <a:gd name="T52" fmla="*/ 330 w 398"/>
                <a:gd name="T53" fmla="*/ 34 h 889"/>
                <a:gd name="T54" fmla="*/ 326 w 398"/>
                <a:gd name="T55" fmla="*/ 18 h 889"/>
                <a:gd name="T56" fmla="*/ 301 w 398"/>
                <a:gd name="T57" fmla="*/ 12 h 889"/>
                <a:gd name="T58" fmla="*/ 280 w 398"/>
                <a:gd name="T59" fmla="*/ 0 h 889"/>
                <a:gd name="T60" fmla="*/ 279 w 398"/>
                <a:gd name="T61" fmla="*/ 30 h 889"/>
                <a:gd name="T62" fmla="*/ 244 w 398"/>
                <a:gd name="T63" fmla="*/ 55 h 889"/>
                <a:gd name="T64" fmla="*/ 244 w 398"/>
                <a:gd name="T65" fmla="*/ 89 h 889"/>
                <a:gd name="T66" fmla="*/ 271 w 398"/>
                <a:gd name="T67" fmla="*/ 91 h 889"/>
                <a:gd name="T68" fmla="*/ 273 w 398"/>
                <a:gd name="T69" fmla="*/ 101 h 889"/>
                <a:gd name="T70" fmla="*/ 305 w 398"/>
                <a:gd name="T71" fmla="*/ 94 h 889"/>
                <a:gd name="T72" fmla="*/ 317 w 398"/>
                <a:gd name="T73" fmla="*/ 89 h 889"/>
                <a:gd name="T74" fmla="*/ 329 w 398"/>
                <a:gd name="T75" fmla="*/ 106 h 889"/>
                <a:gd name="T76" fmla="*/ 319 w 398"/>
                <a:gd name="T77" fmla="*/ 125 h 889"/>
                <a:gd name="T78" fmla="*/ 301 w 398"/>
                <a:gd name="T79" fmla="*/ 150 h 889"/>
                <a:gd name="T80" fmla="*/ 280 w 398"/>
                <a:gd name="T81" fmla="*/ 156 h 889"/>
                <a:gd name="T82" fmla="*/ 268 w 398"/>
                <a:gd name="T83" fmla="*/ 183 h 889"/>
                <a:gd name="T84" fmla="*/ 276 w 398"/>
                <a:gd name="T85" fmla="*/ 197 h 889"/>
                <a:gd name="T86" fmla="*/ 264 w 398"/>
                <a:gd name="T87" fmla="*/ 227 h 889"/>
                <a:gd name="T88" fmla="*/ 265 w 398"/>
                <a:gd name="T89" fmla="*/ 240 h 889"/>
                <a:gd name="T90" fmla="*/ 231 w 398"/>
                <a:gd name="T91" fmla="*/ 249 h 889"/>
                <a:gd name="T92" fmla="*/ 207 w 398"/>
                <a:gd name="T93" fmla="*/ 258 h 889"/>
                <a:gd name="T94" fmla="*/ 191 w 398"/>
                <a:gd name="T95" fmla="*/ 271 h 889"/>
                <a:gd name="T96" fmla="*/ 179 w 398"/>
                <a:gd name="T97" fmla="*/ 251 h 889"/>
                <a:gd name="T98" fmla="*/ 156 w 398"/>
                <a:gd name="T99" fmla="*/ 264 h 889"/>
                <a:gd name="T100" fmla="*/ 135 w 398"/>
                <a:gd name="T101" fmla="*/ 274 h 889"/>
                <a:gd name="T102" fmla="*/ 138 w 398"/>
                <a:gd name="T103" fmla="*/ 301 h 889"/>
                <a:gd name="T104" fmla="*/ 144 w 398"/>
                <a:gd name="T105" fmla="*/ 328 h 889"/>
                <a:gd name="T106" fmla="*/ 102 w 398"/>
                <a:gd name="T107" fmla="*/ 369 h 889"/>
                <a:gd name="T108" fmla="*/ 120 w 398"/>
                <a:gd name="T109" fmla="*/ 403 h 889"/>
                <a:gd name="T110" fmla="*/ 113 w 398"/>
                <a:gd name="T111" fmla="*/ 440 h 889"/>
                <a:gd name="T112" fmla="*/ 120 w 398"/>
                <a:gd name="T113" fmla="*/ 486 h 889"/>
                <a:gd name="T114" fmla="*/ 126 w 398"/>
                <a:gd name="T115" fmla="*/ 522 h 889"/>
                <a:gd name="T116" fmla="*/ 90 w 398"/>
                <a:gd name="T117" fmla="*/ 538 h 889"/>
                <a:gd name="T118" fmla="*/ 36 w 398"/>
                <a:gd name="T119" fmla="*/ 547 h 889"/>
                <a:gd name="T120" fmla="*/ 13 w 398"/>
                <a:gd name="T121" fmla="*/ 612 h 889"/>
                <a:gd name="T122" fmla="*/ 11 w 398"/>
                <a:gd name="T123" fmla="*/ 648 h 889"/>
                <a:gd name="T124" fmla="*/ 55 w 398"/>
                <a:gd name="T125" fmla="*/ 70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889">
                  <a:moveTo>
                    <a:pt x="77" y="747"/>
                  </a:moveTo>
                  <a:lnTo>
                    <a:pt x="77" y="747"/>
                  </a:lnTo>
                  <a:lnTo>
                    <a:pt x="92" y="762"/>
                  </a:lnTo>
                  <a:lnTo>
                    <a:pt x="101" y="772"/>
                  </a:lnTo>
                  <a:lnTo>
                    <a:pt x="104" y="778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10" y="803"/>
                  </a:lnTo>
                  <a:lnTo>
                    <a:pt x="111" y="816"/>
                  </a:lnTo>
                  <a:lnTo>
                    <a:pt x="110" y="822"/>
                  </a:lnTo>
                  <a:lnTo>
                    <a:pt x="108" y="828"/>
                  </a:lnTo>
                  <a:lnTo>
                    <a:pt x="105" y="833"/>
                  </a:lnTo>
                  <a:lnTo>
                    <a:pt x="101" y="834"/>
                  </a:lnTo>
                  <a:lnTo>
                    <a:pt x="101" y="834"/>
                  </a:lnTo>
                  <a:lnTo>
                    <a:pt x="90" y="839"/>
                  </a:lnTo>
                  <a:lnTo>
                    <a:pt x="83" y="843"/>
                  </a:lnTo>
                  <a:lnTo>
                    <a:pt x="80" y="846"/>
                  </a:lnTo>
                  <a:lnTo>
                    <a:pt x="77" y="850"/>
                  </a:lnTo>
                  <a:lnTo>
                    <a:pt x="74" y="855"/>
                  </a:lnTo>
                  <a:lnTo>
                    <a:pt x="74" y="861"/>
                  </a:lnTo>
                  <a:lnTo>
                    <a:pt x="74" y="861"/>
                  </a:lnTo>
                  <a:lnTo>
                    <a:pt x="74" y="862"/>
                  </a:lnTo>
                  <a:lnTo>
                    <a:pt x="76" y="865"/>
                  </a:lnTo>
                  <a:lnTo>
                    <a:pt x="80" y="870"/>
                  </a:lnTo>
                  <a:lnTo>
                    <a:pt x="88" y="874"/>
                  </a:lnTo>
                  <a:lnTo>
                    <a:pt x="95" y="879"/>
                  </a:lnTo>
                  <a:lnTo>
                    <a:pt x="114" y="885"/>
                  </a:lnTo>
                  <a:lnTo>
                    <a:pt x="128" y="889"/>
                  </a:lnTo>
                  <a:lnTo>
                    <a:pt x="128" y="889"/>
                  </a:lnTo>
                  <a:lnTo>
                    <a:pt x="128" y="886"/>
                  </a:lnTo>
                  <a:lnTo>
                    <a:pt x="128" y="883"/>
                  </a:lnTo>
                  <a:lnTo>
                    <a:pt x="128" y="883"/>
                  </a:lnTo>
                  <a:lnTo>
                    <a:pt x="119" y="876"/>
                  </a:lnTo>
                  <a:lnTo>
                    <a:pt x="113" y="873"/>
                  </a:lnTo>
                  <a:lnTo>
                    <a:pt x="107" y="871"/>
                  </a:lnTo>
                  <a:lnTo>
                    <a:pt x="107" y="871"/>
                  </a:lnTo>
                  <a:lnTo>
                    <a:pt x="101" y="871"/>
                  </a:lnTo>
                  <a:lnTo>
                    <a:pt x="96" y="871"/>
                  </a:lnTo>
                  <a:lnTo>
                    <a:pt x="95" y="870"/>
                  </a:lnTo>
                  <a:lnTo>
                    <a:pt x="95" y="870"/>
                  </a:lnTo>
                  <a:lnTo>
                    <a:pt x="90" y="865"/>
                  </a:lnTo>
                  <a:lnTo>
                    <a:pt x="90" y="864"/>
                  </a:lnTo>
                  <a:lnTo>
                    <a:pt x="90" y="864"/>
                  </a:lnTo>
                  <a:lnTo>
                    <a:pt x="93" y="862"/>
                  </a:lnTo>
                  <a:lnTo>
                    <a:pt x="98" y="861"/>
                  </a:lnTo>
                  <a:lnTo>
                    <a:pt x="107" y="855"/>
                  </a:lnTo>
                  <a:lnTo>
                    <a:pt x="107" y="855"/>
                  </a:lnTo>
                  <a:lnTo>
                    <a:pt x="113" y="853"/>
                  </a:lnTo>
                  <a:lnTo>
                    <a:pt x="123" y="852"/>
                  </a:lnTo>
                  <a:lnTo>
                    <a:pt x="133" y="850"/>
                  </a:lnTo>
                  <a:lnTo>
                    <a:pt x="139" y="848"/>
                  </a:lnTo>
                  <a:lnTo>
                    <a:pt x="139" y="848"/>
                  </a:lnTo>
                  <a:lnTo>
                    <a:pt x="141" y="845"/>
                  </a:lnTo>
                  <a:lnTo>
                    <a:pt x="142" y="840"/>
                  </a:lnTo>
                  <a:lnTo>
                    <a:pt x="142" y="830"/>
                  </a:lnTo>
                  <a:lnTo>
                    <a:pt x="141" y="813"/>
                  </a:lnTo>
                  <a:lnTo>
                    <a:pt x="141" y="813"/>
                  </a:lnTo>
                  <a:lnTo>
                    <a:pt x="142" y="800"/>
                  </a:lnTo>
                  <a:lnTo>
                    <a:pt x="142" y="791"/>
                  </a:lnTo>
                  <a:lnTo>
                    <a:pt x="144" y="784"/>
                  </a:lnTo>
                  <a:lnTo>
                    <a:pt x="144" y="784"/>
                  </a:lnTo>
                  <a:lnTo>
                    <a:pt x="145" y="782"/>
                  </a:lnTo>
                  <a:lnTo>
                    <a:pt x="150" y="782"/>
                  </a:lnTo>
                  <a:lnTo>
                    <a:pt x="160" y="785"/>
                  </a:lnTo>
                  <a:lnTo>
                    <a:pt x="160" y="785"/>
                  </a:lnTo>
                  <a:lnTo>
                    <a:pt x="166" y="785"/>
                  </a:lnTo>
                  <a:lnTo>
                    <a:pt x="169" y="785"/>
                  </a:lnTo>
                  <a:lnTo>
                    <a:pt x="169" y="785"/>
                  </a:lnTo>
                  <a:lnTo>
                    <a:pt x="170" y="784"/>
                  </a:lnTo>
                  <a:lnTo>
                    <a:pt x="173" y="779"/>
                  </a:lnTo>
                  <a:lnTo>
                    <a:pt x="176" y="775"/>
                  </a:lnTo>
                  <a:lnTo>
                    <a:pt x="179" y="768"/>
                  </a:lnTo>
                  <a:lnTo>
                    <a:pt x="179" y="768"/>
                  </a:lnTo>
                  <a:lnTo>
                    <a:pt x="181" y="759"/>
                  </a:lnTo>
                  <a:lnTo>
                    <a:pt x="181" y="751"/>
                  </a:lnTo>
                  <a:lnTo>
                    <a:pt x="181" y="744"/>
                  </a:lnTo>
                  <a:lnTo>
                    <a:pt x="182" y="741"/>
                  </a:lnTo>
                  <a:lnTo>
                    <a:pt x="182" y="741"/>
                  </a:lnTo>
                  <a:lnTo>
                    <a:pt x="190" y="738"/>
                  </a:lnTo>
                  <a:lnTo>
                    <a:pt x="194" y="736"/>
                  </a:lnTo>
                  <a:lnTo>
                    <a:pt x="197" y="736"/>
                  </a:lnTo>
                  <a:lnTo>
                    <a:pt x="197" y="736"/>
                  </a:lnTo>
                  <a:lnTo>
                    <a:pt x="199" y="738"/>
                  </a:lnTo>
                  <a:lnTo>
                    <a:pt x="200" y="741"/>
                  </a:lnTo>
                  <a:lnTo>
                    <a:pt x="200" y="748"/>
                  </a:lnTo>
                  <a:lnTo>
                    <a:pt x="202" y="768"/>
                  </a:lnTo>
                  <a:lnTo>
                    <a:pt x="202" y="768"/>
                  </a:lnTo>
                  <a:lnTo>
                    <a:pt x="202" y="771"/>
                  </a:lnTo>
                  <a:lnTo>
                    <a:pt x="203" y="773"/>
                  </a:lnTo>
                  <a:lnTo>
                    <a:pt x="207" y="775"/>
                  </a:lnTo>
                  <a:lnTo>
                    <a:pt x="212" y="775"/>
                  </a:lnTo>
                  <a:lnTo>
                    <a:pt x="216" y="775"/>
                  </a:lnTo>
                  <a:lnTo>
                    <a:pt x="216" y="775"/>
                  </a:lnTo>
                  <a:lnTo>
                    <a:pt x="222" y="772"/>
                  </a:lnTo>
                  <a:lnTo>
                    <a:pt x="228" y="766"/>
                  </a:lnTo>
                  <a:lnTo>
                    <a:pt x="240" y="759"/>
                  </a:lnTo>
                  <a:lnTo>
                    <a:pt x="240" y="759"/>
                  </a:lnTo>
                  <a:lnTo>
                    <a:pt x="244" y="759"/>
                  </a:lnTo>
                  <a:lnTo>
                    <a:pt x="250" y="762"/>
                  </a:lnTo>
                  <a:lnTo>
                    <a:pt x="256" y="766"/>
                  </a:lnTo>
                  <a:lnTo>
                    <a:pt x="264" y="768"/>
                  </a:lnTo>
                  <a:lnTo>
                    <a:pt x="264" y="768"/>
                  </a:lnTo>
                  <a:lnTo>
                    <a:pt x="270" y="766"/>
                  </a:lnTo>
                  <a:lnTo>
                    <a:pt x="274" y="765"/>
                  </a:lnTo>
                  <a:lnTo>
                    <a:pt x="283" y="759"/>
                  </a:lnTo>
                  <a:lnTo>
                    <a:pt x="283" y="759"/>
                  </a:lnTo>
                  <a:lnTo>
                    <a:pt x="292" y="747"/>
                  </a:lnTo>
                  <a:lnTo>
                    <a:pt x="305" y="726"/>
                  </a:lnTo>
                  <a:lnTo>
                    <a:pt x="329" y="691"/>
                  </a:lnTo>
                  <a:lnTo>
                    <a:pt x="329" y="691"/>
                  </a:lnTo>
                  <a:lnTo>
                    <a:pt x="335" y="680"/>
                  </a:lnTo>
                  <a:lnTo>
                    <a:pt x="342" y="664"/>
                  </a:lnTo>
                  <a:lnTo>
                    <a:pt x="353" y="639"/>
                  </a:lnTo>
                  <a:lnTo>
                    <a:pt x="353" y="639"/>
                  </a:lnTo>
                  <a:lnTo>
                    <a:pt x="363" y="609"/>
                  </a:lnTo>
                  <a:lnTo>
                    <a:pt x="370" y="590"/>
                  </a:lnTo>
                  <a:lnTo>
                    <a:pt x="375" y="575"/>
                  </a:lnTo>
                  <a:lnTo>
                    <a:pt x="375" y="575"/>
                  </a:lnTo>
                  <a:lnTo>
                    <a:pt x="376" y="565"/>
                  </a:lnTo>
                  <a:lnTo>
                    <a:pt x="376" y="556"/>
                  </a:lnTo>
                  <a:lnTo>
                    <a:pt x="375" y="550"/>
                  </a:lnTo>
                  <a:lnTo>
                    <a:pt x="373" y="544"/>
                  </a:lnTo>
                  <a:lnTo>
                    <a:pt x="373" y="544"/>
                  </a:lnTo>
                  <a:lnTo>
                    <a:pt x="367" y="531"/>
                  </a:lnTo>
                  <a:lnTo>
                    <a:pt x="366" y="520"/>
                  </a:lnTo>
                  <a:lnTo>
                    <a:pt x="364" y="511"/>
                  </a:lnTo>
                  <a:lnTo>
                    <a:pt x="364" y="511"/>
                  </a:lnTo>
                  <a:lnTo>
                    <a:pt x="366" y="502"/>
                  </a:lnTo>
                  <a:lnTo>
                    <a:pt x="367" y="494"/>
                  </a:lnTo>
                  <a:lnTo>
                    <a:pt x="372" y="488"/>
                  </a:lnTo>
                  <a:lnTo>
                    <a:pt x="375" y="480"/>
                  </a:lnTo>
                  <a:lnTo>
                    <a:pt x="375" y="480"/>
                  </a:lnTo>
                  <a:lnTo>
                    <a:pt x="379" y="474"/>
                  </a:lnTo>
                  <a:lnTo>
                    <a:pt x="382" y="467"/>
                  </a:lnTo>
                  <a:lnTo>
                    <a:pt x="384" y="460"/>
                  </a:lnTo>
                  <a:lnTo>
                    <a:pt x="384" y="454"/>
                  </a:lnTo>
                  <a:lnTo>
                    <a:pt x="384" y="454"/>
                  </a:lnTo>
                  <a:lnTo>
                    <a:pt x="384" y="427"/>
                  </a:lnTo>
                  <a:lnTo>
                    <a:pt x="385" y="397"/>
                  </a:lnTo>
                  <a:lnTo>
                    <a:pt x="385" y="397"/>
                  </a:lnTo>
                  <a:lnTo>
                    <a:pt x="390" y="354"/>
                  </a:lnTo>
                  <a:lnTo>
                    <a:pt x="393" y="328"/>
                  </a:lnTo>
                  <a:lnTo>
                    <a:pt x="394" y="310"/>
                  </a:lnTo>
                  <a:lnTo>
                    <a:pt x="394" y="310"/>
                  </a:lnTo>
                  <a:lnTo>
                    <a:pt x="397" y="291"/>
                  </a:lnTo>
                  <a:lnTo>
                    <a:pt x="398" y="260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7" y="197"/>
                  </a:lnTo>
                  <a:lnTo>
                    <a:pt x="394" y="183"/>
                  </a:lnTo>
                  <a:lnTo>
                    <a:pt x="390" y="166"/>
                  </a:lnTo>
                  <a:lnTo>
                    <a:pt x="385" y="154"/>
                  </a:lnTo>
                  <a:lnTo>
                    <a:pt x="385" y="154"/>
                  </a:lnTo>
                  <a:lnTo>
                    <a:pt x="382" y="148"/>
                  </a:lnTo>
                  <a:lnTo>
                    <a:pt x="382" y="143"/>
                  </a:lnTo>
                  <a:lnTo>
                    <a:pt x="382" y="131"/>
                  </a:lnTo>
                  <a:lnTo>
                    <a:pt x="382" y="119"/>
                  </a:lnTo>
                  <a:lnTo>
                    <a:pt x="382" y="110"/>
                  </a:lnTo>
                  <a:lnTo>
                    <a:pt x="382" y="110"/>
                  </a:lnTo>
                  <a:lnTo>
                    <a:pt x="381" y="91"/>
                  </a:lnTo>
                  <a:lnTo>
                    <a:pt x="381" y="64"/>
                  </a:lnTo>
                  <a:lnTo>
                    <a:pt x="378" y="64"/>
                  </a:lnTo>
                  <a:lnTo>
                    <a:pt x="378" y="64"/>
                  </a:lnTo>
                  <a:lnTo>
                    <a:pt x="375" y="66"/>
                  </a:lnTo>
                  <a:lnTo>
                    <a:pt x="373" y="69"/>
                  </a:lnTo>
                  <a:lnTo>
                    <a:pt x="369" y="74"/>
                  </a:lnTo>
                  <a:lnTo>
                    <a:pt x="369" y="74"/>
                  </a:lnTo>
                  <a:lnTo>
                    <a:pt x="367" y="76"/>
                  </a:lnTo>
                  <a:lnTo>
                    <a:pt x="364" y="77"/>
                  </a:lnTo>
                  <a:lnTo>
                    <a:pt x="361" y="76"/>
                  </a:lnTo>
                  <a:lnTo>
                    <a:pt x="360" y="73"/>
                  </a:lnTo>
                  <a:lnTo>
                    <a:pt x="360" y="73"/>
                  </a:lnTo>
                  <a:lnTo>
                    <a:pt x="357" y="70"/>
                  </a:lnTo>
                  <a:lnTo>
                    <a:pt x="356" y="70"/>
                  </a:lnTo>
                  <a:lnTo>
                    <a:pt x="353" y="70"/>
                  </a:lnTo>
                  <a:lnTo>
                    <a:pt x="348" y="70"/>
                  </a:lnTo>
                  <a:lnTo>
                    <a:pt x="348" y="70"/>
                  </a:lnTo>
                  <a:lnTo>
                    <a:pt x="347" y="67"/>
                  </a:lnTo>
                  <a:lnTo>
                    <a:pt x="347" y="66"/>
                  </a:lnTo>
                  <a:lnTo>
                    <a:pt x="351" y="58"/>
                  </a:lnTo>
                  <a:lnTo>
                    <a:pt x="351" y="58"/>
                  </a:lnTo>
                  <a:lnTo>
                    <a:pt x="353" y="52"/>
                  </a:lnTo>
                  <a:lnTo>
                    <a:pt x="354" y="48"/>
                  </a:lnTo>
                  <a:lnTo>
                    <a:pt x="353" y="39"/>
                  </a:lnTo>
                  <a:lnTo>
                    <a:pt x="353" y="39"/>
                  </a:lnTo>
                  <a:lnTo>
                    <a:pt x="351" y="36"/>
                  </a:lnTo>
                  <a:lnTo>
                    <a:pt x="350" y="36"/>
                  </a:lnTo>
                  <a:lnTo>
                    <a:pt x="344" y="34"/>
                  </a:lnTo>
                  <a:lnTo>
                    <a:pt x="330" y="34"/>
                  </a:lnTo>
                  <a:lnTo>
                    <a:pt x="330" y="34"/>
                  </a:lnTo>
                  <a:lnTo>
                    <a:pt x="326" y="33"/>
                  </a:lnTo>
                  <a:lnTo>
                    <a:pt x="324" y="31"/>
                  </a:lnTo>
                  <a:lnTo>
                    <a:pt x="324" y="27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18"/>
                  </a:lnTo>
                  <a:lnTo>
                    <a:pt x="324" y="15"/>
                  </a:lnTo>
                  <a:lnTo>
                    <a:pt x="321" y="12"/>
                  </a:lnTo>
                  <a:lnTo>
                    <a:pt x="316" y="9"/>
                  </a:lnTo>
                  <a:lnTo>
                    <a:pt x="316" y="9"/>
                  </a:lnTo>
                  <a:lnTo>
                    <a:pt x="310" y="9"/>
                  </a:lnTo>
                  <a:lnTo>
                    <a:pt x="305" y="11"/>
                  </a:lnTo>
                  <a:lnTo>
                    <a:pt x="301" y="12"/>
                  </a:lnTo>
                  <a:lnTo>
                    <a:pt x="296" y="12"/>
                  </a:lnTo>
                  <a:lnTo>
                    <a:pt x="296" y="12"/>
                  </a:lnTo>
                  <a:lnTo>
                    <a:pt x="292" y="11"/>
                  </a:lnTo>
                  <a:lnTo>
                    <a:pt x="289" y="8"/>
                  </a:lnTo>
                  <a:lnTo>
                    <a:pt x="284" y="3"/>
                  </a:lnTo>
                  <a:lnTo>
                    <a:pt x="280" y="0"/>
                  </a:lnTo>
                  <a:lnTo>
                    <a:pt x="280" y="0"/>
                  </a:lnTo>
                  <a:lnTo>
                    <a:pt x="279" y="0"/>
                  </a:lnTo>
                  <a:lnTo>
                    <a:pt x="277" y="2"/>
                  </a:lnTo>
                  <a:lnTo>
                    <a:pt x="277" y="8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6"/>
                  </a:lnTo>
                  <a:lnTo>
                    <a:pt x="279" y="30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64" y="48"/>
                  </a:lnTo>
                  <a:lnTo>
                    <a:pt x="258" y="51"/>
                  </a:lnTo>
                  <a:lnTo>
                    <a:pt x="250" y="54"/>
                  </a:lnTo>
                  <a:lnTo>
                    <a:pt x="244" y="55"/>
                  </a:lnTo>
                  <a:lnTo>
                    <a:pt x="244" y="55"/>
                  </a:lnTo>
                  <a:lnTo>
                    <a:pt x="243" y="57"/>
                  </a:lnTo>
                  <a:lnTo>
                    <a:pt x="242" y="60"/>
                  </a:lnTo>
                  <a:lnTo>
                    <a:pt x="240" y="69"/>
                  </a:lnTo>
                  <a:lnTo>
                    <a:pt x="240" y="79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4" y="89"/>
                  </a:lnTo>
                  <a:lnTo>
                    <a:pt x="246" y="91"/>
                  </a:lnTo>
                  <a:lnTo>
                    <a:pt x="255" y="91"/>
                  </a:lnTo>
                  <a:lnTo>
                    <a:pt x="262" y="89"/>
                  </a:lnTo>
                  <a:lnTo>
                    <a:pt x="270" y="89"/>
                  </a:lnTo>
                  <a:lnTo>
                    <a:pt x="270" y="89"/>
                  </a:lnTo>
                  <a:lnTo>
                    <a:pt x="271" y="89"/>
                  </a:lnTo>
                  <a:lnTo>
                    <a:pt x="271" y="91"/>
                  </a:lnTo>
                  <a:lnTo>
                    <a:pt x="270" y="94"/>
                  </a:lnTo>
                  <a:lnTo>
                    <a:pt x="267" y="97"/>
                  </a:lnTo>
                  <a:lnTo>
                    <a:pt x="265" y="101"/>
                  </a:lnTo>
                  <a:lnTo>
                    <a:pt x="265" y="101"/>
                  </a:lnTo>
                  <a:lnTo>
                    <a:pt x="265" y="101"/>
                  </a:lnTo>
                  <a:lnTo>
                    <a:pt x="267" y="103"/>
                  </a:lnTo>
                  <a:lnTo>
                    <a:pt x="273" y="101"/>
                  </a:lnTo>
                  <a:lnTo>
                    <a:pt x="284" y="97"/>
                  </a:lnTo>
                  <a:lnTo>
                    <a:pt x="284" y="97"/>
                  </a:lnTo>
                  <a:lnTo>
                    <a:pt x="287" y="95"/>
                  </a:lnTo>
                  <a:lnTo>
                    <a:pt x="290" y="95"/>
                  </a:lnTo>
                  <a:lnTo>
                    <a:pt x="301" y="95"/>
                  </a:lnTo>
                  <a:lnTo>
                    <a:pt x="301" y="95"/>
                  </a:lnTo>
                  <a:lnTo>
                    <a:pt x="305" y="94"/>
                  </a:lnTo>
                  <a:lnTo>
                    <a:pt x="307" y="91"/>
                  </a:lnTo>
                  <a:lnTo>
                    <a:pt x="308" y="88"/>
                  </a:lnTo>
                  <a:lnTo>
                    <a:pt x="311" y="85"/>
                  </a:lnTo>
                  <a:lnTo>
                    <a:pt x="311" y="85"/>
                  </a:lnTo>
                  <a:lnTo>
                    <a:pt x="314" y="85"/>
                  </a:lnTo>
                  <a:lnTo>
                    <a:pt x="316" y="85"/>
                  </a:lnTo>
                  <a:lnTo>
                    <a:pt x="317" y="89"/>
                  </a:lnTo>
                  <a:lnTo>
                    <a:pt x="319" y="100"/>
                  </a:lnTo>
                  <a:lnTo>
                    <a:pt x="319" y="100"/>
                  </a:lnTo>
                  <a:lnTo>
                    <a:pt x="320" y="101"/>
                  </a:lnTo>
                  <a:lnTo>
                    <a:pt x="323" y="103"/>
                  </a:lnTo>
                  <a:lnTo>
                    <a:pt x="326" y="104"/>
                  </a:lnTo>
                  <a:lnTo>
                    <a:pt x="329" y="106"/>
                  </a:lnTo>
                  <a:lnTo>
                    <a:pt x="329" y="106"/>
                  </a:lnTo>
                  <a:lnTo>
                    <a:pt x="329" y="109"/>
                  </a:lnTo>
                  <a:lnTo>
                    <a:pt x="327" y="111"/>
                  </a:lnTo>
                  <a:lnTo>
                    <a:pt x="326" y="114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1" y="122"/>
                  </a:lnTo>
                  <a:lnTo>
                    <a:pt x="319" y="125"/>
                  </a:lnTo>
                  <a:lnTo>
                    <a:pt x="314" y="126"/>
                  </a:lnTo>
                  <a:lnTo>
                    <a:pt x="310" y="128"/>
                  </a:lnTo>
                  <a:lnTo>
                    <a:pt x="310" y="128"/>
                  </a:lnTo>
                  <a:lnTo>
                    <a:pt x="308" y="128"/>
                  </a:lnTo>
                  <a:lnTo>
                    <a:pt x="307" y="129"/>
                  </a:lnTo>
                  <a:lnTo>
                    <a:pt x="304" y="137"/>
                  </a:lnTo>
                  <a:lnTo>
                    <a:pt x="301" y="150"/>
                  </a:lnTo>
                  <a:lnTo>
                    <a:pt x="301" y="150"/>
                  </a:lnTo>
                  <a:lnTo>
                    <a:pt x="299" y="153"/>
                  </a:lnTo>
                  <a:lnTo>
                    <a:pt x="296" y="154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83" y="154"/>
                  </a:lnTo>
                  <a:lnTo>
                    <a:pt x="280" y="156"/>
                  </a:lnTo>
                  <a:lnTo>
                    <a:pt x="276" y="160"/>
                  </a:lnTo>
                  <a:lnTo>
                    <a:pt x="267" y="169"/>
                  </a:lnTo>
                  <a:lnTo>
                    <a:pt x="267" y="169"/>
                  </a:lnTo>
                  <a:lnTo>
                    <a:pt x="265" y="171"/>
                  </a:lnTo>
                  <a:lnTo>
                    <a:pt x="265" y="174"/>
                  </a:lnTo>
                  <a:lnTo>
                    <a:pt x="267" y="178"/>
                  </a:lnTo>
                  <a:lnTo>
                    <a:pt x="268" y="183"/>
                  </a:lnTo>
                  <a:lnTo>
                    <a:pt x="267" y="188"/>
                  </a:lnTo>
                  <a:lnTo>
                    <a:pt x="267" y="188"/>
                  </a:lnTo>
                  <a:lnTo>
                    <a:pt x="267" y="191"/>
                  </a:lnTo>
                  <a:lnTo>
                    <a:pt x="268" y="194"/>
                  </a:lnTo>
                  <a:lnTo>
                    <a:pt x="271" y="196"/>
                  </a:lnTo>
                  <a:lnTo>
                    <a:pt x="276" y="197"/>
                  </a:lnTo>
                  <a:lnTo>
                    <a:pt x="276" y="197"/>
                  </a:lnTo>
                  <a:lnTo>
                    <a:pt x="277" y="202"/>
                  </a:lnTo>
                  <a:lnTo>
                    <a:pt x="277" y="205"/>
                  </a:lnTo>
                  <a:lnTo>
                    <a:pt x="276" y="217"/>
                  </a:lnTo>
                  <a:lnTo>
                    <a:pt x="276" y="217"/>
                  </a:lnTo>
                  <a:lnTo>
                    <a:pt x="274" y="223"/>
                  </a:lnTo>
                  <a:lnTo>
                    <a:pt x="273" y="224"/>
                  </a:lnTo>
                  <a:lnTo>
                    <a:pt x="264" y="227"/>
                  </a:lnTo>
                  <a:lnTo>
                    <a:pt x="264" y="227"/>
                  </a:lnTo>
                  <a:lnTo>
                    <a:pt x="262" y="228"/>
                  </a:lnTo>
                  <a:lnTo>
                    <a:pt x="261" y="230"/>
                  </a:lnTo>
                  <a:lnTo>
                    <a:pt x="262" y="233"/>
                  </a:lnTo>
                  <a:lnTo>
                    <a:pt x="264" y="237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2" y="242"/>
                  </a:lnTo>
                  <a:lnTo>
                    <a:pt x="258" y="243"/>
                  </a:lnTo>
                  <a:lnTo>
                    <a:pt x="242" y="243"/>
                  </a:lnTo>
                  <a:lnTo>
                    <a:pt x="242" y="243"/>
                  </a:lnTo>
                  <a:lnTo>
                    <a:pt x="237" y="245"/>
                  </a:lnTo>
                  <a:lnTo>
                    <a:pt x="234" y="245"/>
                  </a:lnTo>
                  <a:lnTo>
                    <a:pt x="231" y="249"/>
                  </a:lnTo>
                  <a:lnTo>
                    <a:pt x="228" y="252"/>
                  </a:lnTo>
                  <a:lnTo>
                    <a:pt x="227" y="255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16" y="260"/>
                  </a:lnTo>
                  <a:lnTo>
                    <a:pt x="212" y="260"/>
                  </a:lnTo>
                  <a:lnTo>
                    <a:pt x="207" y="258"/>
                  </a:lnTo>
                  <a:lnTo>
                    <a:pt x="203" y="260"/>
                  </a:lnTo>
                  <a:lnTo>
                    <a:pt x="203" y="260"/>
                  </a:lnTo>
                  <a:lnTo>
                    <a:pt x="199" y="263"/>
                  </a:lnTo>
                  <a:lnTo>
                    <a:pt x="197" y="265"/>
                  </a:lnTo>
                  <a:lnTo>
                    <a:pt x="194" y="270"/>
                  </a:lnTo>
                  <a:lnTo>
                    <a:pt x="191" y="271"/>
                  </a:lnTo>
                  <a:lnTo>
                    <a:pt x="191" y="271"/>
                  </a:lnTo>
                  <a:lnTo>
                    <a:pt x="190" y="271"/>
                  </a:lnTo>
                  <a:lnTo>
                    <a:pt x="188" y="271"/>
                  </a:lnTo>
                  <a:lnTo>
                    <a:pt x="187" y="268"/>
                  </a:lnTo>
                  <a:lnTo>
                    <a:pt x="185" y="258"/>
                  </a:lnTo>
                  <a:lnTo>
                    <a:pt x="185" y="258"/>
                  </a:lnTo>
                  <a:lnTo>
                    <a:pt x="184" y="254"/>
                  </a:lnTo>
                  <a:lnTo>
                    <a:pt x="179" y="251"/>
                  </a:lnTo>
                  <a:lnTo>
                    <a:pt x="169" y="246"/>
                  </a:lnTo>
                  <a:lnTo>
                    <a:pt x="169" y="246"/>
                  </a:lnTo>
                  <a:lnTo>
                    <a:pt x="167" y="246"/>
                  </a:lnTo>
                  <a:lnTo>
                    <a:pt x="165" y="246"/>
                  </a:lnTo>
                  <a:lnTo>
                    <a:pt x="162" y="251"/>
                  </a:lnTo>
                  <a:lnTo>
                    <a:pt x="156" y="264"/>
                  </a:lnTo>
                  <a:lnTo>
                    <a:pt x="156" y="264"/>
                  </a:lnTo>
                  <a:lnTo>
                    <a:pt x="154" y="267"/>
                  </a:lnTo>
                  <a:lnTo>
                    <a:pt x="150" y="268"/>
                  </a:lnTo>
                  <a:lnTo>
                    <a:pt x="139" y="267"/>
                  </a:lnTo>
                  <a:lnTo>
                    <a:pt x="139" y="267"/>
                  </a:lnTo>
                  <a:lnTo>
                    <a:pt x="138" y="267"/>
                  </a:lnTo>
                  <a:lnTo>
                    <a:pt x="136" y="268"/>
                  </a:lnTo>
                  <a:lnTo>
                    <a:pt x="135" y="274"/>
                  </a:lnTo>
                  <a:lnTo>
                    <a:pt x="135" y="280"/>
                  </a:lnTo>
                  <a:lnTo>
                    <a:pt x="136" y="286"/>
                  </a:lnTo>
                  <a:lnTo>
                    <a:pt x="136" y="286"/>
                  </a:lnTo>
                  <a:lnTo>
                    <a:pt x="138" y="294"/>
                  </a:lnTo>
                  <a:lnTo>
                    <a:pt x="138" y="300"/>
                  </a:lnTo>
                  <a:lnTo>
                    <a:pt x="138" y="300"/>
                  </a:lnTo>
                  <a:lnTo>
                    <a:pt x="138" y="301"/>
                  </a:lnTo>
                  <a:lnTo>
                    <a:pt x="139" y="304"/>
                  </a:lnTo>
                  <a:lnTo>
                    <a:pt x="142" y="310"/>
                  </a:lnTo>
                  <a:lnTo>
                    <a:pt x="147" y="317"/>
                  </a:lnTo>
                  <a:lnTo>
                    <a:pt x="147" y="320"/>
                  </a:lnTo>
                  <a:lnTo>
                    <a:pt x="147" y="322"/>
                  </a:lnTo>
                  <a:lnTo>
                    <a:pt x="147" y="322"/>
                  </a:lnTo>
                  <a:lnTo>
                    <a:pt x="144" y="328"/>
                  </a:lnTo>
                  <a:lnTo>
                    <a:pt x="138" y="33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13" y="353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2" y="369"/>
                  </a:lnTo>
                  <a:lnTo>
                    <a:pt x="104" y="374"/>
                  </a:lnTo>
                  <a:lnTo>
                    <a:pt x="107" y="377"/>
                  </a:lnTo>
                  <a:lnTo>
                    <a:pt x="107" y="377"/>
                  </a:lnTo>
                  <a:lnTo>
                    <a:pt x="113" y="381"/>
                  </a:lnTo>
                  <a:lnTo>
                    <a:pt x="116" y="387"/>
                  </a:lnTo>
                  <a:lnTo>
                    <a:pt x="119" y="393"/>
                  </a:lnTo>
                  <a:lnTo>
                    <a:pt x="120" y="403"/>
                  </a:lnTo>
                  <a:lnTo>
                    <a:pt x="120" y="403"/>
                  </a:lnTo>
                  <a:lnTo>
                    <a:pt x="119" y="412"/>
                  </a:lnTo>
                  <a:lnTo>
                    <a:pt x="117" y="420"/>
                  </a:lnTo>
                  <a:lnTo>
                    <a:pt x="114" y="425"/>
                  </a:lnTo>
                  <a:lnTo>
                    <a:pt x="113" y="431"/>
                  </a:lnTo>
                  <a:lnTo>
                    <a:pt x="113" y="431"/>
                  </a:lnTo>
                  <a:lnTo>
                    <a:pt x="113" y="440"/>
                  </a:lnTo>
                  <a:lnTo>
                    <a:pt x="116" y="449"/>
                  </a:lnTo>
                  <a:lnTo>
                    <a:pt x="122" y="460"/>
                  </a:lnTo>
                  <a:lnTo>
                    <a:pt x="122" y="460"/>
                  </a:lnTo>
                  <a:lnTo>
                    <a:pt x="123" y="462"/>
                  </a:lnTo>
                  <a:lnTo>
                    <a:pt x="125" y="468"/>
                  </a:lnTo>
                  <a:lnTo>
                    <a:pt x="123" y="477"/>
                  </a:lnTo>
                  <a:lnTo>
                    <a:pt x="120" y="486"/>
                  </a:lnTo>
                  <a:lnTo>
                    <a:pt x="120" y="486"/>
                  </a:lnTo>
                  <a:lnTo>
                    <a:pt x="116" y="494"/>
                  </a:lnTo>
                  <a:lnTo>
                    <a:pt x="114" y="499"/>
                  </a:lnTo>
                  <a:lnTo>
                    <a:pt x="116" y="504"/>
                  </a:lnTo>
                  <a:lnTo>
                    <a:pt x="120" y="513"/>
                  </a:lnTo>
                  <a:lnTo>
                    <a:pt x="120" y="513"/>
                  </a:lnTo>
                  <a:lnTo>
                    <a:pt x="126" y="522"/>
                  </a:lnTo>
                  <a:lnTo>
                    <a:pt x="128" y="525"/>
                  </a:lnTo>
                  <a:lnTo>
                    <a:pt x="126" y="528"/>
                  </a:lnTo>
                  <a:lnTo>
                    <a:pt x="123" y="531"/>
                  </a:lnTo>
                  <a:lnTo>
                    <a:pt x="117" y="534"/>
                  </a:lnTo>
                  <a:lnTo>
                    <a:pt x="107" y="535"/>
                  </a:lnTo>
                  <a:lnTo>
                    <a:pt x="90" y="538"/>
                  </a:lnTo>
                  <a:lnTo>
                    <a:pt x="90" y="538"/>
                  </a:lnTo>
                  <a:lnTo>
                    <a:pt x="74" y="539"/>
                  </a:lnTo>
                  <a:lnTo>
                    <a:pt x="62" y="541"/>
                  </a:lnTo>
                  <a:lnTo>
                    <a:pt x="46" y="541"/>
                  </a:lnTo>
                  <a:lnTo>
                    <a:pt x="42" y="541"/>
                  </a:lnTo>
                  <a:lnTo>
                    <a:pt x="39" y="541"/>
                  </a:lnTo>
                  <a:lnTo>
                    <a:pt x="36" y="542"/>
                  </a:lnTo>
                  <a:lnTo>
                    <a:pt x="36" y="547"/>
                  </a:lnTo>
                  <a:lnTo>
                    <a:pt x="36" y="547"/>
                  </a:lnTo>
                  <a:lnTo>
                    <a:pt x="33" y="568"/>
                  </a:lnTo>
                  <a:lnTo>
                    <a:pt x="30" y="590"/>
                  </a:lnTo>
                  <a:lnTo>
                    <a:pt x="30" y="590"/>
                  </a:lnTo>
                  <a:lnTo>
                    <a:pt x="28" y="594"/>
                  </a:lnTo>
                  <a:lnTo>
                    <a:pt x="24" y="600"/>
                  </a:lnTo>
                  <a:lnTo>
                    <a:pt x="13" y="612"/>
                  </a:lnTo>
                  <a:lnTo>
                    <a:pt x="3" y="624"/>
                  </a:lnTo>
                  <a:lnTo>
                    <a:pt x="0" y="630"/>
                  </a:lnTo>
                  <a:lnTo>
                    <a:pt x="0" y="633"/>
                  </a:lnTo>
                  <a:lnTo>
                    <a:pt x="0" y="633"/>
                  </a:lnTo>
                  <a:lnTo>
                    <a:pt x="2" y="639"/>
                  </a:lnTo>
                  <a:lnTo>
                    <a:pt x="5" y="643"/>
                  </a:lnTo>
                  <a:lnTo>
                    <a:pt x="11" y="648"/>
                  </a:lnTo>
                  <a:lnTo>
                    <a:pt x="19" y="654"/>
                  </a:lnTo>
                  <a:lnTo>
                    <a:pt x="19" y="654"/>
                  </a:lnTo>
                  <a:lnTo>
                    <a:pt x="25" y="656"/>
                  </a:lnTo>
                  <a:lnTo>
                    <a:pt x="30" y="662"/>
                  </a:lnTo>
                  <a:lnTo>
                    <a:pt x="39" y="674"/>
                  </a:lnTo>
                  <a:lnTo>
                    <a:pt x="55" y="704"/>
                  </a:lnTo>
                  <a:lnTo>
                    <a:pt x="55" y="704"/>
                  </a:lnTo>
                  <a:lnTo>
                    <a:pt x="62" y="717"/>
                  </a:lnTo>
                  <a:lnTo>
                    <a:pt x="68" y="729"/>
                  </a:lnTo>
                  <a:lnTo>
                    <a:pt x="73" y="739"/>
                  </a:lnTo>
                  <a:lnTo>
                    <a:pt x="77" y="747"/>
                  </a:lnTo>
                  <a:lnTo>
                    <a:pt x="77" y="74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1" name="Freeform 50">
              <a:extLst>
                <a:ext uri="{FF2B5EF4-FFF2-40B4-BE49-F238E27FC236}">
                  <a16:creationId xmlns:a16="http://schemas.microsoft.com/office/drawing/2014/main" id="{0F96F8ED-EDCE-2F4D-AB26-6F7F5B3162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0400" y="5041900"/>
              <a:ext cx="927100" cy="955675"/>
            </a:xfrm>
            <a:custGeom>
              <a:avLst/>
              <a:gdLst>
                <a:gd name="T0" fmla="*/ 310 w 584"/>
                <a:gd name="T1" fmla="*/ 65 h 602"/>
                <a:gd name="T2" fmla="*/ 290 w 584"/>
                <a:gd name="T3" fmla="*/ 67 h 602"/>
                <a:gd name="T4" fmla="*/ 295 w 584"/>
                <a:gd name="T5" fmla="*/ 43 h 602"/>
                <a:gd name="T6" fmla="*/ 264 w 584"/>
                <a:gd name="T7" fmla="*/ 27 h 602"/>
                <a:gd name="T8" fmla="*/ 249 w 584"/>
                <a:gd name="T9" fmla="*/ 18 h 602"/>
                <a:gd name="T10" fmla="*/ 199 w 584"/>
                <a:gd name="T11" fmla="*/ 14 h 602"/>
                <a:gd name="T12" fmla="*/ 206 w 584"/>
                <a:gd name="T13" fmla="*/ 36 h 602"/>
                <a:gd name="T14" fmla="*/ 203 w 584"/>
                <a:gd name="T15" fmla="*/ 55 h 602"/>
                <a:gd name="T16" fmla="*/ 200 w 584"/>
                <a:gd name="T17" fmla="*/ 88 h 602"/>
                <a:gd name="T18" fmla="*/ 237 w 584"/>
                <a:gd name="T19" fmla="*/ 108 h 602"/>
                <a:gd name="T20" fmla="*/ 231 w 584"/>
                <a:gd name="T21" fmla="*/ 138 h 602"/>
                <a:gd name="T22" fmla="*/ 193 w 584"/>
                <a:gd name="T23" fmla="*/ 160 h 602"/>
                <a:gd name="T24" fmla="*/ 169 w 584"/>
                <a:gd name="T25" fmla="*/ 175 h 602"/>
                <a:gd name="T26" fmla="*/ 162 w 584"/>
                <a:gd name="T27" fmla="*/ 203 h 602"/>
                <a:gd name="T28" fmla="*/ 160 w 584"/>
                <a:gd name="T29" fmla="*/ 225 h 602"/>
                <a:gd name="T30" fmla="*/ 151 w 584"/>
                <a:gd name="T31" fmla="*/ 249 h 602"/>
                <a:gd name="T32" fmla="*/ 134 w 584"/>
                <a:gd name="T33" fmla="*/ 256 h 602"/>
                <a:gd name="T34" fmla="*/ 120 w 584"/>
                <a:gd name="T35" fmla="*/ 282 h 602"/>
                <a:gd name="T36" fmla="*/ 105 w 584"/>
                <a:gd name="T37" fmla="*/ 307 h 602"/>
                <a:gd name="T38" fmla="*/ 80 w 584"/>
                <a:gd name="T39" fmla="*/ 354 h 602"/>
                <a:gd name="T40" fmla="*/ 65 w 584"/>
                <a:gd name="T41" fmla="*/ 373 h 602"/>
                <a:gd name="T42" fmla="*/ 57 w 584"/>
                <a:gd name="T43" fmla="*/ 390 h 602"/>
                <a:gd name="T44" fmla="*/ 36 w 584"/>
                <a:gd name="T45" fmla="*/ 413 h 602"/>
                <a:gd name="T46" fmla="*/ 9 w 584"/>
                <a:gd name="T47" fmla="*/ 416 h 602"/>
                <a:gd name="T48" fmla="*/ 0 w 584"/>
                <a:gd name="T49" fmla="*/ 419 h 602"/>
                <a:gd name="T50" fmla="*/ 19 w 584"/>
                <a:gd name="T51" fmla="*/ 471 h 602"/>
                <a:gd name="T52" fmla="*/ 24 w 584"/>
                <a:gd name="T53" fmla="*/ 493 h 602"/>
                <a:gd name="T54" fmla="*/ 37 w 584"/>
                <a:gd name="T55" fmla="*/ 520 h 602"/>
                <a:gd name="T56" fmla="*/ 62 w 584"/>
                <a:gd name="T57" fmla="*/ 529 h 602"/>
                <a:gd name="T58" fmla="*/ 74 w 584"/>
                <a:gd name="T59" fmla="*/ 554 h 602"/>
                <a:gd name="T60" fmla="*/ 101 w 584"/>
                <a:gd name="T61" fmla="*/ 572 h 602"/>
                <a:gd name="T62" fmla="*/ 131 w 584"/>
                <a:gd name="T63" fmla="*/ 600 h 602"/>
                <a:gd name="T64" fmla="*/ 169 w 584"/>
                <a:gd name="T65" fmla="*/ 553 h 602"/>
                <a:gd name="T66" fmla="*/ 182 w 584"/>
                <a:gd name="T67" fmla="*/ 542 h 602"/>
                <a:gd name="T68" fmla="*/ 225 w 584"/>
                <a:gd name="T69" fmla="*/ 559 h 602"/>
                <a:gd name="T70" fmla="*/ 237 w 584"/>
                <a:gd name="T71" fmla="*/ 544 h 602"/>
                <a:gd name="T72" fmla="*/ 249 w 584"/>
                <a:gd name="T73" fmla="*/ 513 h 602"/>
                <a:gd name="T74" fmla="*/ 271 w 584"/>
                <a:gd name="T75" fmla="*/ 511 h 602"/>
                <a:gd name="T76" fmla="*/ 301 w 584"/>
                <a:gd name="T77" fmla="*/ 523 h 602"/>
                <a:gd name="T78" fmla="*/ 308 w 584"/>
                <a:gd name="T79" fmla="*/ 496 h 602"/>
                <a:gd name="T80" fmla="*/ 338 w 584"/>
                <a:gd name="T81" fmla="*/ 471 h 602"/>
                <a:gd name="T82" fmla="*/ 353 w 584"/>
                <a:gd name="T83" fmla="*/ 479 h 602"/>
                <a:gd name="T84" fmla="*/ 387 w 584"/>
                <a:gd name="T85" fmla="*/ 461 h 602"/>
                <a:gd name="T86" fmla="*/ 381 w 584"/>
                <a:gd name="T87" fmla="*/ 437 h 602"/>
                <a:gd name="T88" fmla="*/ 406 w 584"/>
                <a:gd name="T89" fmla="*/ 416 h 602"/>
                <a:gd name="T90" fmla="*/ 402 w 584"/>
                <a:gd name="T91" fmla="*/ 382 h 602"/>
                <a:gd name="T92" fmla="*/ 409 w 584"/>
                <a:gd name="T93" fmla="*/ 362 h 602"/>
                <a:gd name="T94" fmla="*/ 399 w 584"/>
                <a:gd name="T95" fmla="*/ 338 h 602"/>
                <a:gd name="T96" fmla="*/ 430 w 584"/>
                <a:gd name="T97" fmla="*/ 328 h 602"/>
                <a:gd name="T98" fmla="*/ 462 w 584"/>
                <a:gd name="T99" fmla="*/ 319 h 602"/>
                <a:gd name="T100" fmla="*/ 520 w 584"/>
                <a:gd name="T101" fmla="*/ 282 h 602"/>
                <a:gd name="T102" fmla="*/ 545 w 584"/>
                <a:gd name="T103" fmla="*/ 248 h 602"/>
                <a:gd name="T104" fmla="*/ 564 w 584"/>
                <a:gd name="T105" fmla="*/ 206 h 602"/>
                <a:gd name="T106" fmla="*/ 584 w 584"/>
                <a:gd name="T107" fmla="*/ 188 h 602"/>
                <a:gd name="T108" fmla="*/ 566 w 584"/>
                <a:gd name="T109" fmla="*/ 179 h 602"/>
                <a:gd name="T110" fmla="*/ 495 w 584"/>
                <a:gd name="T111" fmla="*/ 129 h 602"/>
                <a:gd name="T112" fmla="*/ 459 w 584"/>
                <a:gd name="T113" fmla="*/ 117 h 602"/>
                <a:gd name="T114" fmla="*/ 444 w 584"/>
                <a:gd name="T115" fmla="*/ 105 h 602"/>
                <a:gd name="T116" fmla="*/ 415 w 584"/>
                <a:gd name="T117" fmla="*/ 116 h 602"/>
                <a:gd name="T118" fmla="*/ 402 w 584"/>
                <a:gd name="T119" fmla="*/ 105 h 602"/>
                <a:gd name="T120" fmla="*/ 388 w 584"/>
                <a:gd name="T121" fmla="*/ 110 h 602"/>
                <a:gd name="T122" fmla="*/ 369 w 584"/>
                <a:gd name="T123" fmla="*/ 105 h 602"/>
                <a:gd name="T124" fmla="*/ 351 w 584"/>
                <a:gd name="T125" fmla="*/ 1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4" h="602">
                  <a:moveTo>
                    <a:pt x="347" y="105"/>
                  </a:moveTo>
                  <a:lnTo>
                    <a:pt x="347" y="105"/>
                  </a:lnTo>
                  <a:lnTo>
                    <a:pt x="342" y="101"/>
                  </a:lnTo>
                  <a:lnTo>
                    <a:pt x="342" y="101"/>
                  </a:lnTo>
                  <a:lnTo>
                    <a:pt x="326" y="82"/>
                  </a:lnTo>
                  <a:lnTo>
                    <a:pt x="310" y="65"/>
                  </a:lnTo>
                  <a:lnTo>
                    <a:pt x="310" y="65"/>
                  </a:lnTo>
                  <a:lnTo>
                    <a:pt x="307" y="64"/>
                  </a:lnTo>
                  <a:lnTo>
                    <a:pt x="305" y="64"/>
                  </a:lnTo>
                  <a:lnTo>
                    <a:pt x="299" y="70"/>
                  </a:lnTo>
                  <a:lnTo>
                    <a:pt x="299" y="70"/>
                  </a:lnTo>
                  <a:lnTo>
                    <a:pt x="296" y="70"/>
                  </a:lnTo>
                  <a:lnTo>
                    <a:pt x="295" y="70"/>
                  </a:lnTo>
                  <a:lnTo>
                    <a:pt x="290" y="67"/>
                  </a:lnTo>
                  <a:lnTo>
                    <a:pt x="283" y="59"/>
                  </a:lnTo>
                  <a:lnTo>
                    <a:pt x="283" y="59"/>
                  </a:lnTo>
                  <a:lnTo>
                    <a:pt x="283" y="56"/>
                  </a:lnTo>
                  <a:lnTo>
                    <a:pt x="283" y="55"/>
                  </a:lnTo>
                  <a:lnTo>
                    <a:pt x="288" y="51"/>
                  </a:lnTo>
                  <a:lnTo>
                    <a:pt x="295" y="43"/>
                  </a:lnTo>
                  <a:lnTo>
                    <a:pt x="295" y="43"/>
                  </a:lnTo>
                  <a:lnTo>
                    <a:pt x="293" y="40"/>
                  </a:lnTo>
                  <a:lnTo>
                    <a:pt x="286" y="34"/>
                  </a:lnTo>
                  <a:lnTo>
                    <a:pt x="279" y="28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68" y="25"/>
                  </a:lnTo>
                  <a:lnTo>
                    <a:pt x="264" y="27"/>
                  </a:lnTo>
                  <a:lnTo>
                    <a:pt x="264" y="27"/>
                  </a:lnTo>
                  <a:lnTo>
                    <a:pt x="261" y="27"/>
                  </a:lnTo>
                  <a:lnTo>
                    <a:pt x="259" y="25"/>
                  </a:lnTo>
                  <a:lnTo>
                    <a:pt x="256" y="22"/>
                  </a:lnTo>
                  <a:lnTo>
                    <a:pt x="253" y="19"/>
                  </a:lnTo>
                  <a:lnTo>
                    <a:pt x="253" y="19"/>
                  </a:lnTo>
                  <a:lnTo>
                    <a:pt x="249" y="18"/>
                  </a:lnTo>
                  <a:lnTo>
                    <a:pt x="246" y="19"/>
                  </a:lnTo>
                  <a:lnTo>
                    <a:pt x="245" y="21"/>
                  </a:lnTo>
                  <a:lnTo>
                    <a:pt x="243" y="19"/>
                  </a:lnTo>
                  <a:lnTo>
                    <a:pt x="243" y="19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7" y="17"/>
                  </a:lnTo>
                  <a:lnTo>
                    <a:pt x="200" y="19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8" y="34"/>
                  </a:lnTo>
                  <a:lnTo>
                    <a:pt x="206" y="36"/>
                  </a:lnTo>
                  <a:lnTo>
                    <a:pt x="205" y="37"/>
                  </a:lnTo>
                  <a:lnTo>
                    <a:pt x="203" y="40"/>
                  </a:lnTo>
                  <a:lnTo>
                    <a:pt x="203" y="40"/>
                  </a:lnTo>
                  <a:lnTo>
                    <a:pt x="203" y="45"/>
                  </a:lnTo>
                  <a:lnTo>
                    <a:pt x="203" y="48"/>
                  </a:lnTo>
                  <a:lnTo>
                    <a:pt x="205" y="52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2" y="59"/>
                  </a:lnTo>
                  <a:lnTo>
                    <a:pt x="199" y="62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7" y="77"/>
                  </a:lnTo>
                  <a:lnTo>
                    <a:pt x="200" y="88"/>
                  </a:lnTo>
                  <a:lnTo>
                    <a:pt x="200" y="88"/>
                  </a:lnTo>
                  <a:lnTo>
                    <a:pt x="203" y="92"/>
                  </a:lnTo>
                  <a:lnTo>
                    <a:pt x="208" y="95"/>
                  </a:lnTo>
                  <a:lnTo>
                    <a:pt x="219" y="102"/>
                  </a:lnTo>
                  <a:lnTo>
                    <a:pt x="230" y="107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40" y="110"/>
                  </a:lnTo>
                  <a:lnTo>
                    <a:pt x="239" y="113"/>
                  </a:lnTo>
                  <a:lnTo>
                    <a:pt x="237" y="117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4" y="129"/>
                  </a:lnTo>
                  <a:lnTo>
                    <a:pt x="231" y="138"/>
                  </a:lnTo>
                  <a:lnTo>
                    <a:pt x="227" y="147"/>
                  </a:lnTo>
                  <a:lnTo>
                    <a:pt x="222" y="153"/>
                  </a:lnTo>
                  <a:lnTo>
                    <a:pt x="222" y="153"/>
                  </a:lnTo>
                  <a:lnTo>
                    <a:pt x="221" y="154"/>
                  </a:lnTo>
                  <a:lnTo>
                    <a:pt x="216" y="157"/>
                  </a:lnTo>
                  <a:lnTo>
                    <a:pt x="208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0" y="162"/>
                  </a:lnTo>
                  <a:lnTo>
                    <a:pt x="185" y="165"/>
                  </a:lnTo>
                  <a:lnTo>
                    <a:pt x="181" y="169"/>
                  </a:lnTo>
                  <a:lnTo>
                    <a:pt x="176" y="172"/>
                  </a:lnTo>
                  <a:lnTo>
                    <a:pt x="176" y="172"/>
                  </a:lnTo>
                  <a:lnTo>
                    <a:pt x="169" y="175"/>
                  </a:lnTo>
                  <a:lnTo>
                    <a:pt x="165" y="179"/>
                  </a:lnTo>
                  <a:lnTo>
                    <a:pt x="160" y="184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6" y="193"/>
                  </a:lnTo>
                  <a:lnTo>
                    <a:pt x="157" y="196"/>
                  </a:lnTo>
                  <a:lnTo>
                    <a:pt x="162" y="203"/>
                  </a:lnTo>
                  <a:lnTo>
                    <a:pt x="169" y="211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21"/>
                  </a:lnTo>
                  <a:lnTo>
                    <a:pt x="172" y="222"/>
                  </a:lnTo>
                  <a:lnTo>
                    <a:pt x="160" y="225"/>
                  </a:lnTo>
                  <a:lnTo>
                    <a:pt x="160" y="225"/>
                  </a:lnTo>
                  <a:lnTo>
                    <a:pt x="156" y="227"/>
                  </a:lnTo>
                  <a:lnTo>
                    <a:pt x="154" y="230"/>
                  </a:lnTo>
                  <a:lnTo>
                    <a:pt x="153" y="234"/>
                  </a:lnTo>
                  <a:lnTo>
                    <a:pt x="151" y="240"/>
                  </a:lnTo>
                  <a:lnTo>
                    <a:pt x="153" y="246"/>
                  </a:lnTo>
                  <a:lnTo>
                    <a:pt x="153" y="246"/>
                  </a:lnTo>
                  <a:lnTo>
                    <a:pt x="151" y="249"/>
                  </a:lnTo>
                  <a:lnTo>
                    <a:pt x="147" y="252"/>
                  </a:lnTo>
                  <a:lnTo>
                    <a:pt x="147" y="252"/>
                  </a:lnTo>
                  <a:lnTo>
                    <a:pt x="147" y="252"/>
                  </a:lnTo>
                  <a:lnTo>
                    <a:pt x="347" y="105"/>
                  </a:lnTo>
                  <a:close/>
                  <a:moveTo>
                    <a:pt x="147" y="252"/>
                  </a:moveTo>
                  <a:lnTo>
                    <a:pt x="147" y="252"/>
                  </a:lnTo>
                  <a:lnTo>
                    <a:pt x="134" y="256"/>
                  </a:lnTo>
                  <a:lnTo>
                    <a:pt x="134" y="256"/>
                  </a:lnTo>
                  <a:lnTo>
                    <a:pt x="128" y="261"/>
                  </a:lnTo>
                  <a:lnTo>
                    <a:pt x="120" y="267"/>
                  </a:lnTo>
                  <a:lnTo>
                    <a:pt x="114" y="273"/>
                  </a:lnTo>
                  <a:lnTo>
                    <a:pt x="114" y="273"/>
                  </a:lnTo>
                  <a:lnTo>
                    <a:pt x="119" y="279"/>
                  </a:lnTo>
                  <a:lnTo>
                    <a:pt x="120" y="282"/>
                  </a:lnTo>
                  <a:lnTo>
                    <a:pt x="119" y="286"/>
                  </a:lnTo>
                  <a:lnTo>
                    <a:pt x="119" y="286"/>
                  </a:lnTo>
                  <a:lnTo>
                    <a:pt x="114" y="290"/>
                  </a:lnTo>
                  <a:lnTo>
                    <a:pt x="110" y="296"/>
                  </a:lnTo>
                  <a:lnTo>
                    <a:pt x="107" y="301"/>
                  </a:lnTo>
                  <a:lnTo>
                    <a:pt x="105" y="307"/>
                  </a:lnTo>
                  <a:lnTo>
                    <a:pt x="105" y="307"/>
                  </a:lnTo>
                  <a:lnTo>
                    <a:pt x="105" y="320"/>
                  </a:lnTo>
                  <a:lnTo>
                    <a:pt x="104" y="326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91" y="345"/>
                  </a:lnTo>
                  <a:lnTo>
                    <a:pt x="80" y="354"/>
                  </a:lnTo>
                  <a:lnTo>
                    <a:pt x="80" y="354"/>
                  </a:lnTo>
                  <a:lnTo>
                    <a:pt x="79" y="359"/>
                  </a:lnTo>
                  <a:lnTo>
                    <a:pt x="77" y="362"/>
                  </a:lnTo>
                  <a:lnTo>
                    <a:pt x="76" y="369"/>
                  </a:lnTo>
                  <a:lnTo>
                    <a:pt x="76" y="369"/>
                  </a:lnTo>
                  <a:lnTo>
                    <a:pt x="74" y="370"/>
                  </a:lnTo>
                  <a:lnTo>
                    <a:pt x="71" y="372"/>
                  </a:lnTo>
                  <a:lnTo>
                    <a:pt x="65" y="373"/>
                  </a:lnTo>
                  <a:lnTo>
                    <a:pt x="58" y="375"/>
                  </a:lnTo>
                  <a:lnTo>
                    <a:pt x="55" y="376"/>
                  </a:lnTo>
                  <a:lnTo>
                    <a:pt x="55" y="376"/>
                  </a:lnTo>
                  <a:lnTo>
                    <a:pt x="54" y="379"/>
                  </a:lnTo>
                  <a:lnTo>
                    <a:pt x="55" y="382"/>
                  </a:lnTo>
                  <a:lnTo>
                    <a:pt x="57" y="390"/>
                  </a:lnTo>
                  <a:lnTo>
                    <a:pt x="57" y="390"/>
                  </a:lnTo>
                  <a:lnTo>
                    <a:pt x="58" y="403"/>
                  </a:lnTo>
                  <a:lnTo>
                    <a:pt x="57" y="409"/>
                  </a:lnTo>
                  <a:lnTo>
                    <a:pt x="55" y="412"/>
                  </a:lnTo>
                  <a:lnTo>
                    <a:pt x="55" y="412"/>
                  </a:lnTo>
                  <a:lnTo>
                    <a:pt x="55" y="412"/>
                  </a:lnTo>
                  <a:lnTo>
                    <a:pt x="43" y="413"/>
                  </a:lnTo>
                  <a:lnTo>
                    <a:pt x="36" y="413"/>
                  </a:lnTo>
                  <a:lnTo>
                    <a:pt x="28" y="415"/>
                  </a:lnTo>
                  <a:lnTo>
                    <a:pt x="28" y="415"/>
                  </a:lnTo>
                  <a:lnTo>
                    <a:pt x="17" y="419"/>
                  </a:lnTo>
                  <a:lnTo>
                    <a:pt x="11" y="419"/>
                  </a:lnTo>
                  <a:lnTo>
                    <a:pt x="9" y="418"/>
                  </a:lnTo>
                  <a:lnTo>
                    <a:pt x="9" y="416"/>
                  </a:lnTo>
                  <a:lnTo>
                    <a:pt x="9" y="416"/>
                  </a:lnTo>
                  <a:lnTo>
                    <a:pt x="8" y="413"/>
                  </a:lnTo>
                  <a:lnTo>
                    <a:pt x="8" y="410"/>
                  </a:lnTo>
                  <a:lnTo>
                    <a:pt x="5" y="410"/>
                  </a:lnTo>
                  <a:lnTo>
                    <a:pt x="2" y="413"/>
                  </a:lnTo>
                  <a:lnTo>
                    <a:pt x="2" y="413"/>
                  </a:lnTo>
                  <a:lnTo>
                    <a:pt x="0" y="416"/>
                  </a:lnTo>
                  <a:lnTo>
                    <a:pt x="0" y="419"/>
                  </a:lnTo>
                  <a:lnTo>
                    <a:pt x="2" y="427"/>
                  </a:lnTo>
                  <a:lnTo>
                    <a:pt x="3" y="434"/>
                  </a:lnTo>
                  <a:lnTo>
                    <a:pt x="3" y="445"/>
                  </a:lnTo>
                  <a:lnTo>
                    <a:pt x="3" y="445"/>
                  </a:lnTo>
                  <a:lnTo>
                    <a:pt x="2" y="462"/>
                  </a:lnTo>
                  <a:lnTo>
                    <a:pt x="3" y="473"/>
                  </a:lnTo>
                  <a:lnTo>
                    <a:pt x="19" y="471"/>
                  </a:lnTo>
                  <a:lnTo>
                    <a:pt x="19" y="471"/>
                  </a:lnTo>
                  <a:lnTo>
                    <a:pt x="18" y="485"/>
                  </a:lnTo>
                  <a:lnTo>
                    <a:pt x="18" y="485"/>
                  </a:lnTo>
                  <a:lnTo>
                    <a:pt x="19" y="487"/>
                  </a:lnTo>
                  <a:lnTo>
                    <a:pt x="21" y="490"/>
                  </a:lnTo>
                  <a:lnTo>
                    <a:pt x="24" y="493"/>
                  </a:lnTo>
                  <a:lnTo>
                    <a:pt x="24" y="493"/>
                  </a:lnTo>
                  <a:lnTo>
                    <a:pt x="25" y="502"/>
                  </a:lnTo>
                  <a:lnTo>
                    <a:pt x="27" y="508"/>
                  </a:lnTo>
                  <a:lnTo>
                    <a:pt x="28" y="510"/>
                  </a:lnTo>
                  <a:lnTo>
                    <a:pt x="28" y="510"/>
                  </a:lnTo>
                  <a:lnTo>
                    <a:pt x="31" y="513"/>
                  </a:lnTo>
                  <a:lnTo>
                    <a:pt x="34" y="516"/>
                  </a:lnTo>
                  <a:lnTo>
                    <a:pt x="37" y="520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9" y="526"/>
                  </a:lnTo>
                  <a:lnTo>
                    <a:pt x="39" y="529"/>
                  </a:lnTo>
                  <a:lnTo>
                    <a:pt x="42" y="530"/>
                  </a:lnTo>
                  <a:lnTo>
                    <a:pt x="49" y="530"/>
                  </a:lnTo>
                  <a:lnTo>
                    <a:pt x="62" y="529"/>
                  </a:lnTo>
                  <a:lnTo>
                    <a:pt x="62" y="529"/>
                  </a:lnTo>
                  <a:lnTo>
                    <a:pt x="65" y="529"/>
                  </a:lnTo>
                  <a:lnTo>
                    <a:pt x="67" y="532"/>
                  </a:lnTo>
                  <a:lnTo>
                    <a:pt x="70" y="539"/>
                  </a:lnTo>
                  <a:lnTo>
                    <a:pt x="73" y="553"/>
                  </a:lnTo>
                  <a:lnTo>
                    <a:pt x="73" y="553"/>
                  </a:lnTo>
                  <a:lnTo>
                    <a:pt x="74" y="554"/>
                  </a:lnTo>
                  <a:lnTo>
                    <a:pt x="76" y="554"/>
                  </a:lnTo>
                  <a:lnTo>
                    <a:pt x="85" y="556"/>
                  </a:lnTo>
                  <a:lnTo>
                    <a:pt x="98" y="554"/>
                  </a:lnTo>
                  <a:lnTo>
                    <a:pt x="98" y="554"/>
                  </a:lnTo>
                  <a:lnTo>
                    <a:pt x="99" y="556"/>
                  </a:lnTo>
                  <a:lnTo>
                    <a:pt x="99" y="560"/>
                  </a:lnTo>
                  <a:lnTo>
                    <a:pt x="101" y="572"/>
                  </a:lnTo>
                  <a:lnTo>
                    <a:pt x="104" y="596"/>
                  </a:lnTo>
                  <a:lnTo>
                    <a:pt x="104" y="596"/>
                  </a:lnTo>
                  <a:lnTo>
                    <a:pt x="104" y="599"/>
                  </a:lnTo>
                  <a:lnTo>
                    <a:pt x="105" y="600"/>
                  </a:lnTo>
                  <a:lnTo>
                    <a:pt x="113" y="600"/>
                  </a:lnTo>
                  <a:lnTo>
                    <a:pt x="122" y="600"/>
                  </a:lnTo>
                  <a:lnTo>
                    <a:pt x="131" y="600"/>
                  </a:lnTo>
                  <a:lnTo>
                    <a:pt x="131" y="600"/>
                  </a:lnTo>
                  <a:lnTo>
                    <a:pt x="134" y="602"/>
                  </a:lnTo>
                  <a:lnTo>
                    <a:pt x="136" y="597"/>
                  </a:lnTo>
                  <a:lnTo>
                    <a:pt x="156" y="572"/>
                  </a:lnTo>
                  <a:lnTo>
                    <a:pt x="156" y="572"/>
                  </a:lnTo>
                  <a:lnTo>
                    <a:pt x="165" y="559"/>
                  </a:lnTo>
                  <a:lnTo>
                    <a:pt x="169" y="553"/>
                  </a:lnTo>
                  <a:lnTo>
                    <a:pt x="172" y="547"/>
                  </a:lnTo>
                  <a:lnTo>
                    <a:pt x="172" y="547"/>
                  </a:lnTo>
                  <a:lnTo>
                    <a:pt x="173" y="542"/>
                  </a:lnTo>
                  <a:lnTo>
                    <a:pt x="176" y="541"/>
                  </a:lnTo>
                  <a:lnTo>
                    <a:pt x="179" y="541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208" y="550"/>
                  </a:lnTo>
                  <a:lnTo>
                    <a:pt x="208" y="550"/>
                  </a:lnTo>
                  <a:lnTo>
                    <a:pt x="213" y="551"/>
                  </a:lnTo>
                  <a:lnTo>
                    <a:pt x="218" y="554"/>
                  </a:lnTo>
                  <a:lnTo>
                    <a:pt x="221" y="556"/>
                  </a:lnTo>
                  <a:lnTo>
                    <a:pt x="225" y="559"/>
                  </a:lnTo>
                  <a:lnTo>
                    <a:pt x="225" y="559"/>
                  </a:lnTo>
                  <a:lnTo>
                    <a:pt x="227" y="559"/>
                  </a:lnTo>
                  <a:lnTo>
                    <a:pt x="228" y="557"/>
                  </a:lnTo>
                  <a:lnTo>
                    <a:pt x="230" y="554"/>
                  </a:lnTo>
                  <a:lnTo>
                    <a:pt x="231" y="548"/>
                  </a:lnTo>
                  <a:lnTo>
                    <a:pt x="233" y="545"/>
                  </a:lnTo>
                  <a:lnTo>
                    <a:pt x="237" y="544"/>
                  </a:lnTo>
                  <a:lnTo>
                    <a:pt x="237" y="544"/>
                  </a:lnTo>
                  <a:lnTo>
                    <a:pt x="240" y="541"/>
                  </a:lnTo>
                  <a:lnTo>
                    <a:pt x="243" y="538"/>
                  </a:lnTo>
                  <a:lnTo>
                    <a:pt x="246" y="529"/>
                  </a:lnTo>
                  <a:lnTo>
                    <a:pt x="248" y="522"/>
                  </a:lnTo>
                  <a:lnTo>
                    <a:pt x="248" y="516"/>
                  </a:lnTo>
                  <a:lnTo>
                    <a:pt x="248" y="516"/>
                  </a:lnTo>
                  <a:lnTo>
                    <a:pt x="249" y="513"/>
                  </a:lnTo>
                  <a:lnTo>
                    <a:pt x="255" y="510"/>
                  </a:lnTo>
                  <a:lnTo>
                    <a:pt x="261" y="507"/>
                  </a:lnTo>
                  <a:lnTo>
                    <a:pt x="267" y="505"/>
                  </a:lnTo>
                  <a:lnTo>
                    <a:pt x="267" y="505"/>
                  </a:lnTo>
                  <a:lnTo>
                    <a:pt x="268" y="507"/>
                  </a:lnTo>
                  <a:lnTo>
                    <a:pt x="270" y="507"/>
                  </a:lnTo>
                  <a:lnTo>
                    <a:pt x="271" y="511"/>
                  </a:lnTo>
                  <a:lnTo>
                    <a:pt x="274" y="522"/>
                  </a:lnTo>
                  <a:lnTo>
                    <a:pt x="274" y="522"/>
                  </a:lnTo>
                  <a:lnTo>
                    <a:pt x="276" y="523"/>
                  </a:lnTo>
                  <a:lnTo>
                    <a:pt x="277" y="524"/>
                  </a:lnTo>
                  <a:lnTo>
                    <a:pt x="285" y="526"/>
                  </a:lnTo>
                  <a:lnTo>
                    <a:pt x="293" y="524"/>
                  </a:lnTo>
                  <a:lnTo>
                    <a:pt x="301" y="523"/>
                  </a:lnTo>
                  <a:lnTo>
                    <a:pt x="301" y="523"/>
                  </a:lnTo>
                  <a:lnTo>
                    <a:pt x="307" y="522"/>
                  </a:lnTo>
                  <a:lnTo>
                    <a:pt x="310" y="517"/>
                  </a:lnTo>
                  <a:lnTo>
                    <a:pt x="311" y="511"/>
                  </a:lnTo>
                  <a:lnTo>
                    <a:pt x="310" y="505"/>
                  </a:lnTo>
                  <a:lnTo>
                    <a:pt x="310" y="505"/>
                  </a:lnTo>
                  <a:lnTo>
                    <a:pt x="308" y="496"/>
                  </a:lnTo>
                  <a:lnTo>
                    <a:pt x="310" y="486"/>
                  </a:lnTo>
                  <a:lnTo>
                    <a:pt x="311" y="480"/>
                  </a:lnTo>
                  <a:lnTo>
                    <a:pt x="313" y="477"/>
                  </a:lnTo>
                  <a:lnTo>
                    <a:pt x="316" y="474"/>
                  </a:lnTo>
                  <a:lnTo>
                    <a:pt x="320" y="473"/>
                  </a:lnTo>
                  <a:lnTo>
                    <a:pt x="320" y="473"/>
                  </a:lnTo>
                  <a:lnTo>
                    <a:pt x="338" y="471"/>
                  </a:lnTo>
                  <a:lnTo>
                    <a:pt x="338" y="471"/>
                  </a:lnTo>
                  <a:lnTo>
                    <a:pt x="341" y="473"/>
                  </a:lnTo>
                  <a:lnTo>
                    <a:pt x="342" y="474"/>
                  </a:lnTo>
                  <a:lnTo>
                    <a:pt x="345" y="477"/>
                  </a:lnTo>
                  <a:lnTo>
                    <a:pt x="348" y="479"/>
                  </a:lnTo>
                  <a:lnTo>
                    <a:pt x="348" y="479"/>
                  </a:lnTo>
                  <a:lnTo>
                    <a:pt x="353" y="479"/>
                  </a:lnTo>
                  <a:lnTo>
                    <a:pt x="356" y="477"/>
                  </a:lnTo>
                  <a:lnTo>
                    <a:pt x="360" y="476"/>
                  </a:lnTo>
                  <a:lnTo>
                    <a:pt x="366" y="474"/>
                  </a:lnTo>
                  <a:lnTo>
                    <a:pt x="366" y="474"/>
                  </a:lnTo>
                  <a:lnTo>
                    <a:pt x="375" y="471"/>
                  </a:lnTo>
                  <a:lnTo>
                    <a:pt x="382" y="467"/>
                  </a:lnTo>
                  <a:lnTo>
                    <a:pt x="387" y="461"/>
                  </a:lnTo>
                  <a:lnTo>
                    <a:pt x="388" y="458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384" y="449"/>
                  </a:lnTo>
                  <a:lnTo>
                    <a:pt x="381" y="442"/>
                  </a:lnTo>
                  <a:lnTo>
                    <a:pt x="381" y="442"/>
                  </a:lnTo>
                  <a:lnTo>
                    <a:pt x="381" y="437"/>
                  </a:lnTo>
                  <a:lnTo>
                    <a:pt x="382" y="433"/>
                  </a:lnTo>
                  <a:lnTo>
                    <a:pt x="387" y="431"/>
                  </a:lnTo>
                  <a:lnTo>
                    <a:pt x="393" y="430"/>
                  </a:lnTo>
                  <a:lnTo>
                    <a:pt x="393" y="430"/>
                  </a:lnTo>
                  <a:lnTo>
                    <a:pt x="396" y="428"/>
                  </a:lnTo>
                  <a:lnTo>
                    <a:pt x="400" y="425"/>
                  </a:lnTo>
                  <a:lnTo>
                    <a:pt x="406" y="416"/>
                  </a:lnTo>
                  <a:lnTo>
                    <a:pt x="410" y="407"/>
                  </a:lnTo>
                  <a:lnTo>
                    <a:pt x="412" y="402"/>
                  </a:lnTo>
                  <a:lnTo>
                    <a:pt x="412" y="399"/>
                  </a:lnTo>
                  <a:lnTo>
                    <a:pt x="412" y="399"/>
                  </a:lnTo>
                  <a:lnTo>
                    <a:pt x="409" y="393"/>
                  </a:lnTo>
                  <a:lnTo>
                    <a:pt x="406" y="388"/>
                  </a:lnTo>
                  <a:lnTo>
                    <a:pt x="402" y="382"/>
                  </a:lnTo>
                  <a:lnTo>
                    <a:pt x="399" y="376"/>
                  </a:lnTo>
                  <a:lnTo>
                    <a:pt x="399" y="376"/>
                  </a:lnTo>
                  <a:lnTo>
                    <a:pt x="399" y="373"/>
                  </a:lnTo>
                  <a:lnTo>
                    <a:pt x="399" y="370"/>
                  </a:lnTo>
                  <a:lnTo>
                    <a:pt x="402" y="366"/>
                  </a:lnTo>
                  <a:lnTo>
                    <a:pt x="409" y="362"/>
                  </a:lnTo>
                  <a:lnTo>
                    <a:pt x="409" y="362"/>
                  </a:lnTo>
                  <a:lnTo>
                    <a:pt x="412" y="357"/>
                  </a:lnTo>
                  <a:lnTo>
                    <a:pt x="410" y="353"/>
                  </a:lnTo>
                  <a:lnTo>
                    <a:pt x="407" y="348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399" y="339"/>
                  </a:lnTo>
                  <a:lnTo>
                    <a:pt x="399" y="338"/>
                  </a:lnTo>
                  <a:lnTo>
                    <a:pt x="399" y="338"/>
                  </a:lnTo>
                  <a:lnTo>
                    <a:pt x="403" y="336"/>
                  </a:lnTo>
                  <a:lnTo>
                    <a:pt x="406" y="335"/>
                  </a:lnTo>
                  <a:lnTo>
                    <a:pt x="406" y="335"/>
                  </a:lnTo>
                  <a:lnTo>
                    <a:pt x="412" y="332"/>
                  </a:lnTo>
                  <a:lnTo>
                    <a:pt x="421" y="329"/>
                  </a:lnTo>
                  <a:lnTo>
                    <a:pt x="430" y="328"/>
                  </a:lnTo>
                  <a:lnTo>
                    <a:pt x="439" y="328"/>
                  </a:lnTo>
                  <a:lnTo>
                    <a:pt x="439" y="328"/>
                  </a:lnTo>
                  <a:lnTo>
                    <a:pt x="446" y="328"/>
                  </a:lnTo>
                  <a:lnTo>
                    <a:pt x="452" y="326"/>
                  </a:lnTo>
                  <a:lnTo>
                    <a:pt x="458" y="323"/>
                  </a:lnTo>
                  <a:lnTo>
                    <a:pt x="462" y="319"/>
                  </a:lnTo>
                  <a:lnTo>
                    <a:pt x="462" y="319"/>
                  </a:lnTo>
                  <a:lnTo>
                    <a:pt x="468" y="313"/>
                  </a:lnTo>
                  <a:lnTo>
                    <a:pt x="477" y="305"/>
                  </a:lnTo>
                  <a:lnTo>
                    <a:pt x="486" y="299"/>
                  </a:lnTo>
                  <a:lnTo>
                    <a:pt x="493" y="295"/>
                  </a:lnTo>
                  <a:lnTo>
                    <a:pt x="493" y="295"/>
                  </a:lnTo>
                  <a:lnTo>
                    <a:pt x="510" y="288"/>
                  </a:lnTo>
                  <a:lnTo>
                    <a:pt x="520" y="282"/>
                  </a:lnTo>
                  <a:lnTo>
                    <a:pt x="530" y="274"/>
                  </a:lnTo>
                  <a:lnTo>
                    <a:pt x="530" y="274"/>
                  </a:lnTo>
                  <a:lnTo>
                    <a:pt x="538" y="267"/>
                  </a:lnTo>
                  <a:lnTo>
                    <a:pt x="542" y="259"/>
                  </a:lnTo>
                  <a:lnTo>
                    <a:pt x="545" y="253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7" y="243"/>
                  </a:lnTo>
                  <a:lnTo>
                    <a:pt x="550" y="239"/>
                  </a:lnTo>
                  <a:lnTo>
                    <a:pt x="554" y="227"/>
                  </a:lnTo>
                  <a:lnTo>
                    <a:pt x="554" y="227"/>
                  </a:lnTo>
                  <a:lnTo>
                    <a:pt x="558" y="215"/>
                  </a:lnTo>
                  <a:lnTo>
                    <a:pt x="561" y="211"/>
                  </a:lnTo>
                  <a:lnTo>
                    <a:pt x="564" y="206"/>
                  </a:lnTo>
                  <a:lnTo>
                    <a:pt x="564" y="206"/>
                  </a:lnTo>
                  <a:lnTo>
                    <a:pt x="569" y="203"/>
                  </a:lnTo>
                  <a:lnTo>
                    <a:pt x="573" y="200"/>
                  </a:lnTo>
                  <a:lnTo>
                    <a:pt x="579" y="197"/>
                  </a:lnTo>
                  <a:lnTo>
                    <a:pt x="582" y="193"/>
                  </a:lnTo>
                  <a:lnTo>
                    <a:pt x="582" y="193"/>
                  </a:lnTo>
                  <a:lnTo>
                    <a:pt x="584" y="188"/>
                  </a:lnTo>
                  <a:lnTo>
                    <a:pt x="584" y="185"/>
                  </a:lnTo>
                  <a:lnTo>
                    <a:pt x="584" y="185"/>
                  </a:lnTo>
                  <a:lnTo>
                    <a:pt x="582" y="182"/>
                  </a:lnTo>
                  <a:lnTo>
                    <a:pt x="581" y="181"/>
                  </a:lnTo>
                  <a:lnTo>
                    <a:pt x="576" y="179"/>
                  </a:lnTo>
                  <a:lnTo>
                    <a:pt x="576" y="179"/>
                  </a:lnTo>
                  <a:lnTo>
                    <a:pt x="566" y="179"/>
                  </a:lnTo>
                  <a:lnTo>
                    <a:pt x="557" y="179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33" y="171"/>
                  </a:lnTo>
                  <a:lnTo>
                    <a:pt x="517" y="159"/>
                  </a:lnTo>
                  <a:lnTo>
                    <a:pt x="496" y="144"/>
                  </a:lnTo>
                  <a:lnTo>
                    <a:pt x="495" y="129"/>
                  </a:lnTo>
                  <a:lnTo>
                    <a:pt x="495" y="129"/>
                  </a:lnTo>
                  <a:lnTo>
                    <a:pt x="486" y="128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67" y="125"/>
                  </a:lnTo>
                  <a:lnTo>
                    <a:pt x="464" y="122"/>
                  </a:lnTo>
                  <a:lnTo>
                    <a:pt x="459" y="117"/>
                  </a:lnTo>
                  <a:lnTo>
                    <a:pt x="459" y="117"/>
                  </a:lnTo>
                  <a:lnTo>
                    <a:pt x="456" y="113"/>
                  </a:lnTo>
                  <a:lnTo>
                    <a:pt x="455" y="110"/>
                  </a:lnTo>
                  <a:lnTo>
                    <a:pt x="453" y="107"/>
                  </a:lnTo>
                  <a:lnTo>
                    <a:pt x="449" y="105"/>
                  </a:lnTo>
                  <a:lnTo>
                    <a:pt x="449" y="105"/>
                  </a:lnTo>
                  <a:lnTo>
                    <a:pt x="444" y="105"/>
                  </a:lnTo>
                  <a:lnTo>
                    <a:pt x="439" y="108"/>
                  </a:lnTo>
                  <a:lnTo>
                    <a:pt x="434" y="111"/>
                  </a:lnTo>
                  <a:lnTo>
                    <a:pt x="431" y="114"/>
                  </a:lnTo>
                  <a:lnTo>
                    <a:pt x="431" y="114"/>
                  </a:lnTo>
                  <a:lnTo>
                    <a:pt x="428" y="117"/>
                  </a:lnTo>
                  <a:lnTo>
                    <a:pt x="425" y="117"/>
                  </a:lnTo>
                  <a:lnTo>
                    <a:pt x="415" y="116"/>
                  </a:lnTo>
                  <a:lnTo>
                    <a:pt x="415" y="116"/>
                  </a:lnTo>
                  <a:lnTo>
                    <a:pt x="410" y="114"/>
                  </a:lnTo>
                  <a:lnTo>
                    <a:pt x="407" y="111"/>
                  </a:lnTo>
                  <a:lnTo>
                    <a:pt x="406" y="108"/>
                  </a:lnTo>
                  <a:lnTo>
                    <a:pt x="404" y="105"/>
                  </a:lnTo>
                  <a:lnTo>
                    <a:pt x="404" y="105"/>
                  </a:lnTo>
                  <a:lnTo>
                    <a:pt x="402" y="105"/>
                  </a:lnTo>
                  <a:lnTo>
                    <a:pt x="399" y="108"/>
                  </a:lnTo>
                  <a:lnTo>
                    <a:pt x="397" y="111"/>
                  </a:lnTo>
                  <a:lnTo>
                    <a:pt x="394" y="113"/>
                  </a:lnTo>
                  <a:lnTo>
                    <a:pt x="394" y="113"/>
                  </a:lnTo>
                  <a:lnTo>
                    <a:pt x="393" y="114"/>
                  </a:lnTo>
                  <a:lnTo>
                    <a:pt x="391" y="113"/>
                  </a:lnTo>
                  <a:lnTo>
                    <a:pt x="388" y="110"/>
                  </a:lnTo>
                  <a:lnTo>
                    <a:pt x="384" y="105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69" y="105"/>
                  </a:lnTo>
                  <a:lnTo>
                    <a:pt x="369" y="105"/>
                  </a:lnTo>
                  <a:lnTo>
                    <a:pt x="367" y="105"/>
                  </a:lnTo>
                  <a:lnTo>
                    <a:pt x="365" y="104"/>
                  </a:lnTo>
                  <a:lnTo>
                    <a:pt x="363" y="102"/>
                  </a:lnTo>
                  <a:lnTo>
                    <a:pt x="360" y="101"/>
                  </a:lnTo>
                  <a:lnTo>
                    <a:pt x="360" y="101"/>
                  </a:lnTo>
                  <a:lnTo>
                    <a:pt x="356" y="101"/>
                  </a:lnTo>
                  <a:lnTo>
                    <a:pt x="351" y="102"/>
                  </a:lnTo>
                  <a:lnTo>
                    <a:pt x="347" y="105"/>
                  </a:lnTo>
                  <a:lnTo>
                    <a:pt x="147" y="25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2" name="Freeform 51">
              <a:extLst>
                <a:ext uri="{FF2B5EF4-FFF2-40B4-BE49-F238E27FC236}">
                  <a16:creationId xmlns:a16="http://schemas.microsoft.com/office/drawing/2014/main" id="{855255D4-4E0F-8749-AA29-87B8AA5ED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3763" y="5041900"/>
              <a:ext cx="317500" cy="400050"/>
            </a:xfrm>
            <a:custGeom>
              <a:avLst/>
              <a:gdLst>
                <a:gd name="T0" fmla="*/ 200 w 200"/>
                <a:gd name="T1" fmla="*/ 105 h 252"/>
                <a:gd name="T2" fmla="*/ 195 w 200"/>
                <a:gd name="T3" fmla="*/ 101 h 252"/>
                <a:gd name="T4" fmla="*/ 163 w 200"/>
                <a:gd name="T5" fmla="*/ 65 h 252"/>
                <a:gd name="T6" fmla="*/ 160 w 200"/>
                <a:gd name="T7" fmla="*/ 64 h 252"/>
                <a:gd name="T8" fmla="*/ 152 w 200"/>
                <a:gd name="T9" fmla="*/ 70 h 252"/>
                <a:gd name="T10" fmla="*/ 149 w 200"/>
                <a:gd name="T11" fmla="*/ 70 h 252"/>
                <a:gd name="T12" fmla="*/ 143 w 200"/>
                <a:gd name="T13" fmla="*/ 67 h 252"/>
                <a:gd name="T14" fmla="*/ 136 w 200"/>
                <a:gd name="T15" fmla="*/ 59 h 252"/>
                <a:gd name="T16" fmla="*/ 136 w 200"/>
                <a:gd name="T17" fmla="*/ 55 h 252"/>
                <a:gd name="T18" fmla="*/ 148 w 200"/>
                <a:gd name="T19" fmla="*/ 43 h 252"/>
                <a:gd name="T20" fmla="*/ 146 w 200"/>
                <a:gd name="T21" fmla="*/ 40 h 252"/>
                <a:gd name="T22" fmla="*/ 132 w 200"/>
                <a:gd name="T23" fmla="*/ 28 h 252"/>
                <a:gd name="T24" fmla="*/ 127 w 200"/>
                <a:gd name="T25" fmla="*/ 25 h 252"/>
                <a:gd name="T26" fmla="*/ 117 w 200"/>
                <a:gd name="T27" fmla="*/ 27 h 252"/>
                <a:gd name="T28" fmla="*/ 114 w 200"/>
                <a:gd name="T29" fmla="*/ 27 h 252"/>
                <a:gd name="T30" fmla="*/ 109 w 200"/>
                <a:gd name="T31" fmla="*/ 22 h 252"/>
                <a:gd name="T32" fmla="*/ 106 w 200"/>
                <a:gd name="T33" fmla="*/ 19 h 252"/>
                <a:gd name="T34" fmla="*/ 99 w 200"/>
                <a:gd name="T35" fmla="*/ 19 h 252"/>
                <a:gd name="T36" fmla="*/ 96 w 200"/>
                <a:gd name="T37" fmla="*/ 19 h 252"/>
                <a:gd name="T38" fmla="*/ 72 w 200"/>
                <a:gd name="T39" fmla="*/ 0 h 252"/>
                <a:gd name="T40" fmla="*/ 52 w 200"/>
                <a:gd name="T41" fmla="*/ 14 h 252"/>
                <a:gd name="T42" fmla="*/ 50 w 200"/>
                <a:gd name="T43" fmla="*/ 17 h 252"/>
                <a:gd name="T44" fmla="*/ 59 w 200"/>
                <a:gd name="T45" fmla="*/ 30 h 252"/>
                <a:gd name="T46" fmla="*/ 61 w 200"/>
                <a:gd name="T47" fmla="*/ 34 h 252"/>
                <a:gd name="T48" fmla="*/ 58 w 200"/>
                <a:gd name="T49" fmla="*/ 37 h 252"/>
                <a:gd name="T50" fmla="*/ 56 w 200"/>
                <a:gd name="T51" fmla="*/ 40 h 252"/>
                <a:gd name="T52" fmla="*/ 56 w 200"/>
                <a:gd name="T53" fmla="*/ 48 h 252"/>
                <a:gd name="T54" fmla="*/ 56 w 200"/>
                <a:gd name="T55" fmla="*/ 55 h 252"/>
                <a:gd name="T56" fmla="*/ 55 w 200"/>
                <a:gd name="T57" fmla="*/ 59 h 252"/>
                <a:gd name="T58" fmla="*/ 46 w 200"/>
                <a:gd name="T59" fmla="*/ 65 h 252"/>
                <a:gd name="T60" fmla="*/ 50 w 200"/>
                <a:gd name="T61" fmla="*/ 77 h 252"/>
                <a:gd name="T62" fmla="*/ 53 w 200"/>
                <a:gd name="T63" fmla="*/ 88 h 252"/>
                <a:gd name="T64" fmla="*/ 61 w 200"/>
                <a:gd name="T65" fmla="*/ 95 h 252"/>
                <a:gd name="T66" fmla="*/ 83 w 200"/>
                <a:gd name="T67" fmla="*/ 107 h 252"/>
                <a:gd name="T68" fmla="*/ 90 w 200"/>
                <a:gd name="T69" fmla="*/ 108 h 252"/>
                <a:gd name="T70" fmla="*/ 92 w 200"/>
                <a:gd name="T71" fmla="*/ 113 h 252"/>
                <a:gd name="T72" fmla="*/ 89 w 200"/>
                <a:gd name="T73" fmla="*/ 122 h 252"/>
                <a:gd name="T74" fmla="*/ 87 w 200"/>
                <a:gd name="T75" fmla="*/ 129 h 252"/>
                <a:gd name="T76" fmla="*/ 80 w 200"/>
                <a:gd name="T77" fmla="*/ 147 h 252"/>
                <a:gd name="T78" fmla="*/ 75 w 200"/>
                <a:gd name="T79" fmla="*/ 153 h 252"/>
                <a:gd name="T80" fmla="*/ 69 w 200"/>
                <a:gd name="T81" fmla="*/ 157 h 252"/>
                <a:gd name="T82" fmla="*/ 46 w 200"/>
                <a:gd name="T83" fmla="*/ 160 h 252"/>
                <a:gd name="T84" fmla="*/ 43 w 200"/>
                <a:gd name="T85" fmla="*/ 162 h 252"/>
                <a:gd name="T86" fmla="*/ 34 w 200"/>
                <a:gd name="T87" fmla="*/ 169 h 252"/>
                <a:gd name="T88" fmla="*/ 29 w 200"/>
                <a:gd name="T89" fmla="*/ 172 h 252"/>
                <a:gd name="T90" fmla="*/ 18 w 200"/>
                <a:gd name="T91" fmla="*/ 179 h 252"/>
                <a:gd name="T92" fmla="*/ 10 w 200"/>
                <a:gd name="T93" fmla="*/ 190 h 252"/>
                <a:gd name="T94" fmla="*/ 9 w 200"/>
                <a:gd name="T95" fmla="*/ 193 h 252"/>
                <a:gd name="T96" fmla="*/ 15 w 200"/>
                <a:gd name="T97" fmla="*/ 203 h 252"/>
                <a:gd name="T98" fmla="*/ 26 w 200"/>
                <a:gd name="T99" fmla="*/ 216 h 252"/>
                <a:gd name="T100" fmla="*/ 26 w 200"/>
                <a:gd name="T101" fmla="*/ 221 h 252"/>
                <a:gd name="T102" fmla="*/ 13 w 200"/>
                <a:gd name="T103" fmla="*/ 225 h 252"/>
                <a:gd name="T104" fmla="*/ 9 w 200"/>
                <a:gd name="T105" fmla="*/ 227 h 252"/>
                <a:gd name="T106" fmla="*/ 6 w 200"/>
                <a:gd name="T107" fmla="*/ 234 h 252"/>
                <a:gd name="T108" fmla="*/ 6 w 200"/>
                <a:gd name="T109" fmla="*/ 246 h 252"/>
                <a:gd name="T110" fmla="*/ 4 w 200"/>
                <a:gd name="T111" fmla="*/ 249 h 252"/>
                <a:gd name="T112" fmla="*/ 0 w 200"/>
                <a:gd name="T113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252">
                  <a:moveTo>
                    <a:pt x="200" y="105"/>
                  </a:moveTo>
                  <a:lnTo>
                    <a:pt x="200" y="105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79" y="82"/>
                  </a:lnTo>
                  <a:lnTo>
                    <a:pt x="163" y="65"/>
                  </a:lnTo>
                  <a:lnTo>
                    <a:pt x="163" y="65"/>
                  </a:lnTo>
                  <a:lnTo>
                    <a:pt x="160" y="64"/>
                  </a:lnTo>
                  <a:lnTo>
                    <a:pt x="158" y="64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49" y="70"/>
                  </a:lnTo>
                  <a:lnTo>
                    <a:pt x="148" y="70"/>
                  </a:lnTo>
                  <a:lnTo>
                    <a:pt x="143" y="67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56"/>
                  </a:lnTo>
                  <a:lnTo>
                    <a:pt x="136" y="55"/>
                  </a:lnTo>
                  <a:lnTo>
                    <a:pt x="141" y="51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6" y="40"/>
                  </a:lnTo>
                  <a:lnTo>
                    <a:pt x="139" y="34"/>
                  </a:lnTo>
                  <a:lnTo>
                    <a:pt x="132" y="28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1" y="25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4" y="27"/>
                  </a:lnTo>
                  <a:lnTo>
                    <a:pt x="112" y="25"/>
                  </a:lnTo>
                  <a:lnTo>
                    <a:pt x="109" y="22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2" y="18"/>
                  </a:lnTo>
                  <a:lnTo>
                    <a:pt x="99" y="19"/>
                  </a:lnTo>
                  <a:lnTo>
                    <a:pt x="98" y="21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7"/>
                  </a:lnTo>
                  <a:lnTo>
                    <a:pt x="53" y="19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1" y="34"/>
                  </a:lnTo>
                  <a:lnTo>
                    <a:pt x="59" y="36"/>
                  </a:lnTo>
                  <a:lnTo>
                    <a:pt x="58" y="37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5"/>
                  </a:lnTo>
                  <a:lnTo>
                    <a:pt x="56" y="48"/>
                  </a:lnTo>
                  <a:lnTo>
                    <a:pt x="58" y="52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5" y="59"/>
                  </a:lnTo>
                  <a:lnTo>
                    <a:pt x="52" y="62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50" y="77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6" y="92"/>
                  </a:lnTo>
                  <a:lnTo>
                    <a:pt x="61" y="95"/>
                  </a:lnTo>
                  <a:lnTo>
                    <a:pt x="72" y="102"/>
                  </a:lnTo>
                  <a:lnTo>
                    <a:pt x="83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3" y="110"/>
                  </a:lnTo>
                  <a:lnTo>
                    <a:pt x="92" y="113"/>
                  </a:lnTo>
                  <a:lnTo>
                    <a:pt x="90" y="117"/>
                  </a:lnTo>
                  <a:lnTo>
                    <a:pt x="89" y="122"/>
                  </a:lnTo>
                  <a:lnTo>
                    <a:pt x="89" y="122"/>
                  </a:lnTo>
                  <a:lnTo>
                    <a:pt x="87" y="129"/>
                  </a:lnTo>
                  <a:lnTo>
                    <a:pt x="84" y="138"/>
                  </a:lnTo>
                  <a:lnTo>
                    <a:pt x="80" y="147"/>
                  </a:lnTo>
                  <a:lnTo>
                    <a:pt x="75" y="153"/>
                  </a:lnTo>
                  <a:lnTo>
                    <a:pt x="75" y="153"/>
                  </a:lnTo>
                  <a:lnTo>
                    <a:pt x="74" y="154"/>
                  </a:lnTo>
                  <a:lnTo>
                    <a:pt x="69" y="157"/>
                  </a:lnTo>
                  <a:lnTo>
                    <a:pt x="61" y="159"/>
                  </a:lnTo>
                  <a:lnTo>
                    <a:pt x="46" y="160"/>
                  </a:lnTo>
                  <a:lnTo>
                    <a:pt x="46" y="160"/>
                  </a:lnTo>
                  <a:lnTo>
                    <a:pt x="43" y="162"/>
                  </a:lnTo>
                  <a:lnTo>
                    <a:pt x="38" y="165"/>
                  </a:lnTo>
                  <a:lnTo>
                    <a:pt x="34" y="169"/>
                  </a:lnTo>
                  <a:lnTo>
                    <a:pt x="29" y="172"/>
                  </a:lnTo>
                  <a:lnTo>
                    <a:pt x="29" y="172"/>
                  </a:lnTo>
                  <a:lnTo>
                    <a:pt x="22" y="175"/>
                  </a:lnTo>
                  <a:lnTo>
                    <a:pt x="18" y="179"/>
                  </a:lnTo>
                  <a:lnTo>
                    <a:pt x="13" y="184"/>
                  </a:lnTo>
                  <a:lnTo>
                    <a:pt x="10" y="190"/>
                  </a:lnTo>
                  <a:lnTo>
                    <a:pt x="10" y="190"/>
                  </a:lnTo>
                  <a:lnTo>
                    <a:pt x="9" y="193"/>
                  </a:lnTo>
                  <a:lnTo>
                    <a:pt x="10" y="196"/>
                  </a:lnTo>
                  <a:lnTo>
                    <a:pt x="15" y="203"/>
                  </a:lnTo>
                  <a:lnTo>
                    <a:pt x="22" y="211"/>
                  </a:lnTo>
                  <a:lnTo>
                    <a:pt x="26" y="216"/>
                  </a:lnTo>
                  <a:lnTo>
                    <a:pt x="26" y="216"/>
                  </a:lnTo>
                  <a:lnTo>
                    <a:pt x="26" y="221"/>
                  </a:lnTo>
                  <a:lnTo>
                    <a:pt x="25" y="222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9" y="227"/>
                  </a:lnTo>
                  <a:lnTo>
                    <a:pt x="7" y="230"/>
                  </a:lnTo>
                  <a:lnTo>
                    <a:pt x="6" y="234"/>
                  </a:lnTo>
                  <a:lnTo>
                    <a:pt x="4" y="240"/>
                  </a:lnTo>
                  <a:lnTo>
                    <a:pt x="6" y="246"/>
                  </a:lnTo>
                  <a:lnTo>
                    <a:pt x="6" y="246"/>
                  </a:lnTo>
                  <a:lnTo>
                    <a:pt x="4" y="249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3" name="Freeform 52">
              <a:extLst>
                <a:ext uri="{FF2B5EF4-FFF2-40B4-BE49-F238E27FC236}">
                  <a16:creationId xmlns:a16="http://schemas.microsoft.com/office/drawing/2014/main" id="{BF5A3FCB-86AD-1149-8B78-CA2EC9DF63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0" y="5202238"/>
              <a:ext cx="927100" cy="795337"/>
            </a:xfrm>
            <a:custGeom>
              <a:avLst/>
              <a:gdLst>
                <a:gd name="T0" fmla="*/ 120 w 584"/>
                <a:gd name="T1" fmla="*/ 166 h 501"/>
                <a:gd name="T2" fmla="*/ 119 w 584"/>
                <a:gd name="T3" fmla="*/ 185 h 501"/>
                <a:gd name="T4" fmla="*/ 105 w 584"/>
                <a:gd name="T5" fmla="*/ 219 h 501"/>
                <a:gd name="T6" fmla="*/ 80 w 584"/>
                <a:gd name="T7" fmla="*/ 253 h 501"/>
                <a:gd name="T8" fmla="*/ 71 w 584"/>
                <a:gd name="T9" fmla="*/ 271 h 501"/>
                <a:gd name="T10" fmla="*/ 55 w 584"/>
                <a:gd name="T11" fmla="*/ 281 h 501"/>
                <a:gd name="T12" fmla="*/ 55 w 584"/>
                <a:gd name="T13" fmla="*/ 311 h 501"/>
                <a:gd name="T14" fmla="*/ 17 w 584"/>
                <a:gd name="T15" fmla="*/ 318 h 501"/>
                <a:gd name="T16" fmla="*/ 8 w 584"/>
                <a:gd name="T17" fmla="*/ 309 h 501"/>
                <a:gd name="T18" fmla="*/ 2 w 584"/>
                <a:gd name="T19" fmla="*/ 326 h 501"/>
                <a:gd name="T20" fmla="*/ 19 w 584"/>
                <a:gd name="T21" fmla="*/ 370 h 501"/>
                <a:gd name="T22" fmla="*/ 24 w 584"/>
                <a:gd name="T23" fmla="*/ 392 h 501"/>
                <a:gd name="T24" fmla="*/ 31 w 584"/>
                <a:gd name="T25" fmla="*/ 412 h 501"/>
                <a:gd name="T26" fmla="*/ 39 w 584"/>
                <a:gd name="T27" fmla="*/ 428 h 501"/>
                <a:gd name="T28" fmla="*/ 67 w 584"/>
                <a:gd name="T29" fmla="*/ 431 h 501"/>
                <a:gd name="T30" fmla="*/ 85 w 584"/>
                <a:gd name="T31" fmla="*/ 455 h 501"/>
                <a:gd name="T32" fmla="*/ 104 w 584"/>
                <a:gd name="T33" fmla="*/ 495 h 501"/>
                <a:gd name="T34" fmla="*/ 131 w 584"/>
                <a:gd name="T35" fmla="*/ 499 h 501"/>
                <a:gd name="T36" fmla="*/ 165 w 584"/>
                <a:gd name="T37" fmla="*/ 458 h 501"/>
                <a:gd name="T38" fmla="*/ 179 w 584"/>
                <a:gd name="T39" fmla="*/ 440 h 501"/>
                <a:gd name="T40" fmla="*/ 218 w 584"/>
                <a:gd name="T41" fmla="*/ 453 h 501"/>
                <a:gd name="T42" fmla="*/ 230 w 584"/>
                <a:gd name="T43" fmla="*/ 453 h 501"/>
                <a:gd name="T44" fmla="*/ 243 w 584"/>
                <a:gd name="T45" fmla="*/ 437 h 501"/>
                <a:gd name="T46" fmla="*/ 255 w 584"/>
                <a:gd name="T47" fmla="*/ 409 h 501"/>
                <a:gd name="T48" fmla="*/ 271 w 584"/>
                <a:gd name="T49" fmla="*/ 410 h 501"/>
                <a:gd name="T50" fmla="*/ 293 w 584"/>
                <a:gd name="T51" fmla="*/ 423 h 501"/>
                <a:gd name="T52" fmla="*/ 310 w 584"/>
                <a:gd name="T53" fmla="*/ 404 h 501"/>
                <a:gd name="T54" fmla="*/ 316 w 584"/>
                <a:gd name="T55" fmla="*/ 373 h 501"/>
                <a:gd name="T56" fmla="*/ 342 w 584"/>
                <a:gd name="T57" fmla="*/ 373 h 501"/>
                <a:gd name="T58" fmla="*/ 360 w 584"/>
                <a:gd name="T59" fmla="*/ 375 h 501"/>
                <a:gd name="T60" fmla="*/ 388 w 584"/>
                <a:gd name="T61" fmla="*/ 357 h 501"/>
                <a:gd name="T62" fmla="*/ 381 w 584"/>
                <a:gd name="T63" fmla="*/ 336 h 501"/>
                <a:gd name="T64" fmla="*/ 400 w 584"/>
                <a:gd name="T65" fmla="*/ 324 h 501"/>
                <a:gd name="T66" fmla="*/ 409 w 584"/>
                <a:gd name="T67" fmla="*/ 292 h 501"/>
                <a:gd name="T68" fmla="*/ 399 w 584"/>
                <a:gd name="T69" fmla="*/ 269 h 501"/>
                <a:gd name="T70" fmla="*/ 407 w 584"/>
                <a:gd name="T71" fmla="*/ 247 h 501"/>
                <a:gd name="T72" fmla="*/ 403 w 584"/>
                <a:gd name="T73" fmla="*/ 235 h 501"/>
                <a:gd name="T74" fmla="*/ 439 w 584"/>
                <a:gd name="T75" fmla="*/ 227 h 501"/>
                <a:gd name="T76" fmla="*/ 462 w 584"/>
                <a:gd name="T77" fmla="*/ 218 h 501"/>
                <a:gd name="T78" fmla="*/ 510 w 584"/>
                <a:gd name="T79" fmla="*/ 187 h 501"/>
                <a:gd name="T80" fmla="*/ 545 w 584"/>
                <a:gd name="T81" fmla="*/ 152 h 501"/>
                <a:gd name="T82" fmla="*/ 554 w 584"/>
                <a:gd name="T83" fmla="*/ 126 h 501"/>
                <a:gd name="T84" fmla="*/ 573 w 584"/>
                <a:gd name="T85" fmla="*/ 99 h 501"/>
                <a:gd name="T86" fmla="*/ 584 w 584"/>
                <a:gd name="T87" fmla="*/ 84 h 501"/>
                <a:gd name="T88" fmla="*/ 557 w 584"/>
                <a:gd name="T89" fmla="*/ 78 h 501"/>
                <a:gd name="T90" fmla="*/ 495 w 584"/>
                <a:gd name="T91" fmla="*/ 28 h 501"/>
                <a:gd name="T92" fmla="*/ 464 w 584"/>
                <a:gd name="T93" fmla="*/ 21 h 501"/>
                <a:gd name="T94" fmla="*/ 449 w 584"/>
                <a:gd name="T95" fmla="*/ 4 h 501"/>
                <a:gd name="T96" fmla="*/ 431 w 584"/>
                <a:gd name="T97" fmla="*/ 13 h 501"/>
                <a:gd name="T98" fmla="*/ 407 w 584"/>
                <a:gd name="T99" fmla="*/ 10 h 501"/>
                <a:gd name="T100" fmla="*/ 397 w 584"/>
                <a:gd name="T101" fmla="*/ 10 h 501"/>
                <a:gd name="T102" fmla="*/ 384 w 584"/>
                <a:gd name="T103" fmla="*/ 4 h 501"/>
                <a:gd name="T104" fmla="*/ 369 w 584"/>
                <a:gd name="T105" fmla="*/ 4 h 501"/>
                <a:gd name="T106" fmla="*/ 356 w 584"/>
                <a:gd name="T107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84" h="501">
                  <a:moveTo>
                    <a:pt x="147" y="151"/>
                  </a:moveTo>
                  <a:lnTo>
                    <a:pt x="147" y="151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28" y="160"/>
                  </a:lnTo>
                  <a:lnTo>
                    <a:pt x="120" y="166"/>
                  </a:lnTo>
                  <a:lnTo>
                    <a:pt x="114" y="172"/>
                  </a:lnTo>
                  <a:lnTo>
                    <a:pt x="114" y="172"/>
                  </a:lnTo>
                  <a:lnTo>
                    <a:pt x="119" y="178"/>
                  </a:lnTo>
                  <a:lnTo>
                    <a:pt x="120" y="181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4" y="189"/>
                  </a:lnTo>
                  <a:lnTo>
                    <a:pt x="110" y="195"/>
                  </a:lnTo>
                  <a:lnTo>
                    <a:pt x="107" y="200"/>
                  </a:lnTo>
                  <a:lnTo>
                    <a:pt x="105" y="206"/>
                  </a:lnTo>
                  <a:lnTo>
                    <a:pt x="105" y="206"/>
                  </a:lnTo>
                  <a:lnTo>
                    <a:pt x="105" y="219"/>
                  </a:lnTo>
                  <a:lnTo>
                    <a:pt x="104" y="225"/>
                  </a:lnTo>
                  <a:lnTo>
                    <a:pt x="101" y="231"/>
                  </a:lnTo>
                  <a:lnTo>
                    <a:pt x="101" y="231"/>
                  </a:lnTo>
                  <a:lnTo>
                    <a:pt x="91" y="244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79" y="258"/>
                  </a:lnTo>
                  <a:lnTo>
                    <a:pt x="77" y="261"/>
                  </a:lnTo>
                  <a:lnTo>
                    <a:pt x="76" y="268"/>
                  </a:lnTo>
                  <a:lnTo>
                    <a:pt x="76" y="268"/>
                  </a:lnTo>
                  <a:lnTo>
                    <a:pt x="74" y="269"/>
                  </a:lnTo>
                  <a:lnTo>
                    <a:pt x="71" y="271"/>
                  </a:lnTo>
                  <a:lnTo>
                    <a:pt x="65" y="272"/>
                  </a:lnTo>
                  <a:lnTo>
                    <a:pt x="58" y="274"/>
                  </a:lnTo>
                  <a:lnTo>
                    <a:pt x="55" y="275"/>
                  </a:lnTo>
                  <a:lnTo>
                    <a:pt x="55" y="275"/>
                  </a:lnTo>
                  <a:lnTo>
                    <a:pt x="54" y="278"/>
                  </a:lnTo>
                  <a:lnTo>
                    <a:pt x="55" y="281"/>
                  </a:lnTo>
                  <a:lnTo>
                    <a:pt x="57" y="289"/>
                  </a:lnTo>
                  <a:lnTo>
                    <a:pt x="57" y="289"/>
                  </a:lnTo>
                  <a:lnTo>
                    <a:pt x="58" y="302"/>
                  </a:lnTo>
                  <a:lnTo>
                    <a:pt x="57" y="308"/>
                  </a:lnTo>
                  <a:lnTo>
                    <a:pt x="55" y="311"/>
                  </a:lnTo>
                  <a:lnTo>
                    <a:pt x="55" y="311"/>
                  </a:lnTo>
                  <a:lnTo>
                    <a:pt x="55" y="311"/>
                  </a:lnTo>
                  <a:lnTo>
                    <a:pt x="43" y="312"/>
                  </a:lnTo>
                  <a:lnTo>
                    <a:pt x="36" y="312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17" y="318"/>
                  </a:lnTo>
                  <a:lnTo>
                    <a:pt x="11" y="318"/>
                  </a:lnTo>
                  <a:lnTo>
                    <a:pt x="9" y="317"/>
                  </a:lnTo>
                  <a:lnTo>
                    <a:pt x="9" y="315"/>
                  </a:lnTo>
                  <a:lnTo>
                    <a:pt x="9" y="315"/>
                  </a:lnTo>
                  <a:lnTo>
                    <a:pt x="8" y="312"/>
                  </a:lnTo>
                  <a:lnTo>
                    <a:pt x="8" y="309"/>
                  </a:lnTo>
                  <a:lnTo>
                    <a:pt x="5" y="309"/>
                  </a:lnTo>
                  <a:lnTo>
                    <a:pt x="2" y="312"/>
                  </a:lnTo>
                  <a:lnTo>
                    <a:pt x="2" y="312"/>
                  </a:lnTo>
                  <a:lnTo>
                    <a:pt x="0" y="315"/>
                  </a:lnTo>
                  <a:lnTo>
                    <a:pt x="0" y="318"/>
                  </a:lnTo>
                  <a:lnTo>
                    <a:pt x="2" y="326"/>
                  </a:lnTo>
                  <a:lnTo>
                    <a:pt x="3" y="333"/>
                  </a:lnTo>
                  <a:lnTo>
                    <a:pt x="3" y="344"/>
                  </a:lnTo>
                  <a:lnTo>
                    <a:pt x="3" y="344"/>
                  </a:lnTo>
                  <a:lnTo>
                    <a:pt x="2" y="361"/>
                  </a:lnTo>
                  <a:lnTo>
                    <a:pt x="3" y="372"/>
                  </a:lnTo>
                  <a:lnTo>
                    <a:pt x="19" y="370"/>
                  </a:lnTo>
                  <a:lnTo>
                    <a:pt x="19" y="370"/>
                  </a:lnTo>
                  <a:lnTo>
                    <a:pt x="18" y="384"/>
                  </a:lnTo>
                  <a:lnTo>
                    <a:pt x="18" y="384"/>
                  </a:lnTo>
                  <a:lnTo>
                    <a:pt x="19" y="386"/>
                  </a:lnTo>
                  <a:lnTo>
                    <a:pt x="21" y="389"/>
                  </a:lnTo>
                  <a:lnTo>
                    <a:pt x="24" y="392"/>
                  </a:lnTo>
                  <a:lnTo>
                    <a:pt x="24" y="392"/>
                  </a:lnTo>
                  <a:lnTo>
                    <a:pt x="25" y="401"/>
                  </a:lnTo>
                  <a:lnTo>
                    <a:pt x="27" y="407"/>
                  </a:lnTo>
                  <a:lnTo>
                    <a:pt x="28" y="409"/>
                  </a:lnTo>
                  <a:lnTo>
                    <a:pt x="28" y="409"/>
                  </a:lnTo>
                  <a:lnTo>
                    <a:pt x="31" y="412"/>
                  </a:lnTo>
                  <a:lnTo>
                    <a:pt x="34" y="415"/>
                  </a:lnTo>
                  <a:lnTo>
                    <a:pt x="37" y="419"/>
                  </a:lnTo>
                  <a:lnTo>
                    <a:pt x="39" y="425"/>
                  </a:lnTo>
                  <a:lnTo>
                    <a:pt x="39" y="425"/>
                  </a:lnTo>
                  <a:lnTo>
                    <a:pt x="39" y="425"/>
                  </a:lnTo>
                  <a:lnTo>
                    <a:pt x="39" y="428"/>
                  </a:lnTo>
                  <a:lnTo>
                    <a:pt x="42" y="429"/>
                  </a:lnTo>
                  <a:lnTo>
                    <a:pt x="49" y="429"/>
                  </a:lnTo>
                  <a:lnTo>
                    <a:pt x="62" y="428"/>
                  </a:lnTo>
                  <a:lnTo>
                    <a:pt x="62" y="428"/>
                  </a:lnTo>
                  <a:lnTo>
                    <a:pt x="65" y="428"/>
                  </a:lnTo>
                  <a:lnTo>
                    <a:pt x="67" y="431"/>
                  </a:lnTo>
                  <a:lnTo>
                    <a:pt x="70" y="438"/>
                  </a:lnTo>
                  <a:lnTo>
                    <a:pt x="73" y="452"/>
                  </a:lnTo>
                  <a:lnTo>
                    <a:pt x="73" y="452"/>
                  </a:lnTo>
                  <a:lnTo>
                    <a:pt x="74" y="453"/>
                  </a:lnTo>
                  <a:lnTo>
                    <a:pt x="76" y="453"/>
                  </a:lnTo>
                  <a:lnTo>
                    <a:pt x="85" y="455"/>
                  </a:lnTo>
                  <a:lnTo>
                    <a:pt x="98" y="453"/>
                  </a:lnTo>
                  <a:lnTo>
                    <a:pt x="98" y="453"/>
                  </a:lnTo>
                  <a:lnTo>
                    <a:pt x="99" y="455"/>
                  </a:lnTo>
                  <a:lnTo>
                    <a:pt x="99" y="459"/>
                  </a:lnTo>
                  <a:lnTo>
                    <a:pt x="101" y="471"/>
                  </a:lnTo>
                  <a:lnTo>
                    <a:pt x="104" y="495"/>
                  </a:lnTo>
                  <a:lnTo>
                    <a:pt x="104" y="495"/>
                  </a:lnTo>
                  <a:lnTo>
                    <a:pt x="104" y="498"/>
                  </a:lnTo>
                  <a:lnTo>
                    <a:pt x="105" y="499"/>
                  </a:lnTo>
                  <a:lnTo>
                    <a:pt x="113" y="499"/>
                  </a:lnTo>
                  <a:lnTo>
                    <a:pt x="122" y="499"/>
                  </a:lnTo>
                  <a:lnTo>
                    <a:pt x="131" y="499"/>
                  </a:lnTo>
                  <a:lnTo>
                    <a:pt x="131" y="499"/>
                  </a:lnTo>
                  <a:lnTo>
                    <a:pt x="134" y="501"/>
                  </a:lnTo>
                  <a:lnTo>
                    <a:pt x="136" y="496"/>
                  </a:lnTo>
                  <a:lnTo>
                    <a:pt x="156" y="471"/>
                  </a:lnTo>
                  <a:lnTo>
                    <a:pt x="156" y="471"/>
                  </a:lnTo>
                  <a:lnTo>
                    <a:pt x="165" y="458"/>
                  </a:lnTo>
                  <a:lnTo>
                    <a:pt x="169" y="452"/>
                  </a:lnTo>
                  <a:lnTo>
                    <a:pt x="172" y="446"/>
                  </a:lnTo>
                  <a:lnTo>
                    <a:pt x="172" y="446"/>
                  </a:lnTo>
                  <a:lnTo>
                    <a:pt x="173" y="441"/>
                  </a:lnTo>
                  <a:lnTo>
                    <a:pt x="176" y="440"/>
                  </a:lnTo>
                  <a:lnTo>
                    <a:pt x="179" y="440"/>
                  </a:lnTo>
                  <a:lnTo>
                    <a:pt x="182" y="441"/>
                  </a:lnTo>
                  <a:lnTo>
                    <a:pt x="182" y="441"/>
                  </a:lnTo>
                  <a:lnTo>
                    <a:pt x="208" y="449"/>
                  </a:lnTo>
                  <a:lnTo>
                    <a:pt x="208" y="449"/>
                  </a:lnTo>
                  <a:lnTo>
                    <a:pt x="213" y="450"/>
                  </a:lnTo>
                  <a:lnTo>
                    <a:pt x="218" y="453"/>
                  </a:lnTo>
                  <a:lnTo>
                    <a:pt x="221" y="455"/>
                  </a:lnTo>
                  <a:lnTo>
                    <a:pt x="225" y="458"/>
                  </a:lnTo>
                  <a:lnTo>
                    <a:pt x="225" y="458"/>
                  </a:lnTo>
                  <a:lnTo>
                    <a:pt x="227" y="458"/>
                  </a:lnTo>
                  <a:lnTo>
                    <a:pt x="228" y="456"/>
                  </a:lnTo>
                  <a:lnTo>
                    <a:pt x="230" y="453"/>
                  </a:lnTo>
                  <a:lnTo>
                    <a:pt x="231" y="447"/>
                  </a:lnTo>
                  <a:lnTo>
                    <a:pt x="233" y="444"/>
                  </a:lnTo>
                  <a:lnTo>
                    <a:pt x="237" y="443"/>
                  </a:lnTo>
                  <a:lnTo>
                    <a:pt x="237" y="443"/>
                  </a:lnTo>
                  <a:lnTo>
                    <a:pt x="240" y="440"/>
                  </a:lnTo>
                  <a:lnTo>
                    <a:pt x="243" y="437"/>
                  </a:lnTo>
                  <a:lnTo>
                    <a:pt x="246" y="428"/>
                  </a:lnTo>
                  <a:lnTo>
                    <a:pt x="248" y="421"/>
                  </a:lnTo>
                  <a:lnTo>
                    <a:pt x="248" y="415"/>
                  </a:lnTo>
                  <a:lnTo>
                    <a:pt x="248" y="415"/>
                  </a:lnTo>
                  <a:lnTo>
                    <a:pt x="249" y="412"/>
                  </a:lnTo>
                  <a:lnTo>
                    <a:pt x="255" y="409"/>
                  </a:lnTo>
                  <a:lnTo>
                    <a:pt x="261" y="406"/>
                  </a:lnTo>
                  <a:lnTo>
                    <a:pt x="267" y="404"/>
                  </a:lnTo>
                  <a:lnTo>
                    <a:pt x="267" y="404"/>
                  </a:lnTo>
                  <a:lnTo>
                    <a:pt x="268" y="406"/>
                  </a:lnTo>
                  <a:lnTo>
                    <a:pt x="270" y="406"/>
                  </a:lnTo>
                  <a:lnTo>
                    <a:pt x="271" y="410"/>
                  </a:lnTo>
                  <a:lnTo>
                    <a:pt x="274" y="421"/>
                  </a:lnTo>
                  <a:lnTo>
                    <a:pt x="274" y="421"/>
                  </a:lnTo>
                  <a:lnTo>
                    <a:pt x="276" y="422"/>
                  </a:lnTo>
                  <a:lnTo>
                    <a:pt x="277" y="423"/>
                  </a:lnTo>
                  <a:lnTo>
                    <a:pt x="285" y="425"/>
                  </a:lnTo>
                  <a:lnTo>
                    <a:pt x="293" y="423"/>
                  </a:lnTo>
                  <a:lnTo>
                    <a:pt x="301" y="422"/>
                  </a:lnTo>
                  <a:lnTo>
                    <a:pt x="301" y="422"/>
                  </a:lnTo>
                  <a:lnTo>
                    <a:pt x="307" y="421"/>
                  </a:lnTo>
                  <a:lnTo>
                    <a:pt x="310" y="416"/>
                  </a:lnTo>
                  <a:lnTo>
                    <a:pt x="311" y="410"/>
                  </a:lnTo>
                  <a:lnTo>
                    <a:pt x="310" y="404"/>
                  </a:lnTo>
                  <a:lnTo>
                    <a:pt x="310" y="404"/>
                  </a:lnTo>
                  <a:lnTo>
                    <a:pt x="308" y="395"/>
                  </a:lnTo>
                  <a:lnTo>
                    <a:pt x="310" y="385"/>
                  </a:lnTo>
                  <a:lnTo>
                    <a:pt x="311" y="379"/>
                  </a:lnTo>
                  <a:lnTo>
                    <a:pt x="313" y="376"/>
                  </a:lnTo>
                  <a:lnTo>
                    <a:pt x="316" y="373"/>
                  </a:lnTo>
                  <a:lnTo>
                    <a:pt x="320" y="372"/>
                  </a:lnTo>
                  <a:lnTo>
                    <a:pt x="320" y="372"/>
                  </a:lnTo>
                  <a:lnTo>
                    <a:pt x="338" y="370"/>
                  </a:lnTo>
                  <a:lnTo>
                    <a:pt x="338" y="370"/>
                  </a:lnTo>
                  <a:lnTo>
                    <a:pt x="341" y="372"/>
                  </a:lnTo>
                  <a:lnTo>
                    <a:pt x="342" y="373"/>
                  </a:lnTo>
                  <a:lnTo>
                    <a:pt x="345" y="376"/>
                  </a:lnTo>
                  <a:lnTo>
                    <a:pt x="348" y="378"/>
                  </a:lnTo>
                  <a:lnTo>
                    <a:pt x="348" y="378"/>
                  </a:lnTo>
                  <a:lnTo>
                    <a:pt x="353" y="378"/>
                  </a:lnTo>
                  <a:lnTo>
                    <a:pt x="356" y="376"/>
                  </a:lnTo>
                  <a:lnTo>
                    <a:pt x="360" y="375"/>
                  </a:lnTo>
                  <a:lnTo>
                    <a:pt x="366" y="373"/>
                  </a:lnTo>
                  <a:lnTo>
                    <a:pt x="366" y="373"/>
                  </a:lnTo>
                  <a:lnTo>
                    <a:pt x="375" y="370"/>
                  </a:lnTo>
                  <a:lnTo>
                    <a:pt x="382" y="366"/>
                  </a:lnTo>
                  <a:lnTo>
                    <a:pt x="387" y="360"/>
                  </a:lnTo>
                  <a:lnTo>
                    <a:pt x="388" y="357"/>
                  </a:lnTo>
                  <a:lnTo>
                    <a:pt x="388" y="354"/>
                  </a:lnTo>
                  <a:lnTo>
                    <a:pt x="388" y="354"/>
                  </a:lnTo>
                  <a:lnTo>
                    <a:pt x="384" y="348"/>
                  </a:lnTo>
                  <a:lnTo>
                    <a:pt x="381" y="341"/>
                  </a:lnTo>
                  <a:lnTo>
                    <a:pt x="381" y="341"/>
                  </a:lnTo>
                  <a:lnTo>
                    <a:pt x="381" y="336"/>
                  </a:lnTo>
                  <a:lnTo>
                    <a:pt x="382" y="332"/>
                  </a:lnTo>
                  <a:lnTo>
                    <a:pt x="387" y="330"/>
                  </a:lnTo>
                  <a:lnTo>
                    <a:pt x="393" y="329"/>
                  </a:lnTo>
                  <a:lnTo>
                    <a:pt x="393" y="329"/>
                  </a:lnTo>
                  <a:lnTo>
                    <a:pt x="396" y="327"/>
                  </a:lnTo>
                  <a:lnTo>
                    <a:pt x="400" y="324"/>
                  </a:lnTo>
                  <a:lnTo>
                    <a:pt x="406" y="315"/>
                  </a:lnTo>
                  <a:lnTo>
                    <a:pt x="410" y="306"/>
                  </a:lnTo>
                  <a:lnTo>
                    <a:pt x="412" y="301"/>
                  </a:lnTo>
                  <a:lnTo>
                    <a:pt x="412" y="298"/>
                  </a:lnTo>
                  <a:lnTo>
                    <a:pt x="412" y="298"/>
                  </a:lnTo>
                  <a:lnTo>
                    <a:pt x="409" y="292"/>
                  </a:lnTo>
                  <a:lnTo>
                    <a:pt x="406" y="287"/>
                  </a:lnTo>
                  <a:lnTo>
                    <a:pt x="402" y="281"/>
                  </a:lnTo>
                  <a:lnTo>
                    <a:pt x="399" y="275"/>
                  </a:lnTo>
                  <a:lnTo>
                    <a:pt x="399" y="275"/>
                  </a:lnTo>
                  <a:lnTo>
                    <a:pt x="399" y="272"/>
                  </a:lnTo>
                  <a:lnTo>
                    <a:pt x="399" y="269"/>
                  </a:lnTo>
                  <a:lnTo>
                    <a:pt x="402" y="265"/>
                  </a:lnTo>
                  <a:lnTo>
                    <a:pt x="409" y="261"/>
                  </a:lnTo>
                  <a:lnTo>
                    <a:pt x="409" y="261"/>
                  </a:lnTo>
                  <a:lnTo>
                    <a:pt x="412" y="256"/>
                  </a:lnTo>
                  <a:lnTo>
                    <a:pt x="410" y="252"/>
                  </a:lnTo>
                  <a:lnTo>
                    <a:pt x="407" y="247"/>
                  </a:lnTo>
                  <a:lnTo>
                    <a:pt x="402" y="241"/>
                  </a:lnTo>
                  <a:lnTo>
                    <a:pt x="402" y="241"/>
                  </a:lnTo>
                  <a:lnTo>
                    <a:pt x="399" y="238"/>
                  </a:lnTo>
                  <a:lnTo>
                    <a:pt x="399" y="237"/>
                  </a:lnTo>
                  <a:lnTo>
                    <a:pt x="399" y="237"/>
                  </a:lnTo>
                  <a:lnTo>
                    <a:pt x="403" y="235"/>
                  </a:lnTo>
                  <a:lnTo>
                    <a:pt x="406" y="234"/>
                  </a:lnTo>
                  <a:lnTo>
                    <a:pt x="406" y="234"/>
                  </a:lnTo>
                  <a:lnTo>
                    <a:pt x="412" y="231"/>
                  </a:lnTo>
                  <a:lnTo>
                    <a:pt x="421" y="228"/>
                  </a:lnTo>
                  <a:lnTo>
                    <a:pt x="430" y="227"/>
                  </a:lnTo>
                  <a:lnTo>
                    <a:pt x="439" y="227"/>
                  </a:lnTo>
                  <a:lnTo>
                    <a:pt x="439" y="227"/>
                  </a:lnTo>
                  <a:lnTo>
                    <a:pt x="446" y="227"/>
                  </a:lnTo>
                  <a:lnTo>
                    <a:pt x="452" y="225"/>
                  </a:lnTo>
                  <a:lnTo>
                    <a:pt x="458" y="222"/>
                  </a:lnTo>
                  <a:lnTo>
                    <a:pt x="462" y="218"/>
                  </a:lnTo>
                  <a:lnTo>
                    <a:pt x="462" y="218"/>
                  </a:lnTo>
                  <a:lnTo>
                    <a:pt x="468" y="212"/>
                  </a:lnTo>
                  <a:lnTo>
                    <a:pt x="477" y="204"/>
                  </a:lnTo>
                  <a:lnTo>
                    <a:pt x="486" y="198"/>
                  </a:lnTo>
                  <a:lnTo>
                    <a:pt x="493" y="194"/>
                  </a:lnTo>
                  <a:lnTo>
                    <a:pt x="493" y="194"/>
                  </a:lnTo>
                  <a:lnTo>
                    <a:pt x="510" y="187"/>
                  </a:lnTo>
                  <a:lnTo>
                    <a:pt x="520" y="181"/>
                  </a:lnTo>
                  <a:lnTo>
                    <a:pt x="530" y="173"/>
                  </a:lnTo>
                  <a:lnTo>
                    <a:pt x="530" y="173"/>
                  </a:lnTo>
                  <a:lnTo>
                    <a:pt x="538" y="166"/>
                  </a:lnTo>
                  <a:lnTo>
                    <a:pt x="542" y="158"/>
                  </a:lnTo>
                  <a:lnTo>
                    <a:pt x="545" y="152"/>
                  </a:lnTo>
                  <a:lnTo>
                    <a:pt x="545" y="147"/>
                  </a:lnTo>
                  <a:lnTo>
                    <a:pt x="545" y="147"/>
                  </a:lnTo>
                  <a:lnTo>
                    <a:pt x="547" y="142"/>
                  </a:lnTo>
                  <a:lnTo>
                    <a:pt x="550" y="138"/>
                  </a:lnTo>
                  <a:lnTo>
                    <a:pt x="554" y="126"/>
                  </a:lnTo>
                  <a:lnTo>
                    <a:pt x="554" y="126"/>
                  </a:lnTo>
                  <a:lnTo>
                    <a:pt x="558" y="114"/>
                  </a:lnTo>
                  <a:lnTo>
                    <a:pt x="561" y="110"/>
                  </a:lnTo>
                  <a:lnTo>
                    <a:pt x="564" y="105"/>
                  </a:lnTo>
                  <a:lnTo>
                    <a:pt x="564" y="105"/>
                  </a:lnTo>
                  <a:lnTo>
                    <a:pt x="569" y="102"/>
                  </a:lnTo>
                  <a:lnTo>
                    <a:pt x="573" y="99"/>
                  </a:lnTo>
                  <a:lnTo>
                    <a:pt x="579" y="96"/>
                  </a:lnTo>
                  <a:lnTo>
                    <a:pt x="582" y="92"/>
                  </a:lnTo>
                  <a:lnTo>
                    <a:pt x="582" y="92"/>
                  </a:lnTo>
                  <a:lnTo>
                    <a:pt x="584" y="87"/>
                  </a:lnTo>
                  <a:lnTo>
                    <a:pt x="584" y="84"/>
                  </a:lnTo>
                  <a:lnTo>
                    <a:pt x="584" y="84"/>
                  </a:lnTo>
                  <a:lnTo>
                    <a:pt x="582" y="81"/>
                  </a:lnTo>
                  <a:lnTo>
                    <a:pt x="581" y="80"/>
                  </a:lnTo>
                  <a:lnTo>
                    <a:pt x="576" y="78"/>
                  </a:lnTo>
                  <a:lnTo>
                    <a:pt x="576" y="78"/>
                  </a:lnTo>
                  <a:lnTo>
                    <a:pt x="566" y="78"/>
                  </a:lnTo>
                  <a:lnTo>
                    <a:pt x="557" y="78"/>
                  </a:lnTo>
                  <a:lnTo>
                    <a:pt x="547" y="77"/>
                  </a:lnTo>
                  <a:lnTo>
                    <a:pt x="547" y="77"/>
                  </a:lnTo>
                  <a:lnTo>
                    <a:pt x="533" y="70"/>
                  </a:lnTo>
                  <a:lnTo>
                    <a:pt x="517" y="58"/>
                  </a:lnTo>
                  <a:lnTo>
                    <a:pt x="496" y="43"/>
                  </a:lnTo>
                  <a:lnTo>
                    <a:pt x="495" y="28"/>
                  </a:lnTo>
                  <a:lnTo>
                    <a:pt x="495" y="28"/>
                  </a:lnTo>
                  <a:lnTo>
                    <a:pt x="486" y="27"/>
                  </a:lnTo>
                  <a:lnTo>
                    <a:pt x="471" y="25"/>
                  </a:lnTo>
                  <a:lnTo>
                    <a:pt x="471" y="25"/>
                  </a:lnTo>
                  <a:lnTo>
                    <a:pt x="467" y="24"/>
                  </a:lnTo>
                  <a:lnTo>
                    <a:pt x="464" y="21"/>
                  </a:lnTo>
                  <a:lnTo>
                    <a:pt x="459" y="16"/>
                  </a:lnTo>
                  <a:lnTo>
                    <a:pt x="459" y="16"/>
                  </a:lnTo>
                  <a:lnTo>
                    <a:pt x="456" y="12"/>
                  </a:lnTo>
                  <a:lnTo>
                    <a:pt x="455" y="9"/>
                  </a:lnTo>
                  <a:lnTo>
                    <a:pt x="453" y="6"/>
                  </a:lnTo>
                  <a:lnTo>
                    <a:pt x="449" y="4"/>
                  </a:lnTo>
                  <a:lnTo>
                    <a:pt x="449" y="4"/>
                  </a:lnTo>
                  <a:lnTo>
                    <a:pt x="444" y="4"/>
                  </a:lnTo>
                  <a:lnTo>
                    <a:pt x="439" y="7"/>
                  </a:lnTo>
                  <a:lnTo>
                    <a:pt x="434" y="10"/>
                  </a:lnTo>
                  <a:lnTo>
                    <a:pt x="431" y="13"/>
                  </a:lnTo>
                  <a:lnTo>
                    <a:pt x="431" y="13"/>
                  </a:lnTo>
                  <a:lnTo>
                    <a:pt x="428" y="16"/>
                  </a:lnTo>
                  <a:lnTo>
                    <a:pt x="425" y="16"/>
                  </a:lnTo>
                  <a:lnTo>
                    <a:pt x="415" y="15"/>
                  </a:lnTo>
                  <a:lnTo>
                    <a:pt x="415" y="15"/>
                  </a:lnTo>
                  <a:lnTo>
                    <a:pt x="410" y="13"/>
                  </a:lnTo>
                  <a:lnTo>
                    <a:pt x="407" y="10"/>
                  </a:lnTo>
                  <a:lnTo>
                    <a:pt x="406" y="7"/>
                  </a:lnTo>
                  <a:lnTo>
                    <a:pt x="404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399" y="7"/>
                  </a:lnTo>
                  <a:lnTo>
                    <a:pt x="397" y="10"/>
                  </a:lnTo>
                  <a:lnTo>
                    <a:pt x="394" y="12"/>
                  </a:lnTo>
                  <a:lnTo>
                    <a:pt x="394" y="12"/>
                  </a:lnTo>
                  <a:lnTo>
                    <a:pt x="393" y="13"/>
                  </a:lnTo>
                  <a:lnTo>
                    <a:pt x="391" y="12"/>
                  </a:lnTo>
                  <a:lnTo>
                    <a:pt x="388" y="9"/>
                  </a:lnTo>
                  <a:lnTo>
                    <a:pt x="384" y="4"/>
                  </a:lnTo>
                  <a:lnTo>
                    <a:pt x="381" y="0"/>
                  </a:lnTo>
                  <a:lnTo>
                    <a:pt x="381" y="0"/>
                  </a:lnTo>
                  <a:lnTo>
                    <a:pt x="376" y="0"/>
                  </a:lnTo>
                  <a:lnTo>
                    <a:pt x="375" y="0"/>
                  </a:lnTo>
                  <a:lnTo>
                    <a:pt x="369" y="4"/>
                  </a:lnTo>
                  <a:lnTo>
                    <a:pt x="369" y="4"/>
                  </a:lnTo>
                  <a:lnTo>
                    <a:pt x="367" y="4"/>
                  </a:lnTo>
                  <a:lnTo>
                    <a:pt x="365" y="3"/>
                  </a:lnTo>
                  <a:lnTo>
                    <a:pt x="363" y="1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6" y="0"/>
                  </a:lnTo>
                  <a:lnTo>
                    <a:pt x="351" y="1"/>
                  </a:lnTo>
                  <a:lnTo>
                    <a:pt x="347" y="4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4" name="Freeform 53">
              <a:extLst>
                <a:ext uri="{FF2B5EF4-FFF2-40B4-BE49-F238E27FC236}">
                  <a16:creationId xmlns:a16="http://schemas.microsoft.com/office/drawing/2014/main" id="{9256ABB7-AA0F-0745-9AC8-6B8B143F6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25" y="5226050"/>
              <a:ext cx="425450" cy="509587"/>
            </a:xfrm>
            <a:custGeom>
              <a:avLst/>
              <a:gdLst>
                <a:gd name="T0" fmla="*/ 16 w 268"/>
                <a:gd name="T1" fmla="*/ 163 h 321"/>
                <a:gd name="T2" fmla="*/ 16 w 268"/>
                <a:gd name="T3" fmla="*/ 180 h 321"/>
                <a:gd name="T4" fmla="*/ 40 w 268"/>
                <a:gd name="T5" fmla="*/ 201 h 321"/>
                <a:gd name="T6" fmla="*/ 59 w 268"/>
                <a:gd name="T7" fmla="*/ 229 h 321"/>
                <a:gd name="T8" fmla="*/ 67 w 268"/>
                <a:gd name="T9" fmla="*/ 229 h 321"/>
                <a:gd name="T10" fmla="*/ 84 w 268"/>
                <a:gd name="T11" fmla="*/ 228 h 321"/>
                <a:gd name="T12" fmla="*/ 89 w 268"/>
                <a:gd name="T13" fmla="*/ 240 h 321"/>
                <a:gd name="T14" fmla="*/ 89 w 268"/>
                <a:gd name="T15" fmla="*/ 254 h 321"/>
                <a:gd name="T16" fmla="*/ 102 w 268"/>
                <a:gd name="T17" fmla="*/ 263 h 321"/>
                <a:gd name="T18" fmla="*/ 132 w 268"/>
                <a:gd name="T19" fmla="*/ 278 h 321"/>
                <a:gd name="T20" fmla="*/ 123 w 268"/>
                <a:gd name="T21" fmla="*/ 284 h 321"/>
                <a:gd name="T22" fmla="*/ 139 w 268"/>
                <a:gd name="T23" fmla="*/ 299 h 321"/>
                <a:gd name="T24" fmla="*/ 157 w 268"/>
                <a:gd name="T25" fmla="*/ 297 h 321"/>
                <a:gd name="T26" fmla="*/ 170 w 268"/>
                <a:gd name="T27" fmla="*/ 296 h 321"/>
                <a:gd name="T28" fmla="*/ 194 w 268"/>
                <a:gd name="T29" fmla="*/ 318 h 321"/>
                <a:gd name="T30" fmla="*/ 201 w 268"/>
                <a:gd name="T31" fmla="*/ 321 h 321"/>
                <a:gd name="T32" fmla="*/ 216 w 268"/>
                <a:gd name="T33" fmla="*/ 315 h 321"/>
                <a:gd name="T34" fmla="*/ 221 w 268"/>
                <a:gd name="T35" fmla="*/ 306 h 321"/>
                <a:gd name="T36" fmla="*/ 238 w 268"/>
                <a:gd name="T37" fmla="*/ 299 h 321"/>
                <a:gd name="T38" fmla="*/ 250 w 268"/>
                <a:gd name="T39" fmla="*/ 283 h 321"/>
                <a:gd name="T40" fmla="*/ 253 w 268"/>
                <a:gd name="T41" fmla="*/ 274 h 321"/>
                <a:gd name="T42" fmla="*/ 247 w 268"/>
                <a:gd name="T43" fmla="*/ 257 h 321"/>
                <a:gd name="T44" fmla="*/ 249 w 268"/>
                <a:gd name="T45" fmla="*/ 226 h 321"/>
                <a:gd name="T46" fmla="*/ 256 w 268"/>
                <a:gd name="T47" fmla="*/ 207 h 321"/>
                <a:gd name="T48" fmla="*/ 261 w 268"/>
                <a:gd name="T49" fmla="*/ 192 h 321"/>
                <a:gd name="T50" fmla="*/ 268 w 268"/>
                <a:gd name="T51" fmla="*/ 185 h 321"/>
                <a:gd name="T52" fmla="*/ 261 w 268"/>
                <a:gd name="T53" fmla="*/ 174 h 321"/>
                <a:gd name="T54" fmla="*/ 234 w 268"/>
                <a:gd name="T55" fmla="*/ 154 h 321"/>
                <a:gd name="T56" fmla="*/ 216 w 268"/>
                <a:gd name="T57" fmla="*/ 136 h 321"/>
                <a:gd name="T58" fmla="*/ 200 w 268"/>
                <a:gd name="T59" fmla="*/ 121 h 321"/>
                <a:gd name="T60" fmla="*/ 185 w 268"/>
                <a:gd name="T61" fmla="*/ 124 h 321"/>
                <a:gd name="T62" fmla="*/ 173 w 268"/>
                <a:gd name="T63" fmla="*/ 129 h 321"/>
                <a:gd name="T64" fmla="*/ 166 w 268"/>
                <a:gd name="T65" fmla="*/ 111 h 321"/>
                <a:gd name="T66" fmla="*/ 158 w 268"/>
                <a:gd name="T67" fmla="*/ 102 h 321"/>
                <a:gd name="T68" fmla="*/ 160 w 268"/>
                <a:gd name="T69" fmla="*/ 90 h 321"/>
                <a:gd name="T70" fmla="*/ 158 w 268"/>
                <a:gd name="T71" fmla="*/ 68 h 321"/>
                <a:gd name="T72" fmla="*/ 144 w 268"/>
                <a:gd name="T73" fmla="*/ 46 h 321"/>
                <a:gd name="T74" fmla="*/ 135 w 268"/>
                <a:gd name="T75" fmla="*/ 49 h 321"/>
                <a:gd name="T76" fmla="*/ 113 w 268"/>
                <a:gd name="T77" fmla="*/ 38 h 321"/>
                <a:gd name="T78" fmla="*/ 96 w 268"/>
                <a:gd name="T79" fmla="*/ 20 h 321"/>
                <a:gd name="T80" fmla="*/ 92 w 268"/>
                <a:gd name="T81" fmla="*/ 13 h 321"/>
                <a:gd name="T82" fmla="*/ 96 w 268"/>
                <a:gd name="T83" fmla="*/ 9 h 321"/>
                <a:gd name="T84" fmla="*/ 77 w 268"/>
                <a:gd name="T85" fmla="*/ 9 h 321"/>
                <a:gd name="T86" fmla="*/ 62 w 268"/>
                <a:gd name="T87" fmla="*/ 20 h 321"/>
                <a:gd name="T88" fmla="*/ 56 w 268"/>
                <a:gd name="T89" fmla="*/ 29 h 321"/>
                <a:gd name="T90" fmla="*/ 43 w 268"/>
                <a:gd name="T91" fmla="*/ 38 h 321"/>
                <a:gd name="T92" fmla="*/ 43 w 268"/>
                <a:gd name="T93" fmla="*/ 44 h 321"/>
                <a:gd name="T94" fmla="*/ 55 w 268"/>
                <a:gd name="T95" fmla="*/ 69 h 321"/>
                <a:gd name="T96" fmla="*/ 53 w 268"/>
                <a:gd name="T97" fmla="*/ 86 h 321"/>
                <a:gd name="T98" fmla="*/ 38 w 268"/>
                <a:gd name="T99" fmla="*/ 123 h 321"/>
                <a:gd name="T100" fmla="*/ 24 w 268"/>
                <a:gd name="T101" fmla="*/ 142 h 321"/>
                <a:gd name="T102" fmla="*/ 16 w 268"/>
                <a:gd name="T103" fmla="*/ 142 h 321"/>
                <a:gd name="T104" fmla="*/ 0 w 268"/>
                <a:gd name="T105" fmla="*/ 149 h 321"/>
                <a:gd name="T106" fmla="*/ 3 w 268"/>
                <a:gd name="T107" fmla="*/ 15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8" h="321">
                  <a:moveTo>
                    <a:pt x="12" y="160"/>
                  </a:moveTo>
                  <a:lnTo>
                    <a:pt x="12" y="160"/>
                  </a:lnTo>
                  <a:lnTo>
                    <a:pt x="15" y="161"/>
                  </a:lnTo>
                  <a:lnTo>
                    <a:pt x="16" y="163"/>
                  </a:lnTo>
                  <a:lnTo>
                    <a:pt x="18" y="167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6" y="180"/>
                  </a:lnTo>
                  <a:lnTo>
                    <a:pt x="19" y="183"/>
                  </a:lnTo>
                  <a:lnTo>
                    <a:pt x="30" y="189"/>
                  </a:lnTo>
                  <a:lnTo>
                    <a:pt x="30" y="189"/>
                  </a:lnTo>
                  <a:lnTo>
                    <a:pt x="40" y="201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6" y="222"/>
                  </a:lnTo>
                  <a:lnTo>
                    <a:pt x="59" y="229"/>
                  </a:lnTo>
                  <a:lnTo>
                    <a:pt x="59" y="229"/>
                  </a:lnTo>
                  <a:lnTo>
                    <a:pt x="61" y="231"/>
                  </a:lnTo>
                  <a:lnTo>
                    <a:pt x="62" y="231"/>
                  </a:lnTo>
                  <a:lnTo>
                    <a:pt x="67" y="229"/>
                  </a:lnTo>
                  <a:lnTo>
                    <a:pt x="73" y="228"/>
                  </a:lnTo>
                  <a:lnTo>
                    <a:pt x="80" y="226"/>
                  </a:lnTo>
                  <a:lnTo>
                    <a:pt x="80" y="226"/>
                  </a:lnTo>
                  <a:lnTo>
                    <a:pt x="84" y="228"/>
                  </a:lnTo>
                  <a:lnTo>
                    <a:pt x="86" y="228"/>
                  </a:lnTo>
                  <a:lnTo>
                    <a:pt x="87" y="231"/>
                  </a:lnTo>
                  <a:lnTo>
                    <a:pt x="89" y="232"/>
                  </a:lnTo>
                  <a:lnTo>
                    <a:pt x="89" y="240"/>
                  </a:lnTo>
                  <a:lnTo>
                    <a:pt x="87" y="246"/>
                  </a:lnTo>
                  <a:lnTo>
                    <a:pt x="87" y="246"/>
                  </a:lnTo>
                  <a:lnTo>
                    <a:pt x="87" y="252"/>
                  </a:lnTo>
                  <a:lnTo>
                    <a:pt x="89" y="254"/>
                  </a:lnTo>
                  <a:lnTo>
                    <a:pt x="92" y="256"/>
                  </a:lnTo>
                  <a:lnTo>
                    <a:pt x="96" y="259"/>
                  </a:lnTo>
                  <a:lnTo>
                    <a:pt x="96" y="259"/>
                  </a:lnTo>
                  <a:lnTo>
                    <a:pt x="102" y="263"/>
                  </a:lnTo>
                  <a:lnTo>
                    <a:pt x="108" y="266"/>
                  </a:lnTo>
                  <a:lnTo>
                    <a:pt x="127" y="274"/>
                  </a:lnTo>
                  <a:lnTo>
                    <a:pt x="127" y="274"/>
                  </a:lnTo>
                  <a:lnTo>
                    <a:pt x="132" y="278"/>
                  </a:lnTo>
                  <a:lnTo>
                    <a:pt x="133" y="280"/>
                  </a:lnTo>
                  <a:lnTo>
                    <a:pt x="132" y="281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6"/>
                  </a:lnTo>
                  <a:lnTo>
                    <a:pt x="123" y="289"/>
                  </a:lnTo>
                  <a:lnTo>
                    <a:pt x="130" y="293"/>
                  </a:lnTo>
                  <a:lnTo>
                    <a:pt x="139" y="299"/>
                  </a:lnTo>
                  <a:lnTo>
                    <a:pt x="147" y="300"/>
                  </a:lnTo>
                  <a:lnTo>
                    <a:pt x="147" y="300"/>
                  </a:lnTo>
                  <a:lnTo>
                    <a:pt x="152" y="300"/>
                  </a:lnTo>
                  <a:lnTo>
                    <a:pt x="157" y="297"/>
                  </a:lnTo>
                  <a:lnTo>
                    <a:pt x="161" y="296"/>
                  </a:lnTo>
                  <a:lnTo>
                    <a:pt x="167" y="294"/>
                  </a:lnTo>
                  <a:lnTo>
                    <a:pt x="167" y="294"/>
                  </a:lnTo>
                  <a:lnTo>
                    <a:pt x="170" y="296"/>
                  </a:lnTo>
                  <a:lnTo>
                    <a:pt x="173" y="297"/>
                  </a:lnTo>
                  <a:lnTo>
                    <a:pt x="179" y="302"/>
                  </a:lnTo>
                  <a:lnTo>
                    <a:pt x="187" y="309"/>
                  </a:lnTo>
                  <a:lnTo>
                    <a:pt x="194" y="318"/>
                  </a:lnTo>
                  <a:lnTo>
                    <a:pt x="194" y="318"/>
                  </a:lnTo>
                  <a:lnTo>
                    <a:pt x="197" y="320"/>
                  </a:lnTo>
                  <a:lnTo>
                    <a:pt x="197" y="320"/>
                  </a:lnTo>
                  <a:lnTo>
                    <a:pt x="201" y="321"/>
                  </a:lnTo>
                  <a:lnTo>
                    <a:pt x="206" y="321"/>
                  </a:lnTo>
                  <a:lnTo>
                    <a:pt x="209" y="321"/>
                  </a:lnTo>
                  <a:lnTo>
                    <a:pt x="212" y="320"/>
                  </a:lnTo>
                  <a:lnTo>
                    <a:pt x="216" y="315"/>
                  </a:lnTo>
                  <a:lnTo>
                    <a:pt x="218" y="309"/>
                  </a:lnTo>
                  <a:lnTo>
                    <a:pt x="218" y="309"/>
                  </a:lnTo>
                  <a:lnTo>
                    <a:pt x="219" y="308"/>
                  </a:lnTo>
                  <a:lnTo>
                    <a:pt x="221" y="306"/>
                  </a:lnTo>
                  <a:lnTo>
                    <a:pt x="227" y="303"/>
                  </a:lnTo>
                  <a:lnTo>
                    <a:pt x="232" y="302"/>
                  </a:lnTo>
                  <a:lnTo>
                    <a:pt x="238" y="299"/>
                  </a:lnTo>
                  <a:lnTo>
                    <a:pt x="238" y="299"/>
                  </a:lnTo>
                  <a:lnTo>
                    <a:pt x="241" y="294"/>
                  </a:lnTo>
                  <a:lnTo>
                    <a:pt x="244" y="290"/>
                  </a:lnTo>
                  <a:lnTo>
                    <a:pt x="247" y="286"/>
                  </a:lnTo>
                  <a:lnTo>
                    <a:pt x="250" y="283"/>
                  </a:lnTo>
                  <a:lnTo>
                    <a:pt x="250" y="283"/>
                  </a:lnTo>
                  <a:lnTo>
                    <a:pt x="252" y="281"/>
                  </a:lnTo>
                  <a:lnTo>
                    <a:pt x="252" y="280"/>
                  </a:lnTo>
                  <a:lnTo>
                    <a:pt x="253" y="274"/>
                  </a:lnTo>
                  <a:lnTo>
                    <a:pt x="252" y="268"/>
                  </a:lnTo>
                  <a:lnTo>
                    <a:pt x="249" y="263"/>
                  </a:lnTo>
                  <a:lnTo>
                    <a:pt x="249" y="263"/>
                  </a:lnTo>
                  <a:lnTo>
                    <a:pt x="247" y="257"/>
                  </a:lnTo>
                  <a:lnTo>
                    <a:pt x="246" y="250"/>
                  </a:lnTo>
                  <a:lnTo>
                    <a:pt x="246" y="235"/>
                  </a:lnTo>
                  <a:lnTo>
                    <a:pt x="246" y="235"/>
                  </a:lnTo>
                  <a:lnTo>
                    <a:pt x="249" y="226"/>
                  </a:lnTo>
                  <a:lnTo>
                    <a:pt x="253" y="216"/>
                  </a:lnTo>
                  <a:lnTo>
                    <a:pt x="253" y="216"/>
                  </a:lnTo>
                  <a:lnTo>
                    <a:pt x="256" y="212"/>
                  </a:lnTo>
                  <a:lnTo>
                    <a:pt x="256" y="207"/>
                  </a:lnTo>
                  <a:lnTo>
                    <a:pt x="255" y="201"/>
                  </a:lnTo>
                  <a:lnTo>
                    <a:pt x="255" y="201"/>
                  </a:lnTo>
                  <a:lnTo>
                    <a:pt x="256" y="197"/>
                  </a:lnTo>
                  <a:lnTo>
                    <a:pt x="261" y="192"/>
                  </a:lnTo>
                  <a:lnTo>
                    <a:pt x="265" y="188"/>
                  </a:lnTo>
                  <a:lnTo>
                    <a:pt x="267" y="186"/>
                  </a:lnTo>
                  <a:lnTo>
                    <a:pt x="268" y="185"/>
                  </a:lnTo>
                  <a:lnTo>
                    <a:pt x="268" y="185"/>
                  </a:lnTo>
                  <a:lnTo>
                    <a:pt x="267" y="182"/>
                  </a:lnTo>
                  <a:lnTo>
                    <a:pt x="265" y="179"/>
                  </a:lnTo>
                  <a:lnTo>
                    <a:pt x="261" y="174"/>
                  </a:lnTo>
                  <a:lnTo>
                    <a:pt x="261" y="174"/>
                  </a:lnTo>
                  <a:lnTo>
                    <a:pt x="250" y="167"/>
                  </a:lnTo>
                  <a:lnTo>
                    <a:pt x="250" y="167"/>
                  </a:lnTo>
                  <a:lnTo>
                    <a:pt x="240" y="158"/>
                  </a:lnTo>
                  <a:lnTo>
                    <a:pt x="234" y="154"/>
                  </a:lnTo>
                  <a:lnTo>
                    <a:pt x="228" y="148"/>
                  </a:lnTo>
                  <a:lnTo>
                    <a:pt x="228" y="148"/>
                  </a:lnTo>
                  <a:lnTo>
                    <a:pt x="222" y="142"/>
                  </a:lnTo>
                  <a:lnTo>
                    <a:pt x="216" y="136"/>
                  </a:lnTo>
                  <a:lnTo>
                    <a:pt x="212" y="132"/>
                  </a:lnTo>
                  <a:lnTo>
                    <a:pt x="206" y="126"/>
                  </a:lnTo>
                  <a:lnTo>
                    <a:pt x="206" y="126"/>
                  </a:lnTo>
                  <a:lnTo>
                    <a:pt x="200" y="121"/>
                  </a:lnTo>
                  <a:lnTo>
                    <a:pt x="195" y="120"/>
                  </a:lnTo>
                  <a:lnTo>
                    <a:pt x="191" y="121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81" y="132"/>
                  </a:lnTo>
                  <a:lnTo>
                    <a:pt x="178" y="132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2" y="126"/>
                  </a:lnTo>
                  <a:lnTo>
                    <a:pt x="170" y="123"/>
                  </a:lnTo>
                  <a:lnTo>
                    <a:pt x="167" y="117"/>
                  </a:lnTo>
                  <a:lnTo>
                    <a:pt x="166" y="111"/>
                  </a:lnTo>
                  <a:lnTo>
                    <a:pt x="164" y="108"/>
                  </a:lnTo>
                  <a:lnTo>
                    <a:pt x="161" y="105"/>
                  </a:lnTo>
                  <a:lnTo>
                    <a:pt x="161" y="105"/>
                  </a:lnTo>
                  <a:lnTo>
                    <a:pt x="158" y="102"/>
                  </a:lnTo>
                  <a:lnTo>
                    <a:pt x="157" y="99"/>
                  </a:lnTo>
                  <a:lnTo>
                    <a:pt x="157" y="97"/>
                  </a:lnTo>
                  <a:lnTo>
                    <a:pt x="157" y="96"/>
                  </a:lnTo>
                  <a:lnTo>
                    <a:pt x="160" y="90"/>
                  </a:lnTo>
                  <a:lnTo>
                    <a:pt x="163" y="83"/>
                  </a:lnTo>
                  <a:lnTo>
                    <a:pt x="163" y="83"/>
                  </a:lnTo>
                  <a:lnTo>
                    <a:pt x="161" y="75"/>
                  </a:lnTo>
                  <a:lnTo>
                    <a:pt x="158" y="68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5" y="47"/>
                  </a:lnTo>
                  <a:lnTo>
                    <a:pt x="144" y="46"/>
                  </a:lnTo>
                  <a:lnTo>
                    <a:pt x="142" y="46"/>
                  </a:lnTo>
                  <a:lnTo>
                    <a:pt x="139" y="47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27" y="47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05" y="34"/>
                  </a:lnTo>
                  <a:lnTo>
                    <a:pt x="104" y="29"/>
                  </a:lnTo>
                  <a:lnTo>
                    <a:pt x="101" y="2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3" y="18"/>
                  </a:lnTo>
                  <a:lnTo>
                    <a:pt x="92" y="16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5" y="10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89" y="4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7" y="9"/>
                  </a:lnTo>
                  <a:lnTo>
                    <a:pt x="73" y="15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2" y="20"/>
                  </a:lnTo>
                  <a:lnTo>
                    <a:pt x="59" y="22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2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3" y="44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3" y="60"/>
                  </a:lnTo>
                  <a:lnTo>
                    <a:pt x="55" y="69"/>
                  </a:lnTo>
                  <a:lnTo>
                    <a:pt x="56" y="78"/>
                  </a:lnTo>
                  <a:lnTo>
                    <a:pt x="55" y="83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49" y="93"/>
                  </a:lnTo>
                  <a:lnTo>
                    <a:pt x="46" y="10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6" y="130"/>
                  </a:lnTo>
                  <a:lnTo>
                    <a:pt x="31" y="136"/>
                  </a:lnTo>
                  <a:lnTo>
                    <a:pt x="27" y="140"/>
                  </a:lnTo>
                  <a:lnTo>
                    <a:pt x="24" y="142"/>
                  </a:lnTo>
                  <a:lnTo>
                    <a:pt x="21" y="142"/>
                  </a:lnTo>
                  <a:lnTo>
                    <a:pt x="21" y="142"/>
                  </a:lnTo>
                  <a:lnTo>
                    <a:pt x="18" y="142"/>
                  </a:lnTo>
                  <a:lnTo>
                    <a:pt x="16" y="142"/>
                  </a:lnTo>
                  <a:lnTo>
                    <a:pt x="12" y="145"/>
                  </a:lnTo>
                  <a:lnTo>
                    <a:pt x="7" y="148"/>
                  </a:lnTo>
                  <a:lnTo>
                    <a:pt x="4" y="149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1" y="157"/>
                  </a:lnTo>
                  <a:lnTo>
                    <a:pt x="1" y="157"/>
                  </a:lnTo>
                  <a:lnTo>
                    <a:pt x="3" y="158"/>
                  </a:lnTo>
                  <a:lnTo>
                    <a:pt x="4" y="160"/>
                  </a:lnTo>
                  <a:lnTo>
                    <a:pt x="12" y="160"/>
                  </a:lnTo>
                  <a:lnTo>
                    <a:pt x="12" y="16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5" name="Freeform 54">
              <a:extLst>
                <a:ext uri="{FF2B5EF4-FFF2-40B4-BE49-F238E27FC236}">
                  <a16:creationId xmlns:a16="http://schemas.microsoft.com/office/drawing/2014/main" id="{6221EBFE-3957-C54A-A24B-E6DE9EA42D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4699000"/>
              <a:ext cx="288925" cy="355600"/>
            </a:xfrm>
            <a:custGeom>
              <a:avLst/>
              <a:gdLst>
                <a:gd name="T0" fmla="*/ 75 w 182"/>
                <a:gd name="T1" fmla="*/ 222 h 224"/>
                <a:gd name="T2" fmla="*/ 86 w 182"/>
                <a:gd name="T3" fmla="*/ 219 h 224"/>
                <a:gd name="T4" fmla="*/ 100 w 182"/>
                <a:gd name="T5" fmla="*/ 213 h 224"/>
                <a:gd name="T6" fmla="*/ 108 w 182"/>
                <a:gd name="T7" fmla="*/ 219 h 224"/>
                <a:gd name="T8" fmla="*/ 114 w 182"/>
                <a:gd name="T9" fmla="*/ 216 h 224"/>
                <a:gd name="T10" fmla="*/ 121 w 182"/>
                <a:gd name="T11" fmla="*/ 201 h 224"/>
                <a:gd name="T12" fmla="*/ 126 w 182"/>
                <a:gd name="T13" fmla="*/ 187 h 224"/>
                <a:gd name="T14" fmla="*/ 129 w 182"/>
                <a:gd name="T15" fmla="*/ 184 h 224"/>
                <a:gd name="T16" fmla="*/ 138 w 182"/>
                <a:gd name="T17" fmla="*/ 182 h 224"/>
                <a:gd name="T18" fmla="*/ 169 w 182"/>
                <a:gd name="T19" fmla="*/ 160 h 224"/>
                <a:gd name="T20" fmla="*/ 170 w 182"/>
                <a:gd name="T21" fmla="*/ 151 h 224"/>
                <a:gd name="T22" fmla="*/ 169 w 182"/>
                <a:gd name="T23" fmla="*/ 144 h 224"/>
                <a:gd name="T24" fmla="*/ 170 w 182"/>
                <a:gd name="T25" fmla="*/ 135 h 224"/>
                <a:gd name="T26" fmla="*/ 179 w 182"/>
                <a:gd name="T27" fmla="*/ 133 h 224"/>
                <a:gd name="T28" fmla="*/ 180 w 182"/>
                <a:gd name="T29" fmla="*/ 127 h 224"/>
                <a:gd name="T30" fmla="*/ 173 w 182"/>
                <a:gd name="T31" fmla="*/ 120 h 224"/>
                <a:gd name="T32" fmla="*/ 152 w 182"/>
                <a:gd name="T33" fmla="*/ 99 h 224"/>
                <a:gd name="T34" fmla="*/ 152 w 182"/>
                <a:gd name="T35" fmla="*/ 93 h 224"/>
                <a:gd name="T36" fmla="*/ 152 w 182"/>
                <a:gd name="T37" fmla="*/ 74 h 224"/>
                <a:gd name="T38" fmla="*/ 146 w 182"/>
                <a:gd name="T39" fmla="*/ 67 h 224"/>
                <a:gd name="T40" fmla="*/ 149 w 182"/>
                <a:gd name="T41" fmla="*/ 55 h 224"/>
                <a:gd name="T42" fmla="*/ 154 w 182"/>
                <a:gd name="T43" fmla="*/ 28 h 224"/>
                <a:gd name="T44" fmla="*/ 155 w 182"/>
                <a:gd name="T45" fmla="*/ 24 h 224"/>
                <a:gd name="T46" fmla="*/ 143 w 182"/>
                <a:gd name="T47" fmla="*/ 15 h 224"/>
                <a:gd name="T48" fmla="*/ 130 w 182"/>
                <a:gd name="T49" fmla="*/ 7 h 224"/>
                <a:gd name="T50" fmla="*/ 115 w 182"/>
                <a:gd name="T51" fmla="*/ 12 h 224"/>
                <a:gd name="T52" fmla="*/ 98 w 182"/>
                <a:gd name="T53" fmla="*/ 6 h 224"/>
                <a:gd name="T54" fmla="*/ 80 w 182"/>
                <a:gd name="T55" fmla="*/ 6 h 224"/>
                <a:gd name="T56" fmla="*/ 75 w 182"/>
                <a:gd name="T57" fmla="*/ 12 h 224"/>
                <a:gd name="T58" fmla="*/ 72 w 182"/>
                <a:gd name="T59" fmla="*/ 27 h 224"/>
                <a:gd name="T60" fmla="*/ 62 w 182"/>
                <a:gd name="T61" fmla="*/ 16 h 224"/>
                <a:gd name="T62" fmla="*/ 52 w 182"/>
                <a:gd name="T63" fmla="*/ 13 h 224"/>
                <a:gd name="T64" fmla="*/ 47 w 182"/>
                <a:gd name="T65" fmla="*/ 16 h 224"/>
                <a:gd name="T66" fmla="*/ 40 w 182"/>
                <a:gd name="T67" fmla="*/ 28 h 224"/>
                <a:gd name="T68" fmla="*/ 18 w 182"/>
                <a:gd name="T69" fmla="*/ 31 h 224"/>
                <a:gd name="T70" fmla="*/ 6 w 182"/>
                <a:gd name="T71" fmla="*/ 34 h 224"/>
                <a:gd name="T72" fmla="*/ 1 w 182"/>
                <a:gd name="T73" fmla="*/ 47 h 224"/>
                <a:gd name="T74" fmla="*/ 9 w 182"/>
                <a:gd name="T75" fmla="*/ 56 h 224"/>
                <a:gd name="T76" fmla="*/ 23 w 182"/>
                <a:gd name="T77" fmla="*/ 64 h 224"/>
                <a:gd name="T78" fmla="*/ 26 w 182"/>
                <a:gd name="T79" fmla="*/ 73 h 224"/>
                <a:gd name="T80" fmla="*/ 22 w 182"/>
                <a:gd name="T81" fmla="*/ 87 h 224"/>
                <a:gd name="T82" fmla="*/ 25 w 182"/>
                <a:gd name="T83" fmla="*/ 96 h 224"/>
                <a:gd name="T84" fmla="*/ 32 w 182"/>
                <a:gd name="T85" fmla="*/ 107 h 224"/>
                <a:gd name="T86" fmla="*/ 43 w 182"/>
                <a:gd name="T87" fmla="*/ 121 h 224"/>
                <a:gd name="T88" fmla="*/ 50 w 182"/>
                <a:gd name="T89" fmla="*/ 124 h 224"/>
                <a:gd name="T90" fmla="*/ 55 w 182"/>
                <a:gd name="T91" fmla="*/ 136 h 224"/>
                <a:gd name="T92" fmla="*/ 55 w 182"/>
                <a:gd name="T93" fmla="*/ 169 h 224"/>
                <a:gd name="T94" fmla="*/ 58 w 182"/>
                <a:gd name="T95" fmla="*/ 184 h 224"/>
                <a:gd name="T96" fmla="*/ 59 w 182"/>
                <a:gd name="T97" fmla="*/ 195 h 224"/>
                <a:gd name="T98" fmla="*/ 65 w 182"/>
                <a:gd name="T99" fmla="*/ 203 h 224"/>
                <a:gd name="T100" fmla="*/ 72 w 182"/>
                <a:gd name="T101" fmla="*/ 21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" h="224">
                  <a:moveTo>
                    <a:pt x="72" y="219"/>
                  </a:moveTo>
                  <a:lnTo>
                    <a:pt x="72" y="219"/>
                  </a:lnTo>
                  <a:lnTo>
                    <a:pt x="75" y="222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86" y="219"/>
                  </a:lnTo>
                  <a:lnTo>
                    <a:pt x="93" y="215"/>
                  </a:lnTo>
                  <a:lnTo>
                    <a:pt x="100" y="213"/>
                  </a:lnTo>
                  <a:lnTo>
                    <a:pt x="100" y="213"/>
                  </a:lnTo>
                  <a:lnTo>
                    <a:pt x="103" y="215"/>
                  </a:lnTo>
                  <a:lnTo>
                    <a:pt x="106" y="216"/>
                  </a:lnTo>
                  <a:lnTo>
                    <a:pt x="108" y="219"/>
                  </a:lnTo>
                  <a:lnTo>
                    <a:pt x="111" y="219"/>
                  </a:lnTo>
                  <a:lnTo>
                    <a:pt x="111" y="219"/>
                  </a:lnTo>
                  <a:lnTo>
                    <a:pt x="114" y="216"/>
                  </a:lnTo>
                  <a:lnTo>
                    <a:pt x="117" y="212"/>
                  </a:lnTo>
                  <a:lnTo>
                    <a:pt x="121" y="201"/>
                  </a:lnTo>
                  <a:lnTo>
                    <a:pt x="121" y="201"/>
                  </a:lnTo>
                  <a:lnTo>
                    <a:pt x="124" y="197"/>
                  </a:lnTo>
                  <a:lnTo>
                    <a:pt x="124" y="193"/>
                  </a:lnTo>
                  <a:lnTo>
                    <a:pt x="126" y="187"/>
                  </a:lnTo>
                  <a:lnTo>
                    <a:pt x="127" y="184"/>
                  </a:lnTo>
                  <a:lnTo>
                    <a:pt x="127" y="184"/>
                  </a:lnTo>
                  <a:lnTo>
                    <a:pt x="129" y="184"/>
                  </a:lnTo>
                  <a:lnTo>
                    <a:pt x="130" y="185"/>
                  </a:lnTo>
                  <a:lnTo>
                    <a:pt x="133" y="185"/>
                  </a:lnTo>
                  <a:lnTo>
                    <a:pt x="138" y="182"/>
                  </a:lnTo>
                  <a:lnTo>
                    <a:pt x="138" y="182"/>
                  </a:lnTo>
                  <a:lnTo>
                    <a:pt x="155" y="17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70" y="157"/>
                  </a:lnTo>
                  <a:lnTo>
                    <a:pt x="170" y="151"/>
                  </a:lnTo>
                  <a:lnTo>
                    <a:pt x="170" y="147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6" y="138"/>
                  </a:lnTo>
                  <a:lnTo>
                    <a:pt x="166" y="135"/>
                  </a:lnTo>
                  <a:lnTo>
                    <a:pt x="170" y="135"/>
                  </a:lnTo>
                  <a:lnTo>
                    <a:pt x="170" y="135"/>
                  </a:lnTo>
                  <a:lnTo>
                    <a:pt x="176" y="133"/>
                  </a:lnTo>
                  <a:lnTo>
                    <a:pt x="179" y="133"/>
                  </a:lnTo>
                  <a:lnTo>
                    <a:pt x="180" y="132"/>
                  </a:lnTo>
                  <a:lnTo>
                    <a:pt x="182" y="129"/>
                  </a:lnTo>
                  <a:lnTo>
                    <a:pt x="180" y="127"/>
                  </a:lnTo>
                  <a:lnTo>
                    <a:pt x="179" y="123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64" y="111"/>
                  </a:lnTo>
                  <a:lnTo>
                    <a:pt x="157" y="105"/>
                  </a:lnTo>
                  <a:lnTo>
                    <a:pt x="152" y="99"/>
                  </a:lnTo>
                  <a:lnTo>
                    <a:pt x="152" y="96"/>
                  </a:lnTo>
                  <a:lnTo>
                    <a:pt x="152" y="93"/>
                  </a:lnTo>
                  <a:lnTo>
                    <a:pt x="152" y="93"/>
                  </a:lnTo>
                  <a:lnTo>
                    <a:pt x="154" y="81"/>
                  </a:lnTo>
                  <a:lnTo>
                    <a:pt x="154" y="77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48" y="70"/>
                  </a:lnTo>
                  <a:lnTo>
                    <a:pt x="146" y="67"/>
                  </a:lnTo>
                  <a:lnTo>
                    <a:pt x="146" y="64"/>
                  </a:lnTo>
                  <a:lnTo>
                    <a:pt x="146" y="64"/>
                  </a:lnTo>
                  <a:lnTo>
                    <a:pt x="149" y="55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4" y="28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55" y="24"/>
                  </a:lnTo>
                  <a:lnTo>
                    <a:pt x="151" y="21"/>
                  </a:lnTo>
                  <a:lnTo>
                    <a:pt x="151" y="21"/>
                  </a:lnTo>
                  <a:lnTo>
                    <a:pt x="143" y="15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0" y="7"/>
                  </a:lnTo>
                  <a:lnTo>
                    <a:pt x="126" y="9"/>
                  </a:lnTo>
                  <a:lnTo>
                    <a:pt x="121" y="10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06" y="9"/>
                  </a:lnTo>
                  <a:lnTo>
                    <a:pt x="98" y="6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0" y="6"/>
                  </a:lnTo>
                  <a:lnTo>
                    <a:pt x="77" y="9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22"/>
                  </a:lnTo>
                  <a:lnTo>
                    <a:pt x="74" y="25"/>
                  </a:lnTo>
                  <a:lnTo>
                    <a:pt x="72" y="27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62" y="16"/>
                  </a:lnTo>
                  <a:lnTo>
                    <a:pt x="56" y="13"/>
                  </a:lnTo>
                  <a:lnTo>
                    <a:pt x="53" y="12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49" y="15"/>
                  </a:lnTo>
                  <a:lnTo>
                    <a:pt x="47" y="16"/>
                  </a:lnTo>
                  <a:lnTo>
                    <a:pt x="46" y="22"/>
                  </a:lnTo>
                  <a:lnTo>
                    <a:pt x="43" y="27"/>
                  </a:lnTo>
                  <a:lnTo>
                    <a:pt x="40" y="28"/>
                  </a:lnTo>
                  <a:lnTo>
                    <a:pt x="35" y="30"/>
                  </a:lnTo>
                  <a:lnTo>
                    <a:pt x="35" y="30"/>
                  </a:lnTo>
                  <a:lnTo>
                    <a:pt x="18" y="31"/>
                  </a:lnTo>
                  <a:lnTo>
                    <a:pt x="12" y="31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1" y="47"/>
                  </a:lnTo>
                  <a:lnTo>
                    <a:pt x="4" y="52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5" y="59"/>
                  </a:lnTo>
                  <a:lnTo>
                    <a:pt x="19" y="61"/>
                  </a:lnTo>
                  <a:lnTo>
                    <a:pt x="23" y="64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6" y="73"/>
                  </a:lnTo>
                  <a:lnTo>
                    <a:pt x="25" y="7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90"/>
                  </a:lnTo>
                  <a:lnTo>
                    <a:pt x="22" y="93"/>
                  </a:lnTo>
                  <a:lnTo>
                    <a:pt x="25" y="96"/>
                  </a:lnTo>
                  <a:lnTo>
                    <a:pt x="29" y="101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7" y="118"/>
                  </a:lnTo>
                  <a:lnTo>
                    <a:pt x="38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7" y="123"/>
                  </a:lnTo>
                  <a:lnTo>
                    <a:pt x="50" y="124"/>
                  </a:lnTo>
                  <a:lnTo>
                    <a:pt x="53" y="129"/>
                  </a:lnTo>
                  <a:lnTo>
                    <a:pt x="55" y="136"/>
                  </a:lnTo>
                  <a:lnTo>
                    <a:pt x="55" y="136"/>
                  </a:lnTo>
                  <a:lnTo>
                    <a:pt x="56" y="147"/>
                  </a:lnTo>
                  <a:lnTo>
                    <a:pt x="56" y="155"/>
                  </a:lnTo>
                  <a:lnTo>
                    <a:pt x="55" y="169"/>
                  </a:lnTo>
                  <a:lnTo>
                    <a:pt x="55" y="169"/>
                  </a:lnTo>
                  <a:lnTo>
                    <a:pt x="58" y="173"/>
                  </a:lnTo>
                  <a:lnTo>
                    <a:pt x="58" y="184"/>
                  </a:lnTo>
                  <a:lnTo>
                    <a:pt x="58" y="184"/>
                  </a:lnTo>
                  <a:lnTo>
                    <a:pt x="59" y="190"/>
                  </a:lnTo>
                  <a:lnTo>
                    <a:pt x="59" y="195"/>
                  </a:lnTo>
                  <a:lnTo>
                    <a:pt x="62" y="200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9" y="212"/>
                  </a:lnTo>
                  <a:lnTo>
                    <a:pt x="72" y="219"/>
                  </a:lnTo>
                  <a:lnTo>
                    <a:pt x="72" y="21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6" name="Freeform 55">
              <a:extLst>
                <a:ext uri="{FF2B5EF4-FFF2-40B4-BE49-F238E27FC236}">
                  <a16:creationId xmlns:a16="http://schemas.microsoft.com/office/drawing/2014/main" id="{89EF3D5B-E5A9-6642-B468-3A63390599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4425" y="5937250"/>
              <a:ext cx="860425" cy="1087437"/>
            </a:xfrm>
            <a:custGeom>
              <a:avLst/>
              <a:gdLst>
                <a:gd name="T0" fmla="*/ 289 w 542"/>
                <a:gd name="T1" fmla="*/ 301 h 685"/>
                <a:gd name="T2" fmla="*/ 292 w 542"/>
                <a:gd name="T3" fmla="*/ 273 h 685"/>
                <a:gd name="T4" fmla="*/ 304 w 542"/>
                <a:gd name="T5" fmla="*/ 266 h 685"/>
                <a:gd name="T6" fmla="*/ 320 w 542"/>
                <a:gd name="T7" fmla="*/ 252 h 685"/>
                <a:gd name="T8" fmla="*/ 310 w 542"/>
                <a:gd name="T9" fmla="*/ 223 h 685"/>
                <a:gd name="T10" fmla="*/ 323 w 542"/>
                <a:gd name="T11" fmla="*/ 197 h 685"/>
                <a:gd name="T12" fmla="*/ 304 w 542"/>
                <a:gd name="T13" fmla="*/ 160 h 685"/>
                <a:gd name="T14" fmla="*/ 292 w 542"/>
                <a:gd name="T15" fmla="*/ 128 h 685"/>
                <a:gd name="T16" fmla="*/ 295 w 542"/>
                <a:gd name="T17" fmla="*/ 66 h 685"/>
                <a:gd name="T18" fmla="*/ 294 w 542"/>
                <a:gd name="T19" fmla="*/ 35 h 685"/>
                <a:gd name="T20" fmla="*/ 282 w 542"/>
                <a:gd name="T21" fmla="*/ 6 h 685"/>
                <a:gd name="T22" fmla="*/ 251 w 542"/>
                <a:gd name="T23" fmla="*/ 24 h 685"/>
                <a:gd name="T24" fmla="*/ 200 w 542"/>
                <a:gd name="T25" fmla="*/ 48 h 685"/>
                <a:gd name="T26" fmla="*/ 180 w 542"/>
                <a:gd name="T27" fmla="*/ 70 h 685"/>
                <a:gd name="T28" fmla="*/ 168 w 542"/>
                <a:gd name="T29" fmla="*/ 91 h 685"/>
                <a:gd name="T30" fmla="*/ 150 w 542"/>
                <a:gd name="T31" fmla="*/ 92 h 685"/>
                <a:gd name="T32" fmla="*/ 119 w 542"/>
                <a:gd name="T33" fmla="*/ 100 h 685"/>
                <a:gd name="T34" fmla="*/ 97 w 542"/>
                <a:gd name="T35" fmla="*/ 92 h 685"/>
                <a:gd name="T36" fmla="*/ 82 w 542"/>
                <a:gd name="T37" fmla="*/ 115 h 685"/>
                <a:gd name="T38" fmla="*/ 33 w 542"/>
                <a:gd name="T39" fmla="*/ 138 h 685"/>
                <a:gd name="T40" fmla="*/ 2 w 542"/>
                <a:gd name="T41" fmla="*/ 138 h 685"/>
                <a:gd name="T42" fmla="*/ 26 w 542"/>
                <a:gd name="T43" fmla="*/ 202 h 685"/>
                <a:gd name="T44" fmla="*/ 71 w 542"/>
                <a:gd name="T45" fmla="*/ 211 h 685"/>
                <a:gd name="T46" fmla="*/ 91 w 542"/>
                <a:gd name="T47" fmla="*/ 270 h 685"/>
                <a:gd name="T48" fmla="*/ 110 w 542"/>
                <a:gd name="T49" fmla="*/ 372 h 685"/>
                <a:gd name="T50" fmla="*/ 95 w 542"/>
                <a:gd name="T51" fmla="*/ 409 h 685"/>
                <a:gd name="T52" fmla="*/ 132 w 542"/>
                <a:gd name="T53" fmla="*/ 411 h 685"/>
                <a:gd name="T54" fmla="*/ 157 w 542"/>
                <a:gd name="T55" fmla="*/ 473 h 685"/>
                <a:gd name="T56" fmla="*/ 214 w 542"/>
                <a:gd name="T57" fmla="*/ 468 h 685"/>
                <a:gd name="T58" fmla="*/ 240 w 542"/>
                <a:gd name="T59" fmla="*/ 483 h 685"/>
                <a:gd name="T60" fmla="*/ 273 w 542"/>
                <a:gd name="T61" fmla="*/ 483 h 685"/>
                <a:gd name="T62" fmla="*/ 277 w 542"/>
                <a:gd name="T63" fmla="*/ 520 h 685"/>
                <a:gd name="T64" fmla="*/ 313 w 542"/>
                <a:gd name="T65" fmla="*/ 529 h 685"/>
                <a:gd name="T66" fmla="*/ 344 w 542"/>
                <a:gd name="T67" fmla="*/ 556 h 685"/>
                <a:gd name="T68" fmla="*/ 365 w 542"/>
                <a:gd name="T69" fmla="*/ 627 h 685"/>
                <a:gd name="T70" fmla="*/ 388 w 542"/>
                <a:gd name="T71" fmla="*/ 651 h 685"/>
                <a:gd name="T72" fmla="*/ 439 w 542"/>
                <a:gd name="T73" fmla="*/ 668 h 685"/>
                <a:gd name="T74" fmla="*/ 505 w 542"/>
                <a:gd name="T75" fmla="*/ 683 h 685"/>
                <a:gd name="T76" fmla="*/ 542 w 542"/>
                <a:gd name="T77" fmla="*/ 633 h 685"/>
                <a:gd name="T78" fmla="*/ 533 w 542"/>
                <a:gd name="T79" fmla="*/ 577 h 685"/>
                <a:gd name="T80" fmla="*/ 522 w 542"/>
                <a:gd name="T81" fmla="*/ 556 h 685"/>
                <a:gd name="T82" fmla="*/ 510 w 542"/>
                <a:gd name="T83" fmla="*/ 522 h 685"/>
                <a:gd name="T84" fmla="*/ 533 w 542"/>
                <a:gd name="T85" fmla="*/ 497 h 685"/>
                <a:gd name="T86" fmla="*/ 522 w 542"/>
                <a:gd name="T87" fmla="*/ 482 h 685"/>
                <a:gd name="T88" fmla="*/ 505 w 542"/>
                <a:gd name="T89" fmla="*/ 468 h 685"/>
                <a:gd name="T90" fmla="*/ 485 w 542"/>
                <a:gd name="T91" fmla="*/ 457 h 685"/>
                <a:gd name="T92" fmla="*/ 474 w 542"/>
                <a:gd name="T93" fmla="*/ 449 h 685"/>
                <a:gd name="T94" fmla="*/ 455 w 542"/>
                <a:gd name="T95" fmla="*/ 458 h 685"/>
                <a:gd name="T96" fmla="*/ 437 w 542"/>
                <a:gd name="T97" fmla="*/ 442 h 685"/>
                <a:gd name="T98" fmla="*/ 421 w 542"/>
                <a:gd name="T99" fmla="*/ 467 h 685"/>
                <a:gd name="T100" fmla="*/ 402 w 542"/>
                <a:gd name="T101" fmla="*/ 477 h 685"/>
                <a:gd name="T102" fmla="*/ 378 w 542"/>
                <a:gd name="T103" fmla="*/ 451 h 685"/>
                <a:gd name="T104" fmla="*/ 351 w 542"/>
                <a:gd name="T105" fmla="*/ 448 h 685"/>
                <a:gd name="T106" fmla="*/ 331 w 542"/>
                <a:gd name="T107" fmla="*/ 442 h 685"/>
                <a:gd name="T108" fmla="*/ 322 w 542"/>
                <a:gd name="T109" fmla="*/ 421 h 685"/>
                <a:gd name="T110" fmla="*/ 308 w 542"/>
                <a:gd name="T111" fmla="*/ 421 h 685"/>
                <a:gd name="T112" fmla="*/ 307 w 542"/>
                <a:gd name="T113" fmla="*/ 403 h 685"/>
                <a:gd name="T114" fmla="*/ 323 w 542"/>
                <a:gd name="T115" fmla="*/ 368 h 685"/>
                <a:gd name="T116" fmla="*/ 356 w 542"/>
                <a:gd name="T117" fmla="*/ 323 h 685"/>
                <a:gd name="T118" fmla="*/ 338 w 542"/>
                <a:gd name="T119" fmla="*/ 310 h 685"/>
                <a:gd name="T120" fmla="*/ 314 w 542"/>
                <a:gd name="T121" fmla="*/ 313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2" h="685">
                  <a:moveTo>
                    <a:pt x="297" y="319"/>
                  </a:moveTo>
                  <a:lnTo>
                    <a:pt x="297" y="319"/>
                  </a:lnTo>
                  <a:lnTo>
                    <a:pt x="294" y="316"/>
                  </a:lnTo>
                  <a:lnTo>
                    <a:pt x="292" y="313"/>
                  </a:lnTo>
                  <a:lnTo>
                    <a:pt x="289" y="306"/>
                  </a:lnTo>
                  <a:lnTo>
                    <a:pt x="289" y="306"/>
                  </a:lnTo>
                  <a:lnTo>
                    <a:pt x="288" y="304"/>
                  </a:lnTo>
                  <a:lnTo>
                    <a:pt x="289" y="301"/>
                  </a:lnTo>
                  <a:lnTo>
                    <a:pt x="294" y="297"/>
                  </a:lnTo>
                  <a:lnTo>
                    <a:pt x="302" y="289"/>
                  </a:lnTo>
                  <a:lnTo>
                    <a:pt x="302" y="289"/>
                  </a:lnTo>
                  <a:lnTo>
                    <a:pt x="304" y="286"/>
                  </a:lnTo>
                  <a:lnTo>
                    <a:pt x="302" y="282"/>
                  </a:lnTo>
                  <a:lnTo>
                    <a:pt x="298" y="277"/>
                  </a:lnTo>
                  <a:lnTo>
                    <a:pt x="292" y="273"/>
                  </a:lnTo>
                  <a:lnTo>
                    <a:pt x="292" y="273"/>
                  </a:lnTo>
                  <a:lnTo>
                    <a:pt x="291" y="272"/>
                  </a:lnTo>
                  <a:lnTo>
                    <a:pt x="291" y="270"/>
                  </a:lnTo>
                  <a:lnTo>
                    <a:pt x="292" y="267"/>
                  </a:lnTo>
                  <a:lnTo>
                    <a:pt x="297" y="266"/>
                  </a:lnTo>
                  <a:lnTo>
                    <a:pt x="300" y="266"/>
                  </a:lnTo>
                  <a:lnTo>
                    <a:pt x="300" y="266"/>
                  </a:lnTo>
                  <a:lnTo>
                    <a:pt x="301" y="267"/>
                  </a:lnTo>
                  <a:lnTo>
                    <a:pt x="304" y="266"/>
                  </a:lnTo>
                  <a:lnTo>
                    <a:pt x="307" y="264"/>
                  </a:lnTo>
                  <a:lnTo>
                    <a:pt x="308" y="261"/>
                  </a:lnTo>
                  <a:lnTo>
                    <a:pt x="308" y="261"/>
                  </a:lnTo>
                  <a:lnTo>
                    <a:pt x="310" y="257"/>
                  </a:lnTo>
                  <a:lnTo>
                    <a:pt x="314" y="255"/>
                  </a:lnTo>
                  <a:lnTo>
                    <a:pt x="319" y="254"/>
                  </a:lnTo>
                  <a:lnTo>
                    <a:pt x="320" y="252"/>
                  </a:lnTo>
                  <a:lnTo>
                    <a:pt x="320" y="252"/>
                  </a:lnTo>
                  <a:lnTo>
                    <a:pt x="319" y="249"/>
                  </a:lnTo>
                  <a:lnTo>
                    <a:pt x="314" y="245"/>
                  </a:lnTo>
                  <a:lnTo>
                    <a:pt x="310" y="239"/>
                  </a:lnTo>
                  <a:lnTo>
                    <a:pt x="305" y="233"/>
                  </a:lnTo>
                  <a:lnTo>
                    <a:pt x="305" y="233"/>
                  </a:lnTo>
                  <a:lnTo>
                    <a:pt x="305" y="230"/>
                  </a:lnTo>
                  <a:lnTo>
                    <a:pt x="305" y="227"/>
                  </a:lnTo>
                  <a:lnTo>
                    <a:pt x="310" y="223"/>
                  </a:lnTo>
                  <a:lnTo>
                    <a:pt x="314" y="218"/>
                  </a:lnTo>
                  <a:lnTo>
                    <a:pt x="319" y="215"/>
                  </a:lnTo>
                  <a:lnTo>
                    <a:pt x="319" y="215"/>
                  </a:lnTo>
                  <a:lnTo>
                    <a:pt x="320" y="214"/>
                  </a:lnTo>
                  <a:lnTo>
                    <a:pt x="322" y="212"/>
                  </a:lnTo>
                  <a:lnTo>
                    <a:pt x="323" y="206"/>
                  </a:lnTo>
                  <a:lnTo>
                    <a:pt x="323" y="197"/>
                  </a:lnTo>
                  <a:lnTo>
                    <a:pt x="323" y="197"/>
                  </a:lnTo>
                  <a:lnTo>
                    <a:pt x="307" y="192"/>
                  </a:lnTo>
                  <a:lnTo>
                    <a:pt x="307" y="192"/>
                  </a:lnTo>
                  <a:lnTo>
                    <a:pt x="305" y="190"/>
                  </a:lnTo>
                  <a:lnTo>
                    <a:pt x="304" y="189"/>
                  </a:lnTo>
                  <a:lnTo>
                    <a:pt x="304" y="183"/>
                  </a:lnTo>
                  <a:lnTo>
                    <a:pt x="304" y="166"/>
                  </a:lnTo>
                  <a:lnTo>
                    <a:pt x="304" y="166"/>
                  </a:lnTo>
                  <a:lnTo>
                    <a:pt x="304" y="160"/>
                  </a:lnTo>
                  <a:lnTo>
                    <a:pt x="301" y="157"/>
                  </a:lnTo>
                  <a:lnTo>
                    <a:pt x="295" y="153"/>
                  </a:lnTo>
                  <a:lnTo>
                    <a:pt x="295" y="153"/>
                  </a:lnTo>
                  <a:lnTo>
                    <a:pt x="292" y="147"/>
                  </a:lnTo>
                  <a:lnTo>
                    <a:pt x="291" y="141"/>
                  </a:lnTo>
                  <a:lnTo>
                    <a:pt x="291" y="134"/>
                  </a:lnTo>
                  <a:lnTo>
                    <a:pt x="292" y="128"/>
                  </a:lnTo>
                  <a:lnTo>
                    <a:pt x="292" y="128"/>
                  </a:lnTo>
                  <a:lnTo>
                    <a:pt x="295" y="113"/>
                  </a:lnTo>
                  <a:lnTo>
                    <a:pt x="298" y="98"/>
                  </a:lnTo>
                  <a:lnTo>
                    <a:pt x="298" y="73"/>
                  </a:lnTo>
                  <a:lnTo>
                    <a:pt x="298" y="73"/>
                  </a:lnTo>
                  <a:lnTo>
                    <a:pt x="295" y="73"/>
                  </a:lnTo>
                  <a:lnTo>
                    <a:pt x="295" y="72"/>
                  </a:lnTo>
                  <a:lnTo>
                    <a:pt x="295" y="66"/>
                  </a:lnTo>
                  <a:lnTo>
                    <a:pt x="295" y="66"/>
                  </a:lnTo>
                  <a:lnTo>
                    <a:pt x="295" y="58"/>
                  </a:lnTo>
                  <a:lnTo>
                    <a:pt x="294" y="55"/>
                  </a:lnTo>
                  <a:lnTo>
                    <a:pt x="291" y="52"/>
                  </a:lnTo>
                  <a:lnTo>
                    <a:pt x="291" y="52"/>
                  </a:lnTo>
                  <a:lnTo>
                    <a:pt x="289" y="48"/>
                  </a:lnTo>
                  <a:lnTo>
                    <a:pt x="289" y="45"/>
                  </a:lnTo>
                  <a:lnTo>
                    <a:pt x="292" y="40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4" y="27"/>
                  </a:lnTo>
                  <a:lnTo>
                    <a:pt x="292" y="20"/>
                  </a:lnTo>
                  <a:lnTo>
                    <a:pt x="288" y="5"/>
                  </a:lnTo>
                  <a:lnTo>
                    <a:pt x="286" y="0"/>
                  </a:lnTo>
                  <a:lnTo>
                    <a:pt x="286" y="0"/>
                  </a:lnTo>
                  <a:lnTo>
                    <a:pt x="286" y="2"/>
                  </a:lnTo>
                  <a:lnTo>
                    <a:pt x="282" y="6"/>
                  </a:lnTo>
                  <a:lnTo>
                    <a:pt x="282" y="6"/>
                  </a:lnTo>
                  <a:lnTo>
                    <a:pt x="279" y="9"/>
                  </a:lnTo>
                  <a:lnTo>
                    <a:pt x="276" y="9"/>
                  </a:lnTo>
                  <a:lnTo>
                    <a:pt x="267" y="11"/>
                  </a:lnTo>
                  <a:lnTo>
                    <a:pt x="267" y="11"/>
                  </a:lnTo>
                  <a:lnTo>
                    <a:pt x="263" y="11"/>
                  </a:lnTo>
                  <a:lnTo>
                    <a:pt x="260" y="15"/>
                  </a:lnTo>
                  <a:lnTo>
                    <a:pt x="251" y="24"/>
                  </a:lnTo>
                  <a:lnTo>
                    <a:pt x="251" y="24"/>
                  </a:lnTo>
                  <a:lnTo>
                    <a:pt x="246" y="29"/>
                  </a:lnTo>
                  <a:lnTo>
                    <a:pt x="240" y="33"/>
                  </a:lnTo>
                  <a:lnTo>
                    <a:pt x="234" y="38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11" y="45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196" y="49"/>
                  </a:lnTo>
                  <a:lnTo>
                    <a:pt x="193" y="51"/>
                  </a:lnTo>
                  <a:lnTo>
                    <a:pt x="188" y="54"/>
                  </a:lnTo>
                  <a:lnTo>
                    <a:pt x="188" y="54"/>
                  </a:lnTo>
                  <a:lnTo>
                    <a:pt x="187" y="61"/>
                  </a:lnTo>
                  <a:lnTo>
                    <a:pt x="184" y="66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74" y="75"/>
                  </a:lnTo>
                  <a:lnTo>
                    <a:pt x="171" y="76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6" y="83"/>
                  </a:lnTo>
                  <a:lnTo>
                    <a:pt x="166" y="88"/>
                  </a:lnTo>
                  <a:lnTo>
                    <a:pt x="168" y="91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7"/>
                  </a:lnTo>
                  <a:lnTo>
                    <a:pt x="163" y="97"/>
                  </a:lnTo>
                  <a:lnTo>
                    <a:pt x="160" y="95"/>
                  </a:lnTo>
                  <a:lnTo>
                    <a:pt x="154" y="94"/>
                  </a:lnTo>
                  <a:lnTo>
                    <a:pt x="150" y="92"/>
                  </a:lnTo>
                  <a:lnTo>
                    <a:pt x="150" y="92"/>
                  </a:lnTo>
                  <a:lnTo>
                    <a:pt x="140" y="92"/>
                  </a:lnTo>
                  <a:lnTo>
                    <a:pt x="135" y="91"/>
                  </a:lnTo>
                  <a:lnTo>
                    <a:pt x="131" y="89"/>
                  </a:lnTo>
                  <a:lnTo>
                    <a:pt x="131" y="89"/>
                  </a:lnTo>
                  <a:lnTo>
                    <a:pt x="129" y="89"/>
                  </a:lnTo>
                  <a:lnTo>
                    <a:pt x="126" y="91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6" y="101"/>
                  </a:lnTo>
                  <a:lnTo>
                    <a:pt x="113" y="103"/>
                  </a:lnTo>
                  <a:lnTo>
                    <a:pt x="109" y="101"/>
                  </a:lnTo>
                  <a:lnTo>
                    <a:pt x="103" y="98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5" y="95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89" y="106"/>
                  </a:lnTo>
                  <a:lnTo>
                    <a:pt x="89" y="109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1" y="123"/>
                  </a:lnTo>
                  <a:lnTo>
                    <a:pt x="69" y="129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48" y="138"/>
                  </a:lnTo>
                  <a:lnTo>
                    <a:pt x="33" y="138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18" y="135"/>
                  </a:lnTo>
                  <a:lnTo>
                    <a:pt x="11" y="134"/>
                  </a:lnTo>
                  <a:lnTo>
                    <a:pt x="3" y="134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2" y="138"/>
                  </a:lnTo>
                  <a:lnTo>
                    <a:pt x="2" y="146"/>
                  </a:lnTo>
                  <a:lnTo>
                    <a:pt x="5" y="163"/>
                  </a:lnTo>
                  <a:lnTo>
                    <a:pt x="6" y="172"/>
                  </a:lnTo>
                  <a:lnTo>
                    <a:pt x="9" y="181"/>
                  </a:lnTo>
                  <a:lnTo>
                    <a:pt x="14" y="190"/>
                  </a:lnTo>
                  <a:lnTo>
                    <a:pt x="20" y="197"/>
                  </a:lnTo>
                  <a:lnTo>
                    <a:pt x="20" y="197"/>
                  </a:lnTo>
                  <a:lnTo>
                    <a:pt x="26" y="202"/>
                  </a:lnTo>
                  <a:lnTo>
                    <a:pt x="32" y="205"/>
                  </a:lnTo>
                  <a:lnTo>
                    <a:pt x="36" y="208"/>
                  </a:lnTo>
                  <a:lnTo>
                    <a:pt x="42" y="208"/>
                  </a:lnTo>
                  <a:lnTo>
                    <a:pt x="52" y="208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9" y="209"/>
                  </a:lnTo>
                  <a:lnTo>
                    <a:pt x="71" y="211"/>
                  </a:lnTo>
                  <a:lnTo>
                    <a:pt x="74" y="217"/>
                  </a:lnTo>
                  <a:lnTo>
                    <a:pt x="76" y="224"/>
                  </a:lnTo>
                  <a:lnTo>
                    <a:pt x="77" y="232"/>
                  </a:lnTo>
                  <a:lnTo>
                    <a:pt x="79" y="249"/>
                  </a:lnTo>
                  <a:lnTo>
                    <a:pt x="80" y="257"/>
                  </a:lnTo>
                  <a:lnTo>
                    <a:pt x="83" y="261"/>
                  </a:lnTo>
                  <a:lnTo>
                    <a:pt x="83" y="261"/>
                  </a:lnTo>
                  <a:lnTo>
                    <a:pt x="91" y="270"/>
                  </a:lnTo>
                  <a:lnTo>
                    <a:pt x="97" y="279"/>
                  </a:lnTo>
                  <a:lnTo>
                    <a:pt x="101" y="291"/>
                  </a:lnTo>
                  <a:lnTo>
                    <a:pt x="106" y="309"/>
                  </a:lnTo>
                  <a:lnTo>
                    <a:pt x="106" y="309"/>
                  </a:lnTo>
                  <a:lnTo>
                    <a:pt x="110" y="347"/>
                  </a:lnTo>
                  <a:lnTo>
                    <a:pt x="111" y="360"/>
                  </a:lnTo>
                  <a:lnTo>
                    <a:pt x="110" y="372"/>
                  </a:lnTo>
                  <a:lnTo>
                    <a:pt x="110" y="372"/>
                  </a:lnTo>
                  <a:lnTo>
                    <a:pt x="107" y="378"/>
                  </a:lnTo>
                  <a:lnTo>
                    <a:pt x="106" y="381"/>
                  </a:lnTo>
                  <a:lnTo>
                    <a:pt x="100" y="387"/>
                  </a:lnTo>
                  <a:lnTo>
                    <a:pt x="95" y="393"/>
                  </a:lnTo>
                  <a:lnTo>
                    <a:pt x="94" y="396"/>
                  </a:lnTo>
                  <a:lnTo>
                    <a:pt x="94" y="400"/>
                  </a:lnTo>
                  <a:lnTo>
                    <a:pt x="94" y="400"/>
                  </a:lnTo>
                  <a:lnTo>
                    <a:pt x="95" y="409"/>
                  </a:lnTo>
                  <a:lnTo>
                    <a:pt x="100" y="417"/>
                  </a:lnTo>
                  <a:lnTo>
                    <a:pt x="103" y="420"/>
                  </a:lnTo>
                  <a:lnTo>
                    <a:pt x="106" y="421"/>
                  </a:lnTo>
                  <a:lnTo>
                    <a:pt x="110" y="423"/>
                  </a:lnTo>
                  <a:lnTo>
                    <a:pt x="116" y="421"/>
                  </a:lnTo>
                  <a:lnTo>
                    <a:pt x="116" y="421"/>
                  </a:lnTo>
                  <a:lnTo>
                    <a:pt x="125" y="417"/>
                  </a:lnTo>
                  <a:lnTo>
                    <a:pt x="132" y="411"/>
                  </a:lnTo>
                  <a:lnTo>
                    <a:pt x="138" y="403"/>
                  </a:lnTo>
                  <a:lnTo>
                    <a:pt x="138" y="403"/>
                  </a:lnTo>
                  <a:lnTo>
                    <a:pt x="140" y="414"/>
                  </a:lnTo>
                  <a:lnTo>
                    <a:pt x="144" y="436"/>
                  </a:lnTo>
                  <a:lnTo>
                    <a:pt x="147" y="449"/>
                  </a:lnTo>
                  <a:lnTo>
                    <a:pt x="150" y="461"/>
                  </a:lnTo>
                  <a:lnTo>
                    <a:pt x="154" y="470"/>
                  </a:lnTo>
                  <a:lnTo>
                    <a:pt x="157" y="473"/>
                  </a:lnTo>
                  <a:lnTo>
                    <a:pt x="160" y="474"/>
                  </a:lnTo>
                  <a:lnTo>
                    <a:pt x="160" y="474"/>
                  </a:lnTo>
                  <a:lnTo>
                    <a:pt x="172" y="477"/>
                  </a:lnTo>
                  <a:lnTo>
                    <a:pt x="184" y="477"/>
                  </a:lnTo>
                  <a:lnTo>
                    <a:pt x="196" y="476"/>
                  </a:lnTo>
                  <a:lnTo>
                    <a:pt x="206" y="473"/>
                  </a:lnTo>
                  <a:lnTo>
                    <a:pt x="206" y="473"/>
                  </a:lnTo>
                  <a:lnTo>
                    <a:pt x="214" y="468"/>
                  </a:lnTo>
                  <a:lnTo>
                    <a:pt x="221" y="466"/>
                  </a:lnTo>
                  <a:lnTo>
                    <a:pt x="224" y="464"/>
                  </a:lnTo>
                  <a:lnTo>
                    <a:pt x="227" y="466"/>
                  </a:lnTo>
                  <a:lnTo>
                    <a:pt x="231" y="468"/>
                  </a:lnTo>
                  <a:lnTo>
                    <a:pt x="234" y="474"/>
                  </a:lnTo>
                  <a:lnTo>
                    <a:pt x="234" y="474"/>
                  </a:lnTo>
                  <a:lnTo>
                    <a:pt x="237" y="479"/>
                  </a:lnTo>
                  <a:lnTo>
                    <a:pt x="240" y="483"/>
                  </a:lnTo>
                  <a:lnTo>
                    <a:pt x="243" y="485"/>
                  </a:lnTo>
                  <a:lnTo>
                    <a:pt x="246" y="486"/>
                  </a:lnTo>
                  <a:lnTo>
                    <a:pt x="252" y="486"/>
                  </a:lnTo>
                  <a:lnTo>
                    <a:pt x="258" y="483"/>
                  </a:lnTo>
                  <a:lnTo>
                    <a:pt x="258" y="483"/>
                  </a:lnTo>
                  <a:lnTo>
                    <a:pt x="264" y="482"/>
                  </a:lnTo>
                  <a:lnTo>
                    <a:pt x="268" y="482"/>
                  </a:lnTo>
                  <a:lnTo>
                    <a:pt x="273" y="483"/>
                  </a:lnTo>
                  <a:lnTo>
                    <a:pt x="276" y="485"/>
                  </a:lnTo>
                  <a:lnTo>
                    <a:pt x="277" y="489"/>
                  </a:lnTo>
                  <a:lnTo>
                    <a:pt x="279" y="494"/>
                  </a:lnTo>
                  <a:lnTo>
                    <a:pt x="277" y="501"/>
                  </a:lnTo>
                  <a:lnTo>
                    <a:pt x="277" y="501"/>
                  </a:lnTo>
                  <a:lnTo>
                    <a:pt x="274" y="508"/>
                  </a:lnTo>
                  <a:lnTo>
                    <a:pt x="276" y="514"/>
                  </a:lnTo>
                  <a:lnTo>
                    <a:pt x="277" y="520"/>
                  </a:lnTo>
                  <a:lnTo>
                    <a:pt x="282" y="525"/>
                  </a:lnTo>
                  <a:lnTo>
                    <a:pt x="286" y="528"/>
                  </a:lnTo>
                  <a:lnTo>
                    <a:pt x="292" y="531"/>
                  </a:lnTo>
                  <a:lnTo>
                    <a:pt x="298" y="531"/>
                  </a:lnTo>
                  <a:lnTo>
                    <a:pt x="302" y="531"/>
                  </a:lnTo>
                  <a:lnTo>
                    <a:pt x="302" y="531"/>
                  </a:lnTo>
                  <a:lnTo>
                    <a:pt x="308" y="529"/>
                  </a:lnTo>
                  <a:lnTo>
                    <a:pt x="313" y="529"/>
                  </a:lnTo>
                  <a:lnTo>
                    <a:pt x="319" y="529"/>
                  </a:lnTo>
                  <a:lnTo>
                    <a:pt x="325" y="531"/>
                  </a:lnTo>
                  <a:lnTo>
                    <a:pt x="329" y="534"/>
                  </a:lnTo>
                  <a:lnTo>
                    <a:pt x="334" y="537"/>
                  </a:lnTo>
                  <a:lnTo>
                    <a:pt x="338" y="541"/>
                  </a:lnTo>
                  <a:lnTo>
                    <a:pt x="340" y="545"/>
                  </a:lnTo>
                  <a:lnTo>
                    <a:pt x="340" y="545"/>
                  </a:lnTo>
                  <a:lnTo>
                    <a:pt x="344" y="556"/>
                  </a:lnTo>
                  <a:lnTo>
                    <a:pt x="348" y="569"/>
                  </a:lnTo>
                  <a:lnTo>
                    <a:pt x="353" y="584"/>
                  </a:lnTo>
                  <a:lnTo>
                    <a:pt x="359" y="599"/>
                  </a:lnTo>
                  <a:lnTo>
                    <a:pt x="359" y="599"/>
                  </a:lnTo>
                  <a:lnTo>
                    <a:pt x="365" y="611"/>
                  </a:lnTo>
                  <a:lnTo>
                    <a:pt x="366" y="617"/>
                  </a:lnTo>
                  <a:lnTo>
                    <a:pt x="366" y="623"/>
                  </a:lnTo>
                  <a:lnTo>
                    <a:pt x="365" y="627"/>
                  </a:lnTo>
                  <a:lnTo>
                    <a:pt x="365" y="627"/>
                  </a:lnTo>
                  <a:lnTo>
                    <a:pt x="365" y="631"/>
                  </a:lnTo>
                  <a:lnTo>
                    <a:pt x="366" y="636"/>
                  </a:lnTo>
                  <a:lnTo>
                    <a:pt x="368" y="640"/>
                  </a:lnTo>
                  <a:lnTo>
                    <a:pt x="372" y="643"/>
                  </a:lnTo>
                  <a:lnTo>
                    <a:pt x="377" y="648"/>
                  </a:lnTo>
                  <a:lnTo>
                    <a:pt x="382" y="649"/>
                  </a:lnTo>
                  <a:lnTo>
                    <a:pt x="388" y="651"/>
                  </a:lnTo>
                  <a:lnTo>
                    <a:pt x="393" y="651"/>
                  </a:lnTo>
                  <a:lnTo>
                    <a:pt x="393" y="651"/>
                  </a:lnTo>
                  <a:lnTo>
                    <a:pt x="415" y="649"/>
                  </a:lnTo>
                  <a:lnTo>
                    <a:pt x="425" y="649"/>
                  </a:lnTo>
                  <a:lnTo>
                    <a:pt x="425" y="649"/>
                  </a:lnTo>
                  <a:lnTo>
                    <a:pt x="427" y="652"/>
                  </a:lnTo>
                  <a:lnTo>
                    <a:pt x="433" y="662"/>
                  </a:lnTo>
                  <a:lnTo>
                    <a:pt x="439" y="668"/>
                  </a:lnTo>
                  <a:lnTo>
                    <a:pt x="445" y="674"/>
                  </a:lnTo>
                  <a:lnTo>
                    <a:pt x="452" y="679"/>
                  </a:lnTo>
                  <a:lnTo>
                    <a:pt x="462" y="682"/>
                  </a:lnTo>
                  <a:lnTo>
                    <a:pt x="462" y="682"/>
                  </a:lnTo>
                  <a:lnTo>
                    <a:pt x="473" y="685"/>
                  </a:lnTo>
                  <a:lnTo>
                    <a:pt x="483" y="685"/>
                  </a:lnTo>
                  <a:lnTo>
                    <a:pt x="495" y="685"/>
                  </a:lnTo>
                  <a:lnTo>
                    <a:pt x="505" y="683"/>
                  </a:lnTo>
                  <a:lnTo>
                    <a:pt x="516" y="682"/>
                  </a:lnTo>
                  <a:lnTo>
                    <a:pt x="525" y="677"/>
                  </a:lnTo>
                  <a:lnTo>
                    <a:pt x="532" y="671"/>
                  </a:lnTo>
                  <a:lnTo>
                    <a:pt x="538" y="662"/>
                  </a:lnTo>
                  <a:lnTo>
                    <a:pt x="538" y="662"/>
                  </a:lnTo>
                  <a:lnTo>
                    <a:pt x="541" y="654"/>
                  </a:lnTo>
                  <a:lnTo>
                    <a:pt x="542" y="643"/>
                  </a:lnTo>
                  <a:lnTo>
                    <a:pt x="542" y="633"/>
                  </a:lnTo>
                  <a:lnTo>
                    <a:pt x="541" y="624"/>
                  </a:lnTo>
                  <a:lnTo>
                    <a:pt x="536" y="608"/>
                  </a:lnTo>
                  <a:lnTo>
                    <a:pt x="535" y="602"/>
                  </a:lnTo>
                  <a:lnTo>
                    <a:pt x="535" y="597"/>
                  </a:lnTo>
                  <a:lnTo>
                    <a:pt x="535" y="597"/>
                  </a:lnTo>
                  <a:lnTo>
                    <a:pt x="536" y="584"/>
                  </a:lnTo>
                  <a:lnTo>
                    <a:pt x="535" y="578"/>
                  </a:lnTo>
                  <a:lnTo>
                    <a:pt x="533" y="577"/>
                  </a:lnTo>
                  <a:lnTo>
                    <a:pt x="532" y="575"/>
                  </a:lnTo>
                  <a:lnTo>
                    <a:pt x="532" y="575"/>
                  </a:lnTo>
                  <a:lnTo>
                    <a:pt x="523" y="571"/>
                  </a:lnTo>
                  <a:lnTo>
                    <a:pt x="522" y="568"/>
                  </a:lnTo>
                  <a:lnTo>
                    <a:pt x="522" y="562"/>
                  </a:lnTo>
                  <a:lnTo>
                    <a:pt x="522" y="562"/>
                  </a:lnTo>
                  <a:lnTo>
                    <a:pt x="522" y="559"/>
                  </a:lnTo>
                  <a:lnTo>
                    <a:pt x="522" y="556"/>
                  </a:lnTo>
                  <a:lnTo>
                    <a:pt x="519" y="550"/>
                  </a:lnTo>
                  <a:lnTo>
                    <a:pt x="513" y="541"/>
                  </a:lnTo>
                  <a:lnTo>
                    <a:pt x="513" y="541"/>
                  </a:lnTo>
                  <a:lnTo>
                    <a:pt x="511" y="540"/>
                  </a:lnTo>
                  <a:lnTo>
                    <a:pt x="511" y="540"/>
                  </a:lnTo>
                  <a:lnTo>
                    <a:pt x="513" y="538"/>
                  </a:lnTo>
                  <a:lnTo>
                    <a:pt x="513" y="538"/>
                  </a:lnTo>
                  <a:lnTo>
                    <a:pt x="510" y="522"/>
                  </a:lnTo>
                  <a:lnTo>
                    <a:pt x="511" y="514"/>
                  </a:lnTo>
                  <a:lnTo>
                    <a:pt x="511" y="511"/>
                  </a:lnTo>
                  <a:lnTo>
                    <a:pt x="514" y="508"/>
                  </a:lnTo>
                  <a:lnTo>
                    <a:pt x="514" y="508"/>
                  </a:lnTo>
                  <a:lnTo>
                    <a:pt x="519" y="506"/>
                  </a:lnTo>
                  <a:lnTo>
                    <a:pt x="526" y="503"/>
                  </a:lnTo>
                  <a:lnTo>
                    <a:pt x="532" y="498"/>
                  </a:lnTo>
                  <a:lnTo>
                    <a:pt x="533" y="497"/>
                  </a:lnTo>
                  <a:lnTo>
                    <a:pt x="535" y="494"/>
                  </a:lnTo>
                  <a:lnTo>
                    <a:pt x="535" y="494"/>
                  </a:lnTo>
                  <a:lnTo>
                    <a:pt x="533" y="489"/>
                  </a:lnTo>
                  <a:lnTo>
                    <a:pt x="532" y="488"/>
                  </a:lnTo>
                  <a:lnTo>
                    <a:pt x="528" y="488"/>
                  </a:lnTo>
                  <a:lnTo>
                    <a:pt x="523" y="485"/>
                  </a:lnTo>
                  <a:lnTo>
                    <a:pt x="523" y="485"/>
                  </a:lnTo>
                  <a:lnTo>
                    <a:pt x="522" y="482"/>
                  </a:lnTo>
                  <a:lnTo>
                    <a:pt x="522" y="479"/>
                  </a:lnTo>
                  <a:lnTo>
                    <a:pt x="523" y="477"/>
                  </a:lnTo>
                  <a:lnTo>
                    <a:pt x="522" y="474"/>
                  </a:lnTo>
                  <a:lnTo>
                    <a:pt x="522" y="474"/>
                  </a:lnTo>
                  <a:lnTo>
                    <a:pt x="520" y="473"/>
                  </a:lnTo>
                  <a:lnTo>
                    <a:pt x="516" y="471"/>
                  </a:lnTo>
                  <a:lnTo>
                    <a:pt x="511" y="471"/>
                  </a:lnTo>
                  <a:lnTo>
                    <a:pt x="505" y="468"/>
                  </a:lnTo>
                  <a:lnTo>
                    <a:pt x="505" y="468"/>
                  </a:lnTo>
                  <a:lnTo>
                    <a:pt x="501" y="464"/>
                  </a:lnTo>
                  <a:lnTo>
                    <a:pt x="499" y="461"/>
                  </a:lnTo>
                  <a:lnTo>
                    <a:pt x="498" y="458"/>
                  </a:lnTo>
                  <a:lnTo>
                    <a:pt x="494" y="455"/>
                  </a:lnTo>
                  <a:lnTo>
                    <a:pt x="494" y="455"/>
                  </a:lnTo>
                  <a:lnTo>
                    <a:pt x="488" y="455"/>
                  </a:lnTo>
                  <a:lnTo>
                    <a:pt x="485" y="457"/>
                  </a:lnTo>
                  <a:lnTo>
                    <a:pt x="483" y="460"/>
                  </a:lnTo>
                  <a:lnTo>
                    <a:pt x="480" y="463"/>
                  </a:lnTo>
                  <a:lnTo>
                    <a:pt x="480" y="463"/>
                  </a:lnTo>
                  <a:lnTo>
                    <a:pt x="477" y="463"/>
                  </a:lnTo>
                  <a:lnTo>
                    <a:pt x="476" y="461"/>
                  </a:lnTo>
                  <a:lnTo>
                    <a:pt x="476" y="452"/>
                  </a:lnTo>
                  <a:lnTo>
                    <a:pt x="476" y="452"/>
                  </a:lnTo>
                  <a:lnTo>
                    <a:pt x="474" y="449"/>
                  </a:lnTo>
                  <a:lnTo>
                    <a:pt x="473" y="448"/>
                  </a:lnTo>
                  <a:lnTo>
                    <a:pt x="467" y="448"/>
                  </a:lnTo>
                  <a:lnTo>
                    <a:pt x="458" y="448"/>
                  </a:lnTo>
                  <a:lnTo>
                    <a:pt x="458" y="448"/>
                  </a:lnTo>
                  <a:lnTo>
                    <a:pt x="458" y="452"/>
                  </a:lnTo>
                  <a:lnTo>
                    <a:pt x="456" y="457"/>
                  </a:lnTo>
                  <a:lnTo>
                    <a:pt x="456" y="457"/>
                  </a:lnTo>
                  <a:lnTo>
                    <a:pt x="455" y="458"/>
                  </a:lnTo>
                  <a:lnTo>
                    <a:pt x="454" y="458"/>
                  </a:lnTo>
                  <a:lnTo>
                    <a:pt x="451" y="455"/>
                  </a:lnTo>
                  <a:lnTo>
                    <a:pt x="449" y="448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3" y="440"/>
                  </a:lnTo>
                  <a:lnTo>
                    <a:pt x="440" y="440"/>
                  </a:lnTo>
                  <a:lnTo>
                    <a:pt x="437" y="442"/>
                  </a:lnTo>
                  <a:lnTo>
                    <a:pt x="436" y="446"/>
                  </a:lnTo>
                  <a:lnTo>
                    <a:pt x="434" y="452"/>
                  </a:lnTo>
                  <a:lnTo>
                    <a:pt x="434" y="452"/>
                  </a:lnTo>
                  <a:lnTo>
                    <a:pt x="433" y="458"/>
                  </a:lnTo>
                  <a:lnTo>
                    <a:pt x="430" y="461"/>
                  </a:lnTo>
                  <a:lnTo>
                    <a:pt x="425" y="464"/>
                  </a:lnTo>
                  <a:lnTo>
                    <a:pt x="421" y="467"/>
                  </a:lnTo>
                  <a:lnTo>
                    <a:pt x="421" y="467"/>
                  </a:lnTo>
                  <a:lnTo>
                    <a:pt x="419" y="470"/>
                  </a:lnTo>
                  <a:lnTo>
                    <a:pt x="418" y="474"/>
                  </a:lnTo>
                  <a:lnTo>
                    <a:pt x="417" y="477"/>
                  </a:lnTo>
                  <a:lnTo>
                    <a:pt x="415" y="480"/>
                  </a:lnTo>
                  <a:lnTo>
                    <a:pt x="415" y="480"/>
                  </a:lnTo>
                  <a:lnTo>
                    <a:pt x="412" y="483"/>
                  </a:lnTo>
                  <a:lnTo>
                    <a:pt x="409" y="482"/>
                  </a:lnTo>
                  <a:lnTo>
                    <a:pt x="402" y="477"/>
                  </a:lnTo>
                  <a:lnTo>
                    <a:pt x="402" y="477"/>
                  </a:lnTo>
                  <a:lnTo>
                    <a:pt x="397" y="474"/>
                  </a:lnTo>
                  <a:lnTo>
                    <a:pt x="393" y="473"/>
                  </a:lnTo>
                  <a:lnTo>
                    <a:pt x="387" y="471"/>
                  </a:lnTo>
                  <a:lnTo>
                    <a:pt x="382" y="466"/>
                  </a:lnTo>
                  <a:lnTo>
                    <a:pt x="382" y="466"/>
                  </a:lnTo>
                  <a:lnTo>
                    <a:pt x="379" y="458"/>
                  </a:lnTo>
                  <a:lnTo>
                    <a:pt x="378" y="451"/>
                  </a:lnTo>
                  <a:lnTo>
                    <a:pt x="375" y="442"/>
                  </a:lnTo>
                  <a:lnTo>
                    <a:pt x="375" y="442"/>
                  </a:lnTo>
                  <a:lnTo>
                    <a:pt x="374" y="440"/>
                  </a:lnTo>
                  <a:lnTo>
                    <a:pt x="369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56" y="445"/>
                  </a:lnTo>
                  <a:lnTo>
                    <a:pt x="351" y="448"/>
                  </a:lnTo>
                  <a:lnTo>
                    <a:pt x="351" y="448"/>
                  </a:lnTo>
                  <a:lnTo>
                    <a:pt x="348" y="448"/>
                  </a:lnTo>
                  <a:lnTo>
                    <a:pt x="347" y="446"/>
                  </a:lnTo>
                  <a:lnTo>
                    <a:pt x="341" y="442"/>
                  </a:lnTo>
                  <a:lnTo>
                    <a:pt x="341" y="442"/>
                  </a:lnTo>
                  <a:lnTo>
                    <a:pt x="338" y="439"/>
                  </a:lnTo>
                  <a:lnTo>
                    <a:pt x="335" y="440"/>
                  </a:lnTo>
                  <a:lnTo>
                    <a:pt x="331" y="442"/>
                  </a:lnTo>
                  <a:lnTo>
                    <a:pt x="325" y="442"/>
                  </a:lnTo>
                  <a:lnTo>
                    <a:pt x="325" y="442"/>
                  </a:lnTo>
                  <a:lnTo>
                    <a:pt x="320" y="442"/>
                  </a:lnTo>
                  <a:lnTo>
                    <a:pt x="319" y="439"/>
                  </a:lnTo>
                  <a:lnTo>
                    <a:pt x="322" y="430"/>
                  </a:lnTo>
                  <a:lnTo>
                    <a:pt x="322" y="430"/>
                  </a:lnTo>
                  <a:lnTo>
                    <a:pt x="323" y="426"/>
                  </a:lnTo>
                  <a:lnTo>
                    <a:pt x="322" y="421"/>
                  </a:lnTo>
                  <a:lnTo>
                    <a:pt x="317" y="414"/>
                  </a:lnTo>
                  <a:lnTo>
                    <a:pt x="317" y="414"/>
                  </a:lnTo>
                  <a:lnTo>
                    <a:pt x="316" y="412"/>
                  </a:lnTo>
                  <a:lnTo>
                    <a:pt x="314" y="414"/>
                  </a:lnTo>
                  <a:lnTo>
                    <a:pt x="311" y="420"/>
                  </a:lnTo>
                  <a:lnTo>
                    <a:pt x="311" y="420"/>
                  </a:lnTo>
                  <a:lnTo>
                    <a:pt x="310" y="421"/>
                  </a:lnTo>
                  <a:lnTo>
                    <a:pt x="308" y="421"/>
                  </a:lnTo>
                  <a:lnTo>
                    <a:pt x="305" y="420"/>
                  </a:lnTo>
                  <a:lnTo>
                    <a:pt x="302" y="415"/>
                  </a:lnTo>
                  <a:lnTo>
                    <a:pt x="300" y="412"/>
                  </a:lnTo>
                  <a:lnTo>
                    <a:pt x="300" y="412"/>
                  </a:lnTo>
                  <a:lnTo>
                    <a:pt x="300" y="409"/>
                  </a:lnTo>
                  <a:lnTo>
                    <a:pt x="301" y="408"/>
                  </a:lnTo>
                  <a:lnTo>
                    <a:pt x="307" y="403"/>
                  </a:lnTo>
                  <a:lnTo>
                    <a:pt x="307" y="403"/>
                  </a:lnTo>
                  <a:lnTo>
                    <a:pt x="310" y="402"/>
                  </a:lnTo>
                  <a:lnTo>
                    <a:pt x="310" y="397"/>
                  </a:lnTo>
                  <a:lnTo>
                    <a:pt x="310" y="389"/>
                  </a:lnTo>
                  <a:lnTo>
                    <a:pt x="310" y="389"/>
                  </a:lnTo>
                  <a:lnTo>
                    <a:pt x="310" y="383"/>
                  </a:lnTo>
                  <a:lnTo>
                    <a:pt x="314" y="378"/>
                  </a:lnTo>
                  <a:lnTo>
                    <a:pt x="323" y="368"/>
                  </a:lnTo>
                  <a:lnTo>
                    <a:pt x="323" y="368"/>
                  </a:lnTo>
                  <a:lnTo>
                    <a:pt x="328" y="363"/>
                  </a:lnTo>
                  <a:lnTo>
                    <a:pt x="331" y="356"/>
                  </a:lnTo>
                  <a:lnTo>
                    <a:pt x="335" y="343"/>
                  </a:lnTo>
                  <a:lnTo>
                    <a:pt x="335" y="343"/>
                  </a:lnTo>
                  <a:lnTo>
                    <a:pt x="340" y="337"/>
                  </a:lnTo>
                  <a:lnTo>
                    <a:pt x="345" y="329"/>
                  </a:lnTo>
                  <a:lnTo>
                    <a:pt x="356" y="323"/>
                  </a:lnTo>
                  <a:lnTo>
                    <a:pt x="356" y="323"/>
                  </a:lnTo>
                  <a:lnTo>
                    <a:pt x="354" y="322"/>
                  </a:lnTo>
                  <a:lnTo>
                    <a:pt x="351" y="320"/>
                  </a:lnTo>
                  <a:lnTo>
                    <a:pt x="342" y="319"/>
                  </a:lnTo>
                  <a:lnTo>
                    <a:pt x="342" y="319"/>
                  </a:lnTo>
                  <a:lnTo>
                    <a:pt x="341" y="319"/>
                  </a:lnTo>
                  <a:lnTo>
                    <a:pt x="340" y="316"/>
                  </a:lnTo>
                  <a:lnTo>
                    <a:pt x="338" y="310"/>
                  </a:lnTo>
                  <a:lnTo>
                    <a:pt x="338" y="310"/>
                  </a:lnTo>
                  <a:lnTo>
                    <a:pt x="337" y="307"/>
                  </a:lnTo>
                  <a:lnTo>
                    <a:pt x="334" y="307"/>
                  </a:lnTo>
                  <a:lnTo>
                    <a:pt x="325" y="307"/>
                  </a:lnTo>
                  <a:lnTo>
                    <a:pt x="325" y="307"/>
                  </a:lnTo>
                  <a:lnTo>
                    <a:pt x="322" y="307"/>
                  </a:lnTo>
                  <a:lnTo>
                    <a:pt x="319" y="309"/>
                  </a:lnTo>
                  <a:lnTo>
                    <a:pt x="314" y="313"/>
                  </a:lnTo>
                  <a:lnTo>
                    <a:pt x="314" y="313"/>
                  </a:lnTo>
                  <a:lnTo>
                    <a:pt x="311" y="316"/>
                  </a:lnTo>
                  <a:lnTo>
                    <a:pt x="305" y="319"/>
                  </a:lnTo>
                  <a:lnTo>
                    <a:pt x="301" y="319"/>
                  </a:lnTo>
                  <a:lnTo>
                    <a:pt x="297" y="319"/>
                  </a:lnTo>
                  <a:lnTo>
                    <a:pt x="297" y="31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7" name="Freeform 56">
              <a:extLst>
                <a:ext uri="{FF2B5EF4-FFF2-40B4-BE49-F238E27FC236}">
                  <a16:creationId xmlns:a16="http://schemas.microsoft.com/office/drawing/2014/main" id="{92EF2DEF-9CA6-DF4F-BB67-8C3A2E8D2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7688" y="6330950"/>
              <a:ext cx="715963" cy="974725"/>
            </a:xfrm>
            <a:custGeom>
              <a:avLst/>
              <a:gdLst>
                <a:gd name="T0" fmla="*/ 306 w 451"/>
                <a:gd name="T1" fmla="*/ 456 h 614"/>
                <a:gd name="T2" fmla="*/ 314 w 451"/>
                <a:gd name="T3" fmla="*/ 422 h 614"/>
                <a:gd name="T4" fmla="*/ 320 w 451"/>
                <a:gd name="T5" fmla="*/ 401 h 614"/>
                <a:gd name="T6" fmla="*/ 336 w 451"/>
                <a:gd name="T7" fmla="*/ 386 h 614"/>
                <a:gd name="T8" fmla="*/ 357 w 451"/>
                <a:gd name="T9" fmla="*/ 369 h 614"/>
                <a:gd name="T10" fmla="*/ 398 w 451"/>
                <a:gd name="T11" fmla="*/ 375 h 614"/>
                <a:gd name="T12" fmla="*/ 394 w 451"/>
                <a:gd name="T13" fmla="*/ 355 h 614"/>
                <a:gd name="T14" fmla="*/ 388 w 451"/>
                <a:gd name="T15" fmla="*/ 337 h 614"/>
                <a:gd name="T16" fmla="*/ 423 w 451"/>
                <a:gd name="T17" fmla="*/ 312 h 614"/>
                <a:gd name="T18" fmla="*/ 440 w 451"/>
                <a:gd name="T19" fmla="*/ 244 h 614"/>
                <a:gd name="T20" fmla="*/ 428 w 451"/>
                <a:gd name="T21" fmla="*/ 225 h 614"/>
                <a:gd name="T22" fmla="*/ 425 w 451"/>
                <a:gd name="T23" fmla="*/ 197 h 614"/>
                <a:gd name="T24" fmla="*/ 428 w 451"/>
                <a:gd name="T25" fmla="*/ 155 h 614"/>
                <a:gd name="T26" fmla="*/ 432 w 451"/>
                <a:gd name="T27" fmla="*/ 123 h 614"/>
                <a:gd name="T28" fmla="*/ 444 w 451"/>
                <a:gd name="T29" fmla="*/ 103 h 614"/>
                <a:gd name="T30" fmla="*/ 416 w 451"/>
                <a:gd name="T31" fmla="*/ 112 h 614"/>
                <a:gd name="T32" fmla="*/ 370 w 451"/>
                <a:gd name="T33" fmla="*/ 121 h 614"/>
                <a:gd name="T34" fmla="*/ 324 w 451"/>
                <a:gd name="T35" fmla="*/ 93 h 614"/>
                <a:gd name="T36" fmla="*/ 291 w 451"/>
                <a:gd name="T37" fmla="*/ 105 h 614"/>
                <a:gd name="T38" fmla="*/ 256 w 451"/>
                <a:gd name="T39" fmla="*/ 66 h 614"/>
                <a:gd name="T40" fmla="*/ 225 w 451"/>
                <a:gd name="T41" fmla="*/ 52 h 614"/>
                <a:gd name="T42" fmla="*/ 229 w 451"/>
                <a:gd name="T43" fmla="*/ 19 h 614"/>
                <a:gd name="T44" fmla="*/ 214 w 451"/>
                <a:gd name="T45" fmla="*/ 0 h 614"/>
                <a:gd name="T46" fmla="*/ 154 w 451"/>
                <a:gd name="T47" fmla="*/ 56 h 614"/>
                <a:gd name="T48" fmla="*/ 149 w 451"/>
                <a:gd name="T49" fmla="*/ 98 h 614"/>
                <a:gd name="T50" fmla="*/ 127 w 451"/>
                <a:gd name="T51" fmla="*/ 106 h 614"/>
                <a:gd name="T52" fmla="*/ 135 w 451"/>
                <a:gd name="T53" fmla="*/ 124 h 614"/>
                <a:gd name="T54" fmla="*/ 148 w 451"/>
                <a:gd name="T55" fmla="*/ 133 h 614"/>
                <a:gd name="T56" fmla="*/ 170 w 451"/>
                <a:gd name="T57" fmla="*/ 132 h 614"/>
                <a:gd name="T58" fmla="*/ 172 w 451"/>
                <a:gd name="T59" fmla="*/ 172 h 614"/>
                <a:gd name="T60" fmla="*/ 160 w 451"/>
                <a:gd name="T61" fmla="*/ 206 h 614"/>
                <a:gd name="T62" fmla="*/ 142 w 451"/>
                <a:gd name="T63" fmla="*/ 197 h 614"/>
                <a:gd name="T64" fmla="*/ 120 w 451"/>
                <a:gd name="T65" fmla="*/ 204 h 614"/>
                <a:gd name="T66" fmla="*/ 108 w 451"/>
                <a:gd name="T67" fmla="*/ 223 h 614"/>
                <a:gd name="T68" fmla="*/ 96 w 451"/>
                <a:gd name="T69" fmla="*/ 243 h 614"/>
                <a:gd name="T70" fmla="*/ 65 w 451"/>
                <a:gd name="T71" fmla="*/ 278 h 614"/>
                <a:gd name="T72" fmla="*/ 52 w 451"/>
                <a:gd name="T73" fmla="*/ 287 h 614"/>
                <a:gd name="T74" fmla="*/ 44 w 451"/>
                <a:gd name="T75" fmla="*/ 300 h 614"/>
                <a:gd name="T76" fmla="*/ 29 w 451"/>
                <a:gd name="T77" fmla="*/ 330 h 614"/>
                <a:gd name="T78" fmla="*/ 28 w 451"/>
                <a:gd name="T79" fmla="*/ 366 h 614"/>
                <a:gd name="T80" fmla="*/ 32 w 451"/>
                <a:gd name="T81" fmla="*/ 401 h 614"/>
                <a:gd name="T82" fmla="*/ 1 w 451"/>
                <a:gd name="T83" fmla="*/ 417 h 614"/>
                <a:gd name="T84" fmla="*/ 12 w 451"/>
                <a:gd name="T85" fmla="*/ 459 h 614"/>
                <a:gd name="T86" fmla="*/ 47 w 451"/>
                <a:gd name="T87" fmla="*/ 475 h 614"/>
                <a:gd name="T88" fmla="*/ 68 w 451"/>
                <a:gd name="T89" fmla="*/ 494 h 614"/>
                <a:gd name="T90" fmla="*/ 102 w 451"/>
                <a:gd name="T91" fmla="*/ 512 h 614"/>
                <a:gd name="T92" fmla="*/ 112 w 451"/>
                <a:gd name="T93" fmla="*/ 546 h 614"/>
                <a:gd name="T94" fmla="*/ 114 w 451"/>
                <a:gd name="T95" fmla="*/ 588 h 614"/>
                <a:gd name="T96" fmla="*/ 148 w 451"/>
                <a:gd name="T97" fmla="*/ 586 h 614"/>
                <a:gd name="T98" fmla="*/ 166 w 451"/>
                <a:gd name="T99" fmla="*/ 614 h 614"/>
                <a:gd name="T100" fmla="*/ 207 w 451"/>
                <a:gd name="T101" fmla="*/ 600 h 614"/>
                <a:gd name="T102" fmla="*/ 265 w 451"/>
                <a:gd name="T103" fmla="*/ 592 h 614"/>
                <a:gd name="T104" fmla="*/ 290 w 451"/>
                <a:gd name="T105" fmla="*/ 567 h 614"/>
                <a:gd name="T106" fmla="*/ 303 w 451"/>
                <a:gd name="T107" fmla="*/ 542 h 614"/>
                <a:gd name="T108" fmla="*/ 305 w 451"/>
                <a:gd name="T109" fmla="*/ 514 h 614"/>
                <a:gd name="T110" fmla="*/ 296 w 451"/>
                <a:gd name="T111" fmla="*/ 49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1" h="614">
                  <a:moveTo>
                    <a:pt x="291" y="490"/>
                  </a:moveTo>
                  <a:lnTo>
                    <a:pt x="291" y="490"/>
                  </a:lnTo>
                  <a:lnTo>
                    <a:pt x="293" y="487"/>
                  </a:lnTo>
                  <a:lnTo>
                    <a:pt x="294" y="483"/>
                  </a:lnTo>
                  <a:lnTo>
                    <a:pt x="302" y="474"/>
                  </a:lnTo>
                  <a:lnTo>
                    <a:pt x="302" y="474"/>
                  </a:lnTo>
                  <a:lnTo>
                    <a:pt x="305" y="465"/>
                  </a:lnTo>
                  <a:lnTo>
                    <a:pt x="306" y="456"/>
                  </a:lnTo>
                  <a:lnTo>
                    <a:pt x="306" y="447"/>
                  </a:lnTo>
                  <a:lnTo>
                    <a:pt x="306" y="441"/>
                  </a:lnTo>
                  <a:lnTo>
                    <a:pt x="306" y="441"/>
                  </a:lnTo>
                  <a:lnTo>
                    <a:pt x="308" y="438"/>
                  </a:lnTo>
                  <a:lnTo>
                    <a:pt x="309" y="435"/>
                  </a:lnTo>
                  <a:lnTo>
                    <a:pt x="312" y="429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5" y="413"/>
                  </a:lnTo>
                  <a:lnTo>
                    <a:pt x="315" y="413"/>
                  </a:lnTo>
                  <a:lnTo>
                    <a:pt x="317" y="412"/>
                  </a:lnTo>
                  <a:lnTo>
                    <a:pt x="317" y="412"/>
                  </a:lnTo>
                  <a:lnTo>
                    <a:pt x="317" y="409"/>
                  </a:lnTo>
                  <a:lnTo>
                    <a:pt x="320" y="406"/>
                  </a:lnTo>
                  <a:lnTo>
                    <a:pt x="321" y="404"/>
                  </a:lnTo>
                  <a:lnTo>
                    <a:pt x="320" y="401"/>
                  </a:lnTo>
                  <a:lnTo>
                    <a:pt x="320" y="401"/>
                  </a:lnTo>
                  <a:lnTo>
                    <a:pt x="320" y="398"/>
                  </a:lnTo>
                  <a:lnTo>
                    <a:pt x="321" y="395"/>
                  </a:lnTo>
                  <a:lnTo>
                    <a:pt x="324" y="394"/>
                  </a:lnTo>
                  <a:lnTo>
                    <a:pt x="330" y="391"/>
                  </a:lnTo>
                  <a:lnTo>
                    <a:pt x="330" y="391"/>
                  </a:lnTo>
                  <a:lnTo>
                    <a:pt x="334" y="389"/>
                  </a:lnTo>
                  <a:lnTo>
                    <a:pt x="336" y="386"/>
                  </a:lnTo>
                  <a:lnTo>
                    <a:pt x="336" y="383"/>
                  </a:lnTo>
                  <a:lnTo>
                    <a:pt x="333" y="379"/>
                  </a:lnTo>
                  <a:lnTo>
                    <a:pt x="333" y="379"/>
                  </a:lnTo>
                  <a:lnTo>
                    <a:pt x="333" y="377"/>
                  </a:lnTo>
                  <a:lnTo>
                    <a:pt x="333" y="376"/>
                  </a:lnTo>
                  <a:lnTo>
                    <a:pt x="339" y="372"/>
                  </a:lnTo>
                  <a:lnTo>
                    <a:pt x="346" y="370"/>
                  </a:lnTo>
                  <a:lnTo>
                    <a:pt x="357" y="369"/>
                  </a:lnTo>
                  <a:lnTo>
                    <a:pt x="357" y="369"/>
                  </a:lnTo>
                  <a:lnTo>
                    <a:pt x="367" y="369"/>
                  </a:lnTo>
                  <a:lnTo>
                    <a:pt x="376" y="369"/>
                  </a:lnTo>
                  <a:lnTo>
                    <a:pt x="376" y="369"/>
                  </a:lnTo>
                  <a:lnTo>
                    <a:pt x="383" y="370"/>
                  </a:lnTo>
                  <a:lnTo>
                    <a:pt x="389" y="372"/>
                  </a:lnTo>
                  <a:lnTo>
                    <a:pt x="395" y="373"/>
                  </a:lnTo>
                  <a:lnTo>
                    <a:pt x="398" y="375"/>
                  </a:lnTo>
                  <a:lnTo>
                    <a:pt x="398" y="375"/>
                  </a:lnTo>
                  <a:lnTo>
                    <a:pt x="401" y="373"/>
                  </a:lnTo>
                  <a:lnTo>
                    <a:pt x="401" y="370"/>
                  </a:lnTo>
                  <a:lnTo>
                    <a:pt x="400" y="366"/>
                  </a:lnTo>
                  <a:lnTo>
                    <a:pt x="395" y="363"/>
                  </a:lnTo>
                  <a:lnTo>
                    <a:pt x="395" y="363"/>
                  </a:lnTo>
                  <a:lnTo>
                    <a:pt x="392" y="360"/>
                  </a:lnTo>
                  <a:lnTo>
                    <a:pt x="394" y="355"/>
                  </a:lnTo>
                  <a:lnTo>
                    <a:pt x="398" y="346"/>
                  </a:lnTo>
                  <a:lnTo>
                    <a:pt x="398" y="346"/>
                  </a:lnTo>
                  <a:lnTo>
                    <a:pt x="398" y="343"/>
                  </a:lnTo>
                  <a:lnTo>
                    <a:pt x="398" y="342"/>
                  </a:lnTo>
                  <a:lnTo>
                    <a:pt x="395" y="340"/>
                  </a:lnTo>
                  <a:lnTo>
                    <a:pt x="392" y="339"/>
                  </a:lnTo>
                  <a:lnTo>
                    <a:pt x="388" y="337"/>
                  </a:lnTo>
                  <a:lnTo>
                    <a:pt x="388" y="337"/>
                  </a:lnTo>
                  <a:lnTo>
                    <a:pt x="388" y="336"/>
                  </a:lnTo>
                  <a:lnTo>
                    <a:pt x="389" y="335"/>
                  </a:lnTo>
                  <a:lnTo>
                    <a:pt x="394" y="332"/>
                  </a:lnTo>
                  <a:lnTo>
                    <a:pt x="410" y="324"/>
                  </a:lnTo>
                  <a:lnTo>
                    <a:pt x="410" y="324"/>
                  </a:lnTo>
                  <a:lnTo>
                    <a:pt x="414" y="323"/>
                  </a:lnTo>
                  <a:lnTo>
                    <a:pt x="417" y="320"/>
                  </a:lnTo>
                  <a:lnTo>
                    <a:pt x="423" y="312"/>
                  </a:lnTo>
                  <a:lnTo>
                    <a:pt x="428" y="300"/>
                  </a:lnTo>
                  <a:lnTo>
                    <a:pt x="431" y="289"/>
                  </a:lnTo>
                  <a:lnTo>
                    <a:pt x="431" y="289"/>
                  </a:lnTo>
                  <a:lnTo>
                    <a:pt x="434" y="271"/>
                  </a:lnTo>
                  <a:lnTo>
                    <a:pt x="438" y="255"/>
                  </a:lnTo>
                  <a:lnTo>
                    <a:pt x="438" y="252"/>
                  </a:lnTo>
                  <a:lnTo>
                    <a:pt x="438" y="252"/>
                  </a:lnTo>
                  <a:lnTo>
                    <a:pt x="440" y="244"/>
                  </a:lnTo>
                  <a:lnTo>
                    <a:pt x="440" y="243"/>
                  </a:lnTo>
                  <a:lnTo>
                    <a:pt x="438" y="241"/>
                  </a:lnTo>
                  <a:lnTo>
                    <a:pt x="435" y="240"/>
                  </a:lnTo>
                  <a:lnTo>
                    <a:pt x="429" y="237"/>
                  </a:lnTo>
                  <a:lnTo>
                    <a:pt x="429" y="237"/>
                  </a:lnTo>
                  <a:lnTo>
                    <a:pt x="428" y="235"/>
                  </a:lnTo>
                  <a:lnTo>
                    <a:pt x="426" y="232"/>
                  </a:lnTo>
                  <a:lnTo>
                    <a:pt x="428" y="225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34" y="210"/>
                  </a:lnTo>
                  <a:lnTo>
                    <a:pt x="432" y="207"/>
                  </a:lnTo>
                  <a:lnTo>
                    <a:pt x="429" y="204"/>
                  </a:lnTo>
                  <a:lnTo>
                    <a:pt x="426" y="201"/>
                  </a:lnTo>
                  <a:lnTo>
                    <a:pt x="425" y="200"/>
                  </a:lnTo>
                  <a:lnTo>
                    <a:pt x="425" y="197"/>
                  </a:lnTo>
                  <a:lnTo>
                    <a:pt x="425" y="197"/>
                  </a:lnTo>
                  <a:lnTo>
                    <a:pt x="428" y="191"/>
                  </a:lnTo>
                  <a:lnTo>
                    <a:pt x="431" y="183"/>
                  </a:lnTo>
                  <a:lnTo>
                    <a:pt x="434" y="176"/>
                  </a:lnTo>
                  <a:lnTo>
                    <a:pt x="434" y="172"/>
                  </a:lnTo>
                  <a:lnTo>
                    <a:pt x="434" y="169"/>
                  </a:lnTo>
                  <a:lnTo>
                    <a:pt x="434" y="169"/>
                  </a:lnTo>
                  <a:lnTo>
                    <a:pt x="428" y="155"/>
                  </a:lnTo>
                  <a:lnTo>
                    <a:pt x="425" y="149"/>
                  </a:lnTo>
                  <a:lnTo>
                    <a:pt x="423" y="143"/>
                  </a:lnTo>
                  <a:lnTo>
                    <a:pt x="423" y="143"/>
                  </a:lnTo>
                  <a:lnTo>
                    <a:pt x="423" y="141"/>
                  </a:lnTo>
                  <a:lnTo>
                    <a:pt x="423" y="138"/>
                  </a:lnTo>
                  <a:lnTo>
                    <a:pt x="426" y="133"/>
                  </a:lnTo>
                  <a:lnTo>
                    <a:pt x="429" y="129"/>
                  </a:lnTo>
                  <a:lnTo>
                    <a:pt x="432" y="123"/>
                  </a:lnTo>
                  <a:lnTo>
                    <a:pt x="432" y="123"/>
                  </a:lnTo>
                  <a:lnTo>
                    <a:pt x="435" y="118"/>
                  </a:lnTo>
                  <a:lnTo>
                    <a:pt x="438" y="115"/>
                  </a:lnTo>
                  <a:lnTo>
                    <a:pt x="448" y="114"/>
                  </a:lnTo>
                  <a:lnTo>
                    <a:pt x="448" y="114"/>
                  </a:lnTo>
                  <a:lnTo>
                    <a:pt x="451" y="111"/>
                  </a:lnTo>
                  <a:lnTo>
                    <a:pt x="450" y="109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32" y="112"/>
                  </a:lnTo>
                  <a:lnTo>
                    <a:pt x="432" y="112"/>
                  </a:lnTo>
                  <a:lnTo>
                    <a:pt x="431" y="115"/>
                  </a:lnTo>
                  <a:lnTo>
                    <a:pt x="426" y="115"/>
                  </a:lnTo>
                  <a:lnTo>
                    <a:pt x="420" y="114"/>
                  </a:lnTo>
                  <a:lnTo>
                    <a:pt x="420" y="114"/>
                  </a:lnTo>
                  <a:lnTo>
                    <a:pt x="416" y="112"/>
                  </a:lnTo>
                  <a:lnTo>
                    <a:pt x="411" y="112"/>
                  </a:lnTo>
                  <a:lnTo>
                    <a:pt x="401" y="114"/>
                  </a:lnTo>
                  <a:lnTo>
                    <a:pt x="401" y="114"/>
                  </a:lnTo>
                  <a:lnTo>
                    <a:pt x="388" y="118"/>
                  </a:lnTo>
                  <a:lnTo>
                    <a:pt x="380" y="121"/>
                  </a:lnTo>
                  <a:lnTo>
                    <a:pt x="373" y="123"/>
                  </a:lnTo>
                  <a:lnTo>
                    <a:pt x="373" y="123"/>
                  </a:lnTo>
                  <a:lnTo>
                    <a:pt x="370" y="121"/>
                  </a:lnTo>
                  <a:lnTo>
                    <a:pt x="367" y="120"/>
                  </a:lnTo>
                  <a:lnTo>
                    <a:pt x="360" y="115"/>
                  </a:lnTo>
                  <a:lnTo>
                    <a:pt x="352" y="108"/>
                  </a:lnTo>
                  <a:lnTo>
                    <a:pt x="345" y="105"/>
                  </a:lnTo>
                  <a:lnTo>
                    <a:pt x="345" y="105"/>
                  </a:lnTo>
                  <a:lnTo>
                    <a:pt x="337" y="101"/>
                  </a:lnTo>
                  <a:lnTo>
                    <a:pt x="330" y="98"/>
                  </a:lnTo>
                  <a:lnTo>
                    <a:pt x="324" y="93"/>
                  </a:lnTo>
                  <a:lnTo>
                    <a:pt x="318" y="92"/>
                  </a:lnTo>
                  <a:lnTo>
                    <a:pt x="318" y="92"/>
                  </a:lnTo>
                  <a:lnTo>
                    <a:pt x="315" y="90"/>
                  </a:lnTo>
                  <a:lnTo>
                    <a:pt x="312" y="92"/>
                  </a:lnTo>
                  <a:lnTo>
                    <a:pt x="305" y="95"/>
                  </a:lnTo>
                  <a:lnTo>
                    <a:pt x="294" y="103"/>
                  </a:lnTo>
                  <a:lnTo>
                    <a:pt x="294" y="103"/>
                  </a:lnTo>
                  <a:lnTo>
                    <a:pt x="291" y="105"/>
                  </a:lnTo>
                  <a:lnTo>
                    <a:pt x="289" y="103"/>
                  </a:lnTo>
                  <a:lnTo>
                    <a:pt x="281" y="101"/>
                  </a:lnTo>
                  <a:lnTo>
                    <a:pt x="265" y="89"/>
                  </a:lnTo>
                  <a:lnTo>
                    <a:pt x="265" y="89"/>
                  </a:lnTo>
                  <a:lnTo>
                    <a:pt x="259" y="84"/>
                  </a:lnTo>
                  <a:lnTo>
                    <a:pt x="256" y="78"/>
                  </a:lnTo>
                  <a:lnTo>
                    <a:pt x="256" y="74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2"/>
                  </a:lnTo>
                  <a:lnTo>
                    <a:pt x="254" y="61"/>
                  </a:lnTo>
                  <a:lnTo>
                    <a:pt x="250" y="61"/>
                  </a:lnTo>
                  <a:lnTo>
                    <a:pt x="246" y="59"/>
                  </a:lnTo>
                  <a:lnTo>
                    <a:pt x="246" y="59"/>
                  </a:lnTo>
                  <a:lnTo>
                    <a:pt x="232" y="55"/>
                  </a:lnTo>
                  <a:lnTo>
                    <a:pt x="225" y="52"/>
                  </a:lnTo>
                  <a:lnTo>
                    <a:pt x="219" y="49"/>
                  </a:lnTo>
                  <a:lnTo>
                    <a:pt x="219" y="49"/>
                  </a:lnTo>
                  <a:lnTo>
                    <a:pt x="216" y="46"/>
                  </a:lnTo>
                  <a:lnTo>
                    <a:pt x="217" y="41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9" y="22"/>
                  </a:lnTo>
                  <a:lnTo>
                    <a:pt x="229" y="19"/>
                  </a:lnTo>
                  <a:lnTo>
                    <a:pt x="228" y="18"/>
                  </a:lnTo>
                  <a:lnTo>
                    <a:pt x="225" y="13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19" y="7"/>
                  </a:lnTo>
                  <a:lnTo>
                    <a:pt x="219" y="4"/>
                  </a:lnTo>
                  <a:lnTo>
                    <a:pt x="217" y="3"/>
                  </a:lnTo>
                  <a:lnTo>
                    <a:pt x="214" y="0"/>
                  </a:lnTo>
                  <a:lnTo>
                    <a:pt x="214" y="0"/>
                  </a:lnTo>
                  <a:lnTo>
                    <a:pt x="210" y="1"/>
                  </a:lnTo>
                  <a:lnTo>
                    <a:pt x="206" y="4"/>
                  </a:lnTo>
                  <a:lnTo>
                    <a:pt x="195" y="13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63" y="4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2" y="59"/>
                  </a:lnTo>
                  <a:lnTo>
                    <a:pt x="152" y="62"/>
                  </a:lnTo>
                  <a:lnTo>
                    <a:pt x="152" y="71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4" y="90"/>
                  </a:lnTo>
                  <a:lnTo>
                    <a:pt x="149" y="98"/>
                  </a:lnTo>
                  <a:lnTo>
                    <a:pt x="146" y="101"/>
                  </a:lnTo>
                  <a:lnTo>
                    <a:pt x="143" y="103"/>
                  </a:lnTo>
                  <a:lnTo>
                    <a:pt x="139" y="105"/>
                  </a:lnTo>
                  <a:lnTo>
                    <a:pt x="135" y="105"/>
                  </a:lnTo>
                  <a:lnTo>
                    <a:pt x="135" y="105"/>
                  </a:lnTo>
                  <a:lnTo>
                    <a:pt x="129" y="105"/>
                  </a:lnTo>
                  <a:lnTo>
                    <a:pt x="127" y="105"/>
                  </a:lnTo>
                  <a:lnTo>
                    <a:pt x="127" y="106"/>
                  </a:lnTo>
                  <a:lnTo>
                    <a:pt x="127" y="111"/>
                  </a:lnTo>
                  <a:lnTo>
                    <a:pt x="127" y="115"/>
                  </a:lnTo>
                  <a:lnTo>
                    <a:pt x="127" y="115"/>
                  </a:lnTo>
                  <a:lnTo>
                    <a:pt x="126" y="120"/>
                  </a:lnTo>
                  <a:lnTo>
                    <a:pt x="127" y="121"/>
                  </a:lnTo>
                  <a:lnTo>
                    <a:pt x="130" y="123"/>
                  </a:lnTo>
                  <a:lnTo>
                    <a:pt x="135" y="124"/>
                  </a:lnTo>
                  <a:lnTo>
                    <a:pt x="135" y="124"/>
                  </a:lnTo>
                  <a:lnTo>
                    <a:pt x="136" y="127"/>
                  </a:lnTo>
                  <a:lnTo>
                    <a:pt x="137" y="132"/>
                  </a:lnTo>
                  <a:lnTo>
                    <a:pt x="139" y="135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3" y="138"/>
                  </a:lnTo>
                  <a:lnTo>
                    <a:pt x="145" y="136"/>
                  </a:lnTo>
                  <a:lnTo>
                    <a:pt x="148" y="133"/>
                  </a:lnTo>
                  <a:lnTo>
                    <a:pt x="151" y="129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60" y="123"/>
                  </a:lnTo>
                  <a:lnTo>
                    <a:pt x="164" y="124"/>
                  </a:lnTo>
                  <a:lnTo>
                    <a:pt x="167" y="127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72" y="135"/>
                  </a:lnTo>
                  <a:lnTo>
                    <a:pt x="170" y="138"/>
                  </a:lnTo>
                  <a:lnTo>
                    <a:pt x="169" y="142"/>
                  </a:lnTo>
                  <a:lnTo>
                    <a:pt x="167" y="148"/>
                  </a:lnTo>
                  <a:lnTo>
                    <a:pt x="167" y="148"/>
                  </a:lnTo>
                  <a:lnTo>
                    <a:pt x="167" y="155"/>
                  </a:lnTo>
                  <a:lnTo>
                    <a:pt x="169" y="164"/>
                  </a:lnTo>
                  <a:lnTo>
                    <a:pt x="172" y="172"/>
                  </a:lnTo>
                  <a:lnTo>
                    <a:pt x="173" y="179"/>
                  </a:lnTo>
                  <a:lnTo>
                    <a:pt x="173" y="179"/>
                  </a:lnTo>
                  <a:lnTo>
                    <a:pt x="172" y="185"/>
                  </a:lnTo>
                  <a:lnTo>
                    <a:pt x="170" y="192"/>
                  </a:lnTo>
                  <a:lnTo>
                    <a:pt x="169" y="198"/>
                  </a:lnTo>
                  <a:lnTo>
                    <a:pt x="164" y="203"/>
                  </a:lnTo>
                  <a:lnTo>
                    <a:pt x="164" y="203"/>
                  </a:lnTo>
                  <a:lnTo>
                    <a:pt x="160" y="206"/>
                  </a:lnTo>
                  <a:lnTo>
                    <a:pt x="157" y="207"/>
                  </a:lnTo>
                  <a:lnTo>
                    <a:pt x="154" y="207"/>
                  </a:lnTo>
                  <a:lnTo>
                    <a:pt x="154" y="207"/>
                  </a:lnTo>
                  <a:lnTo>
                    <a:pt x="151" y="206"/>
                  </a:lnTo>
                  <a:lnTo>
                    <a:pt x="148" y="203"/>
                  </a:lnTo>
                  <a:lnTo>
                    <a:pt x="145" y="200"/>
                  </a:lnTo>
                  <a:lnTo>
                    <a:pt x="142" y="197"/>
                  </a:lnTo>
                  <a:lnTo>
                    <a:pt x="142" y="197"/>
                  </a:lnTo>
                  <a:lnTo>
                    <a:pt x="136" y="194"/>
                  </a:lnTo>
                  <a:lnTo>
                    <a:pt x="135" y="192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29" y="191"/>
                  </a:lnTo>
                  <a:lnTo>
                    <a:pt x="126" y="192"/>
                  </a:lnTo>
                  <a:lnTo>
                    <a:pt x="123" y="198"/>
                  </a:lnTo>
                  <a:lnTo>
                    <a:pt x="120" y="204"/>
                  </a:lnTo>
                  <a:lnTo>
                    <a:pt x="118" y="207"/>
                  </a:lnTo>
                  <a:lnTo>
                    <a:pt x="118" y="207"/>
                  </a:lnTo>
                  <a:lnTo>
                    <a:pt x="117" y="207"/>
                  </a:lnTo>
                  <a:lnTo>
                    <a:pt x="115" y="210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1" y="222"/>
                  </a:lnTo>
                  <a:lnTo>
                    <a:pt x="108" y="223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3" y="222"/>
                  </a:lnTo>
                  <a:lnTo>
                    <a:pt x="102" y="225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6" y="243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0" y="265"/>
                  </a:lnTo>
                  <a:lnTo>
                    <a:pt x="75" y="274"/>
                  </a:lnTo>
                  <a:lnTo>
                    <a:pt x="75" y="274"/>
                  </a:lnTo>
                  <a:lnTo>
                    <a:pt x="72" y="277"/>
                  </a:lnTo>
                  <a:lnTo>
                    <a:pt x="68" y="278"/>
                  </a:lnTo>
                  <a:lnTo>
                    <a:pt x="65" y="278"/>
                  </a:lnTo>
                  <a:lnTo>
                    <a:pt x="60" y="277"/>
                  </a:lnTo>
                  <a:lnTo>
                    <a:pt x="60" y="277"/>
                  </a:lnTo>
                  <a:lnTo>
                    <a:pt x="58" y="277"/>
                  </a:lnTo>
                  <a:lnTo>
                    <a:pt x="55" y="278"/>
                  </a:lnTo>
                  <a:lnTo>
                    <a:pt x="52" y="281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7"/>
                  </a:lnTo>
                  <a:lnTo>
                    <a:pt x="53" y="289"/>
                  </a:lnTo>
                  <a:lnTo>
                    <a:pt x="56" y="292"/>
                  </a:lnTo>
                  <a:lnTo>
                    <a:pt x="59" y="296"/>
                  </a:lnTo>
                  <a:lnTo>
                    <a:pt x="59" y="296"/>
                  </a:lnTo>
                  <a:lnTo>
                    <a:pt x="60" y="299"/>
                  </a:lnTo>
                  <a:lnTo>
                    <a:pt x="59" y="300"/>
                  </a:lnTo>
                  <a:lnTo>
                    <a:pt x="56" y="302"/>
                  </a:lnTo>
                  <a:lnTo>
                    <a:pt x="44" y="300"/>
                  </a:lnTo>
                  <a:lnTo>
                    <a:pt x="44" y="300"/>
                  </a:lnTo>
                  <a:lnTo>
                    <a:pt x="40" y="300"/>
                  </a:lnTo>
                  <a:lnTo>
                    <a:pt x="38" y="303"/>
                  </a:lnTo>
                  <a:lnTo>
                    <a:pt x="38" y="305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29" y="330"/>
                  </a:lnTo>
                  <a:lnTo>
                    <a:pt x="29" y="330"/>
                  </a:lnTo>
                  <a:lnTo>
                    <a:pt x="34" y="332"/>
                  </a:lnTo>
                  <a:lnTo>
                    <a:pt x="35" y="333"/>
                  </a:lnTo>
                  <a:lnTo>
                    <a:pt x="35" y="333"/>
                  </a:lnTo>
                  <a:lnTo>
                    <a:pt x="35" y="336"/>
                  </a:lnTo>
                  <a:lnTo>
                    <a:pt x="35" y="339"/>
                  </a:lnTo>
                  <a:lnTo>
                    <a:pt x="32" y="349"/>
                  </a:lnTo>
                  <a:lnTo>
                    <a:pt x="28" y="360"/>
                  </a:lnTo>
                  <a:lnTo>
                    <a:pt x="28" y="366"/>
                  </a:lnTo>
                  <a:lnTo>
                    <a:pt x="28" y="373"/>
                  </a:lnTo>
                  <a:lnTo>
                    <a:pt x="28" y="373"/>
                  </a:lnTo>
                  <a:lnTo>
                    <a:pt x="29" y="379"/>
                  </a:lnTo>
                  <a:lnTo>
                    <a:pt x="31" y="383"/>
                  </a:lnTo>
                  <a:lnTo>
                    <a:pt x="35" y="391"/>
                  </a:lnTo>
                  <a:lnTo>
                    <a:pt x="35" y="394"/>
                  </a:lnTo>
                  <a:lnTo>
                    <a:pt x="35" y="397"/>
                  </a:lnTo>
                  <a:lnTo>
                    <a:pt x="32" y="401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2" y="407"/>
                  </a:lnTo>
                  <a:lnTo>
                    <a:pt x="18" y="409"/>
                  </a:lnTo>
                  <a:lnTo>
                    <a:pt x="9" y="412"/>
                  </a:lnTo>
                  <a:lnTo>
                    <a:pt x="4" y="412"/>
                  </a:lnTo>
                  <a:lnTo>
                    <a:pt x="3" y="414"/>
                  </a:lnTo>
                  <a:lnTo>
                    <a:pt x="1" y="417"/>
                  </a:lnTo>
                  <a:lnTo>
                    <a:pt x="0" y="423"/>
                  </a:lnTo>
                  <a:lnTo>
                    <a:pt x="0" y="423"/>
                  </a:lnTo>
                  <a:lnTo>
                    <a:pt x="0" y="435"/>
                  </a:lnTo>
                  <a:lnTo>
                    <a:pt x="1" y="444"/>
                  </a:lnTo>
                  <a:lnTo>
                    <a:pt x="4" y="452"/>
                  </a:lnTo>
                  <a:lnTo>
                    <a:pt x="7" y="456"/>
                  </a:lnTo>
                  <a:lnTo>
                    <a:pt x="7" y="456"/>
                  </a:lnTo>
                  <a:lnTo>
                    <a:pt x="12" y="459"/>
                  </a:lnTo>
                  <a:lnTo>
                    <a:pt x="18" y="460"/>
                  </a:lnTo>
                  <a:lnTo>
                    <a:pt x="22" y="462"/>
                  </a:lnTo>
                  <a:lnTo>
                    <a:pt x="28" y="465"/>
                  </a:lnTo>
                  <a:lnTo>
                    <a:pt x="28" y="465"/>
                  </a:lnTo>
                  <a:lnTo>
                    <a:pt x="34" y="469"/>
                  </a:lnTo>
                  <a:lnTo>
                    <a:pt x="37" y="472"/>
                  </a:lnTo>
                  <a:lnTo>
                    <a:pt x="40" y="475"/>
                  </a:lnTo>
                  <a:lnTo>
                    <a:pt x="47" y="475"/>
                  </a:lnTo>
                  <a:lnTo>
                    <a:pt x="47" y="475"/>
                  </a:lnTo>
                  <a:lnTo>
                    <a:pt x="56" y="475"/>
                  </a:lnTo>
                  <a:lnTo>
                    <a:pt x="63" y="478"/>
                  </a:lnTo>
                  <a:lnTo>
                    <a:pt x="69" y="481"/>
                  </a:lnTo>
                  <a:lnTo>
                    <a:pt x="72" y="484"/>
                  </a:lnTo>
                  <a:lnTo>
                    <a:pt x="72" y="484"/>
                  </a:lnTo>
                  <a:lnTo>
                    <a:pt x="69" y="487"/>
                  </a:lnTo>
                  <a:lnTo>
                    <a:pt x="68" y="494"/>
                  </a:lnTo>
                  <a:lnTo>
                    <a:pt x="66" y="499"/>
                  </a:lnTo>
                  <a:lnTo>
                    <a:pt x="66" y="502"/>
                  </a:lnTo>
                  <a:lnTo>
                    <a:pt x="69" y="506"/>
                  </a:lnTo>
                  <a:lnTo>
                    <a:pt x="74" y="509"/>
                  </a:lnTo>
                  <a:lnTo>
                    <a:pt x="74" y="509"/>
                  </a:lnTo>
                  <a:lnTo>
                    <a:pt x="83" y="512"/>
                  </a:lnTo>
                  <a:lnTo>
                    <a:pt x="92" y="514"/>
                  </a:lnTo>
                  <a:lnTo>
                    <a:pt x="102" y="512"/>
                  </a:lnTo>
                  <a:lnTo>
                    <a:pt x="102" y="512"/>
                  </a:lnTo>
                  <a:lnTo>
                    <a:pt x="105" y="514"/>
                  </a:lnTo>
                  <a:lnTo>
                    <a:pt x="108" y="517"/>
                  </a:lnTo>
                  <a:lnTo>
                    <a:pt x="115" y="526"/>
                  </a:lnTo>
                  <a:lnTo>
                    <a:pt x="126" y="539"/>
                  </a:lnTo>
                  <a:lnTo>
                    <a:pt x="126" y="539"/>
                  </a:lnTo>
                  <a:lnTo>
                    <a:pt x="121" y="540"/>
                  </a:lnTo>
                  <a:lnTo>
                    <a:pt x="112" y="546"/>
                  </a:lnTo>
                  <a:lnTo>
                    <a:pt x="106" y="551"/>
                  </a:lnTo>
                  <a:lnTo>
                    <a:pt x="103" y="555"/>
                  </a:lnTo>
                  <a:lnTo>
                    <a:pt x="100" y="560"/>
                  </a:lnTo>
                  <a:lnTo>
                    <a:pt x="100" y="564"/>
                  </a:lnTo>
                  <a:lnTo>
                    <a:pt x="100" y="564"/>
                  </a:lnTo>
                  <a:lnTo>
                    <a:pt x="103" y="574"/>
                  </a:lnTo>
                  <a:lnTo>
                    <a:pt x="109" y="585"/>
                  </a:lnTo>
                  <a:lnTo>
                    <a:pt x="114" y="588"/>
                  </a:lnTo>
                  <a:lnTo>
                    <a:pt x="118" y="591"/>
                  </a:lnTo>
                  <a:lnTo>
                    <a:pt x="123" y="592"/>
                  </a:lnTo>
                  <a:lnTo>
                    <a:pt x="127" y="592"/>
                  </a:lnTo>
                  <a:lnTo>
                    <a:pt x="127" y="592"/>
                  </a:lnTo>
                  <a:lnTo>
                    <a:pt x="135" y="589"/>
                  </a:lnTo>
                  <a:lnTo>
                    <a:pt x="142" y="586"/>
                  </a:lnTo>
                  <a:lnTo>
                    <a:pt x="145" y="586"/>
                  </a:lnTo>
                  <a:lnTo>
                    <a:pt x="148" y="586"/>
                  </a:lnTo>
                  <a:lnTo>
                    <a:pt x="151" y="588"/>
                  </a:lnTo>
                  <a:lnTo>
                    <a:pt x="154" y="592"/>
                  </a:lnTo>
                  <a:lnTo>
                    <a:pt x="154" y="592"/>
                  </a:lnTo>
                  <a:lnTo>
                    <a:pt x="157" y="600"/>
                  </a:lnTo>
                  <a:lnTo>
                    <a:pt x="160" y="607"/>
                  </a:lnTo>
                  <a:lnTo>
                    <a:pt x="163" y="613"/>
                  </a:lnTo>
                  <a:lnTo>
                    <a:pt x="164" y="614"/>
                  </a:lnTo>
                  <a:lnTo>
                    <a:pt x="166" y="614"/>
                  </a:lnTo>
                  <a:lnTo>
                    <a:pt x="166" y="614"/>
                  </a:lnTo>
                  <a:lnTo>
                    <a:pt x="173" y="614"/>
                  </a:lnTo>
                  <a:lnTo>
                    <a:pt x="182" y="611"/>
                  </a:lnTo>
                  <a:lnTo>
                    <a:pt x="191" y="607"/>
                  </a:lnTo>
                  <a:lnTo>
                    <a:pt x="200" y="603"/>
                  </a:lnTo>
                  <a:lnTo>
                    <a:pt x="200" y="603"/>
                  </a:lnTo>
                  <a:lnTo>
                    <a:pt x="203" y="601"/>
                  </a:lnTo>
                  <a:lnTo>
                    <a:pt x="207" y="600"/>
                  </a:lnTo>
                  <a:lnTo>
                    <a:pt x="217" y="601"/>
                  </a:lnTo>
                  <a:lnTo>
                    <a:pt x="228" y="601"/>
                  </a:lnTo>
                  <a:lnTo>
                    <a:pt x="234" y="603"/>
                  </a:lnTo>
                  <a:lnTo>
                    <a:pt x="234" y="603"/>
                  </a:lnTo>
                  <a:lnTo>
                    <a:pt x="249" y="598"/>
                  </a:lnTo>
                  <a:lnTo>
                    <a:pt x="259" y="595"/>
                  </a:lnTo>
                  <a:lnTo>
                    <a:pt x="265" y="592"/>
                  </a:lnTo>
                  <a:lnTo>
                    <a:pt x="265" y="592"/>
                  </a:lnTo>
                  <a:lnTo>
                    <a:pt x="268" y="589"/>
                  </a:lnTo>
                  <a:lnTo>
                    <a:pt x="271" y="588"/>
                  </a:lnTo>
                  <a:lnTo>
                    <a:pt x="278" y="588"/>
                  </a:lnTo>
                  <a:lnTo>
                    <a:pt x="293" y="588"/>
                  </a:lnTo>
                  <a:lnTo>
                    <a:pt x="293" y="588"/>
                  </a:lnTo>
                  <a:lnTo>
                    <a:pt x="291" y="577"/>
                  </a:lnTo>
                  <a:lnTo>
                    <a:pt x="290" y="571"/>
                  </a:lnTo>
                  <a:lnTo>
                    <a:pt x="290" y="567"/>
                  </a:lnTo>
                  <a:lnTo>
                    <a:pt x="290" y="567"/>
                  </a:lnTo>
                  <a:lnTo>
                    <a:pt x="293" y="558"/>
                  </a:lnTo>
                  <a:lnTo>
                    <a:pt x="294" y="549"/>
                  </a:lnTo>
                  <a:lnTo>
                    <a:pt x="294" y="549"/>
                  </a:lnTo>
                  <a:lnTo>
                    <a:pt x="296" y="546"/>
                  </a:lnTo>
                  <a:lnTo>
                    <a:pt x="297" y="545"/>
                  </a:lnTo>
                  <a:lnTo>
                    <a:pt x="303" y="542"/>
                  </a:lnTo>
                  <a:lnTo>
                    <a:pt x="303" y="542"/>
                  </a:lnTo>
                  <a:lnTo>
                    <a:pt x="306" y="540"/>
                  </a:lnTo>
                  <a:lnTo>
                    <a:pt x="308" y="536"/>
                  </a:lnTo>
                  <a:lnTo>
                    <a:pt x="306" y="532"/>
                  </a:lnTo>
                  <a:lnTo>
                    <a:pt x="305" y="526"/>
                  </a:lnTo>
                  <a:lnTo>
                    <a:pt x="305" y="526"/>
                  </a:lnTo>
                  <a:lnTo>
                    <a:pt x="303" y="521"/>
                  </a:lnTo>
                  <a:lnTo>
                    <a:pt x="303" y="517"/>
                  </a:lnTo>
                  <a:lnTo>
                    <a:pt x="305" y="514"/>
                  </a:lnTo>
                  <a:lnTo>
                    <a:pt x="303" y="512"/>
                  </a:lnTo>
                  <a:lnTo>
                    <a:pt x="303" y="512"/>
                  </a:lnTo>
                  <a:lnTo>
                    <a:pt x="302" y="511"/>
                  </a:lnTo>
                  <a:lnTo>
                    <a:pt x="300" y="508"/>
                  </a:lnTo>
                  <a:lnTo>
                    <a:pt x="299" y="500"/>
                  </a:lnTo>
                  <a:lnTo>
                    <a:pt x="299" y="500"/>
                  </a:lnTo>
                  <a:lnTo>
                    <a:pt x="299" y="497"/>
                  </a:lnTo>
                  <a:lnTo>
                    <a:pt x="296" y="496"/>
                  </a:lnTo>
                  <a:lnTo>
                    <a:pt x="293" y="493"/>
                  </a:lnTo>
                  <a:lnTo>
                    <a:pt x="291" y="490"/>
                  </a:lnTo>
                  <a:lnTo>
                    <a:pt x="291" y="49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8" name="Freeform 57">
              <a:extLst>
                <a:ext uri="{FF2B5EF4-FFF2-40B4-BE49-F238E27FC236}">
                  <a16:creationId xmlns:a16="http://schemas.microsoft.com/office/drawing/2014/main" id="{735221C9-14E9-0246-A626-0FF4BE4B2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6735763"/>
              <a:ext cx="957263" cy="842962"/>
            </a:xfrm>
            <a:custGeom>
              <a:avLst/>
              <a:gdLst>
                <a:gd name="T0" fmla="*/ 323 w 603"/>
                <a:gd name="T1" fmla="*/ 404 h 531"/>
                <a:gd name="T2" fmla="*/ 335 w 603"/>
                <a:gd name="T3" fmla="*/ 436 h 531"/>
                <a:gd name="T4" fmla="*/ 357 w 603"/>
                <a:gd name="T5" fmla="*/ 463 h 531"/>
                <a:gd name="T6" fmla="*/ 366 w 603"/>
                <a:gd name="T7" fmla="*/ 484 h 531"/>
                <a:gd name="T8" fmla="*/ 363 w 603"/>
                <a:gd name="T9" fmla="*/ 508 h 531"/>
                <a:gd name="T10" fmla="*/ 401 w 603"/>
                <a:gd name="T11" fmla="*/ 528 h 531"/>
                <a:gd name="T12" fmla="*/ 441 w 603"/>
                <a:gd name="T13" fmla="*/ 491 h 531"/>
                <a:gd name="T14" fmla="*/ 515 w 603"/>
                <a:gd name="T15" fmla="*/ 485 h 531"/>
                <a:gd name="T16" fmla="*/ 546 w 603"/>
                <a:gd name="T17" fmla="*/ 500 h 531"/>
                <a:gd name="T18" fmla="*/ 572 w 603"/>
                <a:gd name="T19" fmla="*/ 488 h 531"/>
                <a:gd name="T20" fmla="*/ 577 w 603"/>
                <a:gd name="T21" fmla="*/ 469 h 531"/>
                <a:gd name="T22" fmla="*/ 586 w 603"/>
                <a:gd name="T23" fmla="*/ 444 h 531"/>
                <a:gd name="T24" fmla="*/ 586 w 603"/>
                <a:gd name="T25" fmla="*/ 417 h 531"/>
                <a:gd name="T26" fmla="*/ 591 w 603"/>
                <a:gd name="T27" fmla="*/ 395 h 531"/>
                <a:gd name="T28" fmla="*/ 586 w 603"/>
                <a:gd name="T29" fmla="*/ 365 h 531"/>
                <a:gd name="T30" fmla="*/ 589 w 603"/>
                <a:gd name="T31" fmla="*/ 343 h 531"/>
                <a:gd name="T32" fmla="*/ 600 w 603"/>
                <a:gd name="T33" fmla="*/ 302 h 531"/>
                <a:gd name="T34" fmla="*/ 589 w 603"/>
                <a:gd name="T35" fmla="*/ 287 h 531"/>
                <a:gd name="T36" fmla="*/ 564 w 603"/>
                <a:gd name="T37" fmla="*/ 288 h 531"/>
                <a:gd name="T38" fmla="*/ 539 w 603"/>
                <a:gd name="T39" fmla="*/ 299 h 531"/>
                <a:gd name="T40" fmla="*/ 506 w 603"/>
                <a:gd name="T41" fmla="*/ 305 h 531"/>
                <a:gd name="T42" fmla="*/ 523 w 603"/>
                <a:gd name="T43" fmla="*/ 282 h 531"/>
                <a:gd name="T44" fmla="*/ 526 w 603"/>
                <a:gd name="T45" fmla="*/ 237 h 531"/>
                <a:gd name="T46" fmla="*/ 527 w 603"/>
                <a:gd name="T47" fmla="*/ 214 h 531"/>
                <a:gd name="T48" fmla="*/ 505 w 603"/>
                <a:gd name="T49" fmla="*/ 207 h 531"/>
                <a:gd name="T50" fmla="*/ 490 w 603"/>
                <a:gd name="T51" fmla="*/ 219 h 531"/>
                <a:gd name="T52" fmla="*/ 438 w 603"/>
                <a:gd name="T53" fmla="*/ 214 h 531"/>
                <a:gd name="T54" fmla="*/ 415 w 603"/>
                <a:gd name="T55" fmla="*/ 183 h 531"/>
                <a:gd name="T56" fmla="*/ 360 w 603"/>
                <a:gd name="T57" fmla="*/ 177 h 531"/>
                <a:gd name="T58" fmla="*/ 335 w 603"/>
                <a:gd name="T59" fmla="*/ 122 h 531"/>
                <a:gd name="T60" fmla="*/ 287 w 603"/>
                <a:gd name="T61" fmla="*/ 81 h 531"/>
                <a:gd name="T62" fmla="*/ 268 w 603"/>
                <a:gd name="T63" fmla="*/ 59 h 531"/>
                <a:gd name="T64" fmla="*/ 224 w 603"/>
                <a:gd name="T65" fmla="*/ 42 h 531"/>
                <a:gd name="T66" fmla="*/ 164 w 603"/>
                <a:gd name="T67" fmla="*/ 8 h 531"/>
                <a:gd name="T68" fmla="*/ 138 w 603"/>
                <a:gd name="T69" fmla="*/ 45 h 531"/>
                <a:gd name="T70" fmla="*/ 99 w 603"/>
                <a:gd name="T71" fmla="*/ 80 h 531"/>
                <a:gd name="T72" fmla="*/ 108 w 603"/>
                <a:gd name="T73" fmla="*/ 88 h 531"/>
                <a:gd name="T74" fmla="*/ 110 w 603"/>
                <a:gd name="T75" fmla="*/ 111 h 531"/>
                <a:gd name="T76" fmla="*/ 93 w 603"/>
                <a:gd name="T77" fmla="*/ 115 h 531"/>
                <a:gd name="T78" fmla="*/ 49 w 603"/>
                <a:gd name="T79" fmla="*/ 117 h 531"/>
                <a:gd name="T80" fmla="*/ 44 w 603"/>
                <a:gd name="T81" fmla="*/ 134 h 531"/>
                <a:gd name="T82" fmla="*/ 30 w 603"/>
                <a:gd name="T83" fmla="*/ 146 h 531"/>
                <a:gd name="T84" fmla="*/ 25 w 603"/>
                <a:gd name="T85" fmla="*/ 158 h 531"/>
                <a:gd name="T86" fmla="*/ 16 w 603"/>
                <a:gd name="T87" fmla="*/ 186 h 531"/>
                <a:gd name="T88" fmla="*/ 3 w 603"/>
                <a:gd name="T89" fmla="*/ 232 h 531"/>
                <a:gd name="T90" fmla="*/ 9 w 603"/>
                <a:gd name="T91" fmla="*/ 245 h 531"/>
                <a:gd name="T92" fmla="*/ 13 w 603"/>
                <a:gd name="T93" fmla="*/ 266 h 531"/>
                <a:gd name="T94" fmla="*/ 13 w 603"/>
                <a:gd name="T95" fmla="*/ 287 h 531"/>
                <a:gd name="T96" fmla="*/ 0 w 603"/>
                <a:gd name="T97" fmla="*/ 312 h 531"/>
                <a:gd name="T98" fmla="*/ 24 w 603"/>
                <a:gd name="T99" fmla="*/ 333 h 531"/>
                <a:gd name="T100" fmla="*/ 47 w 603"/>
                <a:gd name="T101" fmla="*/ 336 h 531"/>
                <a:gd name="T102" fmla="*/ 71 w 603"/>
                <a:gd name="T103" fmla="*/ 410 h 531"/>
                <a:gd name="T104" fmla="*/ 108 w 603"/>
                <a:gd name="T105" fmla="*/ 442 h 531"/>
                <a:gd name="T106" fmla="*/ 118 w 603"/>
                <a:gd name="T107" fmla="*/ 428 h 531"/>
                <a:gd name="T108" fmla="*/ 132 w 603"/>
                <a:gd name="T109" fmla="*/ 445 h 531"/>
                <a:gd name="T110" fmla="*/ 154 w 603"/>
                <a:gd name="T111" fmla="*/ 439 h 531"/>
                <a:gd name="T112" fmla="*/ 204 w 603"/>
                <a:gd name="T113" fmla="*/ 451 h 531"/>
                <a:gd name="T114" fmla="*/ 225 w 603"/>
                <a:gd name="T115" fmla="*/ 436 h 531"/>
                <a:gd name="T116" fmla="*/ 250 w 603"/>
                <a:gd name="T117" fmla="*/ 428 h 531"/>
                <a:gd name="T118" fmla="*/ 275 w 603"/>
                <a:gd name="T119" fmla="*/ 428 h 531"/>
                <a:gd name="T120" fmla="*/ 302 w 603"/>
                <a:gd name="T121" fmla="*/ 425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3" h="531">
                  <a:moveTo>
                    <a:pt x="315" y="419"/>
                  </a:moveTo>
                  <a:lnTo>
                    <a:pt x="315" y="419"/>
                  </a:lnTo>
                  <a:lnTo>
                    <a:pt x="317" y="414"/>
                  </a:lnTo>
                  <a:lnTo>
                    <a:pt x="318" y="408"/>
                  </a:lnTo>
                  <a:lnTo>
                    <a:pt x="320" y="405"/>
                  </a:lnTo>
                  <a:lnTo>
                    <a:pt x="321" y="404"/>
                  </a:lnTo>
                  <a:lnTo>
                    <a:pt x="323" y="404"/>
                  </a:lnTo>
                  <a:lnTo>
                    <a:pt x="323" y="404"/>
                  </a:lnTo>
                  <a:lnTo>
                    <a:pt x="326" y="408"/>
                  </a:lnTo>
                  <a:lnTo>
                    <a:pt x="327" y="413"/>
                  </a:lnTo>
                  <a:lnTo>
                    <a:pt x="330" y="428"/>
                  </a:lnTo>
                  <a:lnTo>
                    <a:pt x="330" y="428"/>
                  </a:lnTo>
                  <a:lnTo>
                    <a:pt x="332" y="432"/>
                  </a:lnTo>
                  <a:lnTo>
                    <a:pt x="335" y="436"/>
                  </a:lnTo>
                  <a:lnTo>
                    <a:pt x="344" y="447"/>
                  </a:lnTo>
                  <a:lnTo>
                    <a:pt x="344" y="447"/>
                  </a:lnTo>
                  <a:lnTo>
                    <a:pt x="352" y="456"/>
                  </a:lnTo>
                  <a:lnTo>
                    <a:pt x="355" y="457"/>
                  </a:lnTo>
                  <a:lnTo>
                    <a:pt x="355" y="460"/>
                  </a:lnTo>
                  <a:lnTo>
                    <a:pt x="355" y="460"/>
                  </a:lnTo>
                  <a:lnTo>
                    <a:pt x="357" y="463"/>
                  </a:lnTo>
                  <a:lnTo>
                    <a:pt x="358" y="465"/>
                  </a:lnTo>
                  <a:lnTo>
                    <a:pt x="363" y="466"/>
                  </a:lnTo>
                  <a:lnTo>
                    <a:pt x="363" y="466"/>
                  </a:lnTo>
                  <a:lnTo>
                    <a:pt x="367" y="468"/>
                  </a:lnTo>
                  <a:lnTo>
                    <a:pt x="369" y="472"/>
                  </a:lnTo>
                  <a:lnTo>
                    <a:pt x="370" y="476"/>
                  </a:lnTo>
                  <a:lnTo>
                    <a:pt x="366" y="484"/>
                  </a:lnTo>
                  <a:lnTo>
                    <a:pt x="366" y="484"/>
                  </a:lnTo>
                  <a:lnTo>
                    <a:pt x="361" y="491"/>
                  </a:lnTo>
                  <a:lnTo>
                    <a:pt x="357" y="497"/>
                  </a:lnTo>
                  <a:lnTo>
                    <a:pt x="357" y="499"/>
                  </a:lnTo>
                  <a:lnTo>
                    <a:pt x="357" y="502"/>
                  </a:lnTo>
                  <a:lnTo>
                    <a:pt x="358" y="505"/>
                  </a:lnTo>
                  <a:lnTo>
                    <a:pt x="363" y="508"/>
                  </a:lnTo>
                  <a:lnTo>
                    <a:pt x="363" y="508"/>
                  </a:lnTo>
                  <a:lnTo>
                    <a:pt x="382" y="522"/>
                  </a:lnTo>
                  <a:lnTo>
                    <a:pt x="391" y="528"/>
                  </a:lnTo>
                  <a:lnTo>
                    <a:pt x="398" y="531"/>
                  </a:lnTo>
                  <a:lnTo>
                    <a:pt x="398" y="531"/>
                  </a:lnTo>
                  <a:lnTo>
                    <a:pt x="400" y="530"/>
                  </a:lnTo>
                  <a:lnTo>
                    <a:pt x="401" y="528"/>
                  </a:lnTo>
                  <a:lnTo>
                    <a:pt x="404" y="524"/>
                  </a:lnTo>
                  <a:lnTo>
                    <a:pt x="409" y="516"/>
                  </a:lnTo>
                  <a:lnTo>
                    <a:pt x="412" y="511"/>
                  </a:lnTo>
                  <a:lnTo>
                    <a:pt x="412" y="511"/>
                  </a:lnTo>
                  <a:lnTo>
                    <a:pt x="419" y="505"/>
                  </a:lnTo>
                  <a:lnTo>
                    <a:pt x="429" y="497"/>
                  </a:lnTo>
                  <a:lnTo>
                    <a:pt x="441" y="491"/>
                  </a:lnTo>
                  <a:lnTo>
                    <a:pt x="450" y="487"/>
                  </a:lnTo>
                  <a:lnTo>
                    <a:pt x="450" y="487"/>
                  </a:lnTo>
                  <a:lnTo>
                    <a:pt x="459" y="485"/>
                  </a:lnTo>
                  <a:lnTo>
                    <a:pt x="471" y="484"/>
                  </a:lnTo>
                  <a:lnTo>
                    <a:pt x="500" y="485"/>
                  </a:lnTo>
                  <a:lnTo>
                    <a:pt x="500" y="485"/>
                  </a:lnTo>
                  <a:lnTo>
                    <a:pt x="515" y="485"/>
                  </a:lnTo>
                  <a:lnTo>
                    <a:pt x="524" y="488"/>
                  </a:lnTo>
                  <a:lnTo>
                    <a:pt x="532" y="490"/>
                  </a:lnTo>
                  <a:lnTo>
                    <a:pt x="536" y="494"/>
                  </a:lnTo>
                  <a:lnTo>
                    <a:pt x="536" y="494"/>
                  </a:lnTo>
                  <a:lnTo>
                    <a:pt x="540" y="499"/>
                  </a:lnTo>
                  <a:lnTo>
                    <a:pt x="543" y="502"/>
                  </a:lnTo>
                  <a:lnTo>
                    <a:pt x="546" y="500"/>
                  </a:lnTo>
                  <a:lnTo>
                    <a:pt x="551" y="497"/>
                  </a:lnTo>
                  <a:lnTo>
                    <a:pt x="551" y="497"/>
                  </a:lnTo>
                  <a:lnTo>
                    <a:pt x="555" y="493"/>
                  </a:lnTo>
                  <a:lnTo>
                    <a:pt x="558" y="490"/>
                  </a:lnTo>
                  <a:lnTo>
                    <a:pt x="564" y="488"/>
                  </a:lnTo>
                  <a:lnTo>
                    <a:pt x="572" y="488"/>
                  </a:lnTo>
                  <a:lnTo>
                    <a:pt x="572" y="488"/>
                  </a:lnTo>
                  <a:lnTo>
                    <a:pt x="583" y="487"/>
                  </a:lnTo>
                  <a:lnTo>
                    <a:pt x="586" y="485"/>
                  </a:lnTo>
                  <a:lnTo>
                    <a:pt x="588" y="484"/>
                  </a:lnTo>
                  <a:lnTo>
                    <a:pt x="588" y="484"/>
                  </a:lnTo>
                  <a:lnTo>
                    <a:pt x="586" y="481"/>
                  </a:lnTo>
                  <a:lnTo>
                    <a:pt x="582" y="475"/>
                  </a:lnTo>
                  <a:lnTo>
                    <a:pt x="577" y="469"/>
                  </a:lnTo>
                  <a:lnTo>
                    <a:pt x="575" y="465"/>
                  </a:lnTo>
                  <a:lnTo>
                    <a:pt x="575" y="465"/>
                  </a:lnTo>
                  <a:lnTo>
                    <a:pt x="577" y="456"/>
                  </a:lnTo>
                  <a:lnTo>
                    <a:pt x="580" y="451"/>
                  </a:lnTo>
                  <a:lnTo>
                    <a:pt x="583" y="447"/>
                  </a:lnTo>
                  <a:lnTo>
                    <a:pt x="583" y="447"/>
                  </a:lnTo>
                  <a:lnTo>
                    <a:pt x="586" y="444"/>
                  </a:lnTo>
                  <a:lnTo>
                    <a:pt x="591" y="442"/>
                  </a:lnTo>
                  <a:lnTo>
                    <a:pt x="594" y="441"/>
                  </a:lnTo>
                  <a:lnTo>
                    <a:pt x="595" y="438"/>
                  </a:lnTo>
                  <a:lnTo>
                    <a:pt x="595" y="438"/>
                  </a:lnTo>
                  <a:lnTo>
                    <a:pt x="594" y="433"/>
                  </a:lnTo>
                  <a:lnTo>
                    <a:pt x="592" y="429"/>
                  </a:lnTo>
                  <a:lnTo>
                    <a:pt x="586" y="417"/>
                  </a:lnTo>
                  <a:lnTo>
                    <a:pt x="586" y="417"/>
                  </a:lnTo>
                  <a:lnTo>
                    <a:pt x="585" y="411"/>
                  </a:lnTo>
                  <a:lnTo>
                    <a:pt x="585" y="408"/>
                  </a:lnTo>
                  <a:lnTo>
                    <a:pt x="585" y="405"/>
                  </a:lnTo>
                  <a:lnTo>
                    <a:pt x="588" y="401"/>
                  </a:lnTo>
                  <a:lnTo>
                    <a:pt x="588" y="401"/>
                  </a:lnTo>
                  <a:lnTo>
                    <a:pt x="591" y="395"/>
                  </a:lnTo>
                  <a:lnTo>
                    <a:pt x="592" y="388"/>
                  </a:lnTo>
                  <a:lnTo>
                    <a:pt x="594" y="380"/>
                  </a:lnTo>
                  <a:lnTo>
                    <a:pt x="592" y="373"/>
                  </a:lnTo>
                  <a:lnTo>
                    <a:pt x="592" y="373"/>
                  </a:lnTo>
                  <a:lnTo>
                    <a:pt x="591" y="370"/>
                  </a:lnTo>
                  <a:lnTo>
                    <a:pt x="588" y="367"/>
                  </a:lnTo>
                  <a:lnTo>
                    <a:pt x="586" y="365"/>
                  </a:lnTo>
                  <a:lnTo>
                    <a:pt x="586" y="362"/>
                  </a:lnTo>
                  <a:lnTo>
                    <a:pt x="586" y="362"/>
                  </a:lnTo>
                  <a:lnTo>
                    <a:pt x="586" y="361"/>
                  </a:lnTo>
                  <a:lnTo>
                    <a:pt x="586" y="356"/>
                  </a:lnTo>
                  <a:lnTo>
                    <a:pt x="586" y="351"/>
                  </a:lnTo>
                  <a:lnTo>
                    <a:pt x="589" y="343"/>
                  </a:lnTo>
                  <a:lnTo>
                    <a:pt x="589" y="343"/>
                  </a:lnTo>
                  <a:lnTo>
                    <a:pt x="594" y="330"/>
                  </a:lnTo>
                  <a:lnTo>
                    <a:pt x="594" y="319"/>
                  </a:lnTo>
                  <a:lnTo>
                    <a:pt x="594" y="319"/>
                  </a:lnTo>
                  <a:lnTo>
                    <a:pt x="595" y="312"/>
                  </a:lnTo>
                  <a:lnTo>
                    <a:pt x="598" y="306"/>
                  </a:lnTo>
                  <a:lnTo>
                    <a:pt x="598" y="306"/>
                  </a:lnTo>
                  <a:lnTo>
                    <a:pt x="600" y="302"/>
                  </a:lnTo>
                  <a:lnTo>
                    <a:pt x="601" y="296"/>
                  </a:lnTo>
                  <a:lnTo>
                    <a:pt x="603" y="290"/>
                  </a:lnTo>
                  <a:lnTo>
                    <a:pt x="603" y="290"/>
                  </a:lnTo>
                  <a:lnTo>
                    <a:pt x="598" y="290"/>
                  </a:lnTo>
                  <a:lnTo>
                    <a:pt x="598" y="290"/>
                  </a:lnTo>
                  <a:lnTo>
                    <a:pt x="594" y="288"/>
                  </a:lnTo>
                  <a:lnTo>
                    <a:pt x="589" y="287"/>
                  </a:lnTo>
                  <a:lnTo>
                    <a:pt x="580" y="282"/>
                  </a:lnTo>
                  <a:lnTo>
                    <a:pt x="580" y="282"/>
                  </a:lnTo>
                  <a:lnTo>
                    <a:pt x="575" y="281"/>
                  </a:lnTo>
                  <a:lnTo>
                    <a:pt x="570" y="282"/>
                  </a:lnTo>
                  <a:lnTo>
                    <a:pt x="567" y="284"/>
                  </a:lnTo>
                  <a:lnTo>
                    <a:pt x="564" y="288"/>
                  </a:lnTo>
                  <a:lnTo>
                    <a:pt x="564" y="288"/>
                  </a:lnTo>
                  <a:lnTo>
                    <a:pt x="561" y="291"/>
                  </a:lnTo>
                  <a:lnTo>
                    <a:pt x="558" y="291"/>
                  </a:lnTo>
                  <a:lnTo>
                    <a:pt x="548" y="291"/>
                  </a:lnTo>
                  <a:lnTo>
                    <a:pt x="548" y="291"/>
                  </a:lnTo>
                  <a:lnTo>
                    <a:pt x="545" y="291"/>
                  </a:lnTo>
                  <a:lnTo>
                    <a:pt x="542" y="293"/>
                  </a:lnTo>
                  <a:lnTo>
                    <a:pt x="539" y="299"/>
                  </a:lnTo>
                  <a:lnTo>
                    <a:pt x="536" y="305"/>
                  </a:lnTo>
                  <a:lnTo>
                    <a:pt x="533" y="308"/>
                  </a:lnTo>
                  <a:lnTo>
                    <a:pt x="533" y="308"/>
                  </a:lnTo>
                  <a:lnTo>
                    <a:pt x="527" y="309"/>
                  </a:lnTo>
                  <a:lnTo>
                    <a:pt x="520" y="308"/>
                  </a:lnTo>
                  <a:lnTo>
                    <a:pt x="506" y="305"/>
                  </a:lnTo>
                  <a:lnTo>
                    <a:pt x="506" y="305"/>
                  </a:lnTo>
                  <a:lnTo>
                    <a:pt x="506" y="303"/>
                  </a:lnTo>
                  <a:lnTo>
                    <a:pt x="508" y="302"/>
                  </a:lnTo>
                  <a:lnTo>
                    <a:pt x="511" y="299"/>
                  </a:lnTo>
                  <a:lnTo>
                    <a:pt x="520" y="290"/>
                  </a:lnTo>
                  <a:lnTo>
                    <a:pt x="520" y="290"/>
                  </a:lnTo>
                  <a:lnTo>
                    <a:pt x="521" y="287"/>
                  </a:lnTo>
                  <a:lnTo>
                    <a:pt x="523" y="282"/>
                  </a:lnTo>
                  <a:lnTo>
                    <a:pt x="523" y="271"/>
                  </a:lnTo>
                  <a:lnTo>
                    <a:pt x="521" y="245"/>
                  </a:lnTo>
                  <a:lnTo>
                    <a:pt x="521" y="245"/>
                  </a:lnTo>
                  <a:lnTo>
                    <a:pt x="521" y="238"/>
                  </a:lnTo>
                  <a:lnTo>
                    <a:pt x="521" y="237"/>
                  </a:lnTo>
                  <a:lnTo>
                    <a:pt x="523" y="237"/>
                  </a:lnTo>
                  <a:lnTo>
                    <a:pt x="526" y="237"/>
                  </a:lnTo>
                  <a:lnTo>
                    <a:pt x="532" y="237"/>
                  </a:lnTo>
                  <a:lnTo>
                    <a:pt x="532" y="237"/>
                  </a:lnTo>
                  <a:lnTo>
                    <a:pt x="533" y="235"/>
                  </a:lnTo>
                  <a:lnTo>
                    <a:pt x="535" y="232"/>
                  </a:lnTo>
                  <a:lnTo>
                    <a:pt x="533" y="226"/>
                  </a:lnTo>
                  <a:lnTo>
                    <a:pt x="530" y="219"/>
                  </a:lnTo>
                  <a:lnTo>
                    <a:pt x="527" y="214"/>
                  </a:lnTo>
                  <a:lnTo>
                    <a:pt x="527" y="214"/>
                  </a:lnTo>
                  <a:lnTo>
                    <a:pt x="524" y="210"/>
                  </a:lnTo>
                  <a:lnTo>
                    <a:pt x="520" y="207"/>
                  </a:lnTo>
                  <a:lnTo>
                    <a:pt x="515" y="205"/>
                  </a:lnTo>
                  <a:lnTo>
                    <a:pt x="508" y="205"/>
                  </a:lnTo>
                  <a:lnTo>
                    <a:pt x="508" y="205"/>
                  </a:lnTo>
                  <a:lnTo>
                    <a:pt x="505" y="207"/>
                  </a:lnTo>
                  <a:lnTo>
                    <a:pt x="503" y="208"/>
                  </a:lnTo>
                  <a:lnTo>
                    <a:pt x="502" y="213"/>
                  </a:lnTo>
                  <a:lnTo>
                    <a:pt x="502" y="217"/>
                  </a:lnTo>
                  <a:lnTo>
                    <a:pt x="502" y="220"/>
                  </a:lnTo>
                  <a:lnTo>
                    <a:pt x="502" y="220"/>
                  </a:lnTo>
                  <a:lnTo>
                    <a:pt x="498" y="220"/>
                  </a:lnTo>
                  <a:lnTo>
                    <a:pt x="490" y="219"/>
                  </a:lnTo>
                  <a:lnTo>
                    <a:pt x="474" y="217"/>
                  </a:lnTo>
                  <a:lnTo>
                    <a:pt x="474" y="217"/>
                  </a:lnTo>
                  <a:lnTo>
                    <a:pt x="459" y="214"/>
                  </a:lnTo>
                  <a:lnTo>
                    <a:pt x="452" y="214"/>
                  </a:lnTo>
                  <a:lnTo>
                    <a:pt x="446" y="214"/>
                  </a:lnTo>
                  <a:lnTo>
                    <a:pt x="446" y="214"/>
                  </a:lnTo>
                  <a:lnTo>
                    <a:pt x="438" y="214"/>
                  </a:lnTo>
                  <a:lnTo>
                    <a:pt x="431" y="214"/>
                  </a:lnTo>
                  <a:lnTo>
                    <a:pt x="425" y="213"/>
                  </a:lnTo>
                  <a:lnTo>
                    <a:pt x="422" y="210"/>
                  </a:lnTo>
                  <a:lnTo>
                    <a:pt x="421" y="207"/>
                  </a:lnTo>
                  <a:lnTo>
                    <a:pt x="421" y="207"/>
                  </a:lnTo>
                  <a:lnTo>
                    <a:pt x="416" y="191"/>
                  </a:lnTo>
                  <a:lnTo>
                    <a:pt x="415" y="183"/>
                  </a:lnTo>
                  <a:lnTo>
                    <a:pt x="413" y="180"/>
                  </a:lnTo>
                  <a:lnTo>
                    <a:pt x="412" y="179"/>
                  </a:lnTo>
                  <a:lnTo>
                    <a:pt x="412" y="179"/>
                  </a:lnTo>
                  <a:lnTo>
                    <a:pt x="403" y="179"/>
                  </a:lnTo>
                  <a:lnTo>
                    <a:pt x="388" y="177"/>
                  </a:lnTo>
                  <a:lnTo>
                    <a:pt x="360" y="177"/>
                  </a:lnTo>
                  <a:lnTo>
                    <a:pt x="360" y="177"/>
                  </a:lnTo>
                  <a:lnTo>
                    <a:pt x="352" y="176"/>
                  </a:lnTo>
                  <a:lnTo>
                    <a:pt x="348" y="173"/>
                  </a:lnTo>
                  <a:lnTo>
                    <a:pt x="345" y="168"/>
                  </a:lnTo>
                  <a:lnTo>
                    <a:pt x="344" y="161"/>
                  </a:lnTo>
                  <a:lnTo>
                    <a:pt x="344" y="161"/>
                  </a:lnTo>
                  <a:lnTo>
                    <a:pt x="339" y="14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2" y="115"/>
                  </a:lnTo>
                  <a:lnTo>
                    <a:pt x="327" y="111"/>
                  </a:lnTo>
                  <a:lnTo>
                    <a:pt x="314" y="100"/>
                  </a:lnTo>
                  <a:lnTo>
                    <a:pt x="314" y="100"/>
                  </a:lnTo>
                  <a:lnTo>
                    <a:pt x="296" y="87"/>
                  </a:lnTo>
                  <a:lnTo>
                    <a:pt x="287" y="81"/>
                  </a:lnTo>
                  <a:lnTo>
                    <a:pt x="278" y="77"/>
                  </a:lnTo>
                  <a:lnTo>
                    <a:pt x="278" y="77"/>
                  </a:lnTo>
                  <a:lnTo>
                    <a:pt x="274" y="75"/>
                  </a:lnTo>
                  <a:lnTo>
                    <a:pt x="272" y="72"/>
                  </a:lnTo>
                  <a:lnTo>
                    <a:pt x="269" y="68"/>
                  </a:lnTo>
                  <a:lnTo>
                    <a:pt x="268" y="62"/>
                  </a:lnTo>
                  <a:lnTo>
                    <a:pt x="268" y="59"/>
                  </a:lnTo>
                  <a:lnTo>
                    <a:pt x="268" y="59"/>
                  </a:lnTo>
                  <a:lnTo>
                    <a:pt x="264" y="56"/>
                  </a:lnTo>
                  <a:lnTo>
                    <a:pt x="258" y="54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232" y="47"/>
                  </a:lnTo>
                  <a:lnTo>
                    <a:pt x="224" y="42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195" y="29"/>
                  </a:lnTo>
                  <a:lnTo>
                    <a:pt x="187" y="2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4" y="8"/>
                  </a:lnTo>
                  <a:lnTo>
                    <a:pt x="157" y="4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16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38" y="45"/>
                  </a:lnTo>
                  <a:lnTo>
                    <a:pt x="133" y="57"/>
                  </a:lnTo>
                  <a:lnTo>
                    <a:pt x="127" y="65"/>
                  </a:lnTo>
                  <a:lnTo>
                    <a:pt x="124" y="68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04" y="77"/>
                  </a:lnTo>
                  <a:lnTo>
                    <a:pt x="99" y="80"/>
                  </a:lnTo>
                  <a:lnTo>
                    <a:pt x="98" y="81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2" y="84"/>
                  </a:lnTo>
                  <a:lnTo>
                    <a:pt x="105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1"/>
                  </a:lnTo>
                  <a:lnTo>
                    <a:pt x="108" y="91"/>
                  </a:lnTo>
                  <a:lnTo>
                    <a:pt x="104" y="100"/>
                  </a:lnTo>
                  <a:lnTo>
                    <a:pt x="102" y="103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10" y="111"/>
                  </a:lnTo>
                  <a:lnTo>
                    <a:pt x="111" y="115"/>
                  </a:lnTo>
                  <a:lnTo>
                    <a:pt x="111" y="118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5" y="118"/>
                  </a:lnTo>
                  <a:lnTo>
                    <a:pt x="99" y="117"/>
                  </a:lnTo>
                  <a:lnTo>
                    <a:pt x="93" y="115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77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56" y="115"/>
                  </a:lnTo>
                  <a:lnTo>
                    <a:pt x="49" y="117"/>
                  </a:lnTo>
                  <a:lnTo>
                    <a:pt x="43" y="121"/>
                  </a:lnTo>
                  <a:lnTo>
                    <a:pt x="43" y="122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6" y="128"/>
                  </a:lnTo>
                  <a:lnTo>
                    <a:pt x="46" y="131"/>
                  </a:lnTo>
                  <a:lnTo>
                    <a:pt x="44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4" y="139"/>
                  </a:lnTo>
                  <a:lnTo>
                    <a:pt x="31" y="140"/>
                  </a:lnTo>
                  <a:lnTo>
                    <a:pt x="30" y="143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31" y="149"/>
                  </a:lnTo>
                  <a:lnTo>
                    <a:pt x="30" y="151"/>
                  </a:lnTo>
                  <a:lnTo>
                    <a:pt x="27" y="154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2" y="174"/>
                  </a:lnTo>
                  <a:lnTo>
                    <a:pt x="19" y="180"/>
                  </a:lnTo>
                  <a:lnTo>
                    <a:pt x="18" y="183"/>
                  </a:lnTo>
                  <a:lnTo>
                    <a:pt x="16" y="186"/>
                  </a:lnTo>
                  <a:lnTo>
                    <a:pt x="16" y="186"/>
                  </a:lnTo>
                  <a:lnTo>
                    <a:pt x="16" y="192"/>
                  </a:lnTo>
                  <a:lnTo>
                    <a:pt x="16" y="201"/>
                  </a:lnTo>
                  <a:lnTo>
                    <a:pt x="15" y="210"/>
                  </a:lnTo>
                  <a:lnTo>
                    <a:pt x="12" y="219"/>
                  </a:lnTo>
                  <a:lnTo>
                    <a:pt x="12" y="219"/>
                  </a:lnTo>
                  <a:lnTo>
                    <a:pt x="4" y="228"/>
                  </a:lnTo>
                  <a:lnTo>
                    <a:pt x="3" y="232"/>
                  </a:lnTo>
                  <a:lnTo>
                    <a:pt x="1" y="235"/>
                  </a:lnTo>
                  <a:lnTo>
                    <a:pt x="1" y="235"/>
                  </a:lnTo>
                  <a:lnTo>
                    <a:pt x="3" y="238"/>
                  </a:lnTo>
                  <a:lnTo>
                    <a:pt x="6" y="241"/>
                  </a:lnTo>
                  <a:lnTo>
                    <a:pt x="9" y="242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10" y="253"/>
                  </a:lnTo>
                  <a:lnTo>
                    <a:pt x="12" y="256"/>
                  </a:lnTo>
                  <a:lnTo>
                    <a:pt x="13" y="257"/>
                  </a:lnTo>
                  <a:lnTo>
                    <a:pt x="13" y="257"/>
                  </a:lnTo>
                  <a:lnTo>
                    <a:pt x="15" y="259"/>
                  </a:lnTo>
                  <a:lnTo>
                    <a:pt x="13" y="262"/>
                  </a:lnTo>
                  <a:lnTo>
                    <a:pt x="13" y="266"/>
                  </a:lnTo>
                  <a:lnTo>
                    <a:pt x="15" y="271"/>
                  </a:lnTo>
                  <a:lnTo>
                    <a:pt x="15" y="271"/>
                  </a:lnTo>
                  <a:lnTo>
                    <a:pt x="16" y="277"/>
                  </a:lnTo>
                  <a:lnTo>
                    <a:pt x="18" y="281"/>
                  </a:lnTo>
                  <a:lnTo>
                    <a:pt x="16" y="285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7" y="290"/>
                  </a:lnTo>
                  <a:lnTo>
                    <a:pt x="6" y="291"/>
                  </a:lnTo>
                  <a:lnTo>
                    <a:pt x="4" y="294"/>
                  </a:lnTo>
                  <a:lnTo>
                    <a:pt x="4" y="294"/>
                  </a:lnTo>
                  <a:lnTo>
                    <a:pt x="3" y="303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0" y="316"/>
                  </a:lnTo>
                  <a:lnTo>
                    <a:pt x="1" y="322"/>
                  </a:lnTo>
                  <a:lnTo>
                    <a:pt x="3" y="333"/>
                  </a:lnTo>
                  <a:lnTo>
                    <a:pt x="3" y="333"/>
                  </a:lnTo>
                  <a:lnTo>
                    <a:pt x="4" y="333"/>
                  </a:lnTo>
                  <a:lnTo>
                    <a:pt x="4" y="333"/>
                  </a:lnTo>
                  <a:lnTo>
                    <a:pt x="24" y="333"/>
                  </a:lnTo>
                  <a:lnTo>
                    <a:pt x="40" y="331"/>
                  </a:lnTo>
                  <a:lnTo>
                    <a:pt x="52" y="330"/>
                  </a:lnTo>
                  <a:lnTo>
                    <a:pt x="59" y="328"/>
                  </a:lnTo>
                  <a:lnTo>
                    <a:pt x="59" y="328"/>
                  </a:lnTo>
                  <a:lnTo>
                    <a:pt x="56" y="330"/>
                  </a:lnTo>
                  <a:lnTo>
                    <a:pt x="52" y="333"/>
                  </a:lnTo>
                  <a:lnTo>
                    <a:pt x="47" y="336"/>
                  </a:lnTo>
                  <a:lnTo>
                    <a:pt x="44" y="342"/>
                  </a:lnTo>
                  <a:lnTo>
                    <a:pt x="43" y="349"/>
                  </a:lnTo>
                  <a:lnTo>
                    <a:pt x="44" y="359"/>
                  </a:lnTo>
                  <a:lnTo>
                    <a:pt x="49" y="371"/>
                  </a:lnTo>
                  <a:lnTo>
                    <a:pt x="49" y="371"/>
                  </a:lnTo>
                  <a:lnTo>
                    <a:pt x="59" y="391"/>
                  </a:lnTo>
                  <a:lnTo>
                    <a:pt x="71" y="410"/>
                  </a:lnTo>
                  <a:lnTo>
                    <a:pt x="81" y="428"/>
                  </a:lnTo>
                  <a:lnTo>
                    <a:pt x="89" y="442"/>
                  </a:lnTo>
                  <a:lnTo>
                    <a:pt x="89" y="442"/>
                  </a:lnTo>
                  <a:lnTo>
                    <a:pt x="93" y="442"/>
                  </a:lnTo>
                  <a:lnTo>
                    <a:pt x="99" y="444"/>
                  </a:lnTo>
                  <a:lnTo>
                    <a:pt x="104" y="444"/>
                  </a:lnTo>
                  <a:lnTo>
                    <a:pt x="108" y="442"/>
                  </a:lnTo>
                  <a:lnTo>
                    <a:pt x="108" y="442"/>
                  </a:lnTo>
                  <a:lnTo>
                    <a:pt x="110" y="439"/>
                  </a:lnTo>
                  <a:lnTo>
                    <a:pt x="111" y="436"/>
                  </a:lnTo>
                  <a:lnTo>
                    <a:pt x="113" y="432"/>
                  </a:lnTo>
                  <a:lnTo>
                    <a:pt x="113" y="432"/>
                  </a:lnTo>
                  <a:lnTo>
                    <a:pt x="114" y="429"/>
                  </a:lnTo>
                  <a:lnTo>
                    <a:pt x="118" y="428"/>
                  </a:lnTo>
                  <a:lnTo>
                    <a:pt x="123" y="429"/>
                  </a:lnTo>
                  <a:lnTo>
                    <a:pt x="126" y="431"/>
                  </a:lnTo>
                  <a:lnTo>
                    <a:pt x="126" y="432"/>
                  </a:lnTo>
                  <a:lnTo>
                    <a:pt x="126" y="432"/>
                  </a:lnTo>
                  <a:lnTo>
                    <a:pt x="127" y="436"/>
                  </a:lnTo>
                  <a:lnTo>
                    <a:pt x="129" y="441"/>
                  </a:lnTo>
                  <a:lnTo>
                    <a:pt x="132" y="445"/>
                  </a:lnTo>
                  <a:lnTo>
                    <a:pt x="136" y="447"/>
                  </a:lnTo>
                  <a:lnTo>
                    <a:pt x="136" y="447"/>
                  </a:lnTo>
                  <a:lnTo>
                    <a:pt x="147" y="445"/>
                  </a:lnTo>
                  <a:lnTo>
                    <a:pt x="150" y="444"/>
                  </a:lnTo>
                  <a:lnTo>
                    <a:pt x="153" y="442"/>
                  </a:lnTo>
                  <a:lnTo>
                    <a:pt x="153" y="442"/>
                  </a:lnTo>
                  <a:lnTo>
                    <a:pt x="154" y="439"/>
                  </a:lnTo>
                  <a:lnTo>
                    <a:pt x="155" y="438"/>
                  </a:lnTo>
                  <a:lnTo>
                    <a:pt x="160" y="438"/>
                  </a:lnTo>
                  <a:lnTo>
                    <a:pt x="167" y="439"/>
                  </a:lnTo>
                  <a:lnTo>
                    <a:pt x="167" y="439"/>
                  </a:lnTo>
                  <a:lnTo>
                    <a:pt x="194" y="447"/>
                  </a:lnTo>
                  <a:lnTo>
                    <a:pt x="194" y="447"/>
                  </a:lnTo>
                  <a:lnTo>
                    <a:pt x="204" y="451"/>
                  </a:lnTo>
                  <a:lnTo>
                    <a:pt x="209" y="451"/>
                  </a:lnTo>
                  <a:lnTo>
                    <a:pt x="215" y="448"/>
                  </a:lnTo>
                  <a:lnTo>
                    <a:pt x="215" y="448"/>
                  </a:lnTo>
                  <a:lnTo>
                    <a:pt x="219" y="445"/>
                  </a:lnTo>
                  <a:lnTo>
                    <a:pt x="221" y="441"/>
                  </a:lnTo>
                  <a:lnTo>
                    <a:pt x="222" y="438"/>
                  </a:lnTo>
                  <a:lnTo>
                    <a:pt x="225" y="436"/>
                  </a:lnTo>
                  <a:lnTo>
                    <a:pt x="225" y="436"/>
                  </a:lnTo>
                  <a:lnTo>
                    <a:pt x="227" y="436"/>
                  </a:lnTo>
                  <a:lnTo>
                    <a:pt x="230" y="436"/>
                  </a:lnTo>
                  <a:lnTo>
                    <a:pt x="237" y="436"/>
                  </a:lnTo>
                  <a:lnTo>
                    <a:pt x="237" y="436"/>
                  </a:lnTo>
                  <a:lnTo>
                    <a:pt x="244" y="433"/>
                  </a:lnTo>
                  <a:lnTo>
                    <a:pt x="250" y="428"/>
                  </a:lnTo>
                  <a:lnTo>
                    <a:pt x="250" y="428"/>
                  </a:lnTo>
                  <a:lnTo>
                    <a:pt x="256" y="422"/>
                  </a:lnTo>
                  <a:lnTo>
                    <a:pt x="258" y="422"/>
                  </a:lnTo>
                  <a:lnTo>
                    <a:pt x="262" y="422"/>
                  </a:lnTo>
                  <a:lnTo>
                    <a:pt x="262" y="422"/>
                  </a:lnTo>
                  <a:lnTo>
                    <a:pt x="271" y="426"/>
                  </a:lnTo>
                  <a:lnTo>
                    <a:pt x="275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92" y="428"/>
                  </a:lnTo>
                  <a:lnTo>
                    <a:pt x="296" y="428"/>
                  </a:lnTo>
                  <a:lnTo>
                    <a:pt x="299" y="426"/>
                  </a:lnTo>
                  <a:lnTo>
                    <a:pt x="299" y="426"/>
                  </a:lnTo>
                  <a:lnTo>
                    <a:pt x="302" y="425"/>
                  </a:lnTo>
                  <a:lnTo>
                    <a:pt x="307" y="423"/>
                  </a:lnTo>
                  <a:lnTo>
                    <a:pt x="311" y="422"/>
                  </a:lnTo>
                  <a:lnTo>
                    <a:pt x="315" y="419"/>
                  </a:lnTo>
                  <a:lnTo>
                    <a:pt x="315" y="41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79" name="Freeform 58">
              <a:extLst>
                <a:ext uri="{FF2B5EF4-FFF2-40B4-BE49-F238E27FC236}">
                  <a16:creationId xmlns:a16="http://schemas.microsoft.com/office/drawing/2014/main" id="{7900851E-0078-EB40-9407-2BFACCE1A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3763963"/>
              <a:ext cx="527050" cy="474662"/>
            </a:xfrm>
            <a:custGeom>
              <a:avLst/>
              <a:gdLst>
                <a:gd name="T0" fmla="*/ 12 w 332"/>
                <a:gd name="T1" fmla="*/ 165 h 299"/>
                <a:gd name="T2" fmla="*/ 35 w 332"/>
                <a:gd name="T3" fmla="*/ 179 h 299"/>
                <a:gd name="T4" fmla="*/ 43 w 332"/>
                <a:gd name="T5" fmla="*/ 185 h 299"/>
                <a:gd name="T6" fmla="*/ 61 w 332"/>
                <a:gd name="T7" fmla="*/ 189 h 299"/>
                <a:gd name="T8" fmla="*/ 79 w 332"/>
                <a:gd name="T9" fmla="*/ 194 h 299"/>
                <a:gd name="T10" fmla="*/ 88 w 332"/>
                <a:gd name="T11" fmla="*/ 202 h 299"/>
                <a:gd name="T12" fmla="*/ 103 w 332"/>
                <a:gd name="T13" fmla="*/ 205 h 299"/>
                <a:gd name="T14" fmla="*/ 110 w 332"/>
                <a:gd name="T15" fmla="*/ 217 h 299"/>
                <a:gd name="T16" fmla="*/ 114 w 332"/>
                <a:gd name="T17" fmla="*/ 225 h 299"/>
                <a:gd name="T18" fmla="*/ 120 w 332"/>
                <a:gd name="T19" fmla="*/ 223 h 299"/>
                <a:gd name="T20" fmla="*/ 132 w 332"/>
                <a:gd name="T21" fmla="*/ 219 h 299"/>
                <a:gd name="T22" fmla="*/ 156 w 332"/>
                <a:gd name="T23" fmla="*/ 225 h 299"/>
                <a:gd name="T24" fmla="*/ 180 w 332"/>
                <a:gd name="T25" fmla="*/ 217 h 299"/>
                <a:gd name="T26" fmla="*/ 187 w 332"/>
                <a:gd name="T27" fmla="*/ 207 h 299"/>
                <a:gd name="T28" fmla="*/ 206 w 332"/>
                <a:gd name="T29" fmla="*/ 210 h 299"/>
                <a:gd name="T30" fmla="*/ 218 w 332"/>
                <a:gd name="T31" fmla="*/ 225 h 299"/>
                <a:gd name="T32" fmla="*/ 224 w 332"/>
                <a:gd name="T33" fmla="*/ 253 h 299"/>
                <a:gd name="T34" fmla="*/ 245 w 332"/>
                <a:gd name="T35" fmla="*/ 257 h 299"/>
                <a:gd name="T36" fmla="*/ 248 w 332"/>
                <a:gd name="T37" fmla="*/ 271 h 299"/>
                <a:gd name="T38" fmla="*/ 257 w 332"/>
                <a:gd name="T39" fmla="*/ 276 h 299"/>
                <a:gd name="T40" fmla="*/ 282 w 332"/>
                <a:gd name="T41" fmla="*/ 276 h 299"/>
                <a:gd name="T42" fmla="*/ 294 w 332"/>
                <a:gd name="T43" fmla="*/ 287 h 299"/>
                <a:gd name="T44" fmla="*/ 301 w 332"/>
                <a:gd name="T45" fmla="*/ 297 h 299"/>
                <a:gd name="T46" fmla="*/ 314 w 332"/>
                <a:gd name="T47" fmla="*/ 299 h 299"/>
                <a:gd name="T48" fmla="*/ 325 w 332"/>
                <a:gd name="T49" fmla="*/ 290 h 299"/>
                <a:gd name="T50" fmla="*/ 328 w 332"/>
                <a:gd name="T51" fmla="*/ 250 h 299"/>
                <a:gd name="T52" fmla="*/ 320 w 332"/>
                <a:gd name="T53" fmla="*/ 231 h 299"/>
                <a:gd name="T54" fmla="*/ 325 w 332"/>
                <a:gd name="T55" fmla="*/ 211 h 299"/>
                <a:gd name="T56" fmla="*/ 326 w 332"/>
                <a:gd name="T57" fmla="*/ 201 h 299"/>
                <a:gd name="T58" fmla="*/ 323 w 332"/>
                <a:gd name="T59" fmla="*/ 179 h 299"/>
                <a:gd name="T60" fmla="*/ 314 w 332"/>
                <a:gd name="T61" fmla="*/ 165 h 299"/>
                <a:gd name="T62" fmla="*/ 311 w 332"/>
                <a:gd name="T63" fmla="*/ 142 h 299"/>
                <a:gd name="T64" fmla="*/ 310 w 332"/>
                <a:gd name="T65" fmla="*/ 125 h 299"/>
                <a:gd name="T66" fmla="*/ 300 w 332"/>
                <a:gd name="T67" fmla="*/ 117 h 299"/>
                <a:gd name="T68" fmla="*/ 289 w 332"/>
                <a:gd name="T69" fmla="*/ 97 h 299"/>
                <a:gd name="T70" fmla="*/ 274 w 332"/>
                <a:gd name="T71" fmla="*/ 99 h 299"/>
                <a:gd name="T72" fmla="*/ 258 w 332"/>
                <a:gd name="T73" fmla="*/ 97 h 299"/>
                <a:gd name="T74" fmla="*/ 258 w 332"/>
                <a:gd name="T75" fmla="*/ 84 h 299"/>
                <a:gd name="T76" fmla="*/ 268 w 332"/>
                <a:gd name="T77" fmla="*/ 59 h 299"/>
                <a:gd name="T78" fmla="*/ 261 w 332"/>
                <a:gd name="T79" fmla="*/ 44 h 299"/>
                <a:gd name="T80" fmla="*/ 257 w 332"/>
                <a:gd name="T81" fmla="*/ 28 h 299"/>
                <a:gd name="T82" fmla="*/ 242 w 332"/>
                <a:gd name="T83" fmla="*/ 29 h 299"/>
                <a:gd name="T84" fmla="*/ 217 w 332"/>
                <a:gd name="T85" fmla="*/ 40 h 299"/>
                <a:gd name="T86" fmla="*/ 205 w 332"/>
                <a:gd name="T87" fmla="*/ 32 h 299"/>
                <a:gd name="T88" fmla="*/ 187 w 332"/>
                <a:gd name="T89" fmla="*/ 28 h 299"/>
                <a:gd name="T90" fmla="*/ 157 w 332"/>
                <a:gd name="T91" fmla="*/ 11 h 299"/>
                <a:gd name="T92" fmla="*/ 140 w 332"/>
                <a:gd name="T93" fmla="*/ 0 h 299"/>
                <a:gd name="T94" fmla="*/ 126 w 332"/>
                <a:gd name="T95" fmla="*/ 5 h 299"/>
                <a:gd name="T96" fmla="*/ 114 w 332"/>
                <a:gd name="T97" fmla="*/ 13 h 299"/>
                <a:gd name="T98" fmla="*/ 95 w 332"/>
                <a:gd name="T99" fmla="*/ 16 h 299"/>
                <a:gd name="T100" fmla="*/ 82 w 332"/>
                <a:gd name="T101" fmla="*/ 1 h 299"/>
                <a:gd name="T102" fmla="*/ 69 w 332"/>
                <a:gd name="T103" fmla="*/ 7 h 299"/>
                <a:gd name="T104" fmla="*/ 69 w 332"/>
                <a:gd name="T105" fmla="*/ 16 h 299"/>
                <a:gd name="T106" fmla="*/ 70 w 332"/>
                <a:gd name="T107" fmla="*/ 34 h 299"/>
                <a:gd name="T108" fmla="*/ 70 w 332"/>
                <a:gd name="T109" fmla="*/ 68 h 299"/>
                <a:gd name="T110" fmla="*/ 43 w 332"/>
                <a:gd name="T111" fmla="*/ 84 h 299"/>
                <a:gd name="T112" fmla="*/ 20 w 332"/>
                <a:gd name="T113" fmla="*/ 100 h 299"/>
                <a:gd name="T114" fmla="*/ 0 w 332"/>
                <a:gd name="T115" fmla="*/ 122 h 299"/>
                <a:gd name="T116" fmla="*/ 3 w 332"/>
                <a:gd name="T117" fmla="*/ 13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2" h="299">
                  <a:moveTo>
                    <a:pt x="6" y="152"/>
                  </a:moveTo>
                  <a:lnTo>
                    <a:pt x="6" y="152"/>
                  </a:lnTo>
                  <a:lnTo>
                    <a:pt x="9" y="161"/>
                  </a:lnTo>
                  <a:lnTo>
                    <a:pt x="12" y="165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26" y="176"/>
                  </a:lnTo>
                  <a:lnTo>
                    <a:pt x="35" y="179"/>
                  </a:lnTo>
                  <a:lnTo>
                    <a:pt x="35" y="179"/>
                  </a:lnTo>
                  <a:lnTo>
                    <a:pt x="39" y="180"/>
                  </a:lnTo>
                  <a:lnTo>
                    <a:pt x="42" y="183"/>
                  </a:lnTo>
                  <a:lnTo>
                    <a:pt x="43" y="185"/>
                  </a:lnTo>
                  <a:lnTo>
                    <a:pt x="46" y="188"/>
                  </a:lnTo>
                  <a:lnTo>
                    <a:pt x="46" y="188"/>
                  </a:lnTo>
                  <a:lnTo>
                    <a:pt x="52" y="189"/>
                  </a:lnTo>
                  <a:lnTo>
                    <a:pt x="61" y="189"/>
                  </a:lnTo>
                  <a:lnTo>
                    <a:pt x="69" y="189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79" y="194"/>
                  </a:lnTo>
                  <a:lnTo>
                    <a:pt x="82" y="198"/>
                  </a:lnTo>
                  <a:lnTo>
                    <a:pt x="85" y="201"/>
                  </a:lnTo>
                  <a:lnTo>
                    <a:pt x="88" y="202"/>
                  </a:lnTo>
                  <a:lnTo>
                    <a:pt x="88" y="202"/>
                  </a:lnTo>
                  <a:lnTo>
                    <a:pt x="95" y="202"/>
                  </a:lnTo>
                  <a:lnTo>
                    <a:pt x="100" y="202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6" y="211"/>
                  </a:lnTo>
                  <a:lnTo>
                    <a:pt x="107" y="214"/>
                  </a:lnTo>
                  <a:lnTo>
                    <a:pt x="110" y="217"/>
                  </a:lnTo>
                  <a:lnTo>
                    <a:pt x="110" y="217"/>
                  </a:lnTo>
                  <a:lnTo>
                    <a:pt x="112" y="219"/>
                  </a:lnTo>
                  <a:lnTo>
                    <a:pt x="112" y="220"/>
                  </a:lnTo>
                  <a:lnTo>
                    <a:pt x="112" y="223"/>
                  </a:lnTo>
                  <a:lnTo>
                    <a:pt x="114" y="225"/>
                  </a:lnTo>
                  <a:lnTo>
                    <a:pt x="114" y="225"/>
                  </a:lnTo>
                  <a:lnTo>
                    <a:pt x="116" y="226"/>
                  </a:lnTo>
                  <a:lnTo>
                    <a:pt x="117" y="225"/>
                  </a:lnTo>
                  <a:lnTo>
                    <a:pt x="120" y="223"/>
                  </a:lnTo>
                  <a:lnTo>
                    <a:pt x="125" y="220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40" y="220"/>
                  </a:lnTo>
                  <a:lnTo>
                    <a:pt x="146" y="222"/>
                  </a:lnTo>
                  <a:lnTo>
                    <a:pt x="150" y="223"/>
                  </a:lnTo>
                  <a:lnTo>
                    <a:pt x="156" y="225"/>
                  </a:lnTo>
                  <a:lnTo>
                    <a:pt x="156" y="225"/>
                  </a:lnTo>
                  <a:lnTo>
                    <a:pt x="165" y="225"/>
                  </a:lnTo>
                  <a:lnTo>
                    <a:pt x="174" y="222"/>
                  </a:lnTo>
                  <a:lnTo>
                    <a:pt x="180" y="217"/>
                  </a:lnTo>
                  <a:lnTo>
                    <a:pt x="183" y="214"/>
                  </a:lnTo>
                  <a:lnTo>
                    <a:pt x="183" y="214"/>
                  </a:lnTo>
                  <a:lnTo>
                    <a:pt x="184" y="210"/>
                  </a:lnTo>
                  <a:lnTo>
                    <a:pt x="187" y="207"/>
                  </a:lnTo>
                  <a:lnTo>
                    <a:pt x="191" y="205"/>
                  </a:lnTo>
                  <a:lnTo>
                    <a:pt x="199" y="207"/>
                  </a:lnTo>
                  <a:lnTo>
                    <a:pt x="199" y="207"/>
                  </a:lnTo>
                  <a:lnTo>
                    <a:pt x="206" y="210"/>
                  </a:lnTo>
                  <a:lnTo>
                    <a:pt x="212" y="211"/>
                  </a:lnTo>
                  <a:lnTo>
                    <a:pt x="214" y="213"/>
                  </a:lnTo>
                  <a:lnTo>
                    <a:pt x="215" y="214"/>
                  </a:lnTo>
                  <a:lnTo>
                    <a:pt x="218" y="225"/>
                  </a:lnTo>
                  <a:lnTo>
                    <a:pt x="218" y="225"/>
                  </a:lnTo>
                  <a:lnTo>
                    <a:pt x="220" y="245"/>
                  </a:lnTo>
                  <a:lnTo>
                    <a:pt x="223" y="251"/>
                  </a:lnTo>
                  <a:lnTo>
                    <a:pt x="224" y="253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40" y="256"/>
                  </a:lnTo>
                  <a:lnTo>
                    <a:pt x="245" y="257"/>
                  </a:lnTo>
                  <a:lnTo>
                    <a:pt x="246" y="259"/>
                  </a:lnTo>
                  <a:lnTo>
                    <a:pt x="248" y="260"/>
                  </a:lnTo>
                  <a:lnTo>
                    <a:pt x="248" y="260"/>
                  </a:lnTo>
                  <a:lnTo>
                    <a:pt x="248" y="271"/>
                  </a:lnTo>
                  <a:lnTo>
                    <a:pt x="251" y="275"/>
                  </a:lnTo>
                  <a:lnTo>
                    <a:pt x="252" y="276"/>
                  </a:lnTo>
                  <a:lnTo>
                    <a:pt x="257" y="276"/>
                  </a:lnTo>
                  <a:lnTo>
                    <a:pt x="257" y="276"/>
                  </a:lnTo>
                  <a:lnTo>
                    <a:pt x="264" y="275"/>
                  </a:lnTo>
                  <a:lnTo>
                    <a:pt x="271" y="275"/>
                  </a:lnTo>
                  <a:lnTo>
                    <a:pt x="279" y="275"/>
                  </a:lnTo>
                  <a:lnTo>
                    <a:pt x="282" y="276"/>
                  </a:lnTo>
                  <a:lnTo>
                    <a:pt x="285" y="278"/>
                  </a:lnTo>
                  <a:lnTo>
                    <a:pt x="285" y="278"/>
                  </a:lnTo>
                  <a:lnTo>
                    <a:pt x="291" y="282"/>
                  </a:lnTo>
                  <a:lnTo>
                    <a:pt x="294" y="287"/>
                  </a:lnTo>
                  <a:lnTo>
                    <a:pt x="298" y="294"/>
                  </a:lnTo>
                  <a:lnTo>
                    <a:pt x="298" y="294"/>
                  </a:lnTo>
                  <a:lnTo>
                    <a:pt x="298" y="296"/>
                  </a:lnTo>
                  <a:lnTo>
                    <a:pt x="301" y="297"/>
                  </a:lnTo>
                  <a:lnTo>
                    <a:pt x="308" y="299"/>
                  </a:lnTo>
                  <a:lnTo>
                    <a:pt x="308" y="299"/>
                  </a:lnTo>
                  <a:lnTo>
                    <a:pt x="314" y="299"/>
                  </a:lnTo>
                  <a:lnTo>
                    <a:pt x="314" y="299"/>
                  </a:lnTo>
                  <a:lnTo>
                    <a:pt x="319" y="297"/>
                  </a:lnTo>
                  <a:lnTo>
                    <a:pt x="320" y="296"/>
                  </a:lnTo>
                  <a:lnTo>
                    <a:pt x="323" y="294"/>
                  </a:lnTo>
                  <a:lnTo>
                    <a:pt x="325" y="290"/>
                  </a:lnTo>
                  <a:lnTo>
                    <a:pt x="325" y="290"/>
                  </a:lnTo>
                  <a:lnTo>
                    <a:pt x="328" y="268"/>
                  </a:lnTo>
                  <a:lnTo>
                    <a:pt x="328" y="257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3" y="241"/>
                  </a:lnTo>
                  <a:lnTo>
                    <a:pt x="322" y="237"/>
                  </a:lnTo>
                  <a:lnTo>
                    <a:pt x="320" y="231"/>
                  </a:lnTo>
                  <a:lnTo>
                    <a:pt x="320" y="231"/>
                  </a:lnTo>
                  <a:lnTo>
                    <a:pt x="322" y="220"/>
                  </a:lnTo>
                  <a:lnTo>
                    <a:pt x="325" y="211"/>
                  </a:lnTo>
                  <a:lnTo>
                    <a:pt x="325" y="211"/>
                  </a:lnTo>
                  <a:lnTo>
                    <a:pt x="332" y="202"/>
                  </a:lnTo>
                  <a:lnTo>
                    <a:pt x="332" y="202"/>
                  </a:lnTo>
                  <a:lnTo>
                    <a:pt x="328" y="202"/>
                  </a:lnTo>
                  <a:lnTo>
                    <a:pt x="326" y="201"/>
                  </a:lnTo>
                  <a:lnTo>
                    <a:pt x="326" y="201"/>
                  </a:lnTo>
                  <a:lnTo>
                    <a:pt x="325" y="195"/>
                  </a:lnTo>
                  <a:lnTo>
                    <a:pt x="325" y="188"/>
                  </a:lnTo>
                  <a:lnTo>
                    <a:pt x="323" y="179"/>
                  </a:lnTo>
                  <a:lnTo>
                    <a:pt x="322" y="173"/>
                  </a:lnTo>
                  <a:lnTo>
                    <a:pt x="322" y="173"/>
                  </a:lnTo>
                  <a:lnTo>
                    <a:pt x="316" y="168"/>
                  </a:lnTo>
                  <a:lnTo>
                    <a:pt x="314" y="165"/>
                  </a:lnTo>
                  <a:lnTo>
                    <a:pt x="311" y="158"/>
                  </a:lnTo>
                  <a:lnTo>
                    <a:pt x="311" y="158"/>
                  </a:lnTo>
                  <a:lnTo>
                    <a:pt x="311" y="151"/>
                  </a:lnTo>
                  <a:lnTo>
                    <a:pt x="311" y="142"/>
                  </a:lnTo>
                  <a:lnTo>
                    <a:pt x="314" y="130"/>
                  </a:lnTo>
                  <a:lnTo>
                    <a:pt x="314" y="130"/>
                  </a:lnTo>
                  <a:lnTo>
                    <a:pt x="313" y="127"/>
                  </a:lnTo>
                  <a:lnTo>
                    <a:pt x="310" y="125"/>
                  </a:lnTo>
                  <a:lnTo>
                    <a:pt x="306" y="124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0" y="117"/>
                  </a:lnTo>
                  <a:lnTo>
                    <a:pt x="297" y="111"/>
                  </a:lnTo>
                  <a:lnTo>
                    <a:pt x="294" y="103"/>
                  </a:lnTo>
                  <a:lnTo>
                    <a:pt x="291" y="100"/>
                  </a:lnTo>
                  <a:lnTo>
                    <a:pt x="289" y="97"/>
                  </a:lnTo>
                  <a:lnTo>
                    <a:pt x="289" y="97"/>
                  </a:lnTo>
                  <a:lnTo>
                    <a:pt x="286" y="97"/>
                  </a:lnTo>
                  <a:lnTo>
                    <a:pt x="282" y="97"/>
                  </a:lnTo>
                  <a:lnTo>
                    <a:pt x="274" y="99"/>
                  </a:lnTo>
                  <a:lnTo>
                    <a:pt x="266" y="100"/>
                  </a:lnTo>
                  <a:lnTo>
                    <a:pt x="263" y="99"/>
                  </a:lnTo>
                  <a:lnTo>
                    <a:pt x="258" y="97"/>
                  </a:lnTo>
                  <a:lnTo>
                    <a:pt x="258" y="97"/>
                  </a:lnTo>
                  <a:lnTo>
                    <a:pt x="255" y="96"/>
                  </a:lnTo>
                  <a:lnTo>
                    <a:pt x="255" y="93"/>
                  </a:lnTo>
                  <a:lnTo>
                    <a:pt x="257" y="88"/>
                  </a:lnTo>
                  <a:lnTo>
                    <a:pt x="258" y="84"/>
                  </a:lnTo>
                  <a:lnTo>
                    <a:pt x="264" y="75"/>
                  </a:lnTo>
                  <a:lnTo>
                    <a:pt x="268" y="66"/>
                  </a:lnTo>
                  <a:lnTo>
                    <a:pt x="268" y="66"/>
                  </a:lnTo>
                  <a:lnTo>
                    <a:pt x="268" y="59"/>
                  </a:lnTo>
                  <a:lnTo>
                    <a:pt x="267" y="53"/>
                  </a:lnTo>
                  <a:lnTo>
                    <a:pt x="264" y="48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60" y="41"/>
                  </a:lnTo>
                  <a:lnTo>
                    <a:pt x="258" y="38"/>
                  </a:lnTo>
                  <a:lnTo>
                    <a:pt x="258" y="34"/>
                  </a:lnTo>
                  <a:lnTo>
                    <a:pt x="257" y="28"/>
                  </a:lnTo>
                  <a:lnTo>
                    <a:pt x="257" y="28"/>
                  </a:lnTo>
                  <a:lnTo>
                    <a:pt x="254" y="25"/>
                  </a:lnTo>
                  <a:lnTo>
                    <a:pt x="251" y="25"/>
                  </a:lnTo>
                  <a:lnTo>
                    <a:pt x="242" y="29"/>
                  </a:lnTo>
                  <a:lnTo>
                    <a:pt x="231" y="35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17" y="40"/>
                  </a:lnTo>
                  <a:lnTo>
                    <a:pt x="211" y="38"/>
                  </a:lnTo>
                  <a:lnTo>
                    <a:pt x="206" y="35"/>
                  </a:lnTo>
                  <a:lnTo>
                    <a:pt x="205" y="32"/>
                  </a:lnTo>
                  <a:lnTo>
                    <a:pt x="205" y="32"/>
                  </a:lnTo>
                  <a:lnTo>
                    <a:pt x="202" y="29"/>
                  </a:lnTo>
                  <a:lnTo>
                    <a:pt x="199" y="28"/>
                  </a:lnTo>
                  <a:lnTo>
                    <a:pt x="187" y="28"/>
                  </a:lnTo>
                  <a:lnTo>
                    <a:pt x="187" y="28"/>
                  </a:lnTo>
                  <a:lnTo>
                    <a:pt x="180" y="26"/>
                  </a:lnTo>
                  <a:lnTo>
                    <a:pt x="172" y="23"/>
                  </a:lnTo>
                  <a:lnTo>
                    <a:pt x="163" y="19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3" y="4"/>
                  </a:lnTo>
                  <a:lnTo>
                    <a:pt x="149" y="1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37" y="0"/>
                  </a:lnTo>
                  <a:lnTo>
                    <a:pt x="134" y="1"/>
                  </a:lnTo>
                  <a:lnTo>
                    <a:pt x="126" y="5"/>
                  </a:lnTo>
                  <a:lnTo>
                    <a:pt x="120" y="10"/>
                  </a:lnTo>
                  <a:lnTo>
                    <a:pt x="117" y="11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06" y="16"/>
                  </a:lnTo>
                  <a:lnTo>
                    <a:pt x="100" y="17"/>
                  </a:lnTo>
                  <a:lnTo>
                    <a:pt x="97" y="17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88" y="5"/>
                  </a:lnTo>
                  <a:lnTo>
                    <a:pt x="85" y="3"/>
                  </a:lnTo>
                  <a:lnTo>
                    <a:pt x="82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72" y="4"/>
                  </a:lnTo>
                  <a:lnTo>
                    <a:pt x="69" y="7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6"/>
                  </a:lnTo>
                  <a:lnTo>
                    <a:pt x="69" y="20"/>
                  </a:lnTo>
                  <a:lnTo>
                    <a:pt x="69" y="26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3" y="51"/>
                  </a:lnTo>
                  <a:lnTo>
                    <a:pt x="73" y="60"/>
                  </a:lnTo>
                  <a:lnTo>
                    <a:pt x="73" y="65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58" y="77"/>
                  </a:lnTo>
                  <a:lnTo>
                    <a:pt x="51" y="81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36" y="87"/>
                  </a:lnTo>
                  <a:lnTo>
                    <a:pt x="30" y="91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2" y="106"/>
                  </a:lnTo>
                  <a:lnTo>
                    <a:pt x="5" y="115"/>
                  </a:lnTo>
                  <a:lnTo>
                    <a:pt x="0" y="122"/>
                  </a:lnTo>
                  <a:lnTo>
                    <a:pt x="0" y="127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3" y="136"/>
                  </a:lnTo>
                  <a:lnTo>
                    <a:pt x="5" y="140"/>
                  </a:lnTo>
                  <a:lnTo>
                    <a:pt x="6" y="152"/>
                  </a:lnTo>
                  <a:lnTo>
                    <a:pt x="6" y="15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0" name="Freeform 59">
              <a:extLst>
                <a:ext uri="{FF2B5EF4-FFF2-40B4-BE49-F238E27FC236}">
                  <a16:creationId xmlns:a16="http://schemas.microsoft.com/office/drawing/2014/main" id="{053866B0-9254-DF4A-9AE3-D0A1D2C08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4879975"/>
              <a:ext cx="762000" cy="500062"/>
            </a:xfrm>
            <a:custGeom>
              <a:avLst/>
              <a:gdLst>
                <a:gd name="T0" fmla="*/ 261 w 480"/>
                <a:gd name="T1" fmla="*/ 218 h 315"/>
                <a:gd name="T2" fmla="*/ 276 w 480"/>
                <a:gd name="T3" fmla="*/ 207 h 315"/>
                <a:gd name="T4" fmla="*/ 268 w 480"/>
                <a:gd name="T5" fmla="*/ 190 h 315"/>
                <a:gd name="T6" fmla="*/ 282 w 480"/>
                <a:gd name="T7" fmla="*/ 178 h 315"/>
                <a:gd name="T8" fmla="*/ 298 w 480"/>
                <a:gd name="T9" fmla="*/ 184 h 315"/>
                <a:gd name="T10" fmla="*/ 323 w 480"/>
                <a:gd name="T11" fmla="*/ 176 h 315"/>
                <a:gd name="T12" fmla="*/ 350 w 480"/>
                <a:gd name="T13" fmla="*/ 194 h 315"/>
                <a:gd name="T14" fmla="*/ 367 w 480"/>
                <a:gd name="T15" fmla="*/ 193 h 315"/>
                <a:gd name="T16" fmla="*/ 381 w 480"/>
                <a:gd name="T17" fmla="*/ 178 h 315"/>
                <a:gd name="T18" fmla="*/ 402 w 480"/>
                <a:gd name="T19" fmla="*/ 158 h 315"/>
                <a:gd name="T20" fmla="*/ 409 w 480"/>
                <a:gd name="T21" fmla="*/ 170 h 315"/>
                <a:gd name="T22" fmla="*/ 430 w 480"/>
                <a:gd name="T23" fmla="*/ 179 h 315"/>
                <a:gd name="T24" fmla="*/ 447 w 480"/>
                <a:gd name="T25" fmla="*/ 185 h 315"/>
                <a:gd name="T26" fmla="*/ 476 w 480"/>
                <a:gd name="T27" fmla="*/ 173 h 315"/>
                <a:gd name="T28" fmla="*/ 471 w 480"/>
                <a:gd name="T29" fmla="*/ 151 h 315"/>
                <a:gd name="T30" fmla="*/ 440 w 480"/>
                <a:gd name="T31" fmla="*/ 110 h 315"/>
                <a:gd name="T32" fmla="*/ 427 w 480"/>
                <a:gd name="T33" fmla="*/ 92 h 315"/>
                <a:gd name="T34" fmla="*/ 405 w 480"/>
                <a:gd name="T35" fmla="*/ 80 h 315"/>
                <a:gd name="T36" fmla="*/ 393 w 480"/>
                <a:gd name="T37" fmla="*/ 67 h 315"/>
                <a:gd name="T38" fmla="*/ 381 w 480"/>
                <a:gd name="T39" fmla="*/ 46 h 315"/>
                <a:gd name="T40" fmla="*/ 357 w 480"/>
                <a:gd name="T41" fmla="*/ 44 h 315"/>
                <a:gd name="T42" fmla="*/ 330 w 480"/>
                <a:gd name="T43" fmla="*/ 47 h 315"/>
                <a:gd name="T44" fmla="*/ 298 w 480"/>
                <a:gd name="T45" fmla="*/ 43 h 315"/>
                <a:gd name="T46" fmla="*/ 282 w 480"/>
                <a:gd name="T47" fmla="*/ 31 h 315"/>
                <a:gd name="T48" fmla="*/ 286 w 480"/>
                <a:gd name="T49" fmla="*/ 13 h 315"/>
                <a:gd name="T50" fmla="*/ 261 w 480"/>
                <a:gd name="T51" fmla="*/ 0 h 315"/>
                <a:gd name="T52" fmla="*/ 243 w 480"/>
                <a:gd name="T53" fmla="*/ 13 h 315"/>
                <a:gd name="T54" fmla="*/ 224 w 480"/>
                <a:gd name="T55" fmla="*/ 28 h 315"/>
                <a:gd name="T56" fmla="*/ 209 w 480"/>
                <a:gd name="T57" fmla="*/ 43 h 315"/>
                <a:gd name="T58" fmla="*/ 191 w 480"/>
                <a:gd name="T59" fmla="*/ 44 h 315"/>
                <a:gd name="T60" fmla="*/ 166 w 480"/>
                <a:gd name="T61" fmla="*/ 59 h 315"/>
                <a:gd name="T62" fmla="*/ 142 w 480"/>
                <a:gd name="T63" fmla="*/ 80 h 315"/>
                <a:gd name="T64" fmla="*/ 122 w 480"/>
                <a:gd name="T65" fmla="*/ 77 h 315"/>
                <a:gd name="T66" fmla="*/ 102 w 480"/>
                <a:gd name="T67" fmla="*/ 89 h 315"/>
                <a:gd name="T68" fmla="*/ 73 w 480"/>
                <a:gd name="T69" fmla="*/ 86 h 315"/>
                <a:gd name="T70" fmla="*/ 52 w 480"/>
                <a:gd name="T71" fmla="*/ 96 h 315"/>
                <a:gd name="T72" fmla="*/ 17 w 480"/>
                <a:gd name="T73" fmla="*/ 101 h 315"/>
                <a:gd name="T74" fmla="*/ 3 w 480"/>
                <a:gd name="T75" fmla="*/ 126 h 315"/>
                <a:gd name="T76" fmla="*/ 8 w 480"/>
                <a:gd name="T77" fmla="*/ 157 h 315"/>
                <a:gd name="T78" fmla="*/ 11 w 480"/>
                <a:gd name="T79" fmla="*/ 169 h 315"/>
                <a:gd name="T80" fmla="*/ 30 w 480"/>
                <a:gd name="T81" fmla="*/ 191 h 315"/>
                <a:gd name="T82" fmla="*/ 49 w 480"/>
                <a:gd name="T83" fmla="*/ 209 h 315"/>
                <a:gd name="T84" fmla="*/ 58 w 480"/>
                <a:gd name="T85" fmla="*/ 250 h 315"/>
                <a:gd name="T86" fmla="*/ 67 w 480"/>
                <a:gd name="T87" fmla="*/ 280 h 315"/>
                <a:gd name="T88" fmla="*/ 67 w 480"/>
                <a:gd name="T89" fmla="*/ 292 h 315"/>
                <a:gd name="T90" fmla="*/ 82 w 480"/>
                <a:gd name="T91" fmla="*/ 307 h 315"/>
                <a:gd name="T92" fmla="*/ 99 w 480"/>
                <a:gd name="T93" fmla="*/ 311 h 315"/>
                <a:gd name="T94" fmla="*/ 119 w 480"/>
                <a:gd name="T95" fmla="*/ 299 h 315"/>
                <a:gd name="T96" fmla="*/ 144 w 480"/>
                <a:gd name="T97" fmla="*/ 289 h 315"/>
                <a:gd name="T98" fmla="*/ 165 w 480"/>
                <a:gd name="T99" fmla="*/ 287 h 315"/>
                <a:gd name="T100" fmla="*/ 148 w 480"/>
                <a:gd name="T101" fmla="*/ 299 h 315"/>
                <a:gd name="T102" fmla="*/ 160 w 480"/>
                <a:gd name="T103" fmla="*/ 314 h 315"/>
                <a:gd name="T104" fmla="*/ 185 w 480"/>
                <a:gd name="T105" fmla="*/ 310 h 315"/>
                <a:gd name="T106" fmla="*/ 216 w 480"/>
                <a:gd name="T107" fmla="*/ 304 h 315"/>
                <a:gd name="T108" fmla="*/ 218 w 480"/>
                <a:gd name="T109" fmla="*/ 286 h 315"/>
                <a:gd name="T110" fmla="*/ 222 w 480"/>
                <a:gd name="T111" fmla="*/ 259 h 315"/>
                <a:gd name="T112" fmla="*/ 240 w 480"/>
                <a:gd name="T113" fmla="*/ 256 h 315"/>
                <a:gd name="T114" fmla="*/ 255 w 480"/>
                <a:gd name="T115" fmla="*/ 24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0" h="315">
                  <a:moveTo>
                    <a:pt x="265" y="247"/>
                  </a:moveTo>
                  <a:lnTo>
                    <a:pt x="265" y="247"/>
                  </a:lnTo>
                  <a:lnTo>
                    <a:pt x="261" y="233"/>
                  </a:lnTo>
                  <a:lnTo>
                    <a:pt x="259" y="222"/>
                  </a:lnTo>
                  <a:lnTo>
                    <a:pt x="261" y="218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73" y="212"/>
                  </a:lnTo>
                  <a:lnTo>
                    <a:pt x="276" y="210"/>
                  </a:lnTo>
                  <a:lnTo>
                    <a:pt x="276" y="207"/>
                  </a:lnTo>
                  <a:lnTo>
                    <a:pt x="276" y="207"/>
                  </a:lnTo>
                  <a:lnTo>
                    <a:pt x="274" y="203"/>
                  </a:lnTo>
                  <a:lnTo>
                    <a:pt x="271" y="198"/>
                  </a:lnTo>
                  <a:lnTo>
                    <a:pt x="268" y="194"/>
                  </a:lnTo>
                  <a:lnTo>
                    <a:pt x="268" y="190"/>
                  </a:lnTo>
                  <a:lnTo>
                    <a:pt x="268" y="190"/>
                  </a:lnTo>
                  <a:lnTo>
                    <a:pt x="271" y="185"/>
                  </a:lnTo>
                  <a:lnTo>
                    <a:pt x="274" y="181"/>
                  </a:lnTo>
                  <a:lnTo>
                    <a:pt x="279" y="178"/>
                  </a:lnTo>
                  <a:lnTo>
                    <a:pt x="282" y="178"/>
                  </a:lnTo>
                  <a:lnTo>
                    <a:pt x="283" y="178"/>
                  </a:lnTo>
                  <a:lnTo>
                    <a:pt x="283" y="178"/>
                  </a:lnTo>
                  <a:lnTo>
                    <a:pt x="290" y="184"/>
                  </a:lnTo>
                  <a:lnTo>
                    <a:pt x="293" y="185"/>
                  </a:lnTo>
                  <a:lnTo>
                    <a:pt x="298" y="184"/>
                  </a:lnTo>
                  <a:lnTo>
                    <a:pt x="298" y="184"/>
                  </a:lnTo>
                  <a:lnTo>
                    <a:pt x="304" y="179"/>
                  </a:lnTo>
                  <a:lnTo>
                    <a:pt x="310" y="176"/>
                  </a:lnTo>
                  <a:lnTo>
                    <a:pt x="316" y="175"/>
                  </a:lnTo>
                  <a:lnTo>
                    <a:pt x="323" y="176"/>
                  </a:lnTo>
                  <a:lnTo>
                    <a:pt x="323" y="176"/>
                  </a:lnTo>
                  <a:lnTo>
                    <a:pt x="336" y="184"/>
                  </a:lnTo>
                  <a:lnTo>
                    <a:pt x="347" y="193"/>
                  </a:lnTo>
                  <a:lnTo>
                    <a:pt x="347" y="193"/>
                  </a:lnTo>
                  <a:lnTo>
                    <a:pt x="350" y="194"/>
                  </a:lnTo>
                  <a:lnTo>
                    <a:pt x="353" y="194"/>
                  </a:lnTo>
                  <a:lnTo>
                    <a:pt x="360" y="194"/>
                  </a:lnTo>
                  <a:lnTo>
                    <a:pt x="360" y="194"/>
                  </a:lnTo>
                  <a:lnTo>
                    <a:pt x="367" y="193"/>
                  </a:lnTo>
                  <a:lnTo>
                    <a:pt x="367" y="193"/>
                  </a:lnTo>
                  <a:lnTo>
                    <a:pt x="370" y="191"/>
                  </a:lnTo>
                  <a:lnTo>
                    <a:pt x="373" y="190"/>
                  </a:lnTo>
                  <a:lnTo>
                    <a:pt x="376" y="184"/>
                  </a:lnTo>
                  <a:lnTo>
                    <a:pt x="376" y="184"/>
                  </a:lnTo>
                  <a:lnTo>
                    <a:pt x="381" y="178"/>
                  </a:lnTo>
                  <a:lnTo>
                    <a:pt x="388" y="170"/>
                  </a:lnTo>
                  <a:lnTo>
                    <a:pt x="388" y="170"/>
                  </a:lnTo>
                  <a:lnTo>
                    <a:pt x="394" y="163"/>
                  </a:lnTo>
                  <a:lnTo>
                    <a:pt x="397" y="160"/>
                  </a:lnTo>
                  <a:lnTo>
                    <a:pt x="402" y="158"/>
                  </a:lnTo>
                  <a:lnTo>
                    <a:pt x="402" y="158"/>
                  </a:lnTo>
                  <a:lnTo>
                    <a:pt x="405" y="160"/>
                  </a:lnTo>
                  <a:lnTo>
                    <a:pt x="405" y="163"/>
                  </a:lnTo>
                  <a:lnTo>
                    <a:pt x="405" y="167"/>
                  </a:lnTo>
                  <a:lnTo>
                    <a:pt x="409" y="170"/>
                  </a:lnTo>
                  <a:lnTo>
                    <a:pt x="409" y="170"/>
                  </a:lnTo>
                  <a:lnTo>
                    <a:pt x="415" y="173"/>
                  </a:lnTo>
                  <a:lnTo>
                    <a:pt x="421" y="175"/>
                  </a:lnTo>
                  <a:lnTo>
                    <a:pt x="425" y="176"/>
                  </a:lnTo>
                  <a:lnTo>
                    <a:pt x="430" y="179"/>
                  </a:lnTo>
                  <a:lnTo>
                    <a:pt x="430" y="179"/>
                  </a:lnTo>
                  <a:lnTo>
                    <a:pt x="434" y="184"/>
                  </a:lnTo>
                  <a:lnTo>
                    <a:pt x="437" y="187"/>
                  </a:lnTo>
                  <a:lnTo>
                    <a:pt x="442" y="187"/>
                  </a:lnTo>
                  <a:lnTo>
                    <a:pt x="447" y="185"/>
                  </a:lnTo>
                  <a:lnTo>
                    <a:pt x="447" y="185"/>
                  </a:lnTo>
                  <a:lnTo>
                    <a:pt x="461" y="178"/>
                  </a:lnTo>
                  <a:lnTo>
                    <a:pt x="473" y="176"/>
                  </a:lnTo>
                  <a:lnTo>
                    <a:pt x="473" y="176"/>
                  </a:lnTo>
                  <a:lnTo>
                    <a:pt x="476" y="173"/>
                  </a:lnTo>
                  <a:lnTo>
                    <a:pt x="479" y="170"/>
                  </a:lnTo>
                  <a:lnTo>
                    <a:pt x="480" y="166"/>
                  </a:lnTo>
                  <a:lnTo>
                    <a:pt x="477" y="160"/>
                  </a:lnTo>
                  <a:lnTo>
                    <a:pt x="477" y="160"/>
                  </a:lnTo>
                  <a:lnTo>
                    <a:pt x="471" y="151"/>
                  </a:lnTo>
                  <a:lnTo>
                    <a:pt x="462" y="14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2" y="116"/>
                  </a:lnTo>
                  <a:lnTo>
                    <a:pt x="440" y="110"/>
                  </a:lnTo>
                  <a:lnTo>
                    <a:pt x="437" y="101"/>
                  </a:lnTo>
                  <a:lnTo>
                    <a:pt x="437" y="101"/>
                  </a:lnTo>
                  <a:lnTo>
                    <a:pt x="436" y="101"/>
                  </a:lnTo>
                  <a:lnTo>
                    <a:pt x="436" y="101"/>
                  </a:lnTo>
                  <a:lnTo>
                    <a:pt x="427" y="92"/>
                  </a:lnTo>
                  <a:lnTo>
                    <a:pt x="422" y="87"/>
                  </a:lnTo>
                  <a:lnTo>
                    <a:pt x="416" y="83"/>
                  </a:lnTo>
                  <a:lnTo>
                    <a:pt x="416" y="83"/>
                  </a:lnTo>
                  <a:lnTo>
                    <a:pt x="410" y="81"/>
                  </a:lnTo>
                  <a:lnTo>
                    <a:pt x="405" y="80"/>
                  </a:lnTo>
                  <a:lnTo>
                    <a:pt x="399" y="79"/>
                  </a:lnTo>
                  <a:lnTo>
                    <a:pt x="394" y="76"/>
                  </a:lnTo>
                  <a:lnTo>
                    <a:pt x="394" y="76"/>
                  </a:lnTo>
                  <a:lnTo>
                    <a:pt x="393" y="71"/>
                  </a:lnTo>
                  <a:lnTo>
                    <a:pt x="393" y="67"/>
                  </a:lnTo>
                  <a:lnTo>
                    <a:pt x="394" y="62"/>
                  </a:lnTo>
                  <a:lnTo>
                    <a:pt x="394" y="56"/>
                  </a:lnTo>
                  <a:lnTo>
                    <a:pt x="394" y="56"/>
                  </a:lnTo>
                  <a:lnTo>
                    <a:pt x="388" y="50"/>
                  </a:lnTo>
                  <a:lnTo>
                    <a:pt x="381" y="46"/>
                  </a:lnTo>
                  <a:lnTo>
                    <a:pt x="372" y="41"/>
                  </a:lnTo>
                  <a:lnTo>
                    <a:pt x="367" y="41"/>
                  </a:lnTo>
                  <a:lnTo>
                    <a:pt x="365" y="41"/>
                  </a:lnTo>
                  <a:lnTo>
                    <a:pt x="365" y="41"/>
                  </a:lnTo>
                  <a:lnTo>
                    <a:pt x="357" y="44"/>
                  </a:lnTo>
                  <a:lnTo>
                    <a:pt x="351" y="47"/>
                  </a:lnTo>
                  <a:lnTo>
                    <a:pt x="345" y="49"/>
                  </a:lnTo>
                  <a:lnTo>
                    <a:pt x="338" y="49"/>
                  </a:lnTo>
                  <a:lnTo>
                    <a:pt x="338" y="49"/>
                  </a:lnTo>
                  <a:lnTo>
                    <a:pt x="330" y="47"/>
                  </a:lnTo>
                  <a:lnTo>
                    <a:pt x="323" y="47"/>
                  </a:lnTo>
                  <a:lnTo>
                    <a:pt x="316" y="49"/>
                  </a:lnTo>
                  <a:lnTo>
                    <a:pt x="308" y="47"/>
                  </a:lnTo>
                  <a:lnTo>
                    <a:pt x="308" y="47"/>
                  </a:lnTo>
                  <a:lnTo>
                    <a:pt x="298" y="43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5" y="37"/>
                  </a:lnTo>
                  <a:lnTo>
                    <a:pt x="283" y="36"/>
                  </a:lnTo>
                  <a:lnTo>
                    <a:pt x="282" y="31"/>
                  </a:lnTo>
                  <a:lnTo>
                    <a:pt x="283" y="28"/>
                  </a:lnTo>
                  <a:lnTo>
                    <a:pt x="286" y="21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6" y="13"/>
                  </a:lnTo>
                  <a:lnTo>
                    <a:pt x="283" y="12"/>
                  </a:lnTo>
                  <a:lnTo>
                    <a:pt x="273" y="10"/>
                  </a:lnTo>
                  <a:lnTo>
                    <a:pt x="273" y="10"/>
                  </a:lnTo>
                  <a:lnTo>
                    <a:pt x="268" y="6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5" y="3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3" y="13"/>
                  </a:lnTo>
                  <a:lnTo>
                    <a:pt x="239" y="16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1" y="21"/>
                  </a:lnTo>
                  <a:lnTo>
                    <a:pt x="224" y="28"/>
                  </a:lnTo>
                  <a:lnTo>
                    <a:pt x="213" y="44"/>
                  </a:lnTo>
                  <a:lnTo>
                    <a:pt x="213" y="44"/>
                  </a:lnTo>
                  <a:lnTo>
                    <a:pt x="212" y="47"/>
                  </a:lnTo>
                  <a:lnTo>
                    <a:pt x="211" y="46"/>
                  </a:lnTo>
                  <a:lnTo>
                    <a:pt x="209" y="43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2" y="40"/>
                  </a:lnTo>
                  <a:lnTo>
                    <a:pt x="199" y="40"/>
                  </a:lnTo>
                  <a:lnTo>
                    <a:pt x="191" y="44"/>
                  </a:lnTo>
                  <a:lnTo>
                    <a:pt x="181" y="56"/>
                  </a:lnTo>
                  <a:lnTo>
                    <a:pt x="181" y="56"/>
                  </a:lnTo>
                  <a:lnTo>
                    <a:pt x="176" y="59"/>
                  </a:lnTo>
                  <a:lnTo>
                    <a:pt x="172" y="61"/>
                  </a:lnTo>
                  <a:lnTo>
                    <a:pt x="166" y="59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6" y="55"/>
                  </a:lnTo>
                  <a:lnTo>
                    <a:pt x="142" y="80"/>
                  </a:lnTo>
                  <a:lnTo>
                    <a:pt x="142" y="80"/>
                  </a:lnTo>
                  <a:lnTo>
                    <a:pt x="136" y="77"/>
                  </a:lnTo>
                  <a:lnTo>
                    <a:pt x="131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2" y="77"/>
                  </a:lnTo>
                  <a:lnTo>
                    <a:pt x="119" y="80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08" y="89"/>
                  </a:lnTo>
                  <a:lnTo>
                    <a:pt x="102" y="89"/>
                  </a:lnTo>
                  <a:lnTo>
                    <a:pt x="97" y="89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2" y="86"/>
                  </a:lnTo>
                  <a:lnTo>
                    <a:pt x="73" y="86"/>
                  </a:lnTo>
                  <a:lnTo>
                    <a:pt x="65" y="87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7" y="93"/>
                  </a:lnTo>
                  <a:lnTo>
                    <a:pt x="52" y="96"/>
                  </a:lnTo>
                  <a:lnTo>
                    <a:pt x="46" y="98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22" y="101"/>
                  </a:lnTo>
                  <a:lnTo>
                    <a:pt x="17" y="101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9" y="110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0" y="135"/>
                  </a:lnTo>
                  <a:lnTo>
                    <a:pt x="0" y="144"/>
                  </a:lnTo>
                  <a:lnTo>
                    <a:pt x="3" y="153"/>
                  </a:lnTo>
                  <a:lnTo>
                    <a:pt x="5" y="156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9" y="160"/>
                  </a:lnTo>
                  <a:lnTo>
                    <a:pt x="11" y="161"/>
                  </a:lnTo>
                  <a:lnTo>
                    <a:pt x="11" y="164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21" y="185"/>
                  </a:lnTo>
                  <a:lnTo>
                    <a:pt x="30" y="191"/>
                  </a:lnTo>
                  <a:lnTo>
                    <a:pt x="36" y="196"/>
                  </a:lnTo>
                  <a:lnTo>
                    <a:pt x="40" y="197"/>
                  </a:lnTo>
                  <a:lnTo>
                    <a:pt x="40" y="197"/>
                  </a:lnTo>
                  <a:lnTo>
                    <a:pt x="45" y="201"/>
                  </a:lnTo>
                  <a:lnTo>
                    <a:pt x="49" y="209"/>
                  </a:lnTo>
                  <a:lnTo>
                    <a:pt x="52" y="21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8" y="237"/>
                  </a:lnTo>
                  <a:lnTo>
                    <a:pt x="58" y="250"/>
                  </a:lnTo>
                  <a:lnTo>
                    <a:pt x="58" y="250"/>
                  </a:lnTo>
                  <a:lnTo>
                    <a:pt x="59" y="261"/>
                  </a:lnTo>
                  <a:lnTo>
                    <a:pt x="61" y="270"/>
                  </a:lnTo>
                  <a:lnTo>
                    <a:pt x="64" y="275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70" y="283"/>
                  </a:lnTo>
                  <a:lnTo>
                    <a:pt x="70" y="286"/>
                  </a:lnTo>
                  <a:lnTo>
                    <a:pt x="68" y="289"/>
                  </a:lnTo>
                  <a:lnTo>
                    <a:pt x="67" y="292"/>
                  </a:lnTo>
                  <a:lnTo>
                    <a:pt x="67" y="292"/>
                  </a:lnTo>
                  <a:lnTo>
                    <a:pt x="67" y="292"/>
                  </a:lnTo>
                  <a:lnTo>
                    <a:pt x="67" y="295"/>
                  </a:lnTo>
                  <a:lnTo>
                    <a:pt x="71" y="298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88" y="311"/>
                  </a:lnTo>
                  <a:lnTo>
                    <a:pt x="92" y="314"/>
                  </a:lnTo>
                  <a:lnTo>
                    <a:pt x="97" y="314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104" y="307"/>
                  </a:lnTo>
                  <a:lnTo>
                    <a:pt x="108" y="304"/>
                  </a:lnTo>
                  <a:lnTo>
                    <a:pt x="113" y="301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26" y="299"/>
                  </a:lnTo>
                  <a:lnTo>
                    <a:pt x="134" y="296"/>
                  </a:lnTo>
                  <a:lnTo>
                    <a:pt x="139" y="292"/>
                  </a:lnTo>
                  <a:lnTo>
                    <a:pt x="144" y="289"/>
                  </a:lnTo>
                  <a:lnTo>
                    <a:pt x="144" y="289"/>
                  </a:lnTo>
                  <a:lnTo>
                    <a:pt x="147" y="287"/>
                  </a:lnTo>
                  <a:lnTo>
                    <a:pt x="154" y="287"/>
                  </a:lnTo>
                  <a:lnTo>
                    <a:pt x="165" y="287"/>
                  </a:lnTo>
                  <a:lnTo>
                    <a:pt x="165" y="287"/>
                  </a:lnTo>
                  <a:lnTo>
                    <a:pt x="157" y="290"/>
                  </a:lnTo>
                  <a:lnTo>
                    <a:pt x="151" y="295"/>
                  </a:lnTo>
                  <a:lnTo>
                    <a:pt x="150" y="296"/>
                  </a:lnTo>
                  <a:lnTo>
                    <a:pt x="148" y="299"/>
                  </a:lnTo>
                  <a:lnTo>
                    <a:pt x="148" y="299"/>
                  </a:lnTo>
                  <a:lnTo>
                    <a:pt x="148" y="304"/>
                  </a:lnTo>
                  <a:lnTo>
                    <a:pt x="151" y="308"/>
                  </a:lnTo>
                  <a:lnTo>
                    <a:pt x="156" y="313"/>
                  </a:lnTo>
                  <a:lnTo>
                    <a:pt x="160" y="314"/>
                  </a:lnTo>
                  <a:lnTo>
                    <a:pt x="160" y="314"/>
                  </a:lnTo>
                  <a:lnTo>
                    <a:pt x="163" y="315"/>
                  </a:lnTo>
                  <a:lnTo>
                    <a:pt x="168" y="315"/>
                  </a:lnTo>
                  <a:lnTo>
                    <a:pt x="175" y="314"/>
                  </a:lnTo>
                  <a:lnTo>
                    <a:pt x="175" y="314"/>
                  </a:lnTo>
                  <a:lnTo>
                    <a:pt x="185" y="310"/>
                  </a:lnTo>
                  <a:lnTo>
                    <a:pt x="185" y="310"/>
                  </a:lnTo>
                  <a:lnTo>
                    <a:pt x="194" y="308"/>
                  </a:lnTo>
                  <a:lnTo>
                    <a:pt x="205" y="307"/>
                  </a:lnTo>
                  <a:lnTo>
                    <a:pt x="213" y="305"/>
                  </a:lnTo>
                  <a:lnTo>
                    <a:pt x="216" y="304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296"/>
                  </a:lnTo>
                  <a:lnTo>
                    <a:pt x="218" y="286"/>
                  </a:lnTo>
                  <a:lnTo>
                    <a:pt x="218" y="286"/>
                  </a:lnTo>
                  <a:lnTo>
                    <a:pt x="216" y="278"/>
                  </a:lnTo>
                  <a:lnTo>
                    <a:pt x="216" y="271"/>
                  </a:lnTo>
                  <a:lnTo>
                    <a:pt x="218" y="264"/>
                  </a:lnTo>
                  <a:lnTo>
                    <a:pt x="221" y="261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8" y="258"/>
                  </a:lnTo>
                  <a:lnTo>
                    <a:pt x="231" y="258"/>
                  </a:lnTo>
                  <a:lnTo>
                    <a:pt x="236" y="258"/>
                  </a:lnTo>
                  <a:lnTo>
                    <a:pt x="240" y="256"/>
                  </a:lnTo>
                  <a:lnTo>
                    <a:pt x="240" y="256"/>
                  </a:lnTo>
                  <a:lnTo>
                    <a:pt x="246" y="255"/>
                  </a:lnTo>
                  <a:lnTo>
                    <a:pt x="251" y="252"/>
                  </a:lnTo>
                  <a:lnTo>
                    <a:pt x="255" y="247"/>
                  </a:lnTo>
                  <a:lnTo>
                    <a:pt x="255" y="247"/>
                  </a:lnTo>
                  <a:lnTo>
                    <a:pt x="261" y="246"/>
                  </a:lnTo>
                  <a:lnTo>
                    <a:pt x="265" y="247"/>
                  </a:lnTo>
                  <a:lnTo>
                    <a:pt x="265" y="24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1" name="Freeform 60">
              <a:extLst>
                <a:ext uri="{FF2B5EF4-FFF2-40B4-BE49-F238E27FC236}">
                  <a16:creationId xmlns:a16="http://schemas.microsoft.com/office/drawing/2014/main" id="{A5264BFF-7C85-DE42-8D45-91B6ED077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1838" y="2816225"/>
              <a:ext cx="641350" cy="895350"/>
            </a:xfrm>
            <a:custGeom>
              <a:avLst/>
              <a:gdLst>
                <a:gd name="T0" fmla="*/ 40 w 404"/>
                <a:gd name="T1" fmla="*/ 262 h 564"/>
                <a:gd name="T2" fmla="*/ 72 w 404"/>
                <a:gd name="T3" fmla="*/ 284 h 564"/>
                <a:gd name="T4" fmla="*/ 86 w 404"/>
                <a:gd name="T5" fmla="*/ 290 h 564"/>
                <a:gd name="T6" fmla="*/ 114 w 404"/>
                <a:gd name="T7" fmla="*/ 254 h 564"/>
                <a:gd name="T8" fmla="*/ 124 w 404"/>
                <a:gd name="T9" fmla="*/ 257 h 564"/>
                <a:gd name="T10" fmla="*/ 117 w 404"/>
                <a:gd name="T11" fmla="*/ 296 h 564"/>
                <a:gd name="T12" fmla="*/ 127 w 404"/>
                <a:gd name="T13" fmla="*/ 306 h 564"/>
                <a:gd name="T14" fmla="*/ 121 w 404"/>
                <a:gd name="T15" fmla="*/ 340 h 564"/>
                <a:gd name="T16" fmla="*/ 136 w 404"/>
                <a:gd name="T17" fmla="*/ 379 h 564"/>
                <a:gd name="T18" fmla="*/ 131 w 404"/>
                <a:gd name="T19" fmla="*/ 395 h 564"/>
                <a:gd name="T20" fmla="*/ 151 w 404"/>
                <a:gd name="T21" fmla="*/ 444 h 564"/>
                <a:gd name="T22" fmla="*/ 161 w 404"/>
                <a:gd name="T23" fmla="*/ 483 h 564"/>
                <a:gd name="T24" fmla="*/ 204 w 404"/>
                <a:gd name="T25" fmla="*/ 537 h 564"/>
                <a:gd name="T26" fmla="*/ 247 w 404"/>
                <a:gd name="T27" fmla="*/ 558 h 564"/>
                <a:gd name="T28" fmla="*/ 300 w 404"/>
                <a:gd name="T29" fmla="*/ 564 h 564"/>
                <a:gd name="T30" fmla="*/ 330 w 404"/>
                <a:gd name="T31" fmla="*/ 558 h 564"/>
                <a:gd name="T32" fmla="*/ 354 w 404"/>
                <a:gd name="T33" fmla="*/ 539 h 564"/>
                <a:gd name="T34" fmla="*/ 359 w 404"/>
                <a:gd name="T35" fmla="*/ 528 h 564"/>
                <a:gd name="T36" fmla="*/ 380 w 404"/>
                <a:gd name="T37" fmla="*/ 512 h 564"/>
                <a:gd name="T38" fmla="*/ 383 w 404"/>
                <a:gd name="T39" fmla="*/ 499 h 564"/>
                <a:gd name="T40" fmla="*/ 386 w 404"/>
                <a:gd name="T41" fmla="*/ 483 h 564"/>
                <a:gd name="T42" fmla="*/ 392 w 404"/>
                <a:gd name="T43" fmla="*/ 460 h 564"/>
                <a:gd name="T44" fmla="*/ 399 w 404"/>
                <a:gd name="T45" fmla="*/ 438 h 564"/>
                <a:gd name="T46" fmla="*/ 395 w 404"/>
                <a:gd name="T47" fmla="*/ 423 h 564"/>
                <a:gd name="T48" fmla="*/ 389 w 404"/>
                <a:gd name="T49" fmla="*/ 380 h 564"/>
                <a:gd name="T50" fmla="*/ 401 w 404"/>
                <a:gd name="T51" fmla="*/ 306 h 564"/>
                <a:gd name="T52" fmla="*/ 401 w 404"/>
                <a:gd name="T53" fmla="*/ 223 h 564"/>
                <a:gd name="T54" fmla="*/ 388 w 404"/>
                <a:gd name="T55" fmla="*/ 197 h 564"/>
                <a:gd name="T56" fmla="*/ 376 w 404"/>
                <a:gd name="T57" fmla="*/ 174 h 564"/>
                <a:gd name="T58" fmla="*/ 357 w 404"/>
                <a:gd name="T59" fmla="*/ 166 h 564"/>
                <a:gd name="T60" fmla="*/ 346 w 404"/>
                <a:gd name="T61" fmla="*/ 161 h 564"/>
                <a:gd name="T62" fmla="*/ 351 w 404"/>
                <a:gd name="T63" fmla="*/ 157 h 564"/>
                <a:gd name="T64" fmla="*/ 365 w 404"/>
                <a:gd name="T65" fmla="*/ 117 h 564"/>
                <a:gd name="T66" fmla="*/ 370 w 404"/>
                <a:gd name="T67" fmla="*/ 92 h 564"/>
                <a:gd name="T68" fmla="*/ 379 w 404"/>
                <a:gd name="T69" fmla="*/ 100 h 564"/>
                <a:gd name="T70" fmla="*/ 382 w 404"/>
                <a:gd name="T71" fmla="*/ 121 h 564"/>
                <a:gd name="T72" fmla="*/ 394 w 404"/>
                <a:gd name="T73" fmla="*/ 120 h 564"/>
                <a:gd name="T74" fmla="*/ 401 w 404"/>
                <a:gd name="T75" fmla="*/ 102 h 564"/>
                <a:gd name="T76" fmla="*/ 389 w 404"/>
                <a:gd name="T77" fmla="*/ 74 h 564"/>
                <a:gd name="T78" fmla="*/ 367 w 404"/>
                <a:gd name="T79" fmla="*/ 71 h 564"/>
                <a:gd name="T80" fmla="*/ 362 w 404"/>
                <a:gd name="T81" fmla="*/ 56 h 564"/>
                <a:gd name="T82" fmla="*/ 361 w 404"/>
                <a:gd name="T83" fmla="*/ 32 h 564"/>
                <a:gd name="T84" fmla="*/ 330 w 404"/>
                <a:gd name="T85" fmla="*/ 17 h 564"/>
                <a:gd name="T86" fmla="*/ 257 w 404"/>
                <a:gd name="T87" fmla="*/ 1 h 564"/>
                <a:gd name="T88" fmla="*/ 185 w 404"/>
                <a:gd name="T89" fmla="*/ 3 h 564"/>
                <a:gd name="T90" fmla="*/ 145 w 404"/>
                <a:gd name="T91" fmla="*/ 35 h 564"/>
                <a:gd name="T92" fmla="*/ 146 w 404"/>
                <a:gd name="T93" fmla="*/ 74 h 564"/>
                <a:gd name="T94" fmla="*/ 127 w 404"/>
                <a:gd name="T95" fmla="*/ 103 h 564"/>
                <a:gd name="T96" fmla="*/ 44 w 404"/>
                <a:gd name="T97" fmla="*/ 102 h 564"/>
                <a:gd name="T98" fmla="*/ 0 w 404"/>
                <a:gd name="T99" fmla="*/ 139 h 564"/>
                <a:gd name="T100" fmla="*/ 23 w 404"/>
                <a:gd name="T101" fmla="*/ 183 h 564"/>
                <a:gd name="T102" fmla="*/ 38 w 404"/>
                <a:gd name="T103" fmla="*/ 217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564">
                  <a:moveTo>
                    <a:pt x="35" y="238"/>
                  </a:moveTo>
                  <a:lnTo>
                    <a:pt x="35" y="238"/>
                  </a:lnTo>
                  <a:lnTo>
                    <a:pt x="35" y="247"/>
                  </a:lnTo>
                  <a:lnTo>
                    <a:pt x="37" y="254"/>
                  </a:lnTo>
                  <a:lnTo>
                    <a:pt x="40" y="262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62" y="277"/>
                  </a:lnTo>
                  <a:lnTo>
                    <a:pt x="68" y="281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4" y="286"/>
                  </a:lnTo>
                  <a:lnTo>
                    <a:pt x="77" y="287"/>
                  </a:lnTo>
                  <a:lnTo>
                    <a:pt x="86" y="290"/>
                  </a:lnTo>
                  <a:lnTo>
                    <a:pt x="86" y="290"/>
                  </a:lnTo>
                  <a:lnTo>
                    <a:pt x="89" y="284"/>
                  </a:lnTo>
                  <a:lnTo>
                    <a:pt x="91" y="278"/>
                  </a:lnTo>
                  <a:lnTo>
                    <a:pt x="97" y="271"/>
                  </a:lnTo>
                  <a:lnTo>
                    <a:pt x="97" y="271"/>
                  </a:lnTo>
                  <a:lnTo>
                    <a:pt x="114" y="254"/>
                  </a:lnTo>
                  <a:lnTo>
                    <a:pt x="130" y="241"/>
                  </a:lnTo>
                  <a:lnTo>
                    <a:pt x="130" y="241"/>
                  </a:lnTo>
                  <a:lnTo>
                    <a:pt x="128" y="251"/>
                  </a:lnTo>
                  <a:lnTo>
                    <a:pt x="124" y="257"/>
                  </a:lnTo>
                  <a:lnTo>
                    <a:pt x="124" y="257"/>
                  </a:lnTo>
                  <a:lnTo>
                    <a:pt x="120" y="277"/>
                  </a:lnTo>
                  <a:lnTo>
                    <a:pt x="120" y="277"/>
                  </a:lnTo>
                  <a:lnTo>
                    <a:pt x="117" y="287"/>
                  </a:lnTo>
                  <a:lnTo>
                    <a:pt x="117" y="291"/>
                  </a:lnTo>
                  <a:lnTo>
                    <a:pt x="117" y="296"/>
                  </a:lnTo>
                  <a:lnTo>
                    <a:pt x="117" y="296"/>
                  </a:lnTo>
                  <a:lnTo>
                    <a:pt x="121" y="300"/>
                  </a:lnTo>
                  <a:lnTo>
                    <a:pt x="126" y="305"/>
                  </a:lnTo>
                  <a:lnTo>
                    <a:pt x="126" y="305"/>
                  </a:lnTo>
                  <a:lnTo>
                    <a:pt x="127" y="306"/>
                  </a:lnTo>
                  <a:lnTo>
                    <a:pt x="128" y="309"/>
                  </a:lnTo>
                  <a:lnTo>
                    <a:pt x="127" y="321"/>
                  </a:lnTo>
                  <a:lnTo>
                    <a:pt x="127" y="321"/>
                  </a:lnTo>
                  <a:lnTo>
                    <a:pt x="126" y="330"/>
                  </a:lnTo>
                  <a:lnTo>
                    <a:pt x="121" y="340"/>
                  </a:lnTo>
                  <a:lnTo>
                    <a:pt x="131" y="358"/>
                  </a:lnTo>
                  <a:lnTo>
                    <a:pt x="131" y="358"/>
                  </a:lnTo>
                  <a:lnTo>
                    <a:pt x="134" y="365"/>
                  </a:lnTo>
                  <a:lnTo>
                    <a:pt x="134" y="371"/>
                  </a:lnTo>
                  <a:lnTo>
                    <a:pt x="136" y="379"/>
                  </a:lnTo>
                  <a:lnTo>
                    <a:pt x="136" y="379"/>
                  </a:lnTo>
                  <a:lnTo>
                    <a:pt x="137" y="382"/>
                  </a:lnTo>
                  <a:lnTo>
                    <a:pt x="139" y="385"/>
                  </a:lnTo>
                  <a:lnTo>
                    <a:pt x="136" y="389"/>
                  </a:lnTo>
                  <a:lnTo>
                    <a:pt x="131" y="395"/>
                  </a:lnTo>
                  <a:lnTo>
                    <a:pt x="131" y="395"/>
                  </a:lnTo>
                  <a:lnTo>
                    <a:pt x="142" y="416"/>
                  </a:lnTo>
                  <a:lnTo>
                    <a:pt x="148" y="432"/>
                  </a:lnTo>
                  <a:lnTo>
                    <a:pt x="151" y="444"/>
                  </a:lnTo>
                  <a:lnTo>
                    <a:pt x="151" y="444"/>
                  </a:lnTo>
                  <a:lnTo>
                    <a:pt x="152" y="451"/>
                  </a:lnTo>
                  <a:lnTo>
                    <a:pt x="155" y="460"/>
                  </a:lnTo>
                  <a:lnTo>
                    <a:pt x="158" y="472"/>
                  </a:lnTo>
                  <a:lnTo>
                    <a:pt x="161" y="483"/>
                  </a:lnTo>
                  <a:lnTo>
                    <a:pt x="161" y="483"/>
                  </a:lnTo>
                  <a:lnTo>
                    <a:pt x="161" y="487"/>
                  </a:lnTo>
                  <a:lnTo>
                    <a:pt x="164" y="493"/>
                  </a:lnTo>
                  <a:lnTo>
                    <a:pt x="173" y="508"/>
                  </a:lnTo>
                  <a:lnTo>
                    <a:pt x="186" y="522"/>
                  </a:lnTo>
                  <a:lnTo>
                    <a:pt x="204" y="537"/>
                  </a:lnTo>
                  <a:lnTo>
                    <a:pt x="204" y="537"/>
                  </a:lnTo>
                  <a:lnTo>
                    <a:pt x="214" y="545"/>
                  </a:lnTo>
                  <a:lnTo>
                    <a:pt x="226" y="551"/>
                  </a:lnTo>
                  <a:lnTo>
                    <a:pt x="237" y="555"/>
                  </a:lnTo>
                  <a:lnTo>
                    <a:pt x="247" y="558"/>
                  </a:lnTo>
                  <a:lnTo>
                    <a:pt x="262" y="561"/>
                  </a:lnTo>
                  <a:lnTo>
                    <a:pt x="268" y="561"/>
                  </a:lnTo>
                  <a:lnTo>
                    <a:pt x="268" y="561"/>
                  </a:lnTo>
                  <a:lnTo>
                    <a:pt x="277" y="562"/>
                  </a:lnTo>
                  <a:lnTo>
                    <a:pt x="300" y="564"/>
                  </a:lnTo>
                  <a:lnTo>
                    <a:pt x="300" y="564"/>
                  </a:lnTo>
                  <a:lnTo>
                    <a:pt x="312" y="562"/>
                  </a:lnTo>
                  <a:lnTo>
                    <a:pt x="320" y="562"/>
                  </a:lnTo>
                  <a:lnTo>
                    <a:pt x="324" y="561"/>
                  </a:lnTo>
                  <a:lnTo>
                    <a:pt x="330" y="558"/>
                  </a:lnTo>
                  <a:lnTo>
                    <a:pt x="330" y="558"/>
                  </a:lnTo>
                  <a:lnTo>
                    <a:pt x="337" y="554"/>
                  </a:lnTo>
                  <a:lnTo>
                    <a:pt x="345" y="548"/>
                  </a:lnTo>
                  <a:lnTo>
                    <a:pt x="351" y="542"/>
                  </a:lnTo>
                  <a:lnTo>
                    <a:pt x="354" y="539"/>
                  </a:lnTo>
                  <a:lnTo>
                    <a:pt x="354" y="536"/>
                  </a:lnTo>
                  <a:lnTo>
                    <a:pt x="354" y="536"/>
                  </a:lnTo>
                  <a:lnTo>
                    <a:pt x="357" y="533"/>
                  </a:lnTo>
                  <a:lnTo>
                    <a:pt x="359" y="528"/>
                  </a:lnTo>
                  <a:lnTo>
                    <a:pt x="359" y="528"/>
                  </a:lnTo>
                  <a:lnTo>
                    <a:pt x="362" y="525"/>
                  </a:lnTo>
                  <a:lnTo>
                    <a:pt x="367" y="522"/>
                  </a:lnTo>
                  <a:lnTo>
                    <a:pt x="367" y="522"/>
                  </a:lnTo>
                  <a:lnTo>
                    <a:pt x="373" y="518"/>
                  </a:lnTo>
                  <a:lnTo>
                    <a:pt x="380" y="512"/>
                  </a:lnTo>
                  <a:lnTo>
                    <a:pt x="380" y="512"/>
                  </a:lnTo>
                  <a:lnTo>
                    <a:pt x="383" y="508"/>
                  </a:lnTo>
                  <a:lnTo>
                    <a:pt x="385" y="503"/>
                  </a:lnTo>
                  <a:lnTo>
                    <a:pt x="383" y="499"/>
                  </a:lnTo>
                  <a:lnTo>
                    <a:pt x="383" y="499"/>
                  </a:lnTo>
                  <a:lnTo>
                    <a:pt x="385" y="497"/>
                  </a:lnTo>
                  <a:lnTo>
                    <a:pt x="386" y="494"/>
                  </a:lnTo>
                  <a:lnTo>
                    <a:pt x="386" y="490"/>
                  </a:lnTo>
                  <a:lnTo>
                    <a:pt x="386" y="490"/>
                  </a:lnTo>
                  <a:lnTo>
                    <a:pt x="386" y="483"/>
                  </a:lnTo>
                  <a:lnTo>
                    <a:pt x="388" y="475"/>
                  </a:lnTo>
                  <a:lnTo>
                    <a:pt x="388" y="475"/>
                  </a:lnTo>
                  <a:lnTo>
                    <a:pt x="389" y="469"/>
                  </a:lnTo>
                  <a:lnTo>
                    <a:pt x="389" y="465"/>
                  </a:lnTo>
                  <a:lnTo>
                    <a:pt x="392" y="460"/>
                  </a:lnTo>
                  <a:lnTo>
                    <a:pt x="392" y="460"/>
                  </a:lnTo>
                  <a:lnTo>
                    <a:pt x="398" y="450"/>
                  </a:lnTo>
                  <a:lnTo>
                    <a:pt x="399" y="444"/>
                  </a:lnTo>
                  <a:lnTo>
                    <a:pt x="399" y="441"/>
                  </a:lnTo>
                  <a:lnTo>
                    <a:pt x="399" y="438"/>
                  </a:lnTo>
                  <a:lnTo>
                    <a:pt x="399" y="438"/>
                  </a:lnTo>
                  <a:lnTo>
                    <a:pt x="398" y="434"/>
                  </a:lnTo>
                  <a:lnTo>
                    <a:pt x="398" y="431"/>
                  </a:lnTo>
                  <a:lnTo>
                    <a:pt x="398" y="428"/>
                  </a:lnTo>
                  <a:lnTo>
                    <a:pt x="395" y="423"/>
                  </a:lnTo>
                  <a:lnTo>
                    <a:pt x="395" y="423"/>
                  </a:lnTo>
                  <a:lnTo>
                    <a:pt x="391" y="417"/>
                  </a:lnTo>
                  <a:lnTo>
                    <a:pt x="389" y="410"/>
                  </a:lnTo>
                  <a:lnTo>
                    <a:pt x="388" y="398"/>
                  </a:lnTo>
                  <a:lnTo>
                    <a:pt x="389" y="380"/>
                  </a:lnTo>
                  <a:lnTo>
                    <a:pt x="389" y="380"/>
                  </a:lnTo>
                  <a:lnTo>
                    <a:pt x="395" y="348"/>
                  </a:lnTo>
                  <a:lnTo>
                    <a:pt x="398" y="331"/>
                  </a:lnTo>
                  <a:lnTo>
                    <a:pt x="401" y="306"/>
                  </a:lnTo>
                  <a:lnTo>
                    <a:pt x="401" y="306"/>
                  </a:lnTo>
                  <a:lnTo>
                    <a:pt x="404" y="277"/>
                  </a:lnTo>
                  <a:lnTo>
                    <a:pt x="402" y="260"/>
                  </a:lnTo>
                  <a:lnTo>
                    <a:pt x="402" y="260"/>
                  </a:lnTo>
                  <a:lnTo>
                    <a:pt x="402" y="243"/>
                  </a:lnTo>
                  <a:lnTo>
                    <a:pt x="401" y="223"/>
                  </a:lnTo>
                  <a:lnTo>
                    <a:pt x="398" y="209"/>
                  </a:lnTo>
                  <a:lnTo>
                    <a:pt x="397" y="203"/>
                  </a:lnTo>
                  <a:lnTo>
                    <a:pt x="394" y="201"/>
                  </a:lnTo>
                  <a:lnTo>
                    <a:pt x="394" y="201"/>
                  </a:lnTo>
                  <a:lnTo>
                    <a:pt x="388" y="197"/>
                  </a:lnTo>
                  <a:lnTo>
                    <a:pt x="379" y="189"/>
                  </a:lnTo>
                  <a:lnTo>
                    <a:pt x="379" y="189"/>
                  </a:lnTo>
                  <a:lnTo>
                    <a:pt x="376" y="185"/>
                  </a:lnTo>
                  <a:lnTo>
                    <a:pt x="374" y="182"/>
                  </a:lnTo>
                  <a:lnTo>
                    <a:pt x="376" y="174"/>
                  </a:lnTo>
                  <a:lnTo>
                    <a:pt x="376" y="174"/>
                  </a:lnTo>
                  <a:lnTo>
                    <a:pt x="374" y="170"/>
                  </a:lnTo>
                  <a:lnTo>
                    <a:pt x="371" y="167"/>
                  </a:lnTo>
                  <a:lnTo>
                    <a:pt x="365" y="167"/>
                  </a:lnTo>
                  <a:lnTo>
                    <a:pt x="357" y="166"/>
                  </a:lnTo>
                  <a:lnTo>
                    <a:pt x="357" y="166"/>
                  </a:lnTo>
                  <a:lnTo>
                    <a:pt x="348" y="166"/>
                  </a:lnTo>
                  <a:lnTo>
                    <a:pt x="345" y="164"/>
                  </a:lnTo>
                  <a:lnTo>
                    <a:pt x="345" y="163"/>
                  </a:lnTo>
                  <a:lnTo>
                    <a:pt x="346" y="161"/>
                  </a:lnTo>
                  <a:lnTo>
                    <a:pt x="348" y="160"/>
                  </a:lnTo>
                  <a:lnTo>
                    <a:pt x="348" y="160"/>
                  </a:lnTo>
                  <a:lnTo>
                    <a:pt x="349" y="158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61" y="131"/>
                  </a:lnTo>
                  <a:lnTo>
                    <a:pt x="361" y="131"/>
                  </a:lnTo>
                  <a:lnTo>
                    <a:pt x="364" y="126"/>
                  </a:lnTo>
                  <a:lnTo>
                    <a:pt x="365" y="117"/>
                  </a:lnTo>
                  <a:lnTo>
                    <a:pt x="365" y="117"/>
                  </a:lnTo>
                  <a:lnTo>
                    <a:pt x="367" y="106"/>
                  </a:lnTo>
                  <a:lnTo>
                    <a:pt x="368" y="97"/>
                  </a:lnTo>
                  <a:lnTo>
                    <a:pt x="368" y="97"/>
                  </a:lnTo>
                  <a:lnTo>
                    <a:pt x="368" y="93"/>
                  </a:lnTo>
                  <a:lnTo>
                    <a:pt x="370" y="92"/>
                  </a:lnTo>
                  <a:lnTo>
                    <a:pt x="373" y="92"/>
                  </a:lnTo>
                  <a:lnTo>
                    <a:pt x="373" y="92"/>
                  </a:lnTo>
                  <a:lnTo>
                    <a:pt x="374" y="93"/>
                  </a:lnTo>
                  <a:lnTo>
                    <a:pt x="376" y="96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114"/>
                  </a:lnTo>
                  <a:lnTo>
                    <a:pt x="379" y="114"/>
                  </a:lnTo>
                  <a:lnTo>
                    <a:pt x="380" y="118"/>
                  </a:lnTo>
                  <a:lnTo>
                    <a:pt x="382" y="121"/>
                  </a:lnTo>
                  <a:lnTo>
                    <a:pt x="386" y="124"/>
                  </a:lnTo>
                  <a:lnTo>
                    <a:pt x="386" y="124"/>
                  </a:lnTo>
                  <a:lnTo>
                    <a:pt x="389" y="124"/>
                  </a:lnTo>
                  <a:lnTo>
                    <a:pt x="392" y="123"/>
                  </a:lnTo>
                  <a:lnTo>
                    <a:pt x="394" y="120"/>
                  </a:lnTo>
                  <a:lnTo>
                    <a:pt x="395" y="117"/>
                  </a:lnTo>
                  <a:lnTo>
                    <a:pt x="395" y="117"/>
                  </a:lnTo>
                  <a:lnTo>
                    <a:pt x="398" y="108"/>
                  </a:lnTo>
                  <a:lnTo>
                    <a:pt x="401" y="102"/>
                  </a:lnTo>
                  <a:lnTo>
                    <a:pt x="401" y="102"/>
                  </a:lnTo>
                  <a:lnTo>
                    <a:pt x="401" y="96"/>
                  </a:lnTo>
                  <a:lnTo>
                    <a:pt x="401" y="89"/>
                  </a:lnTo>
                  <a:lnTo>
                    <a:pt x="397" y="81"/>
                  </a:lnTo>
                  <a:lnTo>
                    <a:pt x="394" y="77"/>
                  </a:lnTo>
                  <a:lnTo>
                    <a:pt x="389" y="74"/>
                  </a:lnTo>
                  <a:lnTo>
                    <a:pt x="389" y="74"/>
                  </a:lnTo>
                  <a:lnTo>
                    <a:pt x="382" y="71"/>
                  </a:lnTo>
                  <a:lnTo>
                    <a:pt x="376" y="69"/>
                  </a:lnTo>
                  <a:lnTo>
                    <a:pt x="370" y="71"/>
                  </a:lnTo>
                  <a:lnTo>
                    <a:pt x="367" y="71"/>
                  </a:lnTo>
                  <a:lnTo>
                    <a:pt x="367" y="71"/>
                  </a:lnTo>
                  <a:lnTo>
                    <a:pt x="364" y="69"/>
                  </a:lnTo>
                  <a:lnTo>
                    <a:pt x="364" y="66"/>
                  </a:lnTo>
                  <a:lnTo>
                    <a:pt x="364" y="62"/>
                  </a:lnTo>
                  <a:lnTo>
                    <a:pt x="362" y="56"/>
                  </a:lnTo>
                  <a:lnTo>
                    <a:pt x="362" y="56"/>
                  </a:lnTo>
                  <a:lnTo>
                    <a:pt x="361" y="50"/>
                  </a:lnTo>
                  <a:lnTo>
                    <a:pt x="361" y="44"/>
                  </a:lnTo>
                  <a:lnTo>
                    <a:pt x="361" y="32"/>
                  </a:lnTo>
                  <a:lnTo>
                    <a:pt x="361" y="32"/>
                  </a:lnTo>
                  <a:lnTo>
                    <a:pt x="361" y="31"/>
                  </a:lnTo>
                  <a:lnTo>
                    <a:pt x="361" y="31"/>
                  </a:lnTo>
                  <a:lnTo>
                    <a:pt x="348" y="25"/>
                  </a:lnTo>
                  <a:lnTo>
                    <a:pt x="330" y="17"/>
                  </a:lnTo>
                  <a:lnTo>
                    <a:pt x="330" y="17"/>
                  </a:lnTo>
                  <a:lnTo>
                    <a:pt x="306" y="10"/>
                  </a:lnTo>
                  <a:lnTo>
                    <a:pt x="290" y="6"/>
                  </a:lnTo>
                  <a:lnTo>
                    <a:pt x="277" y="4"/>
                  </a:lnTo>
                  <a:lnTo>
                    <a:pt x="277" y="4"/>
                  </a:lnTo>
                  <a:lnTo>
                    <a:pt x="257" y="1"/>
                  </a:lnTo>
                  <a:lnTo>
                    <a:pt x="231" y="0"/>
                  </a:lnTo>
                  <a:lnTo>
                    <a:pt x="204" y="0"/>
                  </a:lnTo>
                  <a:lnTo>
                    <a:pt x="194" y="0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79" y="6"/>
                  </a:lnTo>
                  <a:lnTo>
                    <a:pt x="171" y="9"/>
                  </a:lnTo>
                  <a:lnTo>
                    <a:pt x="160" y="19"/>
                  </a:lnTo>
                  <a:lnTo>
                    <a:pt x="149" y="28"/>
                  </a:lnTo>
                  <a:lnTo>
                    <a:pt x="145" y="35"/>
                  </a:lnTo>
                  <a:lnTo>
                    <a:pt x="145" y="35"/>
                  </a:lnTo>
                  <a:lnTo>
                    <a:pt x="145" y="41"/>
                  </a:lnTo>
                  <a:lnTo>
                    <a:pt x="145" y="52"/>
                  </a:lnTo>
                  <a:lnTo>
                    <a:pt x="146" y="63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2" y="84"/>
                  </a:lnTo>
                  <a:lnTo>
                    <a:pt x="136" y="94"/>
                  </a:lnTo>
                  <a:lnTo>
                    <a:pt x="133" y="99"/>
                  </a:lnTo>
                  <a:lnTo>
                    <a:pt x="127" y="103"/>
                  </a:lnTo>
                  <a:lnTo>
                    <a:pt x="123" y="105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69" y="103"/>
                  </a:lnTo>
                  <a:lnTo>
                    <a:pt x="44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5" y="106"/>
                  </a:lnTo>
                  <a:lnTo>
                    <a:pt x="17" y="11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10" y="161"/>
                  </a:lnTo>
                  <a:lnTo>
                    <a:pt x="17" y="174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9" y="191"/>
                  </a:lnTo>
                  <a:lnTo>
                    <a:pt x="34" y="200"/>
                  </a:lnTo>
                  <a:lnTo>
                    <a:pt x="37" y="209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8" y="226"/>
                  </a:lnTo>
                  <a:lnTo>
                    <a:pt x="35" y="238"/>
                  </a:lnTo>
                  <a:lnTo>
                    <a:pt x="35" y="23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2" name="Freeform 61">
              <a:extLst>
                <a:ext uri="{FF2B5EF4-FFF2-40B4-BE49-F238E27FC236}">
                  <a16:creationId xmlns:a16="http://schemas.microsoft.com/office/drawing/2014/main" id="{A9C5629C-9EAE-BD42-989B-6D87241AAD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5" y="4406900"/>
              <a:ext cx="387350" cy="479425"/>
            </a:xfrm>
            <a:custGeom>
              <a:avLst/>
              <a:gdLst>
                <a:gd name="T0" fmla="*/ 3 w 244"/>
                <a:gd name="T1" fmla="*/ 63 h 302"/>
                <a:gd name="T2" fmla="*/ 13 w 244"/>
                <a:gd name="T3" fmla="*/ 58 h 302"/>
                <a:gd name="T4" fmla="*/ 37 w 244"/>
                <a:gd name="T5" fmla="*/ 46 h 302"/>
                <a:gd name="T6" fmla="*/ 48 w 244"/>
                <a:gd name="T7" fmla="*/ 30 h 302"/>
                <a:gd name="T8" fmla="*/ 62 w 244"/>
                <a:gd name="T9" fmla="*/ 15 h 302"/>
                <a:gd name="T10" fmla="*/ 90 w 244"/>
                <a:gd name="T11" fmla="*/ 12 h 302"/>
                <a:gd name="T12" fmla="*/ 119 w 244"/>
                <a:gd name="T13" fmla="*/ 0 h 302"/>
                <a:gd name="T14" fmla="*/ 117 w 244"/>
                <a:gd name="T15" fmla="*/ 6 h 302"/>
                <a:gd name="T16" fmla="*/ 113 w 244"/>
                <a:gd name="T17" fmla="*/ 17 h 302"/>
                <a:gd name="T18" fmla="*/ 145 w 244"/>
                <a:gd name="T19" fmla="*/ 43 h 302"/>
                <a:gd name="T20" fmla="*/ 165 w 244"/>
                <a:gd name="T21" fmla="*/ 55 h 302"/>
                <a:gd name="T22" fmla="*/ 172 w 244"/>
                <a:gd name="T23" fmla="*/ 73 h 302"/>
                <a:gd name="T24" fmla="*/ 185 w 244"/>
                <a:gd name="T25" fmla="*/ 71 h 302"/>
                <a:gd name="T26" fmla="*/ 202 w 244"/>
                <a:gd name="T27" fmla="*/ 67 h 302"/>
                <a:gd name="T28" fmla="*/ 213 w 244"/>
                <a:gd name="T29" fmla="*/ 77 h 302"/>
                <a:gd name="T30" fmla="*/ 225 w 244"/>
                <a:gd name="T31" fmla="*/ 74 h 302"/>
                <a:gd name="T32" fmla="*/ 237 w 244"/>
                <a:gd name="T33" fmla="*/ 74 h 302"/>
                <a:gd name="T34" fmla="*/ 240 w 244"/>
                <a:gd name="T35" fmla="*/ 92 h 302"/>
                <a:gd name="T36" fmla="*/ 234 w 244"/>
                <a:gd name="T37" fmla="*/ 103 h 302"/>
                <a:gd name="T38" fmla="*/ 243 w 244"/>
                <a:gd name="T39" fmla="*/ 116 h 302"/>
                <a:gd name="T40" fmla="*/ 242 w 244"/>
                <a:gd name="T41" fmla="*/ 123 h 302"/>
                <a:gd name="T42" fmla="*/ 219 w 244"/>
                <a:gd name="T43" fmla="*/ 129 h 302"/>
                <a:gd name="T44" fmla="*/ 216 w 244"/>
                <a:gd name="T45" fmla="*/ 138 h 302"/>
                <a:gd name="T46" fmla="*/ 204 w 244"/>
                <a:gd name="T47" fmla="*/ 151 h 302"/>
                <a:gd name="T48" fmla="*/ 196 w 244"/>
                <a:gd name="T49" fmla="*/ 160 h 302"/>
                <a:gd name="T50" fmla="*/ 190 w 244"/>
                <a:gd name="T51" fmla="*/ 178 h 302"/>
                <a:gd name="T52" fmla="*/ 182 w 244"/>
                <a:gd name="T53" fmla="*/ 188 h 302"/>
                <a:gd name="T54" fmla="*/ 194 w 244"/>
                <a:gd name="T55" fmla="*/ 197 h 302"/>
                <a:gd name="T56" fmla="*/ 196 w 244"/>
                <a:gd name="T57" fmla="*/ 209 h 302"/>
                <a:gd name="T58" fmla="*/ 185 w 244"/>
                <a:gd name="T59" fmla="*/ 220 h 302"/>
                <a:gd name="T60" fmla="*/ 188 w 244"/>
                <a:gd name="T61" fmla="*/ 227 h 302"/>
                <a:gd name="T62" fmla="*/ 200 w 244"/>
                <a:gd name="T63" fmla="*/ 245 h 302"/>
                <a:gd name="T64" fmla="*/ 216 w 244"/>
                <a:gd name="T65" fmla="*/ 251 h 302"/>
                <a:gd name="T66" fmla="*/ 212 w 244"/>
                <a:gd name="T67" fmla="*/ 268 h 302"/>
                <a:gd name="T68" fmla="*/ 200 w 244"/>
                <a:gd name="T69" fmla="*/ 295 h 302"/>
                <a:gd name="T70" fmla="*/ 191 w 244"/>
                <a:gd name="T71" fmla="*/ 298 h 302"/>
                <a:gd name="T72" fmla="*/ 169 w 244"/>
                <a:gd name="T73" fmla="*/ 300 h 302"/>
                <a:gd name="T74" fmla="*/ 147 w 244"/>
                <a:gd name="T75" fmla="*/ 301 h 302"/>
                <a:gd name="T76" fmla="*/ 114 w 244"/>
                <a:gd name="T77" fmla="*/ 300 h 302"/>
                <a:gd name="T78" fmla="*/ 88 w 244"/>
                <a:gd name="T79" fmla="*/ 302 h 302"/>
                <a:gd name="T80" fmla="*/ 62 w 244"/>
                <a:gd name="T81" fmla="*/ 289 h 302"/>
                <a:gd name="T82" fmla="*/ 53 w 244"/>
                <a:gd name="T83" fmla="*/ 300 h 302"/>
                <a:gd name="T84" fmla="*/ 45 w 244"/>
                <a:gd name="T85" fmla="*/ 302 h 302"/>
                <a:gd name="T86" fmla="*/ 34 w 244"/>
                <a:gd name="T87" fmla="*/ 294 h 302"/>
                <a:gd name="T88" fmla="*/ 36 w 244"/>
                <a:gd name="T89" fmla="*/ 271 h 302"/>
                <a:gd name="T90" fmla="*/ 48 w 244"/>
                <a:gd name="T91" fmla="*/ 255 h 302"/>
                <a:gd name="T92" fmla="*/ 48 w 244"/>
                <a:gd name="T93" fmla="*/ 231 h 302"/>
                <a:gd name="T94" fmla="*/ 34 w 244"/>
                <a:gd name="T95" fmla="*/ 212 h 302"/>
                <a:gd name="T96" fmla="*/ 34 w 244"/>
                <a:gd name="T97" fmla="*/ 197 h 302"/>
                <a:gd name="T98" fmla="*/ 48 w 244"/>
                <a:gd name="T99" fmla="*/ 165 h 302"/>
                <a:gd name="T100" fmla="*/ 49 w 244"/>
                <a:gd name="T101" fmla="*/ 138 h 302"/>
                <a:gd name="T102" fmla="*/ 39 w 244"/>
                <a:gd name="T103" fmla="*/ 123 h 302"/>
                <a:gd name="T104" fmla="*/ 25 w 244"/>
                <a:gd name="T105" fmla="*/ 113 h 302"/>
                <a:gd name="T106" fmla="*/ 12 w 244"/>
                <a:gd name="T107" fmla="*/ 108 h 302"/>
                <a:gd name="T108" fmla="*/ 13 w 244"/>
                <a:gd name="T109" fmla="*/ 91 h 302"/>
                <a:gd name="T110" fmla="*/ 6 w 244"/>
                <a:gd name="T111" fmla="*/ 77 h 302"/>
                <a:gd name="T112" fmla="*/ 2 w 244"/>
                <a:gd name="T113" fmla="*/ 6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02">
                  <a:moveTo>
                    <a:pt x="2" y="68"/>
                  </a:moveTo>
                  <a:lnTo>
                    <a:pt x="2" y="68"/>
                  </a:lnTo>
                  <a:lnTo>
                    <a:pt x="2" y="67"/>
                  </a:lnTo>
                  <a:lnTo>
                    <a:pt x="3" y="63"/>
                  </a:lnTo>
                  <a:lnTo>
                    <a:pt x="6" y="60"/>
                  </a:lnTo>
                  <a:lnTo>
                    <a:pt x="9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22" y="57"/>
                  </a:lnTo>
                  <a:lnTo>
                    <a:pt x="28" y="54"/>
                  </a:lnTo>
                  <a:lnTo>
                    <a:pt x="33" y="51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3" y="37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8" y="15"/>
                  </a:lnTo>
                  <a:lnTo>
                    <a:pt x="62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85" y="14"/>
                  </a:lnTo>
                  <a:lnTo>
                    <a:pt x="90" y="12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14" y="2"/>
                  </a:lnTo>
                  <a:lnTo>
                    <a:pt x="119" y="0"/>
                  </a:lnTo>
                  <a:lnTo>
                    <a:pt x="120" y="2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7" y="6"/>
                  </a:lnTo>
                  <a:lnTo>
                    <a:pt x="114" y="11"/>
                  </a:lnTo>
                  <a:lnTo>
                    <a:pt x="113" y="12"/>
                  </a:lnTo>
                  <a:lnTo>
                    <a:pt x="111" y="14"/>
                  </a:lnTo>
                  <a:lnTo>
                    <a:pt x="113" y="17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29" y="31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51" y="48"/>
                  </a:lnTo>
                  <a:lnTo>
                    <a:pt x="159" y="51"/>
                  </a:lnTo>
                  <a:lnTo>
                    <a:pt x="165" y="55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70" y="70"/>
                  </a:lnTo>
                  <a:lnTo>
                    <a:pt x="172" y="73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82" y="73"/>
                  </a:lnTo>
                  <a:lnTo>
                    <a:pt x="185" y="71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9" y="66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10" y="76"/>
                  </a:lnTo>
                  <a:lnTo>
                    <a:pt x="213" y="77"/>
                  </a:lnTo>
                  <a:lnTo>
                    <a:pt x="216" y="79"/>
                  </a:lnTo>
                  <a:lnTo>
                    <a:pt x="216" y="79"/>
                  </a:lnTo>
                  <a:lnTo>
                    <a:pt x="219" y="77"/>
                  </a:lnTo>
                  <a:lnTo>
                    <a:pt x="225" y="74"/>
                  </a:lnTo>
                  <a:lnTo>
                    <a:pt x="230" y="73"/>
                  </a:lnTo>
                  <a:lnTo>
                    <a:pt x="234" y="73"/>
                  </a:lnTo>
                  <a:lnTo>
                    <a:pt x="234" y="73"/>
                  </a:lnTo>
                  <a:lnTo>
                    <a:pt x="237" y="74"/>
                  </a:lnTo>
                  <a:lnTo>
                    <a:pt x="240" y="80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37" y="97"/>
                  </a:lnTo>
                  <a:lnTo>
                    <a:pt x="234" y="100"/>
                  </a:lnTo>
                  <a:lnTo>
                    <a:pt x="234" y="103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40" y="110"/>
                  </a:lnTo>
                  <a:lnTo>
                    <a:pt x="243" y="116"/>
                  </a:lnTo>
                  <a:lnTo>
                    <a:pt x="244" y="119"/>
                  </a:lnTo>
                  <a:lnTo>
                    <a:pt x="243" y="122"/>
                  </a:lnTo>
                  <a:lnTo>
                    <a:pt x="242" y="123"/>
                  </a:lnTo>
                  <a:lnTo>
                    <a:pt x="242" y="123"/>
                  </a:lnTo>
                  <a:lnTo>
                    <a:pt x="236" y="125"/>
                  </a:lnTo>
                  <a:lnTo>
                    <a:pt x="228" y="126"/>
                  </a:lnTo>
                  <a:lnTo>
                    <a:pt x="222" y="128"/>
                  </a:lnTo>
                  <a:lnTo>
                    <a:pt x="219" y="129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6" y="134"/>
                  </a:lnTo>
                  <a:lnTo>
                    <a:pt x="216" y="138"/>
                  </a:lnTo>
                  <a:lnTo>
                    <a:pt x="215" y="144"/>
                  </a:lnTo>
                  <a:lnTo>
                    <a:pt x="210" y="148"/>
                  </a:lnTo>
                  <a:lnTo>
                    <a:pt x="210" y="148"/>
                  </a:lnTo>
                  <a:lnTo>
                    <a:pt x="204" y="151"/>
                  </a:lnTo>
                  <a:lnTo>
                    <a:pt x="200" y="153"/>
                  </a:lnTo>
                  <a:lnTo>
                    <a:pt x="197" y="15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4" y="172"/>
                  </a:lnTo>
                  <a:lnTo>
                    <a:pt x="193" y="175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85" y="181"/>
                  </a:lnTo>
                  <a:lnTo>
                    <a:pt x="182" y="184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4" y="190"/>
                  </a:lnTo>
                  <a:lnTo>
                    <a:pt x="184" y="190"/>
                  </a:lnTo>
                  <a:lnTo>
                    <a:pt x="188" y="193"/>
                  </a:lnTo>
                  <a:lnTo>
                    <a:pt x="194" y="197"/>
                  </a:lnTo>
                  <a:lnTo>
                    <a:pt x="197" y="199"/>
                  </a:lnTo>
                  <a:lnTo>
                    <a:pt x="197" y="202"/>
                  </a:lnTo>
                  <a:lnTo>
                    <a:pt x="197" y="205"/>
                  </a:lnTo>
                  <a:lnTo>
                    <a:pt x="196" y="209"/>
                  </a:lnTo>
                  <a:lnTo>
                    <a:pt x="196" y="209"/>
                  </a:lnTo>
                  <a:lnTo>
                    <a:pt x="191" y="214"/>
                  </a:lnTo>
                  <a:lnTo>
                    <a:pt x="187" y="218"/>
                  </a:lnTo>
                  <a:lnTo>
                    <a:pt x="185" y="220"/>
                  </a:lnTo>
                  <a:lnTo>
                    <a:pt x="184" y="221"/>
                  </a:lnTo>
                  <a:lnTo>
                    <a:pt x="185" y="224"/>
                  </a:lnTo>
                  <a:lnTo>
                    <a:pt x="188" y="227"/>
                  </a:lnTo>
                  <a:lnTo>
                    <a:pt x="188" y="227"/>
                  </a:lnTo>
                  <a:lnTo>
                    <a:pt x="194" y="233"/>
                  </a:lnTo>
                  <a:lnTo>
                    <a:pt x="197" y="237"/>
                  </a:lnTo>
                  <a:lnTo>
                    <a:pt x="200" y="245"/>
                  </a:lnTo>
                  <a:lnTo>
                    <a:pt x="200" y="245"/>
                  </a:lnTo>
                  <a:lnTo>
                    <a:pt x="203" y="246"/>
                  </a:lnTo>
                  <a:lnTo>
                    <a:pt x="209" y="249"/>
                  </a:lnTo>
                  <a:lnTo>
                    <a:pt x="216" y="251"/>
                  </a:lnTo>
                  <a:lnTo>
                    <a:pt x="216" y="251"/>
                  </a:lnTo>
                  <a:lnTo>
                    <a:pt x="218" y="254"/>
                  </a:lnTo>
                  <a:lnTo>
                    <a:pt x="218" y="257"/>
                  </a:lnTo>
                  <a:lnTo>
                    <a:pt x="216" y="262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07" y="276"/>
                  </a:lnTo>
                  <a:lnTo>
                    <a:pt x="204" y="286"/>
                  </a:lnTo>
                  <a:lnTo>
                    <a:pt x="200" y="295"/>
                  </a:lnTo>
                  <a:lnTo>
                    <a:pt x="197" y="297"/>
                  </a:lnTo>
                  <a:lnTo>
                    <a:pt x="194" y="298"/>
                  </a:lnTo>
                  <a:lnTo>
                    <a:pt x="194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81" y="301"/>
                  </a:lnTo>
                  <a:lnTo>
                    <a:pt x="175" y="301"/>
                  </a:lnTo>
                  <a:lnTo>
                    <a:pt x="169" y="300"/>
                  </a:lnTo>
                  <a:lnTo>
                    <a:pt x="169" y="300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7" y="301"/>
                  </a:lnTo>
                  <a:lnTo>
                    <a:pt x="147" y="301"/>
                  </a:lnTo>
                  <a:lnTo>
                    <a:pt x="132" y="301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02" y="301"/>
                  </a:lnTo>
                  <a:lnTo>
                    <a:pt x="95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0" y="300"/>
                  </a:lnTo>
                  <a:lnTo>
                    <a:pt x="73" y="294"/>
                  </a:lnTo>
                  <a:lnTo>
                    <a:pt x="65" y="291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9" y="289"/>
                  </a:lnTo>
                  <a:lnTo>
                    <a:pt x="56" y="294"/>
                  </a:lnTo>
                  <a:lnTo>
                    <a:pt x="53" y="300"/>
                  </a:lnTo>
                  <a:lnTo>
                    <a:pt x="49" y="302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0" y="301"/>
                  </a:lnTo>
                  <a:lnTo>
                    <a:pt x="37" y="301"/>
                  </a:lnTo>
                  <a:lnTo>
                    <a:pt x="34" y="300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33" y="280"/>
                  </a:lnTo>
                  <a:lnTo>
                    <a:pt x="33" y="276"/>
                  </a:lnTo>
                  <a:lnTo>
                    <a:pt x="36" y="271"/>
                  </a:lnTo>
                  <a:lnTo>
                    <a:pt x="36" y="271"/>
                  </a:lnTo>
                  <a:lnTo>
                    <a:pt x="45" y="267"/>
                  </a:lnTo>
                  <a:lnTo>
                    <a:pt x="48" y="264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9" y="240"/>
                  </a:lnTo>
                  <a:lnTo>
                    <a:pt x="49" y="237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43" y="225"/>
                  </a:lnTo>
                  <a:lnTo>
                    <a:pt x="37" y="217"/>
                  </a:lnTo>
                  <a:lnTo>
                    <a:pt x="34" y="212"/>
                  </a:lnTo>
                  <a:lnTo>
                    <a:pt x="33" y="208"/>
                  </a:lnTo>
                  <a:lnTo>
                    <a:pt x="33" y="203"/>
                  </a:lnTo>
                  <a:lnTo>
                    <a:pt x="34" y="197"/>
                  </a:lnTo>
                  <a:lnTo>
                    <a:pt x="34" y="197"/>
                  </a:lnTo>
                  <a:lnTo>
                    <a:pt x="39" y="188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8" y="165"/>
                  </a:lnTo>
                  <a:lnTo>
                    <a:pt x="49" y="154"/>
                  </a:lnTo>
                  <a:lnTo>
                    <a:pt x="50" y="145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2"/>
                  </a:lnTo>
                  <a:lnTo>
                    <a:pt x="48" y="129"/>
                  </a:lnTo>
                  <a:lnTo>
                    <a:pt x="45" y="126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0" y="117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1" y="111"/>
                  </a:lnTo>
                  <a:lnTo>
                    <a:pt x="16" y="111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3" y="98"/>
                  </a:lnTo>
                  <a:lnTo>
                    <a:pt x="13" y="91"/>
                  </a:lnTo>
                  <a:lnTo>
                    <a:pt x="13" y="85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6" y="77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3" name="Freeform 62">
              <a:extLst>
                <a:ext uri="{FF2B5EF4-FFF2-40B4-BE49-F238E27FC236}">
                  <a16:creationId xmlns:a16="http://schemas.microsoft.com/office/drawing/2014/main" id="{2FD5B9A1-0ED7-3D46-9A49-A48B65720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4013" y="3678238"/>
              <a:ext cx="1241425" cy="1635125"/>
            </a:xfrm>
            <a:custGeom>
              <a:avLst/>
              <a:gdLst>
                <a:gd name="T0" fmla="*/ 543 w 782"/>
                <a:gd name="T1" fmla="*/ 45 h 1030"/>
                <a:gd name="T2" fmla="*/ 536 w 782"/>
                <a:gd name="T3" fmla="*/ 3 h 1030"/>
                <a:gd name="T4" fmla="*/ 493 w 782"/>
                <a:gd name="T5" fmla="*/ 0 h 1030"/>
                <a:gd name="T6" fmla="*/ 446 w 782"/>
                <a:gd name="T7" fmla="*/ 42 h 1030"/>
                <a:gd name="T8" fmla="*/ 380 w 782"/>
                <a:gd name="T9" fmla="*/ 71 h 1030"/>
                <a:gd name="T10" fmla="*/ 290 w 782"/>
                <a:gd name="T11" fmla="*/ 86 h 1030"/>
                <a:gd name="T12" fmla="*/ 232 w 782"/>
                <a:gd name="T13" fmla="*/ 52 h 1030"/>
                <a:gd name="T14" fmla="*/ 231 w 782"/>
                <a:gd name="T15" fmla="*/ 83 h 1030"/>
                <a:gd name="T16" fmla="*/ 212 w 782"/>
                <a:gd name="T17" fmla="*/ 136 h 1030"/>
                <a:gd name="T18" fmla="*/ 178 w 782"/>
                <a:gd name="T19" fmla="*/ 157 h 1030"/>
                <a:gd name="T20" fmla="*/ 111 w 782"/>
                <a:gd name="T21" fmla="*/ 208 h 1030"/>
                <a:gd name="T22" fmla="*/ 130 w 782"/>
                <a:gd name="T23" fmla="*/ 249 h 1030"/>
                <a:gd name="T24" fmla="*/ 132 w 782"/>
                <a:gd name="T25" fmla="*/ 292 h 1030"/>
                <a:gd name="T26" fmla="*/ 138 w 782"/>
                <a:gd name="T27" fmla="*/ 348 h 1030"/>
                <a:gd name="T28" fmla="*/ 185 w 782"/>
                <a:gd name="T29" fmla="*/ 382 h 1030"/>
                <a:gd name="T30" fmla="*/ 188 w 782"/>
                <a:gd name="T31" fmla="*/ 425 h 1030"/>
                <a:gd name="T32" fmla="*/ 160 w 782"/>
                <a:gd name="T33" fmla="*/ 462 h 1030"/>
                <a:gd name="T34" fmla="*/ 148 w 782"/>
                <a:gd name="T35" fmla="*/ 492 h 1030"/>
                <a:gd name="T36" fmla="*/ 96 w 782"/>
                <a:gd name="T37" fmla="*/ 489 h 1030"/>
                <a:gd name="T38" fmla="*/ 69 w 782"/>
                <a:gd name="T39" fmla="*/ 538 h 1030"/>
                <a:gd name="T40" fmla="*/ 56 w 782"/>
                <a:gd name="T41" fmla="*/ 572 h 1030"/>
                <a:gd name="T42" fmla="*/ 58 w 782"/>
                <a:gd name="T43" fmla="*/ 603 h 1030"/>
                <a:gd name="T44" fmla="*/ 21 w 782"/>
                <a:gd name="T45" fmla="*/ 633 h 1030"/>
                <a:gd name="T46" fmla="*/ 7 w 782"/>
                <a:gd name="T47" fmla="*/ 684 h 1030"/>
                <a:gd name="T48" fmla="*/ 49 w 782"/>
                <a:gd name="T49" fmla="*/ 776 h 1030"/>
                <a:gd name="T50" fmla="*/ 86 w 782"/>
                <a:gd name="T51" fmla="*/ 825 h 1030"/>
                <a:gd name="T52" fmla="*/ 130 w 782"/>
                <a:gd name="T53" fmla="*/ 855 h 1030"/>
                <a:gd name="T54" fmla="*/ 219 w 782"/>
                <a:gd name="T55" fmla="*/ 862 h 1030"/>
                <a:gd name="T56" fmla="*/ 255 w 782"/>
                <a:gd name="T57" fmla="*/ 920 h 1030"/>
                <a:gd name="T58" fmla="*/ 237 w 782"/>
                <a:gd name="T59" fmla="*/ 979 h 1030"/>
                <a:gd name="T60" fmla="*/ 298 w 782"/>
                <a:gd name="T61" fmla="*/ 972 h 1030"/>
                <a:gd name="T62" fmla="*/ 352 w 782"/>
                <a:gd name="T63" fmla="*/ 979 h 1030"/>
                <a:gd name="T64" fmla="*/ 391 w 782"/>
                <a:gd name="T65" fmla="*/ 1030 h 1030"/>
                <a:gd name="T66" fmla="*/ 429 w 782"/>
                <a:gd name="T67" fmla="*/ 987 h 1030"/>
                <a:gd name="T68" fmla="*/ 456 w 782"/>
                <a:gd name="T69" fmla="*/ 960 h 1030"/>
                <a:gd name="T70" fmla="*/ 449 w 782"/>
                <a:gd name="T71" fmla="*/ 921 h 1030"/>
                <a:gd name="T72" fmla="*/ 526 w 782"/>
                <a:gd name="T73" fmla="*/ 881 h 1030"/>
                <a:gd name="T74" fmla="*/ 566 w 782"/>
                <a:gd name="T75" fmla="*/ 844 h 1030"/>
                <a:gd name="T76" fmla="*/ 592 w 782"/>
                <a:gd name="T77" fmla="*/ 852 h 1030"/>
                <a:gd name="T78" fmla="*/ 598 w 782"/>
                <a:gd name="T79" fmla="*/ 898 h 1030"/>
                <a:gd name="T80" fmla="*/ 645 w 782"/>
                <a:gd name="T81" fmla="*/ 834 h 1030"/>
                <a:gd name="T82" fmla="*/ 671 w 782"/>
                <a:gd name="T83" fmla="*/ 781 h 1030"/>
                <a:gd name="T84" fmla="*/ 714 w 782"/>
                <a:gd name="T85" fmla="*/ 720 h 1030"/>
                <a:gd name="T86" fmla="*/ 669 w 782"/>
                <a:gd name="T87" fmla="*/ 729 h 1030"/>
                <a:gd name="T88" fmla="*/ 622 w 782"/>
                <a:gd name="T89" fmla="*/ 673 h 1030"/>
                <a:gd name="T90" fmla="*/ 606 w 782"/>
                <a:gd name="T91" fmla="*/ 560 h 1030"/>
                <a:gd name="T92" fmla="*/ 582 w 782"/>
                <a:gd name="T93" fmla="*/ 462 h 1030"/>
                <a:gd name="T94" fmla="*/ 617 w 782"/>
                <a:gd name="T95" fmla="*/ 376 h 1030"/>
                <a:gd name="T96" fmla="*/ 657 w 782"/>
                <a:gd name="T97" fmla="*/ 351 h 1030"/>
                <a:gd name="T98" fmla="*/ 674 w 782"/>
                <a:gd name="T99" fmla="*/ 310 h 1030"/>
                <a:gd name="T100" fmla="*/ 715 w 782"/>
                <a:gd name="T101" fmla="*/ 369 h 1030"/>
                <a:gd name="T102" fmla="*/ 739 w 782"/>
                <a:gd name="T103" fmla="*/ 359 h 1030"/>
                <a:gd name="T104" fmla="*/ 776 w 782"/>
                <a:gd name="T105" fmla="*/ 390 h 1030"/>
                <a:gd name="T106" fmla="*/ 764 w 782"/>
                <a:gd name="T107" fmla="*/ 259 h 1030"/>
                <a:gd name="T108" fmla="*/ 730 w 782"/>
                <a:gd name="T109" fmla="*/ 211 h 1030"/>
                <a:gd name="T110" fmla="*/ 709 w 782"/>
                <a:gd name="T111" fmla="*/ 208 h 1030"/>
                <a:gd name="T112" fmla="*/ 674 w 782"/>
                <a:gd name="T113" fmla="*/ 142 h 1030"/>
                <a:gd name="T114" fmla="*/ 628 w 782"/>
                <a:gd name="T115" fmla="*/ 116 h 1030"/>
                <a:gd name="T116" fmla="*/ 588 w 782"/>
                <a:gd name="T117" fmla="*/ 74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2" h="1030">
                  <a:moveTo>
                    <a:pt x="588" y="74"/>
                  </a:moveTo>
                  <a:lnTo>
                    <a:pt x="588" y="74"/>
                  </a:lnTo>
                  <a:lnTo>
                    <a:pt x="583" y="73"/>
                  </a:lnTo>
                  <a:lnTo>
                    <a:pt x="580" y="71"/>
                  </a:lnTo>
                  <a:lnTo>
                    <a:pt x="573" y="67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58" y="52"/>
                  </a:lnTo>
                  <a:lnTo>
                    <a:pt x="554" y="51"/>
                  </a:lnTo>
                  <a:lnTo>
                    <a:pt x="548" y="49"/>
                  </a:lnTo>
                  <a:lnTo>
                    <a:pt x="545" y="46"/>
                  </a:lnTo>
                  <a:lnTo>
                    <a:pt x="545" y="46"/>
                  </a:lnTo>
                  <a:lnTo>
                    <a:pt x="543" y="45"/>
                  </a:lnTo>
                  <a:lnTo>
                    <a:pt x="545" y="43"/>
                  </a:lnTo>
                  <a:lnTo>
                    <a:pt x="546" y="40"/>
                  </a:lnTo>
                  <a:lnTo>
                    <a:pt x="551" y="37"/>
                  </a:lnTo>
                  <a:lnTo>
                    <a:pt x="552" y="33"/>
                  </a:lnTo>
                  <a:lnTo>
                    <a:pt x="552" y="33"/>
                  </a:lnTo>
                  <a:lnTo>
                    <a:pt x="552" y="30"/>
                  </a:lnTo>
                  <a:lnTo>
                    <a:pt x="552" y="28"/>
                  </a:lnTo>
                  <a:lnTo>
                    <a:pt x="548" y="22"/>
                  </a:lnTo>
                  <a:lnTo>
                    <a:pt x="542" y="17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37" y="6"/>
                  </a:lnTo>
                  <a:lnTo>
                    <a:pt x="536" y="3"/>
                  </a:lnTo>
                  <a:lnTo>
                    <a:pt x="531" y="2"/>
                  </a:lnTo>
                  <a:lnTo>
                    <a:pt x="527" y="3"/>
                  </a:lnTo>
                  <a:lnTo>
                    <a:pt x="524" y="6"/>
                  </a:lnTo>
                  <a:lnTo>
                    <a:pt x="524" y="6"/>
                  </a:lnTo>
                  <a:lnTo>
                    <a:pt x="521" y="8"/>
                  </a:lnTo>
                  <a:lnTo>
                    <a:pt x="517" y="9"/>
                  </a:lnTo>
                  <a:lnTo>
                    <a:pt x="505" y="6"/>
                  </a:lnTo>
                  <a:lnTo>
                    <a:pt x="505" y="6"/>
                  </a:lnTo>
                  <a:lnTo>
                    <a:pt x="500" y="5"/>
                  </a:lnTo>
                  <a:lnTo>
                    <a:pt x="497" y="2"/>
                  </a:lnTo>
                  <a:lnTo>
                    <a:pt x="494" y="0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1" y="2"/>
                  </a:lnTo>
                  <a:lnTo>
                    <a:pt x="491" y="2"/>
                  </a:lnTo>
                  <a:lnTo>
                    <a:pt x="489" y="12"/>
                  </a:lnTo>
                  <a:lnTo>
                    <a:pt x="486" y="18"/>
                  </a:lnTo>
                  <a:lnTo>
                    <a:pt x="481" y="24"/>
                  </a:lnTo>
                  <a:lnTo>
                    <a:pt x="481" y="24"/>
                  </a:lnTo>
                  <a:lnTo>
                    <a:pt x="478" y="27"/>
                  </a:lnTo>
                  <a:lnTo>
                    <a:pt x="474" y="27"/>
                  </a:lnTo>
                  <a:lnTo>
                    <a:pt x="471" y="28"/>
                  </a:lnTo>
                  <a:lnTo>
                    <a:pt x="466" y="30"/>
                  </a:lnTo>
                  <a:lnTo>
                    <a:pt x="466" y="30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41" y="42"/>
                  </a:lnTo>
                  <a:lnTo>
                    <a:pt x="434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17" y="42"/>
                  </a:lnTo>
                  <a:lnTo>
                    <a:pt x="414" y="45"/>
                  </a:lnTo>
                  <a:lnTo>
                    <a:pt x="406" y="52"/>
                  </a:lnTo>
                  <a:lnTo>
                    <a:pt x="398" y="61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2" y="68"/>
                  </a:lnTo>
                  <a:lnTo>
                    <a:pt x="389" y="70"/>
                  </a:lnTo>
                  <a:lnTo>
                    <a:pt x="380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45" y="70"/>
                  </a:lnTo>
                  <a:lnTo>
                    <a:pt x="340" y="71"/>
                  </a:lnTo>
                  <a:lnTo>
                    <a:pt x="337" y="73"/>
                  </a:lnTo>
                  <a:lnTo>
                    <a:pt x="335" y="74"/>
                  </a:lnTo>
                  <a:lnTo>
                    <a:pt x="335" y="74"/>
                  </a:lnTo>
                  <a:lnTo>
                    <a:pt x="323" y="74"/>
                  </a:lnTo>
                  <a:lnTo>
                    <a:pt x="315" y="77"/>
                  </a:lnTo>
                  <a:lnTo>
                    <a:pt x="309" y="80"/>
                  </a:lnTo>
                  <a:lnTo>
                    <a:pt x="309" y="80"/>
                  </a:lnTo>
                  <a:lnTo>
                    <a:pt x="302" y="83"/>
                  </a:lnTo>
                  <a:lnTo>
                    <a:pt x="290" y="86"/>
                  </a:lnTo>
                  <a:lnTo>
                    <a:pt x="280" y="88"/>
                  </a:lnTo>
                  <a:lnTo>
                    <a:pt x="272" y="88"/>
                  </a:lnTo>
                  <a:lnTo>
                    <a:pt x="272" y="88"/>
                  </a:lnTo>
                  <a:lnTo>
                    <a:pt x="269" y="86"/>
                  </a:lnTo>
                  <a:lnTo>
                    <a:pt x="268" y="85"/>
                  </a:lnTo>
                  <a:lnTo>
                    <a:pt x="265" y="77"/>
                  </a:lnTo>
                  <a:lnTo>
                    <a:pt x="258" y="61"/>
                  </a:lnTo>
                  <a:lnTo>
                    <a:pt x="258" y="61"/>
                  </a:lnTo>
                  <a:lnTo>
                    <a:pt x="253" y="55"/>
                  </a:lnTo>
                  <a:lnTo>
                    <a:pt x="249" y="49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32" y="52"/>
                  </a:lnTo>
                  <a:lnTo>
                    <a:pt x="225" y="59"/>
                  </a:lnTo>
                  <a:lnTo>
                    <a:pt x="221" y="65"/>
                  </a:lnTo>
                  <a:lnTo>
                    <a:pt x="221" y="65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19" y="71"/>
                  </a:lnTo>
                  <a:lnTo>
                    <a:pt x="222" y="73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31" y="80"/>
                  </a:lnTo>
                  <a:lnTo>
                    <a:pt x="231" y="83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19" y="98"/>
                  </a:lnTo>
                  <a:lnTo>
                    <a:pt x="218" y="104"/>
                  </a:lnTo>
                  <a:lnTo>
                    <a:pt x="218" y="110"/>
                  </a:lnTo>
                  <a:lnTo>
                    <a:pt x="221" y="117"/>
                  </a:lnTo>
                  <a:lnTo>
                    <a:pt x="221" y="117"/>
                  </a:lnTo>
                  <a:lnTo>
                    <a:pt x="222" y="122"/>
                  </a:lnTo>
                  <a:lnTo>
                    <a:pt x="222" y="125"/>
                  </a:lnTo>
                  <a:lnTo>
                    <a:pt x="219" y="131"/>
                  </a:lnTo>
                  <a:lnTo>
                    <a:pt x="215" y="134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07" y="136"/>
                  </a:lnTo>
                  <a:lnTo>
                    <a:pt x="201" y="134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189" y="128"/>
                  </a:lnTo>
                  <a:lnTo>
                    <a:pt x="186" y="129"/>
                  </a:lnTo>
                  <a:lnTo>
                    <a:pt x="186" y="134"/>
                  </a:lnTo>
                  <a:lnTo>
                    <a:pt x="188" y="139"/>
                  </a:lnTo>
                  <a:lnTo>
                    <a:pt x="188" y="139"/>
                  </a:lnTo>
                  <a:lnTo>
                    <a:pt x="188" y="145"/>
                  </a:lnTo>
                  <a:lnTo>
                    <a:pt x="186" y="150"/>
                  </a:lnTo>
                  <a:lnTo>
                    <a:pt x="183" y="154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64" y="166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45" y="182"/>
                  </a:lnTo>
                  <a:lnTo>
                    <a:pt x="142" y="187"/>
                  </a:lnTo>
                  <a:lnTo>
                    <a:pt x="136" y="191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0" y="197"/>
                  </a:lnTo>
                  <a:lnTo>
                    <a:pt x="115" y="200"/>
                  </a:lnTo>
                  <a:lnTo>
                    <a:pt x="112" y="205"/>
                  </a:lnTo>
                  <a:lnTo>
                    <a:pt x="111" y="208"/>
                  </a:lnTo>
                  <a:lnTo>
                    <a:pt x="109" y="215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11" y="221"/>
                  </a:lnTo>
                  <a:lnTo>
                    <a:pt x="112" y="224"/>
                  </a:lnTo>
                  <a:lnTo>
                    <a:pt x="120" y="228"/>
                  </a:lnTo>
                  <a:lnTo>
                    <a:pt x="129" y="234"/>
                  </a:lnTo>
                  <a:lnTo>
                    <a:pt x="135" y="240"/>
                  </a:lnTo>
                  <a:lnTo>
                    <a:pt x="135" y="240"/>
                  </a:lnTo>
                  <a:lnTo>
                    <a:pt x="136" y="243"/>
                  </a:lnTo>
                  <a:lnTo>
                    <a:pt x="136" y="246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27" y="251"/>
                  </a:lnTo>
                  <a:lnTo>
                    <a:pt x="124" y="251"/>
                  </a:lnTo>
                  <a:lnTo>
                    <a:pt x="123" y="249"/>
                  </a:lnTo>
                  <a:lnTo>
                    <a:pt x="118" y="251"/>
                  </a:lnTo>
                  <a:lnTo>
                    <a:pt x="118" y="251"/>
                  </a:lnTo>
                  <a:lnTo>
                    <a:pt x="115" y="252"/>
                  </a:lnTo>
                  <a:lnTo>
                    <a:pt x="114" y="255"/>
                  </a:lnTo>
                  <a:lnTo>
                    <a:pt x="114" y="262"/>
                  </a:lnTo>
                  <a:lnTo>
                    <a:pt x="115" y="271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23" y="286"/>
                  </a:lnTo>
                  <a:lnTo>
                    <a:pt x="132" y="292"/>
                  </a:lnTo>
                  <a:lnTo>
                    <a:pt x="141" y="298"/>
                  </a:lnTo>
                  <a:lnTo>
                    <a:pt x="149" y="301"/>
                  </a:lnTo>
                  <a:lnTo>
                    <a:pt x="149" y="301"/>
                  </a:lnTo>
                  <a:lnTo>
                    <a:pt x="152" y="301"/>
                  </a:lnTo>
                  <a:lnTo>
                    <a:pt x="154" y="305"/>
                  </a:lnTo>
                  <a:lnTo>
                    <a:pt x="152" y="308"/>
                  </a:lnTo>
                  <a:lnTo>
                    <a:pt x="151" y="314"/>
                  </a:lnTo>
                  <a:lnTo>
                    <a:pt x="145" y="325"/>
                  </a:lnTo>
                  <a:lnTo>
                    <a:pt x="139" y="336"/>
                  </a:lnTo>
                  <a:lnTo>
                    <a:pt x="139" y="336"/>
                  </a:lnTo>
                  <a:lnTo>
                    <a:pt x="138" y="339"/>
                  </a:lnTo>
                  <a:lnTo>
                    <a:pt x="138" y="344"/>
                  </a:lnTo>
                  <a:lnTo>
                    <a:pt x="138" y="348"/>
                  </a:lnTo>
                  <a:lnTo>
                    <a:pt x="139" y="351"/>
                  </a:lnTo>
                  <a:lnTo>
                    <a:pt x="144" y="357"/>
                  </a:lnTo>
                  <a:lnTo>
                    <a:pt x="148" y="362"/>
                  </a:lnTo>
                  <a:lnTo>
                    <a:pt x="148" y="362"/>
                  </a:lnTo>
                  <a:lnTo>
                    <a:pt x="154" y="368"/>
                  </a:lnTo>
                  <a:lnTo>
                    <a:pt x="163" y="373"/>
                  </a:lnTo>
                  <a:lnTo>
                    <a:pt x="172" y="378"/>
                  </a:lnTo>
                  <a:lnTo>
                    <a:pt x="176" y="379"/>
                  </a:lnTo>
                  <a:lnTo>
                    <a:pt x="181" y="379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5" y="381"/>
                  </a:lnTo>
                  <a:lnTo>
                    <a:pt x="185" y="382"/>
                  </a:lnTo>
                  <a:lnTo>
                    <a:pt x="185" y="387"/>
                  </a:lnTo>
                  <a:lnTo>
                    <a:pt x="182" y="405"/>
                  </a:lnTo>
                  <a:lnTo>
                    <a:pt x="182" y="405"/>
                  </a:lnTo>
                  <a:lnTo>
                    <a:pt x="182" y="412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8" y="413"/>
                  </a:lnTo>
                  <a:lnTo>
                    <a:pt x="192" y="415"/>
                  </a:lnTo>
                  <a:lnTo>
                    <a:pt x="192" y="415"/>
                  </a:lnTo>
                  <a:lnTo>
                    <a:pt x="197" y="418"/>
                  </a:lnTo>
                  <a:lnTo>
                    <a:pt x="197" y="421"/>
                  </a:lnTo>
                  <a:lnTo>
                    <a:pt x="194" y="424"/>
                  </a:lnTo>
                  <a:lnTo>
                    <a:pt x="188" y="425"/>
                  </a:lnTo>
                  <a:lnTo>
                    <a:pt x="188" y="425"/>
                  </a:lnTo>
                  <a:lnTo>
                    <a:pt x="181" y="427"/>
                  </a:lnTo>
                  <a:lnTo>
                    <a:pt x="176" y="428"/>
                  </a:lnTo>
                  <a:lnTo>
                    <a:pt x="172" y="428"/>
                  </a:lnTo>
                  <a:lnTo>
                    <a:pt x="169" y="430"/>
                  </a:lnTo>
                  <a:lnTo>
                    <a:pt x="169" y="430"/>
                  </a:lnTo>
                  <a:lnTo>
                    <a:pt x="167" y="436"/>
                  </a:lnTo>
                  <a:lnTo>
                    <a:pt x="164" y="445"/>
                  </a:lnTo>
                  <a:lnTo>
                    <a:pt x="163" y="453"/>
                  </a:lnTo>
                  <a:lnTo>
                    <a:pt x="163" y="461"/>
                  </a:lnTo>
                  <a:lnTo>
                    <a:pt x="163" y="461"/>
                  </a:lnTo>
                  <a:lnTo>
                    <a:pt x="161" y="464"/>
                  </a:lnTo>
                  <a:lnTo>
                    <a:pt x="160" y="462"/>
                  </a:lnTo>
                  <a:lnTo>
                    <a:pt x="155" y="462"/>
                  </a:lnTo>
                  <a:lnTo>
                    <a:pt x="152" y="462"/>
                  </a:lnTo>
                  <a:lnTo>
                    <a:pt x="152" y="462"/>
                  </a:lnTo>
                  <a:lnTo>
                    <a:pt x="149" y="464"/>
                  </a:lnTo>
                  <a:lnTo>
                    <a:pt x="148" y="470"/>
                  </a:lnTo>
                  <a:lnTo>
                    <a:pt x="145" y="476"/>
                  </a:lnTo>
                  <a:lnTo>
                    <a:pt x="142" y="482"/>
                  </a:lnTo>
                  <a:lnTo>
                    <a:pt x="142" y="482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1" y="489"/>
                  </a:lnTo>
                  <a:lnTo>
                    <a:pt x="145" y="490"/>
                  </a:lnTo>
                  <a:lnTo>
                    <a:pt x="148" y="492"/>
                  </a:lnTo>
                  <a:lnTo>
                    <a:pt x="148" y="492"/>
                  </a:lnTo>
                  <a:lnTo>
                    <a:pt x="149" y="496"/>
                  </a:lnTo>
                  <a:lnTo>
                    <a:pt x="148" y="499"/>
                  </a:lnTo>
                  <a:lnTo>
                    <a:pt x="144" y="501"/>
                  </a:lnTo>
                  <a:lnTo>
                    <a:pt x="138" y="502"/>
                  </a:lnTo>
                  <a:lnTo>
                    <a:pt x="138" y="502"/>
                  </a:lnTo>
                  <a:lnTo>
                    <a:pt x="135" y="502"/>
                  </a:lnTo>
                  <a:lnTo>
                    <a:pt x="130" y="502"/>
                  </a:lnTo>
                  <a:lnTo>
                    <a:pt x="123" y="499"/>
                  </a:lnTo>
                  <a:lnTo>
                    <a:pt x="108" y="489"/>
                  </a:lnTo>
                  <a:lnTo>
                    <a:pt x="108" y="489"/>
                  </a:lnTo>
                  <a:lnTo>
                    <a:pt x="102" y="487"/>
                  </a:lnTo>
                  <a:lnTo>
                    <a:pt x="96" y="489"/>
                  </a:lnTo>
                  <a:lnTo>
                    <a:pt x="92" y="493"/>
                  </a:lnTo>
                  <a:lnTo>
                    <a:pt x="89" y="498"/>
                  </a:lnTo>
                  <a:lnTo>
                    <a:pt x="89" y="498"/>
                  </a:lnTo>
                  <a:lnTo>
                    <a:pt x="87" y="511"/>
                  </a:lnTo>
                  <a:lnTo>
                    <a:pt x="87" y="519"/>
                  </a:lnTo>
                  <a:lnTo>
                    <a:pt x="86" y="525"/>
                  </a:lnTo>
                  <a:lnTo>
                    <a:pt x="86" y="525"/>
                  </a:lnTo>
                  <a:lnTo>
                    <a:pt x="83" y="527"/>
                  </a:lnTo>
                  <a:lnTo>
                    <a:pt x="80" y="529"/>
                  </a:lnTo>
                  <a:lnTo>
                    <a:pt x="77" y="530"/>
                  </a:lnTo>
                  <a:lnTo>
                    <a:pt x="74" y="533"/>
                  </a:lnTo>
                  <a:lnTo>
                    <a:pt x="74" y="533"/>
                  </a:lnTo>
                  <a:lnTo>
                    <a:pt x="69" y="538"/>
                  </a:lnTo>
                  <a:lnTo>
                    <a:pt x="65" y="542"/>
                  </a:lnTo>
                  <a:lnTo>
                    <a:pt x="61" y="547"/>
                  </a:lnTo>
                  <a:lnTo>
                    <a:pt x="56" y="547"/>
                  </a:lnTo>
                  <a:lnTo>
                    <a:pt x="56" y="547"/>
                  </a:lnTo>
                  <a:lnTo>
                    <a:pt x="52" y="548"/>
                  </a:lnTo>
                  <a:lnTo>
                    <a:pt x="47" y="551"/>
                  </a:lnTo>
                  <a:lnTo>
                    <a:pt x="43" y="556"/>
                  </a:lnTo>
                  <a:lnTo>
                    <a:pt x="41" y="560"/>
                  </a:lnTo>
                  <a:lnTo>
                    <a:pt x="41" y="560"/>
                  </a:lnTo>
                  <a:lnTo>
                    <a:pt x="41" y="563"/>
                  </a:lnTo>
                  <a:lnTo>
                    <a:pt x="41" y="564"/>
                  </a:lnTo>
                  <a:lnTo>
                    <a:pt x="44" y="567"/>
                  </a:lnTo>
                  <a:lnTo>
                    <a:pt x="56" y="572"/>
                  </a:lnTo>
                  <a:lnTo>
                    <a:pt x="56" y="572"/>
                  </a:lnTo>
                  <a:lnTo>
                    <a:pt x="59" y="575"/>
                  </a:lnTo>
                  <a:lnTo>
                    <a:pt x="62" y="578"/>
                  </a:lnTo>
                  <a:lnTo>
                    <a:pt x="68" y="588"/>
                  </a:lnTo>
                  <a:lnTo>
                    <a:pt x="72" y="599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2" y="606"/>
                  </a:lnTo>
                  <a:lnTo>
                    <a:pt x="69" y="606"/>
                  </a:lnTo>
                  <a:lnTo>
                    <a:pt x="65" y="606"/>
                  </a:lnTo>
                  <a:lnTo>
                    <a:pt x="61" y="604"/>
                  </a:lnTo>
                  <a:lnTo>
                    <a:pt x="61" y="604"/>
                  </a:lnTo>
                  <a:lnTo>
                    <a:pt x="58" y="603"/>
                  </a:lnTo>
                  <a:lnTo>
                    <a:pt x="53" y="603"/>
                  </a:lnTo>
                  <a:lnTo>
                    <a:pt x="49" y="604"/>
                  </a:lnTo>
                  <a:lnTo>
                    <a:pt x="46" y="609"/>
                  </a:lnTo>
                  <a:lnTo>
                    <a:pt x="46" y="609"/>
                  </a:lnTo>
                  <a:lnTo>
                    <a:pt x="43" y="613"/>
                  </a:lnTo>
                  <a:lnTo>
                    <a:pt x="41" y="618"/>
                  </a:lnTo>
                  <a:lnTo>
                    <a:pt x="41" y="621"/>
                  </a:lnTo>
                  <a:lnTo>
                    <a:pt x="40" y="622"/>
                  </a:lnTo>
                  <a:lnTo>
                    <a:pt x="40" y="622"/>
                  </a:lnTo>
                  <a:lnTo>
                    <a:pt x="32" y="627"/>
                  </a:lnTo>
                  <a:lnTo>
                    <a:pt x="27" y="628"/>
                  </a:lnTo>
                  <a:lnTo>
                    <a:pt x="21" y="633"/>
                  </a:lnTo>
                  <a:lnTo>
                    <a:pt x="21" y="633"/>
                  </a:lnTo>
                  <a:lnTo>
                    <a:pt x="16" y="634"/>
                  </a:lnTo>
                  <a:lnTo>
                    <a:pt x="10" y="636"/>
                  </a:lnTo>
                  <a:lnTo>
                    <a:pt x="1" y="636"/>
                  </a:lnTo>
                  <a:lnTo>
                    <a:pt x="1" y="636"/>
                  </a:lnTo>
                  <a:lnTo>
                    <a:pt x="0" y="636"/>
                  </a:lnTo>
                  <a:lnTo>
                    <a:pt x="0" y="639"/>
                  </a:lnTo>
                  <a:lnTo>
                    <a:pt x="1" y="644"/>
                  </a:lnTo>
                  <a:lnTo>
                    <a:pt x="10" y="661"/>
                  </a:lnTo>
                  <a:lnTo>
                    <a:pt x="10" y="661"/>
                  </a:lnTo>
                  <a:lnTo>
                    <a:pt x="12" y="667"/>
                  </a:lnTo>
                  <a:lnTo>
                    <a:pt x="12" y="673"/>
                  </a:lnTo>
                  <a:lnTo>
                    <a:pt x="7" y="684"/>
                  </a:lnTo>
                  <a:lnTo>
                    <a:pt x="7" y="684"/>
                  </a:lnTo>
                  <a:lnTo>
                    <a:pt x="1" y="693"/>
                  </a:lnTo>
                  <a:lnTo>
                    <a:pt x="0" y="696"/>
                  </a:lnTo>
                  <a:lnTo>
                    <a:pt x="0" y="698"/>
                  </a:lnTo>
                  <a:lnTo>
                    <a:pt x="0" y="698"/>
                  </a:lnTo>
                  <a:lnTo>
                    <a:pt x="12" y="711"/>
                  </a:lnTo>
                  <a:lnTo>
                    <a:pt x="19" y="720"/>
                  </a:lnTo>
                  <a:lnTo>
                    <a:pt x="25" y="729"/>
                  </a:lnTo>
                  <a:lnTo>
                    <a:pt x="25" y="729"/>
                  </a:lnTo>
                  <a:lnTo>
                    <a:pt x="31" y="741"/>
                  </a:lnTo>
                  <a:lnTo>
                    <a:pt x="34" y="754"/>
                  </a:lnTo>
                  <a:lnTo>
                    <a:pt x="34" y="754"/>
                  </a:lnTo>
                  <a:lnTo>
                    <a:pt x="40" y="763"/>
                  </a:lnTo>
                  <a:lnTo>
                    <a:pt x="49" y="776"/>
                  </a:lnTo>
                  <a:lnTo>
                    <a:pt x="62" y="790"/>
                  </a:lnTo>
                  <a:lnTo>
                    <a:pt x="68" y="794"/>
                  </a:lnTo>
                  <a:lnTo>
                    <a:pt x="74" y="798"/>
                  </a:lnTo>
                  <a:lnTo>
                    <a:pt x="74" y="798"/>
                  </a:lnTo>
                  <a:lnTo>
                    <a:pt x="80" y="803"/>
                  </a:lnTo>
                  <a:lnTo>
                    <a:pt x="83" y="806"/>
                  </a:lnTo>
                  <a:lnTo>
                    <a:pt x="83" y="807"/>
                  </a:lnTo>
                  <a:lnTo>
                    <a:pt x="83" y="812"/>
                  </a:lnTo>
                  <a:lnTo>
                    <a:pt x="81" y="816"/>
                  </a:lnTo>
                  <a:lnTo>
                    <a:pt x="81" y="816"/>
                  </a:lnTo>
                  <a:lnTo>
                    <a:pt x="81" y="819"/>
                  </a:lnTo>
                  <a:lnTo>
                    <a:pt x="81" y="822"/>
                  </a:lnTo>
                  <a:lnTo>
                    <a:pt x="86" y="825"/>
                  </a:lnTo>
                  <a:lnTo>
                    <a:pt x="86" y="825"/>
                  </a:lnTo>
                  <a:lnTo>
                    <a:pt x="89" y="830"/>
                  </a:lnTo>
                  <a:lnTo>
                    <a:pt x="92" y="841"/>
                  </a:lnTo>
                  <a:lnTo>
                    <a:pt x="95" y="853"/>
                  </a:lnTo>
                  <a:lnTo>
                    <a:pt x="96" y="864"/>
                  </a:lnTo>
                  <a:lnTo>
                    <a:pt x="96" y="864"/>
                  </a:lnTo>
                  <a:lnTo>
                    <a:pt x="106" y="864"/>
                  </a:lnTo>
                  <a:lnTo>
                    <a:pt x="118" y="861"/>
                  </a:lnTo>
                  <a:lnTo>
                    <a:pt x="118" y="861"/>
                  </a:lnTo>
                  <a:lnTo>
                    <a:pt x="124" y="859"/>
                  </a:lnTo>
                  <a:lnTo>
                    <a:pt x="127" y="858"/>
                  </a:lnTo>
                  <a:lnTo>
                    <a:pt x="130" y="855"/>
                  </a:lnTo>
                  <a:lnTo>
                    <a:pt x="130" y="855"/>
                  </a:lnTo>
                  <a:lnTo>
                    <a:pt x="138" y="844"/>
                  </a:lnTo>
                  <a:lnTo>
                    <a:pt x="142" y="840"/>
                  </a:lnTo>
                  <a:lnTo>
                    <a:pt x="146" y="837"/>
                  </a:lnTo>
                  <a:lnTo>
                    <a:pt x="146" y="837"/>
                  </a:lnTo>
                  <a:lnTo>
                    <a:pt x="152" y="837"/>
                  </a:lnTo>
                  <a:lnTo>
                    <a:pt x="161" y="837"/>
                  </a:lnTo>
                  <a:lnTo>
                    <a:pt x="185" y="841"/>
                  </a:lnTo>
                  <a:lnTo>
                    <a:pt x="185" y="841"/>
                  </a:lnTo>
                  <a:lnTo>
                    <a:pt x="191" y="843"/>
                  </a:lnTo>
                  <a:lnTo>
                    <a:pt x="197" y="844"/>
                  </a:lnTo>
                  <a:lnTo>
                    <a:pt x="204" y="850"/>
                  </a:lnTo>
                  <a:lnTo>
                    <a:pt x="212" y="856"/>
                  </a:lnTo>
                  <a:lnTo>
                    <a:pt x="219" y="862"/>
                  </a:lnTo>
                  <a:lnTo>
                    <a:pt x="219" y="862"/>
                  </a:lnTo>
                  <a:lnTo>
                    <a:pt x="229" y="868"/>
                  </a:lnTo>
                  <a:lnTo>
                    <a:pt x="238" y="874"/>
                  </a:lnTo>
                  <a:lnTo>
                    <a:pt x="244" y="881"/>
                  </a:lnTo>
                  <a:lnTo>
                    <a:pt x="247" y="884"/>
                  </a:lnTo>
                  <a:lnTo>
                    <a:pt x="247" y="886"/>
                  </a:lnTo>
                  <a:lnTo>
                    <a:pt x="247" y="886"/>
                  </a:lnTo>
                  <a:lnTo>
                    <a:pt x="247" y="892"/>
                  </a:lnTo>
                  <a:lnTo>
                    <a:pt x="246" y="898"/>
                  </a:lnTo>
                  <a:lnTo>
                    <a:pt x="246" y="904"/>
                  </a:lnTo>
                  <a:lnTo>
                    <a:pt x="247" y="908"/>
                  </a:lnTo>
                  <a:lnTo>
                    <a:pt x="247" y="908"/>
                  </a:lnTo>
                  <a:lnTo>
                    <a:pt x="255" y="920"/>
                  </a:lnTo>
                  <a:lnTo>
                    <a:pt x="259" y="927"/>
                  </a:lnTo>
                  <a:lnTo>
                    <a:pt x="259" y="929"/>
                  </a:lnTo>
                  <a:lnTo>
                    <a:pt x="258" y="930"/>
                  </a:lnTo>
                  <a:lnTo>
                    <a:pt x="258" y="930"/>
                  </a:lnTo>
                  <a:lnTo>
                    <a:pt x="247" y="936"/>
                  </a:lnTo>
                  <a:lnTo>
                    <a:pt x="241" y="942"/>
                  </a:lnTo>
                  <a:lnTo>
                    <a:pt x="237" y="947"/>
                  </a:lnTo>
                  <a:lnTo>
                    <a:pt x="237" y="947"/>
                  </a:lnTo>
                  <a:lnTo>
                    <a:pt x="235" y="954"/>
                  </a:lnTo>
                  <a:lnTo>
                    <a:pt x="235" y="963"/>
                  </a:lnTo>
                  <a:lnTo>
                    <a:pt x="235" y="978"/>
                  </a:lnTo>
                  <a:lnTo>
                    <a:pt x="235" y="978"/>
                  </a:lnTo>
                  <a:lnTo>
                    <a:pt x="237" y="979"/>
                  </a:lnTo>
                  <a:lnTo>
                    <a:pt x="238" y="982"/>
                  </a:lnTo>
                  <a:lnTo>
                    <a:pt x="249" y="988"/>
                  </a:lnTo>
                  <a:lnTo>
                    <a:pt x="249" y="988"/>
                  </a:lnTo>
                  <a:lnTo>
                    <a:pt x="255" y="991"/>
                  </a:lnTo>
                  <a:lnTo>
                    <a:pt x="262" y="993"/>
                  </a:lnTo>
                  <a:lnTo>
                    <a:pt x="269" y="993"/>
                  </a:lnTo>
                  <a:lnTo>
                    <a:pt x="275" y="991"/>
                  </a:lnTo>
                  <a:lnTo>
                    <a:pt x="275" y="991"/>
                  </a:lnTo>
                  <a:lnTo>
                    <a:pt x="283" y="982"/>
                  </a:lnTo>
                  <a:lnTo>
                    <a:pt x="287" y="978"/>
                  </a:lnTo>
                  <a:lnTo>
                    <a:pt x="293" y="975"/>
                  </a:lnTo>
                  <a:lnTo>
                    <a:pt x="293" y="975"/>
                  </a:lnTo>
                  <a:lnTo>
                    <a:pt x="298" y="972"/>
                  </a:lnTo>
                  <a:lnTo>
                    <a:pt x="305" y="970"/>
                  </a:lnTo>
                  <a:lnTo>
                    <a:pt x="311" y="969"/>
                  </a:lnTo>
                  <a:lnTo>
                    <a:pt x="318" y="972"/>
                  </a:lnTo>
                  <a:lnTo>
                    <a:pt x="318" y="972"/>
                  </a:lnTo>
                  <a:lnTo>
                    <a:pt x="330" y="979"/>
                  </a:lnTo>
                  <a:lnTo>
                    <a:pt x="336" y="982"/>
                  </a:lnTo>
                  <a:lnTo>
                    <a:pt x="342" y="982"/>
                  </a:lnTo>
                  <a:lnTo>
                    <a:pt x="342" y="982"/>
                  </a:lnTo>
                  <a:lnTo>
                    <a:pt x="346" y="982"/>
                  </a:lnTo>
                  <a:lnTo>
                    <a:pt x="348" y="981"/>
                  </a:lnTo>
                  <a:lnTo>
                    <a:pt x="349" y="979"/>
                  </a:lnTo>
                  <a:lnTo>
                    <a:pt x="352" y="979"/>
                  </a:lnTo>
                  <a:lnTo>
                    <a:pt x="352" y="979"/>
                  </a:lnTo>
                  <a:lnTo>
                    <a:pt x="357" y="981"/>
                  </a:lnTo>
                  <a:lnTo>
                    <a:pt x="360" y="984"/>
                  </a:lnTo>
                  <a:lnTo>
                    <a:pt x="364" y="988"/>
                  </a:lnTo>
                  <a:lnTo>
                    <a:pt x="367" y="994"/>
                  </a:lnTo>
                  <a:lnTo>
                    <a:pt x="367" y="994"/>
                  </a:lnTo>
                  <a:lnTo>
                    <a:pt x="372" y="1003"/>
                  </a:lnTo>
                  <a:lnTo>
                    <a:pt x="375" y="1007"/>
                  </a:lnTo>
                  <a:lnTo>
                    <a:pt x="379" y="1010"/>
                  </a:lnTo>
                  <a:lnTo>
                    <a:pt x="379" y="1010"/>
                  </a:lnTo>
                  <a:lnTo>
                    <a:pt x="383" y="1015"/>
                  </a:lnTo>
                  <a:lnTo>
                    <a:pt x="386" y="1021"/>
                  </a:lnTo>
                  <a:lnTo>
                    <a:pt x="391" y="1030"/>
                  </a:lnTo>
                  <a:lnTo>
                    <a:pt x="391" y="1030"/>
                  </a:lnTo>
                  <a:lnTo>
                    <a:pt x="400" y="1028"/>
                  </a:lnTo>
                  <a:lnTo>
                    <a:pt x="406" y="1027"/>
                  </a:lnTo>
                  <a:lnTo>
                    <a:pt x="406" y="1027"/>
                  </a:lnTo>
                  <a:lnTo>
                    <a:pt x="409" y="1025"/>
                  </a:lnTo>
                  <a:lnTo>
                    <a:pt x="412" y="1022"/>
                  </a:lnTo>
                  <a:lnTo>
                    <a:pt x="413" y="1018"/>
                  </a:lnTo>
                  <a:lnTo>
                    <a:pt x="414" y="1013"/>
                  </a:lnTo>
                  <a:lnTo>
                    <a:pt x="414" y="1013"/>
                  </a:lnTo>
                  <a:lnTo>
                    <a:pt x="416" y="1009"/>
                  </a:lnTo>
                  <a:lnTo>
                    <a:pt x="417" y="1003"/>
                  </a:lnTo>
                  <a:lnTo>
                    <a:pt x="425" y="991"/>
                  </a:lnTo>
                  <a:lnTo>
                    <a:pt x="425" y="991"/>
                  </a:lnTo>
                  <a:lnTo>
                    <a:pt x="429" y="987"/>
                  </a:lnTo>
                  <a:lnTo>
                    <a:pt x="437" y="984"/>
                  </a:lnTo>
                  <a:lnTo>
                    <a:pt x="452" y="979"/>
                  </a:lnTo>
                  <a:lnTo>
                    <a:pt x="452" y="979"/>
                  </a:lnTo>
                  <a:lnTo>
                    <a:pt x="456" y="978"/>
                  </a:lnTo>
                  <a:lnTo>
                    <a:pt x="459" y="975"/>
                  </a:lnTo>
                  <a:lnTo>
                    <a:pt x="463" y="972"/>
                  </a:lnTo>
                  <a:lnTo>
                    <a:pt x="465" y="967"/>
                  </a:lnTo>
                  <a:lnTo>
                    <a:pt x="465" y="967"/>
                  </a:lnTo>
                  <a:lnTo>
                    <a:pt x="466" y="963"/>
                  </a:lnTo>
                  <a:lnTo>
                    <a:pt x="466" y="961"/>
                  </a:lnTo>
                  <a:lnTo>
                    <a:pt x="463" y="960"/>
                  </a:lnTo>
                  <a:lnTo>
                    <a:pt x="456" y="960"/>
                  </a:lnTo>
                  <a:lnTo>
                    <a:pt x="456" y="960"/>
                  </a:lnTo>
                  <a:lnTo>
                    <a:pt x="449" y="958"/>
                  </a:lnTo>
                  <a:lnTo>
                    <a:pt x="446" y="958"/>
                  </a:lnTo>
                  <a:lnTo>
                    <a:pt x="446" y="957"/>
                  </a:lnTo>
                  <a:lnTo>
                    <a:pt x="446" y="954"/>
                  </a:lnTo>
                  <a:lnTo>
                    <a:pt x="446" y="954"/>
                  </a:lnTo>
                  <a:lnTo>
                    <a:pt x="446" y="951"/>
                  </a:lnTo>
                  <a:lnTo>
                    <a:pt x="449" y="947"/>
                  </a:lnTo>
                  <a:lnTo>
                    <a:pt x="456" y="938"/>
                  </a:lnTo>
                  <a:lnTo>
                    <a:pt x="456" y="938"/>
                  </a:lnTo>
                  <a:lnTo>
                    <a:pt x="457" y="933"/>
                  </a:lnTo>
                  <a:lnTo>
                    <a:pt x="456" y="930"/>
                  </a:lnTo>
                  <a:lnTo>
                    <a:pt x="449" y="921"/>
                  </a:lnTo>
                  <a:lnTo>
                    <a:pt x="449" y="921"/>
                  </a:lnTo>
                  <a:lnTo>
                    <a:pt x="447" y="917"/>
                  </a:lnTo>
                  <a:lnTo>
                    <a:pt x="449" y="911"/>
                  </a:lnTo>
                  <a:lnTo>
                    <a:pt x="452" y="905"/>
                  </a:lnTo>
                  <a:lnTo>
                    <a:pt x="456" y="899"/>
                  </a:lnTo>
                  <a:lnTo>
                    <a:pt x="456" y="899"/>
                  </a:lnTo>
                  <a:lnTo>
                    <a:pt x="469" y="886"/>
                  </a:lnTo>
                  <a:lnTo>
                    <a:pt x="477" y="881"/>
                  </a:lnTo>
                  <a:lnTo>
                    <a:pt x="483" y="880"/>
                  </a:lnTo>
                  <a:lnTo>
                    <a:pt x="483" y="880"/>
                  </a:lnTo>
                  <a:lnTo>
                    <a:pt x="491" y="880"/>
                  </a:lnTo>
                  <a:lnTo>
                    <a:pt x="505" y="880"/>
                  </a:lnTo>
                  <a:lnTo>
                    <a:pt x="526" y="881"/>
                  </a:lnTo>
                  <a:lnTo>
                    <a:pt x="526" y="881"/>
                  </a:lnTo>
                  <a:lnTo>
                    <a:pt x="527" y="880"/>
                  </a:lnTo>
                  <a:lnTo>
                    <a:pt x="529" y="878"/>
                  </a:lnTo>
                  <a:lnTo>
                    <a:pt x="529" y="873"/>
                  </a:lnTo>
                  <a:lnTo>
                    <a:pt x="529" y="859"/>
                  </a:lnTo>
                  <a:lnTo>
                    <a:pt x="529" y="859"/>
                  </a:lnTo>
                  <a:lnTo>
                    <a:pt x="530" y="850"/>
                  </a:lnTo>
                  <a:lnTo>
                    <a:pt x="530" y="846"/>
                  </a:lnTo>
                  <a:lnTo>
                    <a:pt x="531" y="843"/>
                  </a:lnTo>
                  <a:lnTo>
                    <a:pt x="531" y="843"/>
                  </a:lnTo>
                  <a:lnTo>
                    <a:pt x="537" y="843"/>
                  </a:lnTo>
                  <a:lnTo>
                    <a:pt x="546" y="843"/>
                  </a:lnTo>
                  <a:lnTo>
                    <a:pt x="566" y="844"/>
                  </a:lnTo>
                  <a:lnTo>
                    <a:pt x="566" y="844"/>
                  </a:lnTo>
                  <a:lnTo>
                    <a:pt x="570" y="844"/>
                  </a:lnTo>
                  <a:lnTo>
                    <a:pt x="576" y="843"/>
                  </a:lnTo>
                  <a:lnTo>
                    <a:pt x="582" y="838"/>
                  </a:lnTo>
                  <a:lnTo>
                    <a:pt x="582" y="838"/>
                  </a:lnTo>
                  <a:lnTo>
                    <a:pt x="585" y="837"/>
                  </a:lnTo>
                  <a:lnTo>
                    <a:pt x="588" y="836"/>
                  </a:lnTo>
                  <a:lnTo>
                    <a:pt x="591" y="836"/>
                  </a:lnTo>
                  <a:lnTo>
                    <a:pt x="595" y="837"/>
                  </a:lnTo>
                  <a:lnTo>
                    <a:pt x="595" y="837"/>
                  </a:lnTo>
                  <a:lnTo>
                    <a:pt x="597" y="838"/>
                  </a:lnTo>
                  <a:lnTo>
                    <a:pt x="597" y="841"/>
                  </a:lnTo>
                  <a:lnTo>
                    <a:pt x="597" y="846"/>
                  </a:lnTo>
                  <a:lnTo>
                    <a:pt x="592" y="852"/>
                  </a:lnTo>
                  <a:lnTo>
                    <a:pt x="589" y="856"/>
                  </a:lnTo>
                  <a:lnTo>
                    <a:pt x="589" y="856"/>
                  </a:lnTo>
                  <a:lnTo>
                    <a:pt x="579" y="868"/>
                  </a:lnTo>
                  <a:lnTo>
                    <a:pt x="570" y="878"/>
                  </a:lnTo>
                  <a:lnTo>
                    <a:pt x="570" y="878"/>
                  </a:lnTo>
                  <a:lnTo>
                    <a:pt x="568" y="883"/>
                  </a:lnTo>
                  <a:lnTo>
                    <a:pt x="568" y="887"/>
                  </a:lnTo>
                  <a:lnTo>
                    <a:pt x="570" y="893"/>
                  </a:lnTo>
                  <a:lnTo>
                    <a:pt x="573" y="898"/>
                  </a:lnTo>
                  <a:lnTo>
                    <a:pt x="573" y="898"/>
                  </a:lnTo>
                  <a:lnTo>
                    <a:pt x="577" y="899"/>
                  </a:lnTo>
                  <a:lnTo>
                    <a:pt x="583" y="899"/>
                  </a:lnTo>
                  <a:lnTo>
                    <a:pt x="598" y="898"/>
                  </a:lnTo>
                  <a:lnTo>
                    <a:pt x="598" y="898"/>
                  </a:lnTo>
                  <a:lnTo>
                    <a:pt x="600" y="896"/>
                  </a:lnTo>
                  <a:lnTo>
                    <a:pt x="603" y="893"/>
                  </a:lnTo>
                  <a:lnTo>
                    <a:pt x="607" y="887"/>
                  </a:lnTo>
                  <a:lnTo>
                    <a:pt x="616" y="868"/>
                  </a:lnTo>
                  <a:lnTo>
                    <a:pt x="616" y="868"/>
                  </a:lnTo>
                  <a:lnTo>
                    <a:pt x="620" y="859"/>
                  </a:lnTo>
                  <a:lnTo>
                    <a:pt x="628" y="852"/>
                  </a:lnTo>
                  <a:lnTo>
                    <a:pt x="634" y="846"/>
                  </a:lnTo>
                  <a:lnTo>
                    <a:pt x="638" y="843"/>
                  </a:lnTo>
                  <a:lnTo>
                    <a:pt x="638" y="843"/>
                  </a:lnTo>
                  <a:lnTo>
                    <a:pt x="643" y="838"/>
                  </a:lnTo>
                  <a:lnTo>
                    <a:pt x="645" y="834"/>
                  </a:lnTo>
                  <a:lnTo>
                    <a:pt x="650" y="824"/>
                  </a:lnTo>
                  <a:lnTo>
                    <a:pt x="650" y="824"/>
                  </a:lnTo>
                  <a:lnTo>
                    <a:pt x="650" y="819"/>
                  </a:lnTo>
                  <a:lnTo>
                    <a:pt x="648" y="813"/>
                  </a:lnTo>
                  <a:lnTo>
                    <a:pt x="643" y="801"/>
                  </a:lnTo>
                  <a:lnTo>
                    <a:pt x="643" y="801"/>
                  </a:lnTo>
                  <a:lnTo>
                    <a:pt x="643" y="798"/>
                  </a:lnTo>
                  <a:lnTo>
                    <a:pt x="643" y="796"/>
                  </a:lnTo>
                  <a:lnTo>
                    <a:pt x="645" y="791"/>
                  </a:lnTo>
                  <a:lnTo>
                    <a:pt x="650" y="787"/>
                  </a:lnTo>
                  <a:lnTo>
                    <a:pt x="654" y="785"/>
                  </a:lnTo>
                  <a:lnTo>
                    <a:pt x="654" y="785"/>
                  </a:lnTo>
                  <a:lnTo>
                    <a:pt x="671" y="781"/>
                  </a:lnTo>
                  <a:lnTo>
                    <a:pt x="685" y="775"/>
                  </a:lnTo>
                  <a:lnTo>
                    <a:pt x="685" y="775"/>
                  </a:lnTo>
                  <a:lnTo>
                    <a:pt x="688" y="772"/>
                  </a:lnTo>
                  <a:lnTo>
                    <a:pt x="691" y="766"/>
                  </a:lnTo>
                  <a:lnTo>
                    <a:pt x="696" y="753"/>
                  </a:lnTo>
                  <a:lnTo>
                    <a:pt x="696" y="753"/>
                  </a:lnTo>
                  <a:lnTo>
                    <a:pt x="697" y="748"/>
                  </a:lnTo>
                  <a:lnTo>
                    <a:pt x="699" y="745"/>
                  </a:lnTo>
                  <a:lnTo>
                    <a:pt x="705" y="739"/>
                  </a:lnTo>
                  <a:lnTo>
                    <a:pt x="705" y="739"/>
                  </a:lnTo>
                  <a:lnTo>
                    <a:pt x="709" y="733"/>
                  </a:lnTo>
                  <a:lnTo>
                    <a:pt x="712" y="726"/>
                  </a:lnTo>
                  <a:lnTo>
                    <a:pt x="714" y="720"/>
                  </a:lnTo>
                  <a:lnTo>
                    <a:pt x="714" y="714"/>
                  </a:lnTo>
                  <a:lnTo>
                    <a:pt x="714" y="714"/>
                  </a:lnTo>
                  <a:lnTo>
                    <a:pt x="711" y="711"/>
                  </a:lnTo>
                  <a:lnTo>
                    <a:pt x="706" y="708"/>
                  </a:lnTo>
                  <a:lnTo>
                    <a:pt x="699" y="707"/>
                  </a:lnTo>
                  <a:lnTo>
                    <a:pt x="691" y="707"/>
                  </a:lnTo>
                  <a:lnTo>
                    <a:pt x="691" y="707"/>
                  </a:lnTo>
                  <a:lnTo>
                    <a:pt x="687" y="708"/>
                  </a:lnTo>
                  <a:lnTo>
                    <a:pt x="684" y="711"/>
                  </a:lnTo>
                  <a:lnTo>
                    <a:pt x="678" y="717"/>
                  </a:lnTo>
                  <a:lnTo>
                    <a:pt x="674" y="723"/>
                  </a:lnTo>
                  <a:lnTo>
                    <a:pt x="669" y="729"/>
                  </a:lnTo>
                  <a:lnTo>
                    <a:pt x="669" y="729"/>
                  </a:lnTo>
                  <a:lnTo>
                    <a:pt x="666" y="733"/>
                  </a:lnTo>
                  <a:lnTo>
                    <a:pt x="662" y="735"/>
                  </a:lnTo>
                  <a:lnTo>
                    <a:pt x="656" y="735"/>
                  </a:lnTo>
                  <a:lnTo>
                    <a:pt x="653" y="733"/>
                  </a:lnTo>
                  <a:lnTo>
                    <a:pt x="653" y="733"/>
                  </a:lnTo>
                  <a:lnTo>
                    <a:pt x="650" y="727"/>
                  </a:lnTo>
                  <a:lnTo>
                    <a:pt x="647" y="719"/>
                  </a:lnTo>
                  <a:lnTo>
                    <a:pt x="643" y="710"/>
                  </a:lnTo>
                  <a:lnTo>
                    <a:pt x="640" y="702"/>
                  </a:lnTo>
                  <a:lnTo>
                    <a:pt x="640" y="702"/>
                  </a:lnTo>
                  <a:lnTo>
                    <a:pt x="631" y="689"/>
                  </a:lnTo>
                  <a:lnTo>
                    <a:pt x="622" y="673"/>
                  </a:lnTo>
                  <a:lnTo>
                    <a:pt x="622" y="673"/>
                  </a:lnTo>
                  <a:lnTo>
                    <a:pt x="619" y="664"/>
                  </a:lnTo>
                  <a:lnTo>
                    <a:pt x="617" y="652"/>
                  </a:lnTo>
                  <a:lnTo>
                    <a:pt x="617" y="630"/>
                  </a:lnTo>
                  <a:lnTo>
                    <a:pt x="617" y="630"/>
                  </a:lnTo>
                  <a:lnTo>
                    <a:pt x="619" y="606"/>
                  </a:lnTo>
                  <a:lnTo>
                    <a:pt x="620" y="582"/>
                  </a:lnTo>
                  <a:lnTo>
                    <a:pt x="620" y="582"/>
                  </a:lnTo>
                  <a:lnTo>
                    <a:pt x="620" y="579"/>
                  </a:lnTo>
                  <a:lnTo>
                    <a:pt x="619" y="576"/>
                  </a:lnTo>
                  <a:lnTo>
                    <a:pt x="614" y="570"/>
                  </a:lnTo>
                  <a:lnTo>
                    <a:pt x="610" y="566"/>
                  </a:lnTo>
                  <a:lnTo>
                    <a:pt x="606" y="560"/>
                  </a:lnTo>
                  <a:lnTo>
                    <a:pt x="606" y="560"/>
                  </a:lnTo>
                  <a:lnTo>
                    <a:pt x="604" y="557"/>
                  </a:lnTo>
                  <a:lnTo>
                    <a:pt x="604" y="553"/>
                  </a:lnTo>
                  <a:lnTo>
                    <a:pt x="604" y="541"/>
                  </a:lnTo>
                  <a:lnTo>
                    <a:pt x="606" y="527"/>
                  </a:lnTo>
                  <a:lnTo>
                    <a:pt x="607" y="514"/>
                  </a:lnTo>
                  <a:lnTo>
                    <a:pt x="607" y="514"/>
                  </a:lnTo>
                  <a:lnTo>
                    <a:pt x="606" y="505"/>
                  </a:lnTo>
                  <a:lnTo>
                    <a:pt x="603" y="499"/>
                  </a:lnTo>
                  <a:lnTo>
                    <a:pt x="597" y="490"/>
                  </a:lnTo>
                  <a:lnTo>
                    <a:pt x="597" y="490"/>
                  </a:lnTo>
                  <a:lnTo>
                    <a:pt x="589" y="479"/>
                  </a:lnTo>
                  <a:lnTo>
                    <a:pt x="585" y="470"/>
                  </a:lnTo>
                  <a:lnTo>
                    <a:pt x="582" y="462"/>
                  </a:lnTo>
                  <a:lnTo>
                    <a:pt x="582" y="462"/>
                  </a:lnTo>
                  <a:lnTo>
                    <a:pt x="582" y="453"/>
                  </a:lnTo>
                  <a:lnTo>
                    <a:pt x="583" y="442"/>
                  </a:lnTo>
                  <a:lnTo>
                    <a:pt x="585" y="430"/>
                  </a:lnTo>
                  <a:lnTo>
                    <a:pt x="588" y="421"/>
                  </a:lnTo>
                  <a:lnTo>
                    <a:pt x="588" y="421"/>
                  </a:lnTo>
                  <a:lnTo>
                    <a:pt x="591" y="416"/>
                  </a:lnTo>
                  <a:lnTo>
                    <a:pt x="597" y="410"/>
                  </a:lnTo>
                  <a:lnTo>
                    <a:pt x="608" y="400"/>
                  </a:lnTo>
                  <a:lnTo>
                    <a:pt x="608" y="400"/>
                  </a:lnTo>
                  <a:lnTo>
                    <a:pt x="613" y="396"/>
                  </a:lnTo>
                  <a:lnTo>
                    <a:pt x="614" y="390"/>
                  </a:lnTo>
                  <a:lnTo>
                    <a:pt x="617" y="376"/>
                  </a:lnTo>
                  <a:lnTo>
                    <a:pt x="617" y="376"/>
                  </a:lnTo>
                  <a:lnTo>
                    <a:pt x="620" y="363"/>
                  </a:lnTo>
                  <a:lnTo>
                    <a:pt x="625" y="351"/>
                  </a:lnTo>
                  <a:lnTo>
                    <a:pt x="625" y="351"/>
                  </a:lnTo>
                  <a:lnTo>
                    <a:pt x="628" y="347"/>
                  </a:lnTo>
                  <a:lnTo>
                    <a:pt x="631" y="344"/>
                  </a:lnTo>
                  <a:lnTo>
                    <a:pt x="638" y="339"/>
                  </a:lnTo>
                  <a:lnTo>
                    <a:pt x="638" y="339"/>
                  </a:lnTo>
                  <a:lnTo>
                    <a:pt x="641" y="341"/>
                  </a:lnTo>
                  <a:lnTo>
                    <a:pt x="647" y="344"/>
                  </a:lnTo>
                  <a:lnTo>
                    <a:pt x="651" y="348"/>
                  </a:lnTo>
                  <a:lnTo>
                    <a:pt x="657" y="351"/>
                  </a:lnTo>
                  <a:lnTo>
                    <a:pt x="657" y="351"/>
                  </a:lnTo>
                  <a:lnTo>
                    <a:pt x="660" y="351"/>
                  </a:lnTo>
                  <a:lnTo>
                    <a:pt x="662" y="348"/>
                  </a:lnTo>
                  <a:lnTo>
                    <a:pt x="663" y="345"/>
                  </a:lnTo>
                  <a:lnTo>
                    <a:pt x="663" y="342"/>
                  </a:lnTo>
                  <a:lnTo>
                    <a:pt x="663" y="342"/>
                  </a:lnTo>
                  <a:lnTo>
                    <a:pt x="662" y="330"/>
                  </a:lnTo>
                  <a:lnTo>
                    <a:pt x="659" y="319"/>
                  </a:lnTo>
                  <a:lnTo>
                    <a:pt x="659" y="319"/>
                  </a:lnTo>
                  <a:lnTo>
                    <a:pt x="659" y="316"/>
                  </a:lnTo>
                  <a:lnTo>
                    <a:pt x="659" y="314"/>
                  </a:lnTo>
                  <a:lnTo>
                    <a:pt x="663" y="313"/>
                  </a:lnTo>
                  <a:lnTo>
                    <a:pt x="668" y="310"/>
                  </a:lnTo>
                  <a:lnTo>
                    <a:pt x="674" y="310"/>
                  </a:lnTo>
                  <a:lnTo>
                    <a:pt x="674" y="310"/>
                  </a:lnTo>
                  <a:lnTo>
                    <a:pt x="678" y="311"/>
                  </a:lnTo>
                  <a:lnTo>
                    <a:pt x="683" y="314"/>
                  </a:lnTo>
                  <a:lnTo>
                    <a:pt x="688" y="325"/>
                  </a:lnTo>
                  <a:lnTo>
                    <a:pt x="688" y="325"/>
                  </a:lnTo>
                  <a:lnTo>
                    <a:pt x="693" y="332"/>
                  </a:lnTo>
                  <a:lnTo>
                    <a:pt x="696" y="344"/>
                  </a:lnTo>
                  <a:lnTo>
                    <a:pt x="699" y="363"/>
                  </a:lnTo>
                  <a:lnTo>
                    <a:pt x="699" y="363"/>
                  </a:lnTo>
                  <a:lnTo>
                    <a:pt x="702" y="366"/>
                  </a:lnTo>
                  <a:lnTo>
                    <a:pt x="705" y="368"/>
                  </a:lnTo>
                  <a:lnTo>
                    <a:pt x="715" y="369"/>
                  </a:lnTo>
                  <a:lnTo>
                    <a:pt x="715" y="369"/>
                  </a:lnTo>
                  <a:lnTo>
                    <a:pt x="718" y="370"/>
                  </a:lnTo>
                  <a:lnTo>
                    <a:pt x="721" y="372"/>
                  </a:lnTo>
                  <a:lnTo>
                    <a:pt x="725" y="376"/>
                  </a:lnTo>
                  <a:lnTo>
                    <a:pt x="728" y="382"/>
                  </a:lnTo>
                  <a:lnTo>
                    <a:pt x="731" y="387"/>
                  </a:lnTo>
                  <a:lnTo>
                    <a:pt x="731" y="387"/>
                  </a:lnTo>
                  <a:lnTo>
                    <a:pt x="734" y="387"/>
                  </a:lnTo>
                  <a:lnTo>
                    <a:pt x="736" y="387"/>
                  </a:lnTo>
                  <a:lnTo>
                    <a:pt x="736" y="381"/>
                  </a:lnTo>
                  <a:lnTo>
                    <a:pt x="737" y="368"/>
                  </a:lnTo>
                  <a:lnTo>
                    <a:pt x="737" y="368"/>
                  </a:lnTo>
                  <a:lnTo>
                    <a:pt x="737" y="363"/>
                  </a:lnTo>
                  <a:lnTo>
                    <a:pt x="739" y="359"/>
                  </a:lnTo>
                  <a:lnTo>
                    <a:pt x="742" y="356"/>
                  </a:lnTo>
                  <a:lnTo>
                    <a:pt x="746" y="353"/>
                  </a:lnTo>
                  <a:lnTo>
                    <a:pt x="746" y="353"/>
                  </a:lnTo>
                  <a:lnTo>
                    <a:pt x="749" y="353"/>
                  </a:lnTo>
                  <a:lnTo>
                    <a:pt x="751" y="354"/>
                  </a:lnTo>
                  <a:lnTo>
                    <a:pt x="752" y="357"/>
                  </a:lnTo>
                  <a:lnTo>
                    <a:pt x="754" y="363"/>
                  </a:lnTo>
                  <a:lnTo>
                    <a:pt x="755" y="369"/>
                  </a:lnTo>
                  <a:lnTo>
                    <a:pt x="755" y="369"/>
                  </a:lnTo>
                  <a:lnTo>
                    <a:pt x="760" y="376"/>
                  </a:lnTo>
                  <a:lnTo>
                    <a:pt x="765" y="382"/>
                  </a:lnTo>
                  <a:lnTo>
                    <a:pt x="771" y="388"/>
                  </a:lnTo>
                  <a:lnTo>
                    <a:pt x="776" y="390"/>
                  </a:lnTo>
                  <a:lnTo>
                    <a:pt x="776" y="390"/>
                  </a:lnTo>
                  <a:lnTo>
                    <a:pt x="779" y="390"/>
                  </a:lnTo>
                  <a:lnTo>
                    <a:pt x="780" y="387"/>
                  </a:lnTo>
                  <a:lnTo>
                    <a:pt x="782" y="376"/>
                  </a:lnTo>
                  <a:lnTo>
                    <a:pt x="782" y="376"/>
                  </a:lnTo>
                  <a:lnTo>
                    <a:pt x="782" y="354"/>
                  </a:lnTo>
                  <a:lnTo>
                    <a:pt x="780" y="333"/>
                  </a:lnTo>
                  <a:lnTo>
                    <a:pt x="780" y="333"/>
                  </a:lnTo>
                  <a:lnTo>
                    <a:pt x="776" y="313"/>
                  </a:lnTo>
                  <a:lnTo>
                    <a:pt x="768" y="289"/>
                  </a:lnTo>
                  <a:lnTo>
                    <a:pt x="768" y="289"/>
                  </a:lnTo>
                  <a:lnTo>
                    <a:pt x="765" y="277"/>
                  </a:lnTo>
                  <a:lnTo>
                    <a:pt x="764" y="259"/>
                  </a:lnTo>
                  <a:lnTo>
                    <a:pt x="761" y="230"/>
                  </a:lnTo>
                  <a:lnTo>
                    <a:pt x="761" y="230"/>
                  </a:lnTo>
                  <a:lnTo>
                    <a:pt x="761" y="228"/>
                  </a:lnTo>
                  <a:lnTo>
                    <a:pt x="761" y="228"/>
                  </a:lnTo>
                  <a:lnTo>
                    <a:pt x="757" y="227"/>
                  </a:lnTo>
                  <a:lnTo>
                    <a:pt x="755" y="225"/>
                  </a:lnTo>
                  <a:lnTo>
                    <a:pt x="749" y="216"/>
                  </a:lnTo>
                  <a:lnTo>
                    <a:pt x="749" y="216"/>
                  </a:lnTo>
                  <a:lnTo>
                    <a:pt x="745" y="213"/>
                  </a:lnTo>
                  <a:lnTo>
                    <a:pt x="739" y="212"/>
                  </a:lnTo>
                  <a:lnTo>
                    <a:pt x="734" y="212"/>
                  </a:lnTo>
                  <a:lnTo>
                    <a:pt x="730" y="211"/>
                  </a:lnTo>
                  <a:lnTo>
                    <a:pt x="730" y="211"/>
                  </a:lnTo>
                  <a:lnTo>
                    <a:pt x="728" y="211"/>
                  </a:lnTo>
                  <a:lnTo>
                    <a:pt x="727" y="209"/>
                  </a:lnTo>
                  <a:lnTo>
                    <a:pt x="728" y="206"/>
                  </a:lnTo>
                  <a:lnTo>
                    <a:pt x="730" y="202"/>
                  </a:lnTo>
                  <a:lnTo>
                    <a:pt x="730" y="197"/>
                  </a:lnTo>
                  <a:lnTo>
                    <a:pt x="730" y="197"/>
                  </a:lnTo>
                  <a:lnTo>
                    <a:pt x="728" y="196"/>
                  </a:lnTo>
                  <a:lnTo>
                    <a:pt x="727" y="196"/>
                  </a:lnTo>
                  <a:lnTo>
                    <a:pt x="722" y="197"/>
                  </a:lnTo>
                  <a:lnTo>
                    <a:pt x="717" y="202"/>
                  </a:lnTo>
                  <a:lnTo>
                    <a:pt x="712" y="206"/>
                  </a:lnTo>
                  <a:lnTo>
                    <a:pt x="712" y="206"/>
                  </a:lnTo>
                  <a:lnTo>
                    <a:pt x="709" y="208"/>
                  </a:lnTo>
                  <a:lnTo>
                    <a:pt x="708" y="206"/>
                  </a:lnTo>
                  <a:lnTo>
                    <a:pt x="708" y="200"/>
                  </a:lnTo>
                  <a:lnTo>
                    <a:pt x="708" y="193"/>
                  </a:lnTo>
                  <a:lnTo>
                    <a:pt x="708" y="193"/>
                  </a:lnTo>
                  <a:lnTo>
                    <a:pt x="709" y="185"/>
                  </a:lnTo>
                  <a:lnTo>
                    <a:pt x="711" y="181"/>
                  </a:lnTo>
                  <a:lnTo>
                    <a:pt x="715" y="176"/>
                  </a:lnTo>
                  <a:lnTo>
                    <a:pt x="715" y="176"/>
                  </a:lnTo>
                  <a:lnTo>
                    <a:pt x="696" y="159"/>
                  </a:lnTo>
                  <a:lnTo>
                    <a:pt x="683" y="147"/>
                  </a:lnTo>
                  <a:lnTo>
                    <a:pt x="677" y="144"/>
                  </a:lnTo>
                  <a:lnTo>
                    <a:pt x="674" y="142"/>
                  </a:lnTo>
                  <a:lnTo>
                    <a:pt x="674" y="142"/>
                  </a:lnTo>
                  <a:lnTo>
                    <a:pt x="671" y="144"/>
                  </a:lnTo>
                  <a:lnTo>
                    <a:pt x="665" y="145"/>
                  </a:lnTo>
                  <a:lnTo>
                    <a:pt x="651" y="147"/>
                  </a:lnTo>
                  <a:lnTo>
                    <a:pt x="651" y="147"/>
                  </a:lnTo>
                  <a:lnTo>
                    <a:pt x="645" y="147"/>
                  </a:lnTo>
                  <a:lnTo>
                    <a:pt x="638" y="145"/>
                  </a:lnTo>
                  <a:lnTo>
                    <a:pt x="632" y="142"/>
                  </a:lnTo>
                  <a:lnTo>
                    <a:pt x="628" y="138"/>
                  </a:lnTo>
                  <a:lnTo>
                    <a:pt x="628" y="138"/>
                  </a:lnTo>
                  <a:lnTo>
                    <a:pt x="626" y="135"/>
                  </a:lnTo>
                  <a:lnTo>
                    <a:pt x="625" y="131"/>
                  </a:lnTo>
                  <a:lnTo>
                    <a:pt x="626" y="123"/>
                  </a:lnTo>
                  <a:lnTo>
                    <a:pt x="628" y="116"/>
                  </a:lnTo>
                  <a:lnTo>
                    <a:pt x="626" y="110"/>
                  </a:lnTo>
                  <a:lnTo>
                    <a:pt x="626" y="110"/>
                  </a:lnTo>
                  <a:lnTo>
                    <a:pt x="625" y="105"/>
                  </a:lnTo>
                  <a:lnTo>
                    <a:pt x="620" y="101"/>
                  </a:lnTo>
                  <a:lnTo>
                    <a:pt x="611" y="92"/>
                  </a:lnTo>
                  <a:lnTo>
                    <a:pt x="611" y="92"/>
                  </a:lnTo>
                  <a:lnTo>
                    <a:pt x="608" y="89"/>
                  </a:lnTo>
                  <a:lnTo>
                    <a:pt x="608" y="85"/>
                  </a:lnTo>
                  <a:lnTo>
                    <a:pt x="608" y="77"/>
                  </a:lnTo>
                  <a:lnTo>
                    <a:pt x="608" y="77"/>
                  </a:lnTo>
                  <a:lnTo>
                    <a:pt x="606" y="76"/>
                  </a:lnTo>
                  <a:lnTo>
                    <a:pt x="603" y="76"/>
                  </a:lnTo>
                  <a:lnTo>
                    <a:pt x="588" y="74"/>
                  </a:lnTo>
                  <a:lnTo>
                    <a:pt x="588" y="7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4" name="Freeform 63">
              <a:extLst>
                <a:ext uri="{FF2B5EF4-FFF2-40B4-BE49-F238E27FC236}">
                  <a16:creationId xmlns:a16="http://schemas.microsoft.com/office/drawing/2014/main" id="{3B87E2F2-6281-A743-B2FD-BE829CA9D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9550" y="4953000"/>
              <a:ext cx="360363" cy="346075"/>
            </a:xfrm>
            <a:custGeom>
              <a:avLst/>
              <a:gdLst>
                <a:gd name="T0" fmla="*/ 150 w 227"/>
                <a:gd name="T1" fmla="*/ 148 h 218"/>
                <a:gd name="T2" fmla="*/ 174 w 227"/>
                <a:gd name="T3" fmla="*/ 135 h 218"/>
                <a:gd name="T4" fmla="*/ 197 w 227"/>
                <a:gd name="T5" fmla="*/ 114 h 218"/>
                <a:gd name="T6" fmla="*/ 209 w 227"/>
                <a:gd name="T7" fmla="*/ 105 h 218"/>
                <a:gd name="T8" fmla="*/ 217 w 227"/>
                <a:gd name="T9" fmla="*/ 98 h 218"/>
                <a:gd name="T10" fmla="*/ 227 w 227"/>
                <a:gd name="T11" fmla="*/ 71 h 218"/>
                <a:gd name="T12" fmla="*/ 224 w 227"/>
                <a:gd name="T13" fmla="*/ 61 h 218"/>
                <a:gd name="T14" fmla="*/ 218 w 227"/>
                <a:gd name="T15" fmla="*/ 53 h 218"/>
                <a:gd name="T16" fmla="*/ 202 w 227"/>
                <a:gd name="T17" fmla="*/ 55 h 218"/>
                <a:gd name="T18" fmla="*/ 188 w 227"/>
                <a:gd name="T19" fmla="*/ 50 h 218"/>
                <a:gd name="T20" fmla="*/ 185 w 227"/>
                <a:gd name="T21" fmla="*/ 44 h 218"/>
                <a:gd name="T22" fmla="*/ 188 w 227"/>
                <a:gd name="T23" fmla="*/ 38 h 218"/>
                <a:gd name="T24" fmla="*/ 194 w 227"/>
                <a:gd name="T25" fmla="*/ 28 h 218"/>
                <a:gd name="T26" fmla="*/ 188 w 227"/>
                <a:gd name="T27" fmla="*/ 16 h 218"/>
                <a:gd name="T28" fmla="*/ 182 w 227"/>
                <a:gd name="T29" fmla="*/ 13 h 218"/>
                <a:gd name="T30" fmla="*/ 163 w 227"/>
                <a:gd name="T31" fmla="*/ 10 h 218"/>
                <a:gd name="T32" fmla="*/ 156 w 227"/>
                <a:gd name="T33" fmla="*/ 13 h 218"/>
                <a:gd name="T34" fmla="*/ 142 w 227"/>
                <a:gd name="T35" fmla="*/ 28 h 218"/>
                <a:gd name="T36" fmla="*/ 131 w 227"/>
                <a:gd name="T37" fmla="*/ 37 h 218"/>
                <a:gd name="T38" fmla="*/ 123 w 227"/>
                <a:gd name="T39" fmla="*/ 35 h 218"/>
                <a:gd name="T40" fmla="*/ 117 w 227"/>
                <a:gd name="T41" fmla="*/ 28 h 218"/>
                <a:gd name="T42" fmla="*/ 108 w 227"/>
                <a:gd name="T43" fmla="*/ 9 h 218"/>
                <a:gd name="T44" fmla="*/ 101 w 227"/>
                <a:gd name="T45" fmla="*/ 1 h 218"/>
                <a:gd name="T46" fmla="*/ 80 w 227"/>
                <a:gd name="T47" fmla="*/ 10 h 218"/>
                <a:gd name="T48" fmla="*/ 58 w 227"/>
                <a:gd name="T49" fmla="*/ 25 h 218"/>
                <a:gd name="T50" fmla="*/ 52 w 227"/>
                <a:gd name="T51" fmla="*/ 24 h 218"/>
                <a:gd name="T52" fmla="*/ 49 w 227"/>
                <a:gd name="T53" fmla="*/ 33 h 218"/>
                <a:gd name="T54" fmla="*/ 46 w 227"/>
                <a:gd name="T55" fmla="*/ 41 h 218"/>
                <a:gd name="T56" fmla="*/ 36 w 227"/>
                <a:gd name="T57" fmla="*/ 59 h 218"/>
                <a:gd name="T58" fmla="*/ 31 w 227"/>
                <a:gd name="T59" fmla="*/ 56 h 218"/>
                <a:gd name="T60" fmla="*/ 25 w 227"/>
                <a:gd name="T61" fmla="*/ 53 h 218"/>
                <a:gd name="T62" fmla="*/ 2 w 227"/>
                <a:gd name="T63" fmla="*/ 64 h 218"/>
                <a:gd name="T64" fmla="*/ 0 w 227"/>
                <a:gd name="T65" fmla="*/ 77 h 218"/>
                <a:gd name="T66" fmla="*/ 3 w 227"/>
                <a:gd name="T67" fmla="*/ 83 h 218"/>
                <a:gd name="T68" fmla="*/ 14 w 227"/>
                <a:gd name="T69" fmla="*/ 101 h 218"/>
                <a:gd name="T70" fmla="*/ 24 w 227"/>
                <a:gd name="T71" fmla="*/ 98 h 218"/>
                <a:gd name="T72" fmla="*/ 37 w 227"/>
                <a:gd name="T73" fmla="*/ 93 h 218"/>
                <a:gd name="T74" fmla="*/ 48 w 227"/>
                <a:gd name="T75" fmla="*/ 102 h 218"/>
                <a:gd name="T76" fmla="*/ 48 w 227"/>
                <a:gd name="T77" fmla="*/ 126 h 218"/>
                <a:gd name="T78" fmla="*/ 52 w 227"/>
                <a:gd name="T79" fmla="*/ 136 h 218"/>
                <a:gd name="T80" fmla="*/ 63 w 227"/>
                <a:gd name="T81" fmla="*/ 136 h 218"/>
                <a:gd name="T82" fmla="*/ 68 w 227"/>
                <a:gd name="T83" fmla="*/ 133 h 218"/>
                <a:gd name="T84" fmla="*/ 77 w 227"/>
                <a:gd name="T85" fmla="*/ 145 h 218"/>
                <a:gd name="T86" fmla="*/ 77 w 227"/>
                <a:gd name="T87" fmla="*/ 150 h 218"/>
                <a:gd name="T88" fmla="*/ 73 w 227"/>
                <a:gd name="T89" fmla="*/ 166 h 218"/>
                <a:gd name="T90" fmla="*/ 82 w 227"/>
                <a:gd name="T91" fmla="*/ 176 h 218"/>
                <a:gd name="T92" fmla="*/ 89 w 227"/>
                <a:gd name="T93" fmla="*/ 182 h 218"/>
                <a:gd name="T94" fmla="*/ 98 w 227"/>
                <a:gd name="T95" fmla="*/ 200 h 218"/>
                <a:gd name="T96" fmla="*/ 104 w 227"/>
                <a:gd name="T97" fmla="*/ 210 h 218"/>
                <a:gd name="T98" fmla="*/ 113 w 227"/>
                <a:gd name="T99" fmla="*/ 216 h 218"/>
                <a:gd name="T100" fmla="*/ 131 w 227"/>
                <a:gd name="T101" fmla="*/ 218 h 218"/>
                <a:gd name="T102" fmla="*/ 137 w 227"/>
                <a:gd name="T103" fmla="*/ 215 h 218"/>
                <a:gd name="T104" fmla="*/ 150 w 227"/>
                <a:gd name="T105" fmla="*/ 207 h 218"/>
                <a:gd name="T106" fmla="*/ 157 w 227"/>
                <a:gd name="T107" fmla="*/ 201 h 218"/>
                <a:gd name="T108" fmla="*/ 154 w 227"/>
                <a:gd name="T109" fmla="*/ 200 h 218"/>
                <a:gd name="T110" fmla="*/ 145 w 227"/>
                <a:gd name="T111" fmla="*/ 190 h 218"/>
                <a:gd name="T112" fmla="*/ 142 w 227"/>
                <a:gd name="T113" fmla="*/ 166 h 218"/>
                <a:gd name="T114" fmla="*/ 141 w 227"/>
                <a:gd name="T115" fmla="*/ 15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7" h="218">
                  <a:moveTo>
                    <a:pt x="141" y="152"/>
                  </a:moveTo>
                  <a:lnTo>
                    <a:pt x="141" y="152"/>
                  </a:lnTo>
                  <a:lnTo>
                    <a:pt x="150" y="148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74" y="135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97" y="114"/>
                  </a:lnTo>
                  <a:lnTo>
                    <a:pt x="205" y="110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7" y="98"/>
                  </a:lnTo>
                  <a:lnTo>
                    <a:pt x="221" y="89"/>
                  </a:lnTo>
                  <a:lnTo>
                    <a:pt x="225" y="78"/>
                  </a:lnTo>
                  <a:lnTo>
                    <a:pt x="227" y="71"/>
                  </a:lnTo>
                  <a:lnTo>
                    <a:pt x="227" y="71"/>
                  </a:lnTo>
                  <a:lnTo>
                    <a:pt x="225" y="65"/>
                  </a:lnTo>
                  <a:lnTo>
                    <a:pt x="224" y="61"/>
                  </a:lnTo>
                  <a:lnTo>
                    <a:pt x="221" y="55"/>
                  </a:lnTo>
                  <a:lnTo>
                    <a:pt x="218" y="53"/>
                  </a:lnTo>
                  <a:lnTo>
                    <a:pt x="218" y="53"/>
                  </a:lnTo>
                  <a:lnTo>
                    <a:pt x="209" y="53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197" y="55"/>
                  </a:lnTo>
                  <a:lnTo>
                    <a:pt x="193" y="53"/>
                  </a:lnTo>
                  <a:lnTo>
                    <a:pt x="188" y="50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5" y="44"/>
                  </a:lnTo>
                  <a:lnTo>
                    <a:pt x="185" y="43"/>
                  </a:lnTo>
                  <a:lnTo>
                    <a:pt x="188" y="38"/>
                  </a:lnTo>
                  <a:lnTo>
                    <a:pt x="188" y="38"/>
                  </a:lnTo>
                  <a:lnTo>
                    <a:pt x="193" y="34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1" y="22"/>
                  </a:lnTo>
                  <a:lnTo>
                    <a:pt x="188" y="16"/>
                  </a:lnTo>
                  <a:lnTo>
                    <a:pt x="188" y="16"/>
                  </a:lnTo>
                  <a:lnTo>
                    <a:pt x="185" y="15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78" y="10"/>
                  </a:lnTo>
                  <a:lnTo>
                    <a:pt x="174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59" y="12"/>
                  </a:lnTo>
                  <a:lnTo>
                    <a:pt x="156" y="13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42" y="28"/>
                  </a:lnTo>
                  <a:lnTo>
                    <a:pt x="137" y="34"/>
                  </a:lnTo>
                  <a:lnTo>
                    <a:pt x="134" y="37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26" y="37"/>
                  </a:lnTo>
                  <a:lnTo>
                    <a:pt x="123" y="35"/>
                  </a:lnTo>
                  <a:lnTo>
                    <a:pt x="122" y="33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5" y="4"/>
                  </a:lnTo>
                  <a:lnTo>
                    <a:pt x="101" y="1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80" y="10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58" y="25"/>
                  </a:lnTo>
                  <a:lnTo>
                    <a:pt x="55" y="25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1" y="27"/>
                  </a:lnTo>
                  <a:lnTo>
                    <a:pt x="49" y="33"/>
                  </a:lnTo>
                  <a:lnTo>
                    <a:pt x="49" y="37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2" y="52"/>
                  </a:lnTo>
                  <a:lnTo>
                    <a:pt x="39" y="56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3" y="59"/>
                  </a:lnTo>
                  <a:lnTo>
                    <a:pt x="31" y="56"/>
                  </a:lnTo>
                  <a:lnTo>
                    <a:pt x="28" y="55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18" y="55"/>
                  </a:lnTo>
                  <a:lnTo>
                    <a:pt x="11" y="59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0" y="71"/>
                  </a:lnTo>
                  <a:lnTo>
                    <a:pt x="0" y="77"/>
                  </a:lnTo>
                  <a:lnTo>
                    <a:pt x="2" y="80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8" y="87"/>
                  </a:lnTo>
                  <a:lnTo>
                    <a:pt x="11" y="95"/>
                  </a:lnTo>
                  <a:lnTo>
                    <a:pt x="14" y="101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24" y="98"/>
                  </a:lnTo>
                  <a:lnTo>
                    <a:pt x="31" y="95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42" y="95"/>
                  </a:lnTo>
                  <a:lnTo>
                    <a:pt x="46" y="98"/>
                  </a:lnTo>
                  <a:lnTo>
                    <a:pt x="48" y="102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8" y="126"/>
                  </a:lnTo>
                  <a:lnTo>
                    <a:pt x="48" y="132"/>
                  </a:lnTo>
                  <a:lnTo>
                    <a:pt x="49" y="135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7" y="138"/>
                  </a:lnTo>
                  <a:lnTo>
                    <a:pt x="63" y="136"/>
                  </a:lnTo>
                  <a:lnTo>
                    <a:pt x="65" y="135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73" y="136"/>
                  </a:lnTo>
                  <a:lnTo>
                    <a:pt x="76" y="139"/>
                  </a:lnTo>
                  <a:lnTo>
                    <a:pt x="77" y="145"/>
                  </a:lnTo>
                  <a:lnTo>
                    <a:pt x="77" y="147"/>
                  </a:lnTo>
                  <a:lnTo>
                    <a:pt x="77" y="150"/>
                  </a:lnTo>
                  <a:lnTo>
                    <a:pt x="77" y="150"/>
                  </a:lnTo>
                  <a:lnTo>
                    <a:pt x="71" y="157"/>
                  </a:lnTo>
                  <a:lnTo>
                    <a:pt x="71" y="161"/>
                  </a:lnTo>
                  <a:lnTo>
                    <a:pt x="73" y="166"/>
                  </a:lnTo>
                  <a:lnTo>
                    <a:pt x="73" y="166"/>
                  </a:lnTo>
                  <a:lnTo>
                    <a:pt x="76" y="172"/>
                  </a:lnTo>
                  <a:lnTo>
                    <a:pt x="82" y="176"/>
                  </a:lnTo>
                  <a:lnTo>
                    <a:pt x="86" y="179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94" y="190"/>
                  </a:lnTo>
                  <a:lnTo>
                    <a:pt x="97" y="194"/>
                  </a:lnTo>
                  <a:lnTo>
                    <a:pt x="98" y="200"/>
                  </a:lnTo>
                  <a:lnTo>
                    <a:pt x="98" y="200"/>
                  </a:lnTo>
                  <a:lnTo>
                    <a:pt x="100" y="204"/>
                  </a:lnTo>
                  <a:lnTo>
                    <a:pt x="104" y="210"/>
                  </a:lnTo>
                  <a:lnTo>
                    <a:pt x="108" y="213"/>
                  </a:lnTo>
                  <a:lnTo>
                    <a:pt x="113" y="216"/>
                  </a:lnTo>
                  <a:lnTo>
                    <a:pt x="113" y="216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31" y="218"/>
                  </a:lnTo>
                  <a:lnTo>
                    <a:pt x="134" y="216"/>
                  </a:lnTo>
                  <a:lnTo>
                    <a:pt x="137" y="215"/>
                  </a:lnTo>
                  <a:lnTo>
                    <a:pt x="137" y="215"/>
                  </a:lnTo>
                  <a:lnTo>
                    <a:pt x="140" y="212"/>
                  </a:lnTo>
                  <a:lnTo>
                    <a:pt x="144" y="210"/>
                  </a:lnTo>
                  <a:lnTo>
                    <a:pt x="150" y="207"/>
                  </a:lnTo>
                  <a:lnTo>
                    <a:pt x="150" y="207"/>
                  </a:lnTo>
                  <a:lnTo>
                    <a:pt x="156" y="204"/>
                  </a:lnTo>
                  <a:lnTo>
                    <a:pt x="157" y="201"/>
                  </a:lnTo>
                  <a:lnTo>
                    <a:pt x="156" y="201"/>
                  </a:lnTo>
                  <a:lnTo>
                    <a:pt x="154" y="200"/>
                  </a:lnTo>
                  <a:lnTo>
                    <a:pt x="154" y="200"/>
                  </a:lnTo>
                  <a:lnTo>
                    <a:pt x="150" y="197"/>
                  </a:lnTo>
                  <a:lnTo>
                    <a:pt x="148" y="194"/>
                  </a:lnTo>
                  <a:lnTo>
                    <a:pt x="145" y="190"/>
                  </a:lnTo>
                  <a:lnTo>
                    <a:pt x="145" y="184"/>
                  </a:lnTo>
                  <a:lnTo>
                    <a:pt x="145" y="184"/>
                  </a:lnTo>
                  <a:lnTo>
                    <a:pt x="142" y="166"/>
                  </a:lnTo>
                  <a:lnTo>
                    <a:pt x="141" y="157"/>
                  </a:lnTo>
                  <a:lnTo>
                    <a:pt x="141" y="154"/>
                  </a:lnTo>
                  <a:lnTo>
                    <a:pt x="141" y="152"/>
                  </a:lnTo>
                  <a:lnTo>
                    <a:pt x="141" y="15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5" name="Freeform 64">
              <a:extLst>
                <a:ext uri="{FF2B5EF4-FFF2-40B4-BE49-F238E27FC236}">
                  <a16:creationId xmlns:a16="http://schemas.microsoft.com/office/drawing/2014/main" id="{57F83825-D9DA-3148-BFCD-AB0AC488CE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3413125"/>
              <a:ext cx="706438" cy="693737"/>
            </a:xfrm>
            <a:custGeom>
              <a:avLst/>
              <a:gdLst>
                <a:gd name="T0" fmla="*/ 432 w 445"/>
                <a:gd name="T1" fmla="*/ 303 h 437"/>
                <a:gd name="T2" fmla="*/ 426 w 445"/>
                <a:gd name="T3" fmla="*/ 286 h 437"/>
                <a:gd name="T4" fmla="*/ 404 w 445"/>
                <a:gd name="T5" fmla="*/ 289 h 437"/>
                <a:gd name="T6" fmla="*/ 395 w 445"/>
                <a:gd name="T7" fmla="*/ 271 h 437"/>
                <a:gd name="T8" fmla="*/ 377 w 445"/>
                <a:gd name="T9" fmla="*/ 250 h 437"/>
                <a:gd name="T10" fmla="*/ 365 w 445"/>
                <a:gd name="T11" fmla="*/ 259 h 437"/>
                <a:gd name="T12" fmla="*/ 352 w 445"/>
                <a:gd name="T13" fmla="*/ 252 h 437"/>
                <a:gd name="T14" fmla="*/ 339 w 445"/>
                <a:gd name="T15" fmla="*/ 252 h 437"/>
                <a:gd name="T16" fmla="*/ 284 w 445"/>
                <a:gd name="T17" fmla="*/ 112 h 437"/>
                <a:gd name="T18" fmla="*/ 274 w 445"/>
                <a:gd name="T19" fmla="*/ 75 h 437"/>
                <a:gd name="T20" fmla="*/ 268 w 445"/>
                <a:gd name="T21" fmla="*/ 62 h 437"/>
                <a:gd name="T22" fmla="*/ 277 w 445"/>
                <a:gd name="T23" fmla="*/ 29 h 437"/>
                <a:gd name="T24" fmla="*/ 253 w 445"/>
                <a:gd name="T25" fmla="*/ 25 h 437"/>
                <a:gd name="T26" fmla="*/ 157 w 445"/>
                <a:gd name="T27" fmla="*/ 4 h 437"/>
                <a:gd name="T28" fmla="*/ 204 w 445"/>
                <a:gd name="T29" fmla="*/ 46 h 437"/>
                <a:gd name="T30" fmla="*/ 200 w 445"/>
                <a:gd name="T31" fmla="*/ 55 h 437"/>
                <a:gd name="T32" fmla="*/ 168 w 445"/>
                <a:gd name="T33" fmla="*/ 105 h 437"/>
                <a:gd name="T34" fmla="*/ 145 w 445"/>
                <a:gd name="T35" fmla="*/ 114 h 437"/>
                <a:gd name="T36" fmla="*/ 109 w 445"/>
                <a:gd name="T37" fmla="*/ 102 h 437"/>
                <a:gd name="T38" fmla="*/ 80 w 445"/>
                <a:gd name="T39" fmla="*/ 80 h 437"/>
                <a:gd name="T40" fmla="*/ 62 w 445"/>
                <a:gd name="T41" fmla="*/ 77 h 437"/>
                <a:gd name="T42" fmla="*/ 3 w 445"/>
                <a:gd name="T43" fmla="*/ 81 h 437"/>
                <a:gd name="T44" fmla="*/ 7 w 445"/>
                <a:gd name="T45" fmla="*/ 124 h 437"/>
                <a:gd name="T46" fmla="*/ 14 w 445"/>
                <a:gd name="T47" fmla="*/ 141 h 437"/>
                <a:gd name="T48" fmla="*/ 14 w 445"/>
                <a:gd name="T49" fmla="*/ 175 h 437"/>
                <a:gd name="T50" fmla="*/ 1 w 445"/>
                <a:gd name="T51" fmla="*/ 185 h 437"/>
                <a:gd name="T52" fmla="*/ 7 w 445"/>
                <a:gd name="T53" fmla="*/ 195 h 437"/>
                <a:gd name="T54" fmla="*/ 0 w 445"/>
                <a:gd name="T55" fmla="*/ 216 h 437"/>
                <a:gd name="T56" fmla="*/ 8 w 445"/>
                <a:gd name="T57" fmla="*/ 234 h 437"/>
                <a:gd name="T58" fmla="*/ 31 w 445"/>
                <a:gd name="T59" fmla="*/ 221 h 437"/>
                <a:gd name="T60" fmla="*/ 51 w 445"/>
                <a:gd name="T61" fmla="*/ 232 h 437"/>
                <a:gd name="T62" fmla="*/ 81 w 445"/>
                <a:gd name="T63" fmla="*/ 249 h 437"/>
                <a:gd name="T64" fmla="*/ 99 w 445"/>
                <a:gd name="T65" fmla="*/ 253 h 437"/>
                <a:gd name="T66" fmla="*/ 117 w 445"/>
                <a:gd name="T67" fmla="*/ 259 h 437"/>
                <a:gd name="T68" fmla="*/ 151 w 445"/>
                <a:gd name="T69" fmla="*/ 249 h 437"/>
                <a:gd name="T70" fmla="*/ 155 w 445"/>
                <a:gd name="T71" fmla="*/ 265 h 437"/>
                <a:gd name="T72" fmla="*/ 162 w 445"/>
                <a:gd name="T73" fmla="*/ 287 h 437"/>
                <a:gd name="T74" fmla="*/ 149 w 445"/>
                <a:gd name="T75" fmla="*/ 314 h 437"/>
                <a:gd name="T76" fmla="*/ 160 w 445"/>
                <a:gd name="T77" fmla="*/ 321 h 437"/>
                <a:gd name="T78" fmla="*/ 183 w 445"/>
                <a:gd name="T79" fmla="*/ 318 h 437"/>
                <a:gd name="T80" fmla="*/ 197 w 445"/>
                <a:gd name="T81" fmla="*/ 343 h 437"/>
                <a:gd name="T82" fmla="*/ 208 w 445"/>
                <a:gd name="T83" fmla="*/ 351 h 437"/>
                <a:gd name="T84" fmla="*/ 205 w 445"/>
                <a:gd name="T85" fmla="*/ 379 h 437"/>
                <a:gd name="T86" fmla="*/ 217 w 445"/>
                <a:gd name="T87" fmla="*/ 400 h 437"/>
                <a:gd name="T88" fmla="*/ 222 w 445"/>
                <a:gd name="T89" fmla="*/ 423 h 437"/>
                <a:gd name="T90" fmla="*/ 239 w 445"/>
                <a:gd name="T91" fmla="*/ 425 h 437"/>
                <a:gd name="T92" fmla="*/ 266 w 445"/>
                <a:gd name="T93" fmla="*/ 437 h 437"/>
                <a:gd name="T94" fmla="*/ 282 w 445"/>
                <a:gd name="T95" fmla="*/ 425 h 437"/>
                <a:gd name="T96" fmla="*/ 302 w 445"/>
                <a:gd name="T97" fmla="*/ 415 h 437"/>
                <a:gd name="T98" fmla="*/ 316 w 445"/>
                <a:gd name="T99" fmla="*/ 391 h 437"/>
                <a:gd name="T100" fmla="*/ 339 w 445"/>
                <a:gd name="T101" fmla="*/ 375 h 437"/>
                <a:gd name="T102" fmla="*/ 373 w 445"/>
                <a:gd name="T103" fmla="*/ 349 h 437"/>
                <a:gd name="T104" fmla="*/ 391 w 445"/>
                <a:gd name="T105" fmla="*/ 345 h 437"/>
                <a:gd name="T106" fmla="*/ 407 w 445"/>
                <a:gd name="T107" fmla="*/ 346 h 437"/>
                <a:gd name="T108" fmla="*/ 419 w 445"/>
                <a:gd name="T109" fmla="*/ 342 h 437"/>
                <a:gd name="T110" fmla="*/ 431 w 445"/>
                <a:gd name="T111" fmla="*/ 346 h 437"/>
                <a:gd name="T112" fmla="*/ 435 w 445"/>
                <a:gd name="T113" fmla="*/ 33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5" h="437">
                  <a:moveTo>
                    <a:pt x="432" y="324"/>
                  </a:moveTo>
                  <a:lnTo>
                    <a:pt x="432" y="324"/>
                  </a:lnTo>
                  <a:lnTo>
                    <a:pt x="431" y="318"/>
                  </a:lnTo>
                  <a:lnTo>
                    <a:pt x="431" y="314"/>
                  </a:lnTo>
                  <a:lnTo>
                    <a:pt x="432" y="303"/>
                  </a:lnTo>
                  <a:lnTo>
                    <a:pt x="432" y="303"/>
                  </a:lnTo>
                  <a:lnTo>
                    <a:pt x="432" y="298"/>
                  </a:lnTo>
                  <a:lnTo>
                    <a:pt x="432" y="293"/>
                  </a:lnTo>
                  <a:lnTo>
                    <a:pt x="431" y="289"/>
                  </a:lnTo>
                  <a:lnTo>
                    <a:pt x="426" y="286"/>
                  </a:lnTo>
                  <a:lnTo>
                    <a:pt x="426" y="286"/>
                  </a:lnTo>
                  <a:lnTo>
                    <a:pt x="420" y="284"/>
                  </a:lnTo>
                  <a:lnTo>
                    <a:pt x="416" y="284"/>
                  </a:lnTo>
                  <a:lnTo>
                    <a:pt x="404" y="289"/>
                  </a:lnTo>
                  <a:lnTo>
                    <a:pt x="404" y="289"/>
                  </a:lnTo>
                  <a:lnTo>
                    <a:pt x="402" y="289"/>
                  </a:lnTo>
                  <a:lnTo>
                    <a:pt x="399" y="289"/>
                  </a:lnTo>
                  <a:lnTo>
                    <a:pt x="398" y="284"/>
                  </a:lnTo>
                  <a:lnTo>
                    <a:pt x="396" y="278"/>
                  </a:lnTo>
                  <a:lnTo>
                    <a:pt x="395" y="271"/>
                  </a:lnTo>
                  <a:lnTo>
                    <a:pt x="395" y="271"/>
                  </a:lnTo>
                  <a:lnTo>
                    <a:pt x="393" y="262"/>
                  </a:lnTo>
                  <a:lnTo>
                    <a:pt x="389" y="258"/>
                  </a:lnTo>
                  <a:lnTo>
                    <a:pt x="385" y="253"/>
                  </a:lnTo>
                  <a:lnTo>
                    <a:pt x="377" y="250"/>
                  </a:lnTo>
                  <a:lnTo>
                    <a:pt x="377" y="250"/>
                  </a:lnTo>
                  <a:lnTo>
                    <a:pt x="371" y="250"/>
                  </a:lnTo>
                  <a:lnTo>
                    <a:pt x="368" y="252"/>
                  </a:lnTo>
                  <a:lnTo>
                    <a:pt x="367" y="255"/>
                  </a:lnTo>
                  <a:lnTo>
                    <a:pt x="365" y="259"/>
                  </a:lnTo>
                  <a:lnTo>
                    <a:pt x="365" y="259"/>
                  </a:lnTo>
                  <a:lnTo>
                    <a:pt x="365" y="261"/>
                  </a:lnTo>
                  <a:lnTo>
                    <a:pt x="364" y="261"/>
                  </a:lnTo>
                  <a:lnTo>
                    <a:pt x="361" y="259"/>
                  </a:lnTo>
                  <a:lnTo>
                    <a:pt x="352" y="252"/>
                  </a:lnTo>
                  <a:lnTo>
                    <a:pt x="352" y="252"/>
                  </a:lnTo>
                  <a:lnTo>
                    <a:pt x="349" y="250"/>
                  </a:lnTo>
                  <a:lnTo>
                    <a:pt x="346" y="250"/>
                  </a:lnTo>
                  <a:lnTo>
                    <a:pt x="343" y="252"/>
                  </a:lnTo>
                  <a:lnTo>
                    <a:pt x="339" y="252"/>
                  </a:lnTo>
                  <a:lnTo>
                    <a:pt x="339" y="252"/>
                  </a:lnTo>
                  <a:lnTo>
                    <a:pt x="331" y="250"/>
                  </a:lnTo>
                  <a:lnTo>
                    <a:pt x="324" y="247"/>
                  </a:lnTo>
                  <a:lnTo>
                    <a:pt x="314" y="244"/>
                  </a:lnTo>
                  <a:lnTo>
                    <a:pt x="284" y="112"/>
                  </a:lnTo>
                  <a:lnTo>
                    <a:pt x="284" y="112"/>
                  </a:lnTo>
                  <a:lnTo>
                    <a:pt x="277" y="77"/>
                  </a:lnTo>
                  <a:lnTo>
                    <a:pt x="277" y="77"/>
                  </a:lnTo>
                  <a:lnTo>
                    <a:pt x="275" y="77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8" y="69"/>
                  </a:lnTo>
                  <a:lnTo>
                    <a:pt x="268" y="69"/>
                  </a:lnTo>
                  <a:lnTo>
                    <a:pt x="266" y="65"/>
                  </a:lnTo>
                  <a:lnTo>
                    <a:pt x="268" y="62"/>
                  </a:lnTo>
                  <a:lnTo>
                    <a:pt x="274" y="52"/>
                  </a:lnTo>
                  <a:lnTo>
                    <a:pt x="274" y="52"/>
                  </a:lnTo>
                  <a:lnTo>
                    <a:pt x="277" y="46"/>
                  </a:lnTo>
                  <a:lnTo>
                    <a:pt x="277" y="40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77" y="29"/>
                  </a:lnTo>
                  <a:lnTo>
                    <a:pt x="266" y="28"/>
                  </a:lnTo>
                  <a:lnTo>
                    <a:pt x="253" y="25"/>
                  </a:lnTo>
                  <a:lnTo>
                    <a:pt x="222" y="16"/>
                  </a:lnTo>
                  <a:lnTo>
                    <a:pt x="177" y="1"/>
                  </a:lnTo>
                  <a:lnTo>
                    <a:pt x="165" y="0"/>
                  </a:lnTo>
                  <a:lnTo>
                    <a:pt x="154" y="1"/>
                  </a:lnTo>
                  <a:lnTo>
                    <a:pt x="157" y="4"/>
                  </a:lnTo>
                  <a:lnTo>
                    <a:pt x="162" y="16"/>
                  </a:lnTo>
                  <a:lnTo>
                    <a:pt x="170" y="27"/>
                  </a:lnTo>
                  <a:lnTo>
                    <a:pt x="186" y="37"/>
                  </a:lnTo>
                  <a:lnTo>
                    <a:pt x="204" y="46"/>
                  </a:lnTo>
                  <a:lnTo>
                    <a:pt x="204" y="46"/>
                  </a:lnTo>
                  <a:lnTo>
                    <a:pt x="202" y="49"/>
                  </a:lnTo>
                  <a:lnTo>
                    <a:pt x="202" y="53"/>
                  </a:lnTo>
                  <a:lnTo>
                    <a:pt x="202" y="53"/>
                  </a:lnTo>
                  <a:lnTo>
                    <a:pt x="201" y="55"/>
                  </a:lnTo>
                  <a:lnTo>
                    <a:pt x="200" y="55"/>
                  </a:lnTo>
                  <a:lnTo>
                    <a:pt x="195" y="56"/>
                  </a:lnTo>
                  <a:lnTo>
                    <a:pt x="183" y="62"/>
                  </a:lnTo>
                  <a:lnTo>
                    <a:pt x="171" y="72"/>
                  </a:lnTo>
                  <a:lnTo>
                    <a:pt x="165" y="93"/>
                  </a:lnTo>
                  <a:lnTo>
                    <a:pt x="168" y="105"/>
                  </a:lnTo>
                  <a:lnTo>
                    <a:pt x="173" y="120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2" y="123"/>
                  </a:lnTo>
                  <a:lnTo>
                    <a:pt x="145" y="114"/>
                  </a:lnTo>
                  <a:lnTo>
                    <a:pt x="139" y="112"/>
                  </a:lnTo>
                  <a:lnTo>
                    <a:pt x="130" y="114"/>
                  </a:lnTo>
                  <a:lnTo>
                    <a:pt x="117" y="115"/>
                  </a:lnTo>
                  <a:lnTo>
                    <a:pt x="112" y="114"/>
                  </a:lnTo>
                  <a:lnTo>
                    <a:pt x="109" y="102"/>
                  </a:lnTo>
                  <a:lnTo>
                    <a:pt x="100" y="80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8" y="80"/>
                  </a:lnTo>
                  <a:lnTo>
                    <a:pt x="74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2" y="77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44" y="75"/>
                  </a:lnTo>
                  <a:lnTo>
                    <a:pt x="29" y="75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95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7" y="124"/>
                  </a:lnTo>
                  <a:lnTo>
                    <a:pt x="8" y="132"/>
                  </a:lnTo>
                  <a:lnTo>
                    <a:pt x="10" y="135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4" y="141"/>
                  </a:lnTo>
                  <a:lnTo>
                    <a:pt x="16" y="145"/>
                  </a:lnTo>
                  <a:lnTo>
                    <a:pt x="17" y="157"/>
                  </a:lnTo>
                  <a:lnTo>
                    <a:pt x="17" y="169"/>
                  </a:lnTo>
                  <a:lnTo>
                    <a:pt x="16" y="172"/>
                  </a:lnTo>
                  <a:lnTo>
                    <a:pt x="14" y="175"/>
                  </a:lnTo>
                  <a:lnTo>
                    <a:pt x="14" y="175"/>
                  </a:lnTo>
                  <a:lnTo>
                    <a:pt x="7" y="181"/>
                  </a:lnTo>
                  <a:lnTo>
                    <a:pt x="3" y="182"/>
                  </a:lnTo>
                  <a:lnTo>
                    <a:pt x="1" y="185"/>
                  </a:lnTo>
                  <a:lnTo>
                    <a:pt x="1" y="185"/>
                  </a:lnTo>
                  <a:lnTo>
                    <a:pt x="3" y="186"/>
                  </a:lnTo>
                  <a:lnTo>
                    <a:pt x="4" y="189"/>
                  </a:lnTo>
                  <a:lnTo>
                    <a:pt x="7" y="192"/>
                  </a:lnTo>
                  <a:lnTo>
                    <a:pt x="7" y="192"/>
                  </a:lnTo>
                  <a:lnTo>
                    <a:pt x="7" y="195"/>
                  </a:lnTo>
                  <a:lnTo>
                    <a:pt x="6" y="198"/>
                  </a:lnTo>
                  <a:lnTo>
                    <a:pt x="3" y="204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16"/>
                  </a:lnTo>
                  <a:lnTo>
                    <a:pt x="1" y="224"/>
                  </a:lnTo>
                  <a:lnTo>
                    <a:pt x="4" y="231"/>
                  </a:lnTo>
                  <a:lnTo>
                    <a:pt x="7" y="232"/>
                  </a:lnTo>
                  <a:lnTo>
                    <a:pt x="8" y="234"/>
                  </a:lnTo>
                  <a:lnTo>
                    <a:pt x="8" y="234"/>
                  </a:lnTo>
                  <a:lnTo>
                    <a:pt x="11" y="232"/>
                  </a:lnTo>
                  <a:lnTo>
                    <a:pt x="14" y="231"/>
                  </a:lnTo>
                  <a:lnTo>
                    <a:pt x="20" y="226"/>
                  </a:lnTo>
                  <a:lnTo>
                    <a:pt x="28" y="222"/>
                  </a:lnTo>
                  <a:lnTo>
                    <a:pt x="31" y="221"/>
                  </a:lnTo>
                  <a:lnTo>
                    <a:pt x="34" y="221"/>
                  </a:lnTo>
                  <a:lnTo>
                    <a:pt x="34" y="221"/>
                  </a:lnTo>
                  <a:lnTo>
                    <a:pt x="43" y="222"/>
                  </a:lnTo>
                  <a:lnTo>
                    <a:pt x="47" y="225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7" y="240"/>
                  </a:lnTo>
                  <a:lnTo>
                    <a:pt x="66" y="244"/>
                  </a:lnTo>
                  <a:lnTo>
                    <a:pt x="74" y="247"/>
                  </a:lnTo>
                  <a:lnTo>
                    <a:pt x="81" y="249"/>
                  </a:lnTo>
                  <a:lnTo>
                    <a:pt x="81" y="249"/>
                  </a:lnTo>
                  <a:lnTo>
                    <a:pt x="93" y="249"/>
                  </a:lnTo>
                  <a:lnTo>
                    <a:pt x="96" y="250"/>
                  </a:lnTo>
                  <a:lnTo>
                    <a:pt x="99" y="253"/>
                  </a:lnTo>
                  <a:lnTo>
                    <a:pt x="99" y="253"/>
                  </a:lnTo>
                  <a:lnTo>
                    <a:pt x="100" y="256"/>
                  </a:lnTo>
                  <a:lnTo>
                    <a:pt x="105" y="259"/>
                  </a:lnTo>
                  <a:lnTo>
                    <a:pt x="111" y="261"/>
                  </a:lnTo>
                  <a:lnTo>
                    <a:pt x="117" y="259"/>
                  </a:lnTo>
                  <a:lnTo>
                    <a:pt x="117" y="259"/>
                  </a:lnTo>
                  <a:lnTo>
                    <a:pt x="125" y="256"/>
                  </a:lnTo>
                  <a:lnTo>
                    <a:pt x="136" y="250"/>
                  </a:lnTo>
                  <a:lnTo>
                    <a:pt x="145" y="246"/>
                  </a:lnTo>
                  <a:lnTo>
                    <a:pt x="148" y="246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52" y="255"/>
                  </a:lnTo>
                  <a:lnTo>
                    <a:pt x="152" y="259"/>
                  </a:lnTo>
                  <a:lnTo>
                    <a:pt x="154" y="262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8" y="269"/>
                  </a:lnTo>
                  <a:lnTo>
                    <a:pt x="161" y="274"/>
                  </a:lnTo>
                  <a:lnTo>
                    <a:pt x="162" y="280"/>
                  </a:lnTo>
                  <a:lnTo>
                    <a:pt x="162" y="287"/>
                  </a:lnTo>
                  <a:lnTo>
                    <a:pt x="162" y="287"/>
                  </a:lnTo>
                  <a:lnTo>
                    <a:pt x="158" y="296"/>
                  </a:lnTo>
                  <a:lnTo>
                    <a:pt x="152" y="305"/>
                  </a:lnTo>
                  <a:lnTo>
                    <a:pt x="151" y="309"/>
                  </a:lnTo>
                  <a:lnTo>
                    <a:pt x="149" y="314"/>
                  </a:lnTo>
                  <a:lnTo>
                    <a:pt x="149" y="317"/>
                  </a:lnTo>
                  <a:lnTo>
                    <a:pt x="152" y="318"/>
                  </a:lnTo>
                  <a:lnTo>
                    <a:pt x="152" y="318"/>
                  </a:lnTo>
                  <a:lnTo>
                    <a:pt x="155" y="320"/>
                  </a:lnTo>
                  <a:lnTo>
                    <a:pt x="160" y="321"/>
                  </a:lnTo>
                  <a:lnTo>
                    <a:pt x="168" y="320"/>
                  </a:lnTo>
                  <a:lnTo>
                    <a:pt x="176" y="318"/>
                  </a:lnTo>
                  <a:lnTo>
                    <a:pt x="180" y="318"/>
                  </a:lnTo>
                  <a:lnTo>
                    <a:pt x="183" y="318"/>
                  </a:lnTo>
                  <a:lnTo>
                    <a:pt x="183" y="318"/>
                  </a:lnTo>
                  <a:lnTo>
                    <a:pt x="185" y="321"/>
                  </a:lnTo>
                  <a:lnTo>
                    <a:pt x="188" y="324"/>
                  </a:lnTo>
                  <a:lnTo>
                    <a:pt x="191" y="332"/>
                  </a:lnTo>
                  <a:lnTo>
                    <a:pt x="194" y="338"/>
                  </a:lnTo>
                  <a:lnTo>
                    <a:pt x="197" y="343"/>
                  </a:lnTo>
                  <a:lnTo>
                    <a:pt x="197" y="343"/>
                  </a:lnTo>
                  <a:lnTo>
                    <a:pt x="200" y="345"/>
                  </a:lnTo>
                  <a:lnTo>
                    <a:pt x="204" y="346"/>
                  </a:lnTo>
                  <a:lnTo>
                    <a:pt x="207" y="348"/>
                  </a:lnTo>
                  <a:lnTo>
                    <a:pt x="208" y="351"/>
                  </a:lnTo>
                  <a:lnTo>
                    <a:pt x="208" y="351"/>
                  </a:lnTo>
                  <a:lnTo>
                    <a:pt x="205" y="363"/>
                  </a:lnTo>
                  <a:lnTo>
                    <a:pt x="205" y="372"/>
                  </a:lnTo>
                  <a:lnTo>
                    <a:pt x="205" y="379"/>
                  </a:lnTo>
                  <a:lnTo>
                    <a:pt x="205" y="379"/>
                  </a:lnTo>
                  <a:lnTo>
                    <a:pt x="208" y="386"/>
                  </a:lnTo>
                  <a:lnTo>
                    <a:pt x="210" y="389"/>
                  </a:lnTo>
                  <a:lnTo>
                    <a:pt x="216" y="394"/>
                  </a:lnTo>
                  <a:lnTo>
                    <a:pt x="216" y="394"/>
                  </a:lnTo>
                  <a:lnTo>
                    <a:pt x="217" y="400"/>
                  </a:lnTo>
                  <a:lnTo>
                    <a:pt x="219" y="409"/>
                  </a:lnTo>
                  <a:lnTo>
                    <a:pt x="219" y="416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2" y="423"/>
                  </a:lnTo>
                  <a:lnTo>
                    <a:pt x="226" y="423"/>
                  </a:lnTo>
                  <a:lnTo>
                    <a:pt x="226" y="423"/>
                  </a:lnTo>
                  <a:lnTo>
                    <a:pt x="232" y="422"/>
                  </a:lnTo>
                  <a:lnTo>
                    <a:pt x="235" y="422"/>
                  </a:lnTo>
                  <a:lnTo>
                    <a:pt x="239" y="425"/>
                  </a:lnTo>
                  <a:lnTo>
                    <a:pt x="239" y="425"/>
                  </a:lnTo>
                  <a:lnTo>
                    <a:pt x="247" y="429"/>
                  </a:lnTo>
                  <a:lnTo>
                    <a:pt x="253" y="432"/>
                  </a:lnTo>
                  <a:lnTo>
                    <a:pt x="257" y="435"/>
                  </a:lnTo>
                  <a:lnTo>
                    <a:pt x="266" y="437"/>
                  </a:lnTo>
                  <a:lnTo>
                    <a:pt x="266" y="437"/>
                  </a:lnTo>
                  <a:lnTo>
                    <a:pt x="271" y="437"/>
                  </a:lnTo>
                  <a:lnTo>
                    <a:pt x="274" y="435"/>
                  </a:lnTo>
                  <a:lnTo>
                    <a:pt x="278" y="431"/>
                  </a:lnTo>
                  <a:lnTo>
                    <a:pt x="282" y="425"/>
                  </a:lnTo>
                  <a:lnTo>
                    <a:pt x="284" y="423"/>
                  </a:lnTo>
                  <a:lnTo>
                    <a:pt x="287" y="422"/>
                  </a:lnTo>
                  <a:lnTo>
                    <a:pt x="287" y="422"/>
                  </a:lnTo>
                  <a:lnTo>
                    <a:pt x="294" y="419"/>
                  </a:lnTo>
                  <a:lnTo>
                    <a:pt x="302" y="415"/>
                  </a:lnTo>
                  <a:lnTo>
                    <a:pt x="309" y="410"/>
                  </a:lnTo>
                  <a:lnTo>
                    <a:pt x="314" y="403"/>
                  </a:lnTo>
                  <a:lnTo>
                    <a:pt x="314" y="403"/>
                  </a:lnTo>
                  <a:lnTo>
                    <a:pt x="315" y="397"/>
                  </a:lnTo>
                  <a:lnTo>
                    <a:pt x="316" y="391"/>
                  </a:lnTo>
                  <a:lnTo>
                    <a:pt x="319" y="386"/>
                  </a:lnTo>
                  <a:lnTo>
                    <a:pt x="322" y="382"/>
                  </a:lnTo>
                  <a:lnTo>
                    <a:pt x="322" y="382"/>
                  </a:lnTo>
                  <a:lnTo>
                    <a:pt x="328" y="379"/>
                  </a:lnTo>
                  <a:lnTo>
                    <a:pt x="339" y="375"/>
                  </a:lnTo>
                  <a:lnTo>
                    <a:pt x="351" y="370"/>
                  </a:lnTo>
                  <a:lnTo>
                    <a:pt x="359" y="363"/>
                  </a:lnTo>
                  <a:lnTo>
                    <a:pt x="359" y="363"/>
                  </a:lnTo>
                  <a:lnTo>
                    <a:pt x="367" y="355"/>
                  </a:lnTo>
                  <a:lnTo>
                    <a:pt x="373" y="349"/>
                  </a:lnTo>
                  <a:lnTo>
                    <a:pt x="377" y="345"/>
                  </a:lnTo>
                  <a:lnTo>
                    <a:pt x="380" y="343"/>
                  </a:lnTo>
                  <a:lnTo>
                    <a:pt x="383" y="343"/>
                  </a:lnTo>
                  <a:lnTo>
                    <a:pt x="383" y="343"/>
                  </a:lnTo>
                  <a:lnTo>
                    <a:pt x="391" y="345"/>
                  </a:lnTo>
                  <a:lnTo>
                    <a:pt x="395" y="346"/>
                  </a:lnTo>
                  <a:lnTo>
                    <a:pt x="399" y="348"/>
                  </a:lnTo>
                  <a:lnTo>
                    <a:pt x="402" y="348"/>
                  </a:lnTo>
                  <a:lnTo>
                    <a:pt x="402" y="348"/>
                  </a:lnTo>
                  <a:lnTo>
                    <a:pt x="407" y="346"/>
                  </a:lnTo>
                  <a:lnTo>
                    <a:pt x="410" y="343"/>
                  </a:lnTo>
                  <a:lnTo>
                    <a:pt x="411" y="342"/>
                  </a:lnTo>
                  <a:lnTo>
                    <a:pt x="414" y="341"/>
                  </a:lnTo>
                  <a:lnTo>
                    <a:pt x="414" y="341"/>
                  </a:lnTo>
                  <a:lnTo>
                    <a:pt x="419" y="342"/>
                  </a:lnTo>
                  <a:lnTo>
                    <a:pt x="422" y="342"/>
                  </a:lnTo>
                  <a:lnTo>
                    <a:pt x="426" y="346"/>
                  </a:lnTo>
                  <a:lnTo>
                    <a:pt x="426" y="346"/>
                  </a:lnTo>
                  <a:lnTo>
                    <a:pt x="429" y="346"/>
                  </a:lnTo>
                  <a:lnTo>
                    <a:pt x="431" y="346"/>
                  </a:lnTo>
                  <a:lnTo>
                    <a:pt x="436" y="343"/>
                  </a:lnTo>
                  <a:lnTo>
                    <a:pt x="445" y="339"/>
                  </a:lnTo>
                  <a:lnTo>
                    <a:pt x="445" y="339"/>
                  </a:lnTo>
                  <a:lnTo>
                    <a:pt x="439" y="336"/>
                  </a:lnTo>
                  <a:lnTo>
                    <a:pt x="435" y="330"/>
                  </a:lnTo>
                  <a:lnTo>
                    <a:pt x="432" y="324"/>
                  </a:lnTo>
                  <a:lnTo>
                    <a:pt x="432" y="32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6" name="Freeform 65">
              <a:extLst>
                <a:ext uri="{FF2B5EF4-FFF2-40B4-BE49-F238E27FC236}">
                  <a16:creationId xmlns:a16="http://schemas.microsoft.com/office/drawing/2014/main" id="{43F1A8EE-B5DC-9346-80E5-48977D0A1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2525" y="4746625"/>
              <a:ext cx="349250" cy="388937"/>
            </a:xfrm>
            <a:custGeom>
              <a:avLst/>
              <a:gdLst>
                <a:gd name="T0" fmla="*/ 206 w 220"/>
                <a:gd name="T1" fmla="*/ 192 h 245"/>
                <a:gd name="T2" fmla="*/ 200 w 220"/>
                <a:gd name="T3" fmla="*/ 182 h 245"/>
                <a:gd name="T4" fmla="*/ 193 w 220"/>
                <a:gd name="T5" fmla="*/ 170 h 245"/>
                <a:gd name="T6" fmla="*/ 189 w 220"/>
                <a:gd name="T7" fmla="*/ 154 h 245"/>
                <a:gd name="T8" fmla="*/ 186 w 220"/>
                <a:gd name="T9" fmla="*/ 139 h 245"/>
                <a:gd name="T10" fmla="*/ 187 w 220"/>
                <a:gd name="T11" fmla="*/ 117 h 245"/>
                <a:gd name="T12" fmla="*/ 184 w 220"/>
                <a:gd name="T13" fmla="*/ 99 h 245"/>
                <a:gd name="T14" fmla="*/ 174 w 220"/>
                <a:gd name="T15" fmla="*/ 91 h 245"/>
                <a:gd name="T16" fmla="*/ 168 w 220"/>
                <a:gd name="T17" fmla="*/ 88 h 245"/>
                <a:gd name="T18" fmla="*/ 160 w 220"/>
                <a:gd name="T19" fmla="*/ 71 h 245"/>
                <a:gd name="T20" fmla="*/ 153 w 220"/>
                <a:gd name="T21" fmla="*/ 60 h 245"/>
                <a:gd name="T22" fmla="*/ 156 w 220"/>
                <a:gd name="T23" fmla="*/ 47 h 245"/>
                <a:gd name="T24" fmla="*/ 156 w 220"/>
                <a:gd name="T25" fmla="*/ 38 h 245"/>
                <a:gd name="T26" fmla="*/ 146 w 220"/>
                <a:gd name="T27" fmla="*/ 29 h 245"/>
                <a:gd name="T28" fmla="*/ 135 w 220"/>
                <a:gd name="T29" fmla="*/ 22 h 245"/>
                <a:gd name="T30" fmla="*/ 131 w 220"/>
                <a:gd name="T31" fmla="*/ 11 h 245"/>
                <a:gd name="T32" fmla="*/ 119 w 220"/>
                <a:gd name="T33" fmla="*/ 20 h 245"/>
                <a:gd name="T34" fmla="*/ 107 w 220"/>
                <a:gd name="T35" fmla="*/ 17 h 245"/>
                <a:gd name="T36" fmla="*/ 103 w 220"/>
                <a:gd name="T37" fmla="*/ 11 h 245"/>
                <a:gd name="T38" fmla="*/ 88 w 220"/>
                <a:gd name="T39" fmla="*/ 8 h 245"/>
                <a:gd name="T40" fmla="*/ 73 w 220"/>
                <a:gd name="T41" fmla="*/ 14 h 245"/>
                <a:gd name="T42" fmla="*/ 61 w 220"/>
                <a:gd name="T43" fmla="*/ 10 h 245"/>
                <a:gd name="T44" fmla="*/ 46 w 220"/>
                <a:gd name="T45" fmla="*/ 0 h 245"/>
                <a:gd name="T46" fmla="*/ 29 w 220"/>
                <a:gd name="T47" fmla="*/ 14 h 245"/>
                <a:gd name="T48" fmla="*/ 9 w 220"/>
                <a:gd name="T49" fmla="*/ 34 h 245"/>
                <a:gd name="T50" fmla="*/ 0 w 220"/>
                <a:gd name="T51" fmla="*/ 53 h 245"/>
                <a:gd name="T52" fmla="*/ 11 w 220"/>
                <a:gd name="T53" fmla="*/ 81 h 245"/>
                <a:gd name="T54" fmla="*/ 17 w 220"/>
                <a:gd name="T55" fmla="*/ 102 h 245"/>
                <a:gd name="T56" fmla="*/ 32 w 220"/>
                <a:gd name="T57" fmla="*/ 112 h 245"/>
                <a:gd name="T58" fmla="*/ 39 w 220"/>
                <a:gd name="T59" fmla="*/ 136 h 245"/>
                <a:gd name="T60" fmla="*/ 49 w 220"/>
                <a:gd name="T61" fmla="*/ 151 h 245"/>
                <a:gd name="T62" fmla="*/ 63 w 220"/>
                <a:gd name="T63" fmla="*/ 161 h 245"/>
                <a:gd name="T64" fmla="*/ 72 w 220"/>
                <a:gd name="T65" fmla="*/ 177 h 245"/>
                <a:gd name="T66" fmla="*/ 80 w 220"/>
                <a:gd name="T67" fmla="*/ 197 h 245"/>
                <a:gd name="T68" fmla="*/ 100 w 220"/>
                <a:gd name="T69" fmla="*/ 205 h 245"/>
                <a:gd name="T70" fmla="*/ 119 w 220"/>
                <a:gd name="T71" fmla="*/ 216 h 245"/>
                <a:gd name="T72" fmla="*/ 137 w 220"/>
                <a:gd name="T73" fmla="*/ 220 h 245"/>
                <a:gd name="T74" fmla="*/ 154 w 220"/>
                <a:gd name="T75" fmla="*/ 235 h 245"/>
                <a:gd name="T76" fmla="*/ 162 w 220"/>
                <a:gd name="T77" fmla="*/ 238 h 245"/>
                <a:gd name="T78" fmla="*/ 190 w 220"/>
                <a:gd name="T79" fmla="*/ 245 h 245"/>
                <a:gd name="T80" fmla="*/ 206 w 220"/>
                <a:gd name="T81" fmla="*/ 241 h 245"/>
                <a:gd name="T82" fmla="*/ 220 w 220"/>
                <a:gd name="T83" fmla="*/ 234 h 245"/>
                <a:gd name="T84" fmla="*/ 214 w 220"/>
                <a:gd name="T85" fmla="*/ 217 h 245"/>
                <a:gd name="T86" fmla="*/ 208 w 220"/>
                <a:gd name="T87" fmla="*/ 210 h 245"/>
                <a:gd name="T88" fmla="*/ 208 w 220"/>
                <a:gd name="T89" fmla="*/ 19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0" h="245">
                  <a:moveTo>
                    <a:pt x="208" y="194"/>
                  </a:moveTo>
                  <a:lnTo>
                    <a:pt x="208" y="194"/>
                  </a:lnTo>
                  <a:lnTo>
                    <a:pt x="206" y="192"/>
                  </a:lnTo>
                  <a:lnTo>
                    <a:pt x="203" y="189"/>
                  </a:lnTo>
                  <a:lnTo>
                    <a:pt x="203" y="189"/>
                  </a:lnTo>
                  <a:lnTo>
                    <a:pt x="200" y="182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3" y="170"/>
                  </a:lnTo>
                  <a:lnTo>
                    <a:pt x="190" y="165"/>
                  </a:lnTo>
                  <a:lnTo>
                    <a:pt x="190" y="160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43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7" y="125"/>
                  </a:lnTo>
                  <a:lnTo>
                    <a:pt x="187" y="117"/>
                  </a:lnTo>
                  <a:lnTo>
                    <a:pt x="186" y="106"/>
                  </a:lnTo>
                  <a:lnTo>
                    <a:pt x="186" y="106"/>
                  </a:lnTo>
                  <a:lnTo>
                    <a:pt x="184" y="99"/>
                  </a:lnTo>
                  <a:lnTo>
                    <a:pt x="181" y="94"/>
                  </a:lnTo>
                  <a:lnTo>
                    <a:pt x="178" y="93"/>
                  </a:lnTo>
                  <a:lnTo>
                    <a:pt x="174" y="91"/>
                  </a:lnTo>
                  <a:lnTo>
                    <a:pt x="174" y="91"/>
                  </a:lnTo>
                  <a:lnTo>
                    <a:pt x="169" y="91"/>
                  </a:lnTo>
                  <a:lnTo>
                    <a:pt x="168" y="88"/>
                  </a:lnTo>
                  <a:lnTo>
                    <a:pt x="163" y="77"/>
                  </a:lnTo>
                  <a:lnTo>
                    <a:pt x="163" y="77"/>
                  </a:lnTo>
                  <a:lnTo>
                    <a:pt x="160" y="71"/>
                  </a:lnTo>
                  <a:lnTo>
                    <a:pt x="156" y="66"/>
                  </a:lnTo>
                  <a:lnTo>
                    <a:pt x="153" y="63"/>
                  </a:lnTo>
                  <a:lnTo>
                    <a:pt x="153" y="60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6" y="47"/>
                  </a:lnTo>
                  <a:lnTo>
                    <a:pt x="157" y="43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4" y="34"/>
                  </a:lnTo>
                  <a:lnTo>
                    <a:pt x="150" y="31"/>
                  </a:lnTo>
                  <a:lnTo>
                    <a:pt x="146" y="29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35" y="22"/>
                  </a:lnTo>
                  <a:lnTo>
                    <a:pt x="132" y="17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23" y="19"/>
                  </a:lnTo>
                  <a:lnTo>
                    <a:pt x="120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2" y="19"/>
                  </a:lnTo>
                  <a:lnTo>
                    <a:pt x="107" y="17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3" y="11"/>
                  </a:lnTo>
                  <a:lnTo>
                    <a:pt x="98" y="10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3" y="10"/>
                  </a:lnTo>
                  <a:lnTo>
                    <a:pt x="77" y="13"/>
                  </a:lnTo>
                  <a:lnTo>
                    <a:pt x="73" y="14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1" y="10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38" y="7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0" y="22"/>
                  </a:lnTo>
                  <a:lnTo>
                    <a:pt x="9" y="34"/>
                  </a:lnTo>
                  <a:lnTo>
                    <a:pt x="5" y="40"/>
                  </a:lnTo>
                  <a:lnTo>
                    <a:pt x="2" y="46"/>
                  </a:lnTo>
                  <a:lnTo>
                    <a:pt x="0" y="53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11" y="81"/>
                  </a:lnTo>
                  <a:lnTo>
                    <a:pt x="15" y="91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21" y="103"/>
                  </a:lnTo>
                  <a:lnTo>
                    <a:pt x="27" y="106"/>
                  </a:lnTo>
                  <a:lnTo>
                    <a:pt x="32" y="112"/>
                  </a:lnTo>
                  <a:lnTo>
                    <a:pt x="35" y="118"/>
                  </a:lnTo>
                  <a:lnTo>
                    <a:pt x="35" y="118"/>
                  </a:lnTo>
                  <a:lnTo>
                    <a:pt x="39" y="136"/>
                  </a:lnTo>
                  <a:lnTo>
                    <a:pt x="43" y="143"/>
                  </a:lnTo>
                  <a:lnTo>
                    <a:pt x="46" y="148"/>
                  </a:lnTo>
                  <a:lnTo>
                    <a:pt x="49" y="151"/>
                  </a:lnTo>
                  <a:lnTo>
                    <a:pt x="49" y="151"/>
                  </a:lnTo>
                  <a:lnTo>
                    <a:pt x="57" y="155"/>
                  </a:lnTo>
                  <a:lnTo>
                    <a:pt x="63" y="161"/>
                  </a:lnTo>
                  <a:lnTo>
                    <a:pt x="69" y="168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5" y="186"/>
                  </a:lnTo>
                  <a:lnTo>
                    <a:pt x="77" y="192"/>
                  </a:lnTo>
                  <a:lnTo>
                    <a:pt x="80" y="197"/>
                  </a:lnTo>
                  <a:lnTo>
                    <a:pt x="86" y="200"/>
                  </a:lnTo>
                  <a:lnTo>
                    <a:pt x="86" y="200"/>
                  </a:lnTo>
                  <a:lnTo>
                    <a:pt x="100" y="205"/>
                  </a:lnTo>
                  <a:lnTo>
                    <a:pt x="113" y="213"/>
                  </a:lnTo>
                  <a:lnTo>
                    <a:pt x="113" y="213"/>
                  </a:lnTo>
                  <a:lnTo>
                    <a:pt x="119" y="216"/>
                  </a:lnTo>
                  <a:lnTo>
                    <a:pt x="126" y="217"/>
                  </a:lnTo>
                  <a:lnTo>
                    <a:pt x="132" y="219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46" y="226"/>
                  </a:lnTo>
                  <a:lnTo>
                    <a:pt x="154" y="235"/>
                  </a:lnTo>
                  <a:lnTo>
                    <a:pt x="154" y="235"/>
                  </a:lnTo>
                  <a:lnTo>
                    <a:pt x="157" y="237"/>
                  </a:lnTo>
                  <a:lnTo>
                    <a:pt x="162" y="238"/>
                  </a:lnTo>
                  <a:lnTo>
                    <a:pt x="174" y="241"/>
                  </a:lnTo>
                  <a:lnTo>
                    <a:pt x="174" y="241"/>
                  </a:lnTo>
                  <a:lnTo>
                    <a:pt x="190" y="245"/>
                  </a:lnTo>
                  <a:lnTo>
                    <a:pt x="190" y="245"/>
                  </a:lnTo>
                  <a:lnTo>
                    <a:pt x="197" y="244"/>
                  </a:lnTo>
                  <a:lnTo>
                    <a:pt x="206" y="241"/>
                  </a:lnTo>
                  <a:lnTo>
                    <a:pt x="215" y="237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20" y="231"/>
                  </a:lnTo>
                  <a:lnTo>
                    <a:pt x="217" y="225"/>
                  </a:lnTo>
                  <a:lnTo>
                    <a:pt x="214" y="217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8" y="210"/>
                  </a:lnTo>
                  <a:lnTo>
                    <a:pt x="206" y="207"/>
                  </a:lnTo>
                  <a:lnTo>
                    <a:pt x="206" y="201"/>
                  </a:lnTo>
                  <a:lnTo>
                    <a:pt x="208" y="194"/>
                  </a:lnTo>
                  <a:lnTo>
                    <a:pt x="208" y="19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7" name="Freeform 66">
              <a:extLst>
                <a:ext uri="{FF2B5EF4-FFF2-40B4-BE49-F238E27FC236}">
                  <a16:creationId xmlns:a16="http://schemas.microsoft.com/office/drawing/2014/main" id="{70344CBE-4461-7A42-AB28-CCD50D13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3313" y="6237288"/>
              <a:ext cx="622300" cy="544512"/>
            </a:xfrm>
            <a:custGeom>
              <a:avLst/>
              <a:gdLst>
                <a:gd name="T0" fmla="*/ 340 w 392"/>
                <a:gd name="T1" fmla="*/ 226 h 343"/>
                <a:gd name="T2" fmla="*/ 333 w 392"/>
                <a:gd name="T3" fmla="*/ 202 h 343"/>
                <a:gd name="T4" fmla="*/ 279 w 392"/>
                <a:gd name="T5" fmla="*/ 170 h 343"/>
                <a:gd name="T6" fmla="*/ 274 w 392"/>
                <a:gd name="T7" fmla="*/ 154 h 343"/>
                <a:gd name="T8" fmla="*/ 274 w 392"/>
                <a:gd name="T9" fmla="*/ 136 h 343"/>
                <a:gd name="T10" fmla="*/ 260 w 392"/>
                <a:gd name="T11" fmla="*/ 125 h 343"/>
                <a:gd name="T12" fmla="*/ 253 w 392"/>
                <a:gd name="T13" fmla="*/ 114 h 343"/>
                <a:gd name="T14" fmla="*/ 259 w 392"/>
                <a:gd name="T15" fmla="*/ 88 h 343"/>
                <a:gd name="T16" fmla="*/ 268 w 392"/>
                <a:gd name="T17" fmla="*/ 62 h 343"/>
                <a:gd name="T18" fmla="*/ 263 w 392"/>
                <a:gd name="T19" fmla="*/ 47 h 343"/>
                <a:gd name="T20" fmla="*/ 248 w 392"/>
                <a:gd name="T21" fmla="*/ 43 h 343"/>
                <a:gd name="T22" fmla="*/ 237 w 392"/>
                <a:gd name="T23" fmla="*/ 53 h 343"/>
                <a:gd name="T24" fmla="*/ 225 w 392"/>
                <a:gd name="T25" fmla="*/ 53 h 343"/>
                <a:gd name="T26" fmla="*/ 213 w 392"/>
                <a:gd name="T27" fmla="*/ 60 h 343"/>
                <a:gd name="T28" fmla="*/ 191 w 392"/>
                <a:gd name="T29" fmla="*/ 54 h 343"/>
                <a:gd name="T30" fmla="*/ 183 w 392"/>
                <a:gd name="T31" fmla="*/ 45 h 343"/>
                <a:gd name="T32" fmla="*/ 183 w 392"/>
                <a:gd name="T33" fmla="*/ 29 h 343"/>
                <a:gd name="T34" fmla="*/ 170 w 392"/>
                <a:gd name="T35" fmla="*/ 32 h 343"/>
                <a:gd name="T36" fmla="*/ 164 w 392"/>
                <a:gd name="T37" fmla="*/ 16 h 343"/>
                <a:gd name="T38" fmla="*/ 158 w 392"/>
                <a:gd name="T39" fmla="*/ 8 h 343"/>
                <a:gd name="T40" fmla="*/ 136 w 392"/>
                <a:gd name="T41" fmla="*/ 10 h 343"/>
                <a:gd name="T42" fmla="*/ 127 w 392"/>
                <a:gd name="T43" fmla="*/ 0 h 343"/>
                <a:gd name="T44" fmla="*/ 114 w 392"/>
                <a:gd name="T45" fmla="*/ 5 h 343"/>
                <a:gd name="T46" fmla="*/ 102 w 392"/>
                <a:gd name="T47" fmla="*/ 19 h 343"/>
                <a:gd name="T48" fmla="*/ 86 w 392"/>
                <a:gd name="T49" fmla="*/ 20 h 343"/>
                <a:gd name="T50" fmla="*/ 81 w 392"/>
                <a:gd name="T51" fmla="*/ 34 h 343"/>
                <a:gd name="T52" fmla="*/ 81 w 392"/>
                <a:gd name="T53" fmla="*/ 65 h 343"/>
                <a:gd name="T54" fmla="*/ 87 w 392"/>
                <a:gd name="T55" fmla="*/ 77 h 343"/>
                <a:gd name="T56" fmla="*/ 80 w 392"/>
                <a:gd name="T57" fmla="*/ 97 h 343"/>
                <a:gd name="T58" fmla="*/ 69 w 392"/>
                <a:gd name="T59" fmla="*/ 108 h 343"/>
                <a:gd name="T60" fmla="*/ 53 w 392"/>
                <a:gd name="T61" fmla="*/ 100 h 343"/>
                <a:gd name="T62" fmla="*/ 38 w 392"/>
                <a:gd name="T63" fmla="*/ 105 h 343"/>
                <a:gd name="T64" fmla="*/ 32 w 392"/>
                <a:gd name="T65" fmla="*/ 134 h 343"/>
                <a:gd name="T66" fmla="*/ 20 w 392"/>
                <a:gd name="T67" fmla="*/ 137 h 343"/>
                <a:gd name="T68" fmla="*/ 10 w 392"/>
                <a:gd name="T69" fmla="*/ 133 h 343"/>
                <a:gd name="T70" fmla="*/ 1 w 392"/>
                <a:gd name="T71" fmla="*/ 148 h 343"/>
                <a:gd name="T72" fmla="*/ 1 w 392"/>
                <a:gd name="T73" fmla="*/ 170 h 343"/>
                <a:gd name="T74" fmla="*/ 14 w 392"/>
                <a:gd name="T75" fmla="*/ 170 h 343"/>
                <a:gd name="T76" fmla="*/ 20 w 392"/>
                <a:gd name="T77" fmla="*/ 183 h 343"/>
                <a:gd name="T78" fmla="*/ 32 w 392"/>
                <a:gd name="T79" fmla="*/ 191 h 343"/>
                <a:gd name="T80" fmla="*/ 48 w 392"/>
                <a:gd name="T81" fmla="*/ 195 h 343"/>
                <a:gd name="T82" fmla="*/ 37 w 392"/>
                <a:gd name="T83" fmla="*/ 234 h 343"/>
                <a:gd name="T84" fmla="*/ 31 w 392"/>
                <a:gd name="T85" fmla="*/ 269 h 343"/>
                <a:gd name="T86" fmla="*/ 53 w 392"/>
                <a:gd name="T87" fmla="*/ 284 h 343"/>
                <a:gd name="T88" fmla="*/ 88 w 392"/>
                <a:gd name="T89" fmla="*/ 285 h 343"/>
                <a:gd name="T90" fmla="*/ 120 w 392"/>
                <a:gd name="T91" fmla="*/ 297 h 343"/>
                <a:gd name="T92" fmla="*/ 133 w 392"/>
                <a:gd name="T93" fmla="*/ 312 h 343"/>
                <a:gd name="T94" fmla="*/ 143 w 392"/>
                <a:gd name="T95" fmla="*/ 311 h 343"/>
                <a:gd name="T96" fmla="*/ 168 w 392"/>
                <a:gd name="T97" fmla="*/ 294 h 343"/>
                <a:gd name="T98" fmla="*/ 185 w 392"/>
                <a:gd name="T99" fmla="*/ 306 h 343"/>
                <a:gd name="T100" fmla="*/ 207 w 392"/>
                <a:gd name="T101" fmla="*/ 321 h 343"/>
                <a:gd name="T102" fmla="*/ 268 w 392"/>
                <a:gd name="T103" fmla="*/ 330 h 343"/>
                <a:gd name="T104" fmla="*/ 327 w 392"/>
                <a:gd name="T105" fmla="*/ 342 h 343"/>
                <a:gd name="T106" fmla="*/ 361 w 392"/>
                <a:gd name="T107" fmla="*/ 337 h 343"/>
                <a:gd name="T108" fmla="*/ 392 w 392"/>
                <a:gd name="T109" fmla="*/ 337 h 343"/>
                <a:gd name="T110" fmla="*/ 388 w 392"/>
                <a:gd name="T111" fmla="*/ 324 h 343"/>
                <a:gd name="T112" fmla="*/ 385 w 392"/>
                <a:gd name="T113" fmla="*/ 314 h 343"/>
                <a:gd name="T114" fmla="*/ 376 w 392"/>
                <a:gd name="T115" fmla="*/ 302 h 343"/>
                <a:gd name="T116" fmla="*/ 374 w 392"/>
                <a:gd name="T117" fmla="*/ 275 h 343"/>
                <a:gd name="T118" fmla="*/ 374 w 392"/>
                <a:gd name="T119" fmla="*/ 263 h 343"/>
                <a:gd name="T120" fmla="*/ 362 w 392"/>
                <a:gd name="T121" fmla="*/ 265 h 343"/>
                <a:gd name="T122" fmla="*/ 358 w 392"/>
                <a:gd name="T123" fmla="*/ 265 h 343"/>
                <a:gd name="T124" fmla="*/ 349 w 392"/>
                <a:gd name="T125" fmla="*/ 25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2" h="343">
                  <a:moveTo>
                    <a:pt x="342" y="234"/>
                  </a:moveTo>
                  <a:lnTo>
                    <a:pt x="342" y="234"/>
                  </a:lnTo>
                  <a:lnTo>
                    <a:pt x="340" y="226"/>
                  </a:lnTo>
                  <a:lnTo>
                    <a:pt x="340" y="226"/>
                  </a:lnTo>
                  <a:lnTo>
                    <a:pt x="337" y="211"/>
                  </a:lnTo>
                  <a:lnTo>
                    <a:pt x="336" y="205"/>
                  </a:lnTo>
                  <a:lnTo>
                    <a:pt x="333" y="202"/>
                  </a:lnTo>
                  <a:lnTo>
                    <a:pt x="333" y="202"/>
                  </a:lnTo>
                  <a:lnTo>
                    <a:pt x="311" y="189"/>
                  </a:lnTo>
                  <a:lnTo>
                    <a:pt x="293" y="17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4" y="162"/>
                  </a:lnTo>
                  <a:lnTo>
                    <a:pt x="272" y="160"/>
                  </a:lnTo>
                  <a:lnTo>
                    <a:pt x="272" y="158"/>
                  </a:lnTo>
                  <a:lnTo>
                    <a:pt x="274" y="154"/>
                  </a:lnTo>
                  <a:lnTo>
                    <a:pt x="275" y="148"/>
                  </a:lnTo>
                  <a:lnTo>
                    <a:pt x="275" y="148"/>
                  </a:lnTo>
                  <a:lnTo>
                    <a:pt x="275" y="140"/>
                  </a:lnTo>
                  <a:lnTo>
                    <a:pt x="274" y="136"/>
                  </a:lnTo>
                  <a:lnTo>
                    <a:pt x="272" y="131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0" y="125"/>
                  </a:lnTo>
                  <a:lnTo>
                    <a:pt x="256" y="122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3" y="114"/>
                  </a:lnTo>
                  <a:lnTo>
                    <a:pt x="253" y="106"/>
                  </a:lnTo>
                  <a:lnTo>
                    <a:pt x="254" y="97"/>
                  </a:lnTo>
                  <a:lnTo>
                    <a:pt x="259" y="88"/>
                  </a:lnTo>
                  <a:lnTo>
                    <a:pt x="259" y="88"/>
                  </a:lnTo>
                  <a:lnTo>
                    <a:pt x="265" y="75"/>
                  </a:lnTo>
                  <a:lnTo>
                    <a:pt x="266" y="69"/>
                  </a:lnTo>
                  <a:lnTo>
                    <a:pt x="268" y="62"/>
                  </a:lnTo>
                  <a:lnTo>
                    <a:pt x="268" y="62"/>
                  </a:lnTo>
                  <a:lnTo>
                    <a:pt x="268" y="57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3" y="47"/>
                  </a:lnTo>
                  <a:lnTo>
                    <a:pt x="259" y="44"/>
                  </a:lnTo>
                  <a:lnTo>
                    <a:pt x="253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4" y="44"/>
                  </a:lnTo>
                  <a:lnTo>
                    <a:pt x="241" y="47"/>
                  </a:lnTo>
                  <a:lnTo>
                    <a:pt x="240" y="50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4" y="54"/>
                  </a:lnTo>
                  <a:lnTo>
                    <a:pt x="229" y="53"/>
                  </a:lnTo>
                  <a:lnTo>
                    <a:pt x="225" y="53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16" y="59"/>
                  </a:lnTo>
                  <a:lnTo>
                    <a:pt x="213" y="60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197" y="56"/>
                  </a:lnTo>
                  <a:lnTo>
                    <a:pt x="191" y="54"/>
                  </a:lnTo>
                  <a:lnTo>
                    <a:pt x="186" y="51"/>
                  </a:lnTo>
                  <a:lnTo>
                    <a:pt x="186" y="51"/>
                  </a:lnTo>
                  <a:lnTo>
                    <a:pt x="183" y="48"/>
                  </a:lnTo>
                  <a:lnTo>
                    <a:pt x="183" y="45"/>
                  </a:lnTo>
                  <a:lnTo>
                    <a:pt x="183" y="41"/>
                  </a:lnTo>
                  <a:lnTo>
                    <a:pt x="183" y="35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2" y="26"/>
                  </a:lnTo>
                  <a:lnTo>
                    <a:pt x="179" y="28"/>
                  </a:lnTo>
                  <a:lnTo>
                    <a:pt x="170" y="32"/>
                  </a:lnTo>
                  <a:lnTo>
                    <a:pt x="170" y="32"/>
                  </a:lnTo>
                  <a:lnTo>
                    <a:pt x="168" y="32"/>
                  </a:lnTo>
                  <a:lnTo>
                    <a:pt x="167" y="32"/>
                  </a:lnTo>
                  <a:lnTo>
                    <a:pt x="165" y="28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3" y="11"/>
                  </a:lnTo>
                  <a:lnTo>
                    <a:pt x="161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45" y="8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1" y="4"/>
                  </a:lnTo>
                  <a:lnTo>
                    <a:pt x="128" y="1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0" y="1"/>
                  </a:lnTo>
                  <a:lnTo>
                    <a:pt x="114" y="5"/>
                  </a:lnTo>
                  <a:lnTo>
                    <a:pt x="108" y="11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9"/>
                  </a:lnTo>
                  <a:lnTo>
                    <a:pt x="100" y="20"/>
                  </a:lnTo>
                  <a:lnTo>
                    <a:pt x="94" y="20"/>
                  </a:lnTo>
                  <a:lnTo>
                    <a:pt x="90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4" y="23"/>
                  </a:lnTo>
                  <a:lnTo>
                    <a:pt x="83" y="28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65"/>
                  </a:lnTo>
                  <a:lnTo>
                    <a:pt x="83" y="69"/>
                  </a:lnTo>
                  <a:lnTo>
                    <a:pt x="86" y="74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81"/>
                  </a:lnTo>
                  <a:lnTo>
                    <a:pt x="87" y="87"/>
                  </a:lnTo>
                  <a:lnTo>
                    <a:pt x="84" y="93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5" y="102"/>
                  </a:lnTo>
                  <a:lnTo>
                    <a:pt x="71" y="106"/>
                  </a:lnTo>
                  <a:lnTo>
                    <a:pt x="69" y="108"/>
                  </a:lnTo>
                  <a:lnTo>
                    <a:pt x="68" y="108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3" y="100"/>
                  </a:lnTo>
                  <a:lnTo>
                    <a:pt x="46" y="99"/>
                  </a:lnTo>
                  <a:lnTo>
                    <a:pt x="41" y="100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14"/>
                  </a:lnTo>
                  <a:lnTo>
                    <a:pt x="37" y="124"/>
                  </a:lnTo>
                  <a:lnTo>
                    <a:pt x="32" y="134"/>
                  </a:lnTo>
                  <a:lnTo>
                    <a:pt x="29" y="137"/>
                  </a:lnTo>
                  <a:lnTo>
                    <a:pt x="26" y="139"/>
                  </a:lnTo>
                  <a:lnTo>
                    <a:pt x="26" y="139"/>
                  </a:lnTo>
                  <a:lnTo>
                    <a:pt x="20" y="137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1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7" y="136"/>
                  </a:lnTo>
                  <a:lnTo>
                    <a:pt x="3" y="140"/>
                  </a:lnTo>
                  <a:lnTo>
                    <a:pt x="1" y="148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67"/>
                  </a:lnTo>
                  <a:lnTo>
                    <a:pt x="1" y="170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13" y="170"/>
                  </a:lnTo>
                  <a:lnTo>
                    <a:pt x="14" y="170"/>
                  </a:lnTo>
                  <a:lnTo>
                    <a:pt x="16" y="171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20" y="183"/>
                  </a:lnTo>
                  <a:lnTo>
                    <a:pt x="22" y="188"/>
                  </a:lnTo>
                  <a:lnTo>
                    <a:pt x="26" y="189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43" y="191"/>
                  </a:lnTo>
                  <a:lnTo>
                    <a:pt x="46" y="192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44" y="213"/>
                  </a:lnTo>
                  <a:lnTo>
                    <a:pt x="37" y="234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31" y="269"/>
                  </a:lnTo>
                  <a:lnTo>
                    <a:pt x="31" y="269"/>
                  </a:lnTo>
                  <a:lnTo>
                    <a:pt x="38" y="277"/>
                  </a:lnTo>
                  <a:lnTo>
                    <a:pt x="44" y="279"/>
                  </a:lnTo>
                  <a:lnTo>
                    <a:pt x="53" y="284"/>
                  </a:lnTo>
                  <a:lnTo>
                    <a:pt x="53" y="284"/>
                  </a:lnTo>
                  <a:lnTo>
                    <a:pt x="63" y="287"/>
                  </a:lnTo>
                  <a:lnTo>
                    <a:pt x="72" y="287"/>
                  </a:lnTo>
                  <a:lnTo>
                    <a:pt x="88" y="285"/>
                  </a:lnTo>
                  <a:lnTo>
                    <a:pt x="88" y="285"/>
                  </a:lnTo>
                  <a:lnTo>
                    <a:pt x="96" y="285"/>
                  </a:lnTo>
                  <a:lnTo>
                    <a:pt x="105" y="288"/>
                  </a:lnTo>
                  <a:lnTo>
                    <a:pt x="114" y="291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4" y="303"/>
                  </a:lnTo>
                  <a:lnTo>
                    <a:pt x="130" y="311"/>
                  </a:lnTo>
                  <a:lnTo>
                    <a:pt x="133" y="312"/>
                  </a:lnTo>
                  <a:lnTo>
                    <a:pt x="137" y="314"/>
                  </a:lnTo>
                  <a:lnTo>
                    <a:pt x="140" y="314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51" y="305"/>
                  </a:lnTo>
                  <a:lnTo>
                    <a:pt x="160" y="297"/>
                  </a:lnTo>
                  <a:lnTo>
                    <a:pt x="164" y="296"/>
                  </a:lnTo>
                  <a:lnTo>
                    <a:pt x="168" y="294"/>
                  </a:lnTo>
                  <a:lnTo>
                    <a:pt x="173" y="296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85" y="306"/>
                  </a:lnTo>
                  <a:lnTo>
                    <a:pt x="191" y="314"/>
                  </a:lnTo>
                  <a:lnTo>
                    <a:pt x="195" y="317"/>
                  </a:lnTo>
                  <a:lnTo>
                    <a:pt x="200" y="318"/>
                  </a:lnTo>
                  <a:lnTo>
                    <a:pt x="207" y="321"/>
                  </a:lnTo>
                  <a:lnTo>
                    <a:pt x="216" y="321"/>
                  </a:lnTo>
                  <a:lnTo>
                    <a:pt x="216" y="321"/>
                  </a:lnTo>
                  <a:lnTo>
                    <a:pt x="245" y="325"/>
                  </a:lnTo>
                  <a:lnTo>
                    <a:pt x="268" y="330"/>
                  </a:lnTo>
                  <a:lnTo>
                    <a:pt x="268" y="330"/>
                  </a:lnTo>
                  <a:lnTo>
                    <a:pt x="296" y="336"/>
                  </a:lnTo>
                  <a:lnTo>
                    <a:pt x="327" y="342"/>
                  </a:lnTo>
                  <a:lnTo>
                    <a:pt x="327" y="342"/>
                  </a:lnTo>
                  <a:lnTo>
                    <a:pt x="336" y="343"/>
                  </a:lnTo>
                  <a:lnTo>
                    <a:pt x="343" y="342"/>
                  </a:lnTo>
                  <a:lnTo>
                    <a:pt x="349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80" y="337"/>
                  </a:lnTo>
                  <a:lnTo>
                    <a:pt x="386" y="336"/>
                  </a:lnTo>
                  <a:lnTo>
                    <a:pt x="392" y="337"/>
                  </a:lnTo>
                  <a:lnTo>
                    <a:pt x="392" y="337"/>
                  </a:lnTo>
                  <a:lnTo>
                    <a:pt x="391" y="333"/>
                  </a:lnTo>
                  <a:lnTo>
                    <a:pt x="389" y="328"/>
                  </a:lnTo>
                  <a:lnTo>
                    <a:pt x="388" y="324"/>
                  </a:lnTo>
                  <a:lnTo>
                    <a:pt x="388" y="324"/>
                  </a:lnTo>
                  <a:lnTo>
                    <a:pt x="388" y="319"/>
                  </a:lnTo>
                  <a:lnTo>
                    <a:pt x="386" y="317"/>
                  </a:lnTo>
                  <a:lnTo>
                    <a:pt x="385" y="314"/>
                  </a:lnTo>
                  <a:lnTo>
                    <a:pt x="380" y="311"/>
                  </a:lnTo>
                  <a:lnTo>
                    <a:pt x="380" y="311"/>
                  </a:lnTo>
                  <a:lnTo>
                    <a:pt x="377" y="308"/>
                  </a:lnTo>
                  <a:lnTo>
                    <a:pt x="376" y="302"/>
                  </a:lnTo>
                  <a:lnTo>
                    <a:pt x="373" y="287"/>
                  </a:lnTo>
                  <a:lnTo>
                    <a:pt x="373" y="287"/>
                  </a:lnTo>
                  <a:lnTo>
                    <a:pt x="373" y="281"/>
                  </a:lnTo>
                  <a:lnTo>
                    <a:pt x="374" y="275"/>
                  </a:lnTo>
                  <a:lnTo>
                    <a:pt x="376" y="271"/>
                  </a:lnTo>
                  <a:lnTo>
                    <a:pt x="376" y="266"/>
                  </a:lnTo>
                  <a:lnTo>
                    <a:pt x="376" y="266"/>
                  </a:lnTo>
                  <a:lnTo>
                    <a:pt x="374" y="263"/>
                  </a:lnTo>
                  <a:lnTo>
                    <a:pt x="373" y="263"/>
                  </a:lnTo>
                  <a:lnTo>
                    <a:pt x="367" y="265"/>
                  </a:lnTo>
                  <a:lnTo>
                    <a:pt x="367" y="265"/>
                  </a:lnTo>
                  <a:lnTo>
                    <a:pt x="362" y="265"/>
                  </a:lnTo>
                  <a:lnTo>
                    <a:pt x="361" y="266"/>
                  </a:lnTo>
                  <a:lnTo>
                    <a:pt x="359" y="266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0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2" y="23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8" name="Freeform 67">
              <a:extLst>
                <a:ext uri="{FF2B5EF4-FFF2-40B4-BE49-F238E27FC236}">
                  <a16:creationId xmlns:a16="http://schemas.microsoft.com/office/drawing/2014/main" id="{3FAB04D2-589D-CD4F-AB0F-D45A5F44F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3313" y="6237288"/>
              <a:ext cx="622300" cy="544512"/>
            </a:xfrm>
            <a:custGeom>
              <a:avLst/>
              <a:gdLst>
                <a:gd name="T0" fmla="*/ 340 w 392"/>
                <a:gd name="T1" fmla="*/ 226 h 343"/>
                <a:gd name="T2" fmla="*/ 333 w 392"/>
                <a:gd name="T3" fmla="*/ 202 h 343"/>
                <a:gd name="T4" fmla="*/ 279 w 392"/>
                <a:gd name="T5" fmla="*/ 170 h 343"/>
                <a:gd name="T6" fmla="*/ 274 w 392"/>
                <a:gd name="T7" fmla="*/ 154 h 343"/>
                <a:gd name="T8" fmla="*/ 274 w 392"/>
                <a:gd name="T9" fmla="*/ 136 h 343"/>
                <a:gd name="T10" fmla="*/ 260 w 392"/>
                <a:gd name="T11" fmla="*/ 125 h 343"/>
                <a:gd name="T12" fmla="*/ 253 w 392"/>
                <a:gd name="T13" fmla="*/ 114 h 343"/>
                <a:gd name="T14" fmla="*/ 259 w 392"/>
                <a:gd name="T15" fmla="*/ 88 h 343"/>
                <a:gd name="T16" fmla="*/ 268 w 392"/>
                <a:gd name="T17" fmla="*/ 62 h 343"/>
                <a:gd name="T18" fmla="*/ 263 w 392"/>
                <a:gd name="T19" fmla="*/ 47 h 343"/>
                <a:gd name="T20" fmla="*/ 248 w 392"/>
                <a:gd name="T21" fmla="*/ 43 h 343"/>
                <a:gd name="T22" fmla="*/ 237 w 392"/>
                <a:gd name="T23" fmla="*/ 53 h 343"/>
                <a:gd name="T24" fmla="*/ 225 w 392"/>
                <a:gd name="T25" fmla="*/ 53 h 343"/>
                <a:gd name="T26" fmla="*/ 213 w 392"/>
                <a:gd name="T27" fmla="*/ 60 h 343"/>
                <a:gd name="T28" fmla="*/ 191 w 392"/>
                <a:gd name="T29" fmla="*/ 54 h 343"/>
                <a:gd name="T30" fmla="*/ 183 w 392"/>
                <a:gd name="T31" fmla="*/ 45 h 343"/>
                <a:gd name="T32" fmla="*/ 183 w 392"/>
                <a:gd name="T33" fmla="*/ 29 h 343"/>
                <a:gd name="T34" fmla="*/ 170 w 392"/>
                <a:gd name="T35" fmla="*/ 32 h 343"/>
                <a:gd name="T36" fmla="*/ 164 w 392"/>
                <a:gd name="T37" fmla="*/ 16 h 343"/>
                <a:gd name="T38" fmla="*/ 158 w 392"/>
                <a:gd name="T39" fmla="*/ 8 h 343"/>
                <a:gd name="T40" fmla="*/ 136 w 392"/>
                <a:gd name="T41" fmla="*/ 10 h 343"/>
                <a:gd name="T42" fmla="*/ 127 w 392"/>
                <a:gd name="T43" fmla="*/ 0 h 343"/>
                <a:gd name="T44" fmla="*/ 114 w 392"/>
                <a:gd name="T45" fmla="*/ 5 h 343"/>
                <a:gd name="T46" fmla="*/ 102 w 392"/>
                <a:gd name="T47" fmla="*/ 19 h 343"/>
                <a:gd name="T48" fmla="*/ 86 w 392"/>
                <a:gd name="T49" fmla="*/ 20 h 343"/>
                <a:gd name="T50" fmla="*/ 81 w 392"/>
                <a:gd name="T51" fmla="*/ 34 h 343"/>
                <a:gd name="T52" fmla="*/ 81 w 392"/>
                <a:gd name="T53" fmla="*/ 65 h 343"/>
                <a:gd name="T54" fmla="*/ 87 w 392"/>
                <a:gd name="T55" fmla="*/ 77 h 343"/>
                <a:gd name="T56" fmla="*/ 80 w 392"/>
                <a:gd name="T57" fmla="*/ 97 h 343"/>
                <a:gd name="T58" fmla="*/ 69 w 392"/>
                <a:gd name="T59" fmla="*/ 108 h 343"/>
                <a:gd name="T60" fmla="*/ 53 w 392"/>
                <a:gd name="T61" fmla="*/ 100 h 343"/>
                <a:gd name="T62" fmla="*/ 38 w 392"/>
                <a:gd name="T63" fmla="*/ 105 h 343"/>
                <a:gd name="T64" fmla="*/ 32 w 392"/>
                <a:gd name="T65" fmla="*/ 134 h 343"/>
                <a:gd name="T66" fmla="*/ 20 w 392"/>
                <a:gd name="T67" fmla="*/ 137 h 343"/>
                <a:gd name="T68" fmla="*/ 10 w 392"/>
                <a:gd name="T69" fmla="*/ 133 h 343"/>
                <a:gd name="T70" fmla="*/ 1 w 392"/>
                <a:gd name="T71" fmla="*/ 148 h 343"/>
                <a:gd name="T72" fmla="*/ 1 w 392"/>
                <a:gd name="T73" fmla="*/ 170 h 343"/>
                <a:gd name="T74" fmla="*/ 14 w 392"/>
                <a:gd name="T75" fmla="*/ 170 h 343"/>
                <a:gd name="T76" fmla="*/ 20 w 392"/>
                <a:gd name="T77" fmla="*/ 183 h 343"/>
                <a:gd name="T78" fmla="*/ 32 w 392"/>
                <a:gd name="T79" fmla="*/ 191 h 343"/>
                <a:gd name="T80" fmla="*/ 48 w 392"/>
                <a:gd name="T81" fmla="*/ 195 h 343"/>
                <a:gd name="T82" fmla="*/ 37 w 392"/>
                <a:gd name="T83" fmla="*/ 234 h 343"/>
                <a:gd name="T84" fmla="*/ 31 w 392"/>
                <a:gd name="T85" fmla="*/ 269 h 343"/>
                <a:gd name="T86" fmla="*/ 53 w 392"/>
                <a:gd name="T87" fmla="*/ 284 h 343"/>
                <a:gd name="T88" fmla="*/ 88 w 392"/>
                <a:gd name="T89" fmla="*/ 285 h 343"/>
                <a:gd name="T90" fmla="*/ 120 w 392"/>
                <a:gd name="T91" fmla="*/ 297 h 343"/>
                <a:gd name="T92" fmla="*/ 133 w 392"/>
                <a:gd name="T93" fmla="*/ 312 h 343"/>
                <a:gd name="T94" fmla="*/ 143 w 392"/>
                <a:gd name="T95" fmla="*/ 311 h 343"/>
                <a:gd name="T96" fmla="*/ 168 w 392"/>
                <a:gd name="T97" fmla="*/ 294 h 343"/>
                <a:gd name="T98" fmla="*/ 185 w 392"/>
                <a:gd name="T99" fmla="*/ 306 h 343"/>
                <a:gd name="T100" fmla="*/ 207 w 392"/>
                <a:gd name="T101" fmla="*/ 321 h 343"/>
                <a:gd name="T102" fmla="*/ 268 w 392"/>
                <a:gd name="T103" fmla="*/ 330 h 343"/>
                <a:gd name="T104" fmla="*/ 327 w 392"/>
                <a:gd name="T105" fmla="*/ 342 h 343"/>
                <a:gd name="T106" fmla="*/ 361 w 392"/>
                <a:gd name="T107" fmla="*/ 337 h 343"/>
                <a:gd name="T108" fmla="*/ 392 w 392"/>
                <a:gd name="T109" fmla="*/ 337 h 343"/>
                <a:gd name="T110" fmla="*/ 388 w 392"/>
                <a:gd name="T111" fmla="*/ 324 h 343"/>
                <a:gd name="T112" fmla="*/ 385 w 392"/>
                <a:gd name="T113" fmla="*/ 314 h 343"/>
                <a:gd name="T114" fmla="*/ 376 w 392"/>
                <a:gd name="T115" fmla="*/ 302 h 343"/>
                <a:gd name="T116" fmla="*/ 374 w 392"/>
                <a:gd name="T117" fmla="*/ 275 h 343"/>
                <a:gd name="T118" fmla="*/ 374 w 392"/>
                <a:gd name="T119" fmla="*/ 263 h 343"/>
                <a:gd name="T120" fmla="*/ 362 w 392"/>
                <a:gd name="T121" fmla="*/ 265 h 343"/>
                <a:gd name="T122" fmla="*/ 358 w 392"/>
                <a:gd name="T123" fmla="*/ 265 h 343"/>
                <a:gd name="T124" fmla="*/ 349 w 392"/>
                <a:gd name="T125" fmla="*/ 25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2" h="343">
                  <a:moveTo>
                    <a:pt x="342" y="234"/>
                  </a:moveTo>
                  <a:lnTo>
                    <a:pt x="342" y="234"/>
                  </a:lnTo>
                  <a:lnTo>
                    <a:pt x="340" y="226"/>
                  </a:lnTo>
                  <a:lnTo>
                    <a:pt x="340" y="226"/>
                  </a:lnTo>
                  <a:lnTo>
                    <a:pt x="337" y="211"/>
                  </a:lnTo>
                  <a:lnTo>
                    <a:pt x="336" y="205"/>
                  </a:lnTo>
                  <a:lnTo>
                    <a:pt x="333" y="202"/>
                  </a:lnTo>
                  <a:lnTo>
                    <a:pt x="333" y="202"/>
                  </a:lnTo>
                  <a:lnTo>
                    <a:pt x="311" y="189"/>
                  </a:lnTo>
                  <a:lnTo>
                    <a:pt x="293" y="17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4" y="162"/>
                  </a:lnTo>
                  <a:lnTo>
                    <a:pt x="272" y="160"/>
                  </a:lnTo>
                  <a:lnTo>
                    <a:pt x="272" y="158"/>
                  </a:lnTo>
                  <a:lnTo>
                    <a:pt x="274" y="154"/>
                  </a:lnTo>
                  <a:lnTo>
                    <a:pt x="275" y="148"/>
                  </a:lnTo>
                  <a:lnTo>
                    <a:pt x="275" y="148"/>
                  </a:lnTo>
                  <a:lnTo>
                    <a:pt x="275" y="140"/>
                  </a:lnTo>
                  <a:lnTo>
                    <a:pt x="274" y="136"/>
                  </a:lnTo>
                  <a:lnTo>
                    <a:pt x="272" y="131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0" y="125"/>
                  </a:lnTo>
                  <a:lnTo>
                    <a:pt x="256" y="122"/>
                  </a:lnTo>
                  <a:lnTo>
                    <a:pt x="254" y="120"/>
                  </a:lnTo>
                  <a:lnTo>
                    <a:pt x="254" y="120"/>
                  </a:lnTo>
                  <a:lnTo>
                    <a:pt x="253" y="114"/>
                  </a:lnTo>
                  <a:lnTo>
                    <a:pt x="253" y="106"/>
                  </a:lnTo>
                  <a:lnTo>
                    <a:pt x="254" y="97"/>
                  </a:lnTo>
                  <a:lnTo>
                    <a:pt x="259" y="88"/>
                  </a:lnTo>
                  <a:lnTo>
                    <a:pt x="259" y="88"/>
                  </a:lnTo>
                  <a:lnTo>
                    <a:pt x="265" y="75"/>
                  </a:lnTo>
                  <a:lnTo>
                    <a:pt x="266" y="69"/>
                  </a:lnTo>
                  <a:lnTo>
                    <a:pt x="268" y="62"/>
                  </a:lnTo>
                  <a:lnTo>
                    <a:pt x="268" y="62"/>
                  </a:lnTo>
                  <a:lnTo>
                    <a:pt x="268" y="57"/>
                  </a:lnTo>
                  <a:lnTo>
                    <a:pt x="268" y="53"/>
                  </a:lnTo>
                  <a:lnTo>
                    <a:pt x="268" y="53"/>
                  </a:lnTo>
                  <a:lnTo>
                    <a:pt x="263" y="47"/>
                  </a:lnTo>
                  <a:lnTo>
                    <a:pt x="259" y="44"/>
                  </a:lnTo>
                  <a:lnTo>
                    <a:pt x="253" y="43"/>
                  </a:lnTo>
                  <a:lnTo>
                    <a:pt x="248" y="43"/>
                  </a:lnTo>
                  <a:lnTo>
                    <a:pt x="248" y="43"/>
                  </a:lnTo>
                  <a:lnTo>
                    <a:pt x="244" y="44"/>
                  </a:lnTo>
                  <a:lnTo>
                    <a:pt x="241" y="47"/>
                  </a:lnTo>
                  <a:lnTo>
                    <a:pt x="240" y="50"/>
                  </a:lnTo>
                  <a:lnTo>
                    <a:pt x="237" y="53"/>
                  </a:lnTo>
                  <a:lnTo>
                    <a:pt x="237" y="53"/>
                  </a:lnTo>
                  <a:lnTo>
                    <a:pt x="234" y="54"/>
                  </a:lnTo>
                  <a:lnTo>
                    <a:pt x="229" y="53"/>
                  </a:lnTo>
                  <a:lnTo>
                    <a:pt x="225" y="53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16" y="59"/>
                  </a:lnTo>
                  <a:lnTo>
                    <a:pt x="213" y="60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197" y="56"/>
                  </a:lnTo>
                  <a:lnTo>
                    <a:pt x="191" y="54"/>
                  </a:lnTo>
                  <a:lnTo>
                    <a:pt x="186" y="51"/>
                  </a:lnTo>
                  <a:lnTo>
                    <a:pt x="186" y="51"/>
                  </a:lnTo>
                  <a:lnTo>
                    <a:pt x="183" y="48"/>
                  </a:lnTo>
                  <a:lnTo>
                    <a:pt x="183" y="45"/>
                  </a:lnTo>
                  <a:lnTo>
                    <a:pt x="183" y="41"/>
                  </a:lnTo>
                  <a:lnTo>
                    <a:pt x="183" y="35"/>
                  </a:lnTo>
                  <a:lnTo>
                    <a:pt x="183" y="29"/>
                  </a:lnTo>
                  <a:lnTo>
                    <a:pt x="183" y="29"/>
                  </a:lnTo>
                  <a:lnTo>
                    <a:pt x="182" y="26"/>
                  </a:lnTo>
                  <a:lnTo>
                    <a:pt x="179" y="28"/>
                  </a:lnTo>
                  <a:lnTo>
                    <a:pt x="170" y="32"/>
                  </a:lnTo>
                  <a:lnTo>
                    <a:pt x="170" y="32"/>
                  </a:lnTo>
                  <a:lnTo>
                    <a:pt x="168" y="32"/>
                  </a:lnTo>
                  <a:lnTo>
                    <a:pt x="167" y="32"/>
                  </a:lnTo>
                  <a:lnTo>
                    <a:pt x="165" y="28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3" y="11"/>
                  </a:lnTo>
                  <a:lnTo>
                    <a:pt x="161" y="8"/>
                  </a:lnTo>
                  <a:lnTo>
                    <a:pt x="158" y="8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45" y="8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1" y="4"/>
                  </a:lnTo>
                  <a:lnTo>
                    <a:pt x="128" y="1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0" y="1"/>
                  </a:lnTo>
                  <a:lnTo>
                    <a:pt x="114" y="5"/>
                  </a:lnTo>
                  <a:lnTo>
                    <a:pt x="108" y="11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9"/>
                  </a:lnTo>
                  <a:lnTo>
                    <a:pt x="100" y="20"/>
                  </a:lnTo>
                  <a:lnTo>
                    <a:pt x="94" y="20"/>
                  </a:lnTo>
                  <a:lnTo>
                    <a:pt x="90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4" y="23"/>
                  </a:lnTo>
                  <a:lnTo>
                    <a:pt x="83" y="28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65"/>
                  </a:lnTo>
                  <a:lnTo>
                    <a:pt x="83" y="69"/>
                  </a:lnTo>
                  <a:lnTo>
                    <a:pt x="86" y="74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81"/>
                  </a:lnTo>
                  <a:lnTo>
                    <a:pt x="87" y="87"/>
                  </a:lnTo>
                  <a:lnTo>
                    <a:pt x="84" y="93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5" y="102"/>
                  </a:lnTo>
                  <a:lnTo>
                    <a:pt x="71" y="106"/>
                  </a:lnTo>
                  <a:lnTo>
                    <a:pt x="69" y="108"/>
                  </a:lnTo>
                  <a:lnTo>
                    <a:pt x="68" y="108"/>
                  </a:lnTo>
                  <a:lnTo>
                    <a:pt x="60" y="105"/>
                  </a:lnTo>
                  <a:lnTo>
                    <a:pt x="60" y="105"/>
                  </a:lnTo>
                  <a:lnTo>
                    <a:pt x="53" y="100"/>
                  </a:lnTo>
                  <a:lnTo>
                    <a:pt x="46" y="99"/>
                  </a:lnTo>
                  <a:lnTo>
                    <a:pt x="41" y="100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14"/>
                  </a:lnTo>
                  <a:lnTo>
                    <a:pt x="37" y="124"/>
                  </a:lnTo>
                  <a:lnTo>
                    <a:pt x="32" y="134"/>
                  </a:lnTo>
                  <a:lnTo>
                    <a:pt x="29" y="137"/>
                  </a:lnTo>
                  <a:lnTo>
                    <a:pt x="26" y="139"/>
                  </a:lnTo>
                  <a:lnTo>
                    <a:pt x="26" y="139"/>
                  </a:lnTo>
                  <a:lnTo>
                    <a:pt x="20" y="137"/>
                  </a:lnTo>
                  <a:lnTo>
                    <a:pt x="16" y="134"/>
                  </a:lnTo>
                  <a:lnTo>
                    <a:pt x="14" y="133"/>
                  </a:lnTo>
                  <a:lnTo>
                    <a:pt x="13" y="131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7" y="136"/>
                  </a:lnTo>
                  <a:lnTo>
                    <a:pt x="3" y="140"/>
                  </a:lnTo>
                  <a:lnTo>
                    <a:pt x="1" y="148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67"/>
                  </a:lnTo>
                  <a:lnTo>
                    <a:pt x="1" y="170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13" y="170"/>
                  </a:lnTo>
                  <a:lnTo>
                    <a:pt x="14" y="170"/>
                  </a:lnTo>
                  <a:lnTo>
                    <a:pt x="16" y="171"/>
                  </a:lnTo>
                  <a:lnTo>
                    <a:pt x="19" y="176"/>
                  </a:lnTo>
                  <a:lnTo>
                    <a:pt x="19" y="176"/>
                  </a:lnTo>
                  <a:lnTo>
                    <a:pt x="20" y="183"/>
                  </a:lnTo>
                  <a:lnTo>
                    <a:pt x="22" y="188"/>
                  </a:lnTo>
                  <a:lnTo>
                    <a:pt x="26" y="189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43" y="191"/>
                  </a:lnTo>
                  <a:lnTo>
                    <a:pt x="46" y="192"/>
                  </a:lnTo>
                  <a:lnTo>
                    <a:pt x="48" y="195"/>
                  </a:lnTo>
                  <a:lnTo>
                    <a:pt x="48" y="195"/>
                  </a:lnTo>
                  <a:lnTo>
                    <a:pt x="48" y="198"/>
                  </a:lnTo>
                  <a:lnTo>
                    <a:pt x="48" y="202"/>
                  </a:lnTo>
                  <a:lnTo>
                    <a:pt x="44" y="213"/>
                  </a:lnTo>
                  <a:lnTo>
                    <a:pt x="37" y="234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31" y="269"/>
                  </a:lnTo>
                  <a:lnTo>
                    <a:pt x="31" y="269"/>
                  </a:lnTo>
                  <a:lnTo>
                    <a:pt x="38" y="277"/>
                  </a:lnTo>
                  <a:lnTo>
                    <a:pt x="44" y="279"/>
                  </a:lnTo>
                  <a:lnTo>
                    <a:pt x="53" y="284"/>
                  </a:lnTo>
                  <a:lnTo>
                    <a:pt x="53" y="284"/>
                  </a:lnTo>
                  <a:lnTo>
                    <a:pt x="63" y="287"/>
                  </a:lnTo>
                  <a:lnTo>
                    <a:pt x="72" y="287"/>
                  </a:lnTo>
                  <a:lnTo>
                    <a:pt x="88" y="285"/>
                  </a:lnTo>
                  <a:lnTo>
                    <a:pt x="88" y="285"/>
                  </a:lnTo>
                  <a:lnTo>
                    <a:pt x="96" y="285"/>
                  </a:lnTo>
                  <a:lnTo>
                    <a:pt x="105" y="288"/>
                  </a:lnTo>
                  <a:lnTo>
                    <a:pt x="114" y="291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4" y="303"/>
                  </a:lnTo>
                  <a:lnTo>
                    <a:pt x="130" y="311"/>
                  </a:lnTo>
                  <a:lnTo>
                    <a:pt x="133" y="312"/>
                  </a:lnTo>
                  <a:lnTo>
                    <a:pt x="137" y="314"/>
                  </a:lnTo>
                  <a:lnTo>
                    <a:pt x="140" y="314"/>
                  </a:lnTo>
                  <a:lnTo>
                    <a:pt x="143" y="311"/>
                  </a:lnTo>
                  <a:lnTo>
                    <a:pt x="143" y="311"/>
                  </a:lnTo>
                  <a:lnTo>
                    <a:pt x="151" y="305"/>
                  </a:lnTo>
                  <a:lnTo>
                    <a:pt x="160" y="297"/>
                  </a:lnTo>
                  <a:lnTo>
                    <a:pt x="164" y="296"/>
                  </a:lnTo>
                  <a:lnTo>
                    <a:pt x="168" y="294"/>
                  </a:lnTo>
                  <a:lnTo>
                    <a:pt x="173" y="296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85" y="306"/>
                  </a:lnTo>
                  <a:lnTo>
                    <a:pt x="191" y="314"/>
                  </a:lnTo>
                  <a:lnTo>
                    <a:pt x="195" y="317"/>
                  </a:lnTo>
                  <a:lnTo>
                    <a:pt x="200" y="318"/>
                  </a:lnTo>
                  <a:lnTo>
                    <a:pt x="207" y="321"/>
                  </a:lnTo>
                  <a:lnTo>
                    <a:pt x="216" y="321"/>
                  </a:lnTo>
                  <a:lnTo>
                    <a:pt x="216" y="321"/>
                  </a:lnTo>
                  <a:lnTo>
                    <a:pt x="245" y="325"/>
                  </a:lnTo>
                  <a:lnTo>
                    <a:pt x="268" y="330"/>
                  </a:lnTo>
                  <a:lnTo>
                    <a:pt x="268" y="330"/>
                  </a:lnTo>
                  <a:lnTo>
                    <a:pt x="296" y="336"/>
                  </a:lnTo>
                  <a:lnTo>
                    <a:pt x="327" y="342"/>
                  </a:lnTo>
                  <a:lnTo>
                    <a:pt x="327" y="342"/>
                  </a:lnTo>
                  <a:lnTo>
                    <a:pt x="336" y="343"/>
                  </a:lnTo>
                  <a:lnTo>
                    <a:pt x="343" y="342"/>
                  </a:lnTo>
                  <a:lnTo>
                    <a:pt x="349" y="339"/>
                  </a:lnTo>
                  <a:lnTo>
                    <a:pt x="361" y="337"/>
                  </a:lnTo>
                  <a:lnTo>
                    <a:pt x="361" y="337"/>
                  </a:lnTo>
                  <a:lnTo>
                    <a:pt x="380" y="337"/>
                  </a:lnTo>
                  <a:lnTo>
                    <a:pt x="386" y="336"/>
                  </a:lnTo>
                  <a:lnTo>
                    <a:pt x="392" y="337"/>
                  </a:lnTo>
                  <a:lnTo>
                    <a:pt x="392" y="337"/>
                  </a:lnTo>
                  <a:lnTo>
                    <a:pt x="391" y="333"/>
                  </a:lnTo>
                  <a:lnTo>
                    <a:pt x="389" y="328"/>
                  </a:lnTo>
                  <a:lnTo>
                    <a:pt x="388" y="324"/>
                  </a:lnTo>
                  <a:lnTo>
                    <a:pt x="388" y="324"/>
                  </a:lnTo>
                  <a:lnTo>
                    <a:pt x="388" y="319"/>
                  </a:lnTo>
                  <a:lnTo>
                    <a:pt x="386" y="317"/>
                  </a:lnTo>
                  <a:lnTo>
                    <a:pt x="385" y="314"/>
                  </a:lnTo>
                  <a:lnTo>
                    <a:pt x="380" y="311"/>
                  </a:lnTo>
                  <a:lnTo>
                    <a:pt x="380" y="311"/>
                  </a:lnTo>
                  <a:lnTo>
                    <a:pt x="377" y="308"/>
                  </a:lnTo>
                  <a:lnTo>
                    <a:pt x="376" y="302"/>
                  </a:lnTo>
                  <a:lnTo>
                    <a:pt x="373" y="287"/>
                  </a:lnTo>
                  <a:lnTo>
                    <a:pt x="373" y="287"/>
                  </a:lnTo>
                  <a:lnTo>
                    <a:pt x="373" y="281"/>
                  </a:lnTo>
                  <a:lnTo>
                    <a:pt x="374" y="275"/>
                  </a:lnTo>
                  <a:lnTo>
                    <a:pt x="376" y="271"/>
                  </a:lnTo>
                  <a:lnTo>
                    <a:pt x="376" y="266"/>
                  </a:lnTo>
                  <a:lnTo>
                    <a:pt x="376" y="266"/>
                  </a:lnTo>
                  <a:lnTo>
                    <a:pt x="374" y="263"/>
                  </a:lnTo>
                  <a:lnTo>
                    <a:pt x="373" y="263"/>
                  </a:lnTo>
                  <a:lnTo>
                    <a:pt x="367" y="265"/>
                  </a:lnTo>
                  <a:lnTo>
                    <a:pt x="367" y="265"/>
                  </a:lnTo>
                  <a:lnTo>
                    <a:pt x="362" y="265"/>
                  </a:lnTo>
                  <a:lnTo>
                    <a:pt x="361" y="266"/>
                  </a:lnTo>
                  <a:lnTo>
                    <a:pt x="359" y="266"/>
                  </a:lnTo>
                  <a:lnTo>
                    <a:pt x="358" y="265"/>
                  </a:lnTo>
                  <a:lnTo>
                    <a:pt x="358" y="265"/>
                  </a:lnTo>
                  <a:lnTo>
                    <a:pt x="355" y="260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  <a:lnTo>
                    <a:pt x="349" y="253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89" name="Freeform 68">
              <a:extLst>
                <a:ext uri="{FF2B5EF4-FFF2-40B4-BE49-F238E27FC236}">
                  <a16:creationId xmlns:a16="http://schemas.microsoft.com/office/drawing/2014/main" id="{A117C419-1608-7141-B2E0-21CFA575EE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48838" y="2925763"/>
              <a:ext cx="2057400" cy="5168900"/>
            </a:xfrm>
            <a:custGeom>
              <a:avLst/>
              <a:gdLst>
                <a:gd name="T0" fmla="*/ 868 w 1296"/>
                <a:gd name="T1" fmla="*/ 360 h 3256"/>
                <a:gd name="T2" fmla="*/ 907 w 1296"/>
                <a:gd name="T3" fmla="*/ 265 h 3256"/>
                <a:gd name="T4" fmla="*/ 710 w 1296"/>
                <a:gd name="T5" fmla="*/ 199 h 3256"/>
                <a:gd name="T6" fmla="*/ 843 w 1296"/>
                <a:gd name="T7" fmla="*/ 242 h 3256"/>
                <a:gd name="T8" fmla="*/ 794 w 1296"/>
                <a:gd name="T9" fmla="*/ 174 h 3256"/>
                <a:gd name="T10" fmla="*/ 676 w 1296"/>
                <a:gd name="T11" fmla="*/ 17 h 3256"/>
                <a:gd name="T12" fmla="*/ 717 w 1296"/>
                <a:gd name="T13" fmla="*/ 154 h 3256"/>
                <a:gd name="T14" fmla="*/ 791 w 1296"/>
                <a:gd name="T15" fmla="*/ 34 h 3256"/>
                <a:gd name="T16" fmla="*/ 696 w 1296"/>
                <a:gd name="T17" fmla="*/ 120 h 3256"/>
                <a:gd name="T18" fmla="*/ 276 w 1296"/>
                <a:gd name="T19" fmla="*/ 2959 h 3256"/>
                <a:gd name="T20" fmla="*/ 239 w 1296"/>
                <a:gd name="T21" fmla="*/ 3152 h 3256"/>
                <a:gd name="T22" fmla="*/ 342 w 1296"/>
                <a:gd name="T23" fmla="*/ 3256 h 3256"/>
                <a:gd name="T24" fmla="*/ 489 w 1296"/>
                <a:gd name="T25" fmla="*/ 3099 h 3256"/>
                <a:gd name="T26" fmla="*/ 628 w 1296"/>
                <a:gd name="T27" fmla="*/ 3069 h 3256"/>
                <a:gd name="T28" fmla="*/ 631 w 1296"/>
                <a:gd name="T29" fmla="*/ 2940 h 3256"/>
                <a:gd name="T30" fmla="*/ 695 w 1296"/>
                <a:gd name="T31" fmla="*/ 2796 h 3256"/>
                <a:gd name="T32" fmla="*/ 693 w 1296"/>
                <a:gd name="T33" fmla="*/ 2702 h 3256"/>
                <a:gd name="T34" fmla="*/ 858 w 1296"/>
                <a:gd name="T35" fmla="*/ 2598 h 3256"/>
                <a:gd name="T36" fmla="*/ 932 w 1296"/>
                <a:gd name="T37" fmla="*/ 2565 h 3256"/>
                <a:gd name="T38" fmla="*/ 1021 w 1296"/>
                <a:gd name="T39" fmla="*/ 2447 h 3256"/>
                <a:gd name="T40" fmla="*/ 1120 w 1296"/>
                <a:gd name="T41" fmla="*/ 2499 h 3256"/>
                <a:gd name="T42" fmla="*/ 1126 w 1296"/>
                <a:gd name="T43" fmla="*/ 2373 h 3256"/>
                <a:gd name="T44" fmla="*/ 1114 w 1296"/>
                <a:gd name="T45" fmla="*/ 2225 h 3256"/>
                <a:gd name="T46" fmla="*/ 1169 w 1296"/>
                <a:gd name="T47" fmla="*/ 2091 h 3256"/>
                <a:gd name="T48" fmla="*/ 1158 w 1296"/>
                <a:gd name="T49" fmla="*/ 1985 h 3256"/>
                <a:gd name="T50" fmla="*/ 1237 w 1296"/>
                <a:gd name="T51" fmla="*/ 1903 h 3256"/>
                <a:gd name="T52" fmla="*/ 1146 w 1296"/>
                <a:gd name="T53" fmla="*/ 1856 h 3256"/>
                <a:gd name="T54" fmla="*/ 1141 w 1296"/>
                <a:gd name="T55" fmla="*/ 1775 h 3256"/>
                <a:gd name="T56" fmla="*/ 1112 w 1296"/>
                <a:gd name="T57" fmla="*/ 1597 h 3256"/>
                <a:gd name="T58" fmla="*/ 1123 w 1296"/>
                <a:gd name="T59" fmla="*/ 1388 h 3256"/>
                <a:gd name="T60" fmla="*/ 1204 w 1296"/>
                <a:gd name="T61" fmla="*/ 1244 h 3256"/>
                <a:gd name="T62" fmla="*/ 1229 w 1296"/>
                <a:gd name="T63" fmla="*/ 1138 h 3256"/>
                <a:gd name="T64" fmla="*/ 1249 w 1296"/>
                <a:gd name="T65" fmla="*/ 964 h 3256"/>
                <a:gd name="T66" fmla="*/ 1186 w 1296"/>
                <a:gd name="T67" fmla="*/ 852 h 3256"/>
                <a:gd name="T68" fmla="*/ 1010 w 1296"/>
                <a:gd name="T69" fmla="*/ 948 h 3256"/>
                <a:gd name="T70" fmla="*/ 1186 w 1296"/>
                <a:gd name="T71" fmla="*/ 717 h 3256"/>
                <a:gd name="T72" fmla="*/ 1218 w 1296"/>
                <a:gd name="T73" fmla="*/ 550 h 3256"/>
                <a:gd name="T74" fmla="*/ 1064 w 1296"/>
                <a:gd name="T75" fmla="*/ 505 h 3256"/>
                <a:gd name="T76" fmla="*/ 969 w 1296"/>
                <a:gd name="T77" fmla="*/ 459 h 3256"/>
                <a:gd name="T78" fmla="*/ 887 w 1296"/>
                <a:gd name="T79" fmla="*/ 538 h 3256"/>
                <a:gd name="T80" fmla="*/ 838 w 1296"/>
                <a:gd name="T81" fmla="*/ 587 h 3256"/>
                <a:gd name="T82" fmla="*/ 662 w 1296"/>
                <a:gd name="T83" fmla="*/ 581 h 3256"/>
                <a:gd name="T84" fmla="*/ 449 w 1296"/>
                <a:gd name="T85" fmla="*/ 685 h 3256"/>
                <a:gd name="T86" fmla="*/ 453 w 1296"/>
                <a:gd name="T87" fmla="*/ 756 h 3256"/>
                <a:gd name="T88" fmla="*/ 233 w 1296"/>
                <a:gd name="T89" fmla="*/ 784 h 3256"/>
                <a:gd name="T90" fmla="*/ 276 w 1296"/>
                <a:gd name="T91" fmla="*/ 1010 h 3256"/>
                <a:gd name="T92" fmla="*/ 219 w 1296"/>
                <a:gd name="T93" fmla="*/ 1127 h 3256"/>
                <a:gd name="T94" fmla="*/ 268 w 1296"/>
                <a:gd name="T95" fmla="*/ 997 h 3256"/>
                <a:gd name="T96" fmla="*/ 162 w 1296"/>
                <a:gd name="T97" fmla="*/ 913 h 3256"/>
                <a:gd name="T98" fmla="*/ 128 w 1296"/>
                <a:gd name="T99" fmla="*/ 1093 h 3256"/>
                <a:gd name="T100" fmla="*/ 147 w 1296"/>
                <a:gd name="T101" fmla="*/ 1209 h 3256"/>
                <a:gd name="T102" fmla="*/ 132 w 1296"/>
                <a:gd name="T103" fmla="*/ 1363 h 3256"/>
                <a:gd name="T104" fmla="*/ 123 w 1296"/>
                <a:gd name="T105" fmla="*/ 1511 h 3256"/>
                <a:gd name="T106" fmla="*/ 135 w 1296"/>
                <a:gd name="T107" fmla="*/ 1644 h 3256"/>
                <a:gd name="T108" fmla="*/ 179 w 1296"/>
                <a:gd name="T109" fmla="*/ 1757 h 3256"/>
                <a:gd name="T110" fmla="*/ 114 w 1296"/>
                <a:gd name="T111" fmla="*/ 1958 h 3256"/>
                <a:gd name="T112" fmla="*/ 74 w 1296"/>
                <a:gd name="T113" fmla="*/ 2072 h 3256"/>
                <a:gd name="T114" fmla="*/ 23 w 1296"/>
                <a:gd name="T115" fmla="*/ 2201 h 3256"/>
                <a:gd name="T116" fmla="*/ 145 w 1296"/>
                <a:gd name="T117" fmla="*/ 2328 h 3256"/>
                <a:gd name="T118" fmla="*/ 166 w 1296"/>
                <a:gd name="T119" fmla="*/ 2445 h 3256"/>
                <a:gd name="T120" fmla="*/ 159 w 1296"/>
                <a:gd name="T121" fmla="*/ 2623 h 3256"/>
                <a:gd name="T122" fmla="*/ 117 w 1296"/>
                <a:gd name="T123" fmla="*/ 2820 h 3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96" h="3256">
                  <a:moveTo>
                    <a:pt x="883" y="219"/>
                  </a:moveTo>
                  <a:lnTo>
                    <a:pt x="883" y="219"/>
                  </a:lnTo>
                  <a:lnTo>
                    <a:pt x="878" y="227"/>
                  </a:lnTo>
                  <a:lnTo>
                    <a:pt x="875" y="239"/>
                  </a:lnTo>
                  <a:lnTo>
                    <a:pt x="872" y="249"/>
                  </a:lnTo>
                  <a:lnTo>
                    <a:pt x="870" y="257"/>
                  </a:lnTo>
                  <a:lnTo>
                    <a:pt x="870" y="257"/>
                  </a:lnTo>
                  <a:lnTo>
                    <a:pt x="868" y="261"/>
                  </a:lnTo>
                  <a:lnTo>
                    <a:pt x="867" y="268"/>
                  </a:lnTo>
                  <a:lnTo>
                    <a:pt x="867" y="279"/>
                  </a:lnTo>
                  <a:lnTo>
                    <a:pt x="867" y="279"/>
                  </a:lnTo>
                  <a:lnTo>
                    <a:pt x="867" y="282"/>
                  </a:lnTo>
                  <a:lnTo>
                    <a:pt x="864" y="285"/>
                  </a:lnTo>
                  <a:lnTo>
                    <a:pt x="858" y="292"/>
                  </a:lnTo>
                  <a:lnTo>
                    <a:pt x="858" y="292"/>
                  </a:lnTo>
                  <a:lnTo>
                    <a:pt x="856" y="296"/>
                  </a:lnTo>
                  <a:lnTo>
                    <a:pt x="856" y="304"/>
                  </a:lnTo>
                  <a:lnTo>
                    <a:pt x="856" y="310"/>
                  </a:lnTo>
                  <a:lnTo>
                    <a:pt x="858" y="317"/>
                  </a:lnTo>
                  <a:lnTo>
                    <a:pt x="858" y="317"/>
                  </a:lnTo>
                  <a:lnTo>
                    <a:pt x="859" y="322"/>
                  </a:lnTo>
                  <a:lnTo>
                    <a:pt x="858" y="325"/>
                  </a:lnTo>
                  <a:lnTo>
                    <a:pt x="856" y="326"/>
                  </a:lnTo>
                  <a:lnTo>
                    <a:pt x="852" y="329"/>
                  </a:lnTo>
                  <a:lnTo>
                    <a:pt x="852" y="329"/>
                  </a:lnTo>
                  <a:lnTo>
                    <a:pt x="840" y="342"/>
                  </a:lnTo>
                  <a:lnTo>
                    <a:pt x="840" y="342"/>
                  </a:lnTo>
                  <a:lnTo>
                    <a:pt x="838" y="347"/>
                  </a:lnTo>
                  <a:lnTo>
                    <a:pt x="837" y="354"/>
                  </a:lnTo>
                  <a:lnTo>
                    <a:pt x="835" y="366"/>
                  </a:lnTo>
                  <a:lnTo>
                    <a:pt x="835" y="366"/>
                  </a:lnTo>
                  <a:lnTo>
                    <a:pt x="837" y="369"/>
                  </a:lnTo>
                  <a:lnTo>
                    <a:pt x="838" y="371"/>
                  </a:lnTo>
                  <a:lnTo>
                    <a:pt x="846" y="374"/>
                  </a:lnTo>
                  <a:lnTo>
                    <a:pt x="846" y="374"/>
                  </a:lnTo>
                  <a:lnTo>
                    <a:pt x="850" y="372"/>
                  </a:lnTo>
                  <a:lnTo>
                    <a:pt x="856" y="369"/>
                  </a:lnTo>
                  <a:lnTo>
                    <a:pt x="868" y="360"/>
                  </a:lnTo>
                  <a:lnTo>
                    <a:pt x="868" y="360"/>
                  </a:lnTo>
                  <a:lnTo>
                    <a:pt x="874" y="356"/>
                  </a:lnTo>
                  <a:lnTo>
                    <a:pt x="881" y="350"/>
                  </a:lnTo>
                  <a:lnTo>
                    <a:pt x="889" y="345"/>
                  </a:lnTo>
                  <a:lnTo>
                    <a:pt x="895" y="342"/>
                  </a:lnTo>
                  <a:lnTo>
                    <a:pt x="895" y="342"/>
                  </a:lnTo>
                  <a:lnTo>
                    <a:pt x="904" y="341"/>
                  </a:lnTo>
                  <a:lnTo>
                    <a:pt x="914" y="341"/>
                  </a:lnTo>
                  <a:lnTo>
                    <a:pt x="933" y="341"/>
                  </a:lnTo>
                  <a:lnTo>
                    <a:pt x="933" y="341"/>
                  </a:lnTo>
                  <a:lnTo>
                    <a:pt x="939" y="339"/>
                  </a:lnTo>
                  <a:lnTo>
                    <a:pt x="947" y="335"/>
                  </a:lnTo>
                  <a:lnTo>
                    <a:pt x="961" y="325"/>
                  </a:lnTo>
                  <a:lnTo>
                    <a:pt x="961" y="325"/>
                  </a:lnTo>
                  <a:lnTo>
                    <a:pt x="966" y="319"/>
                  </a:lnTo>
                  <a:lnTo>
                    <a:pt x="970" y="311"/>
                  </a:lnTo>
                  <a:lnTo>
                    <a:pt x="972" y="302"/>
                  </a:lnTo>
                  <a:lnTo>
                    <a:pt x="972" y="292"/>
                  </a:lnTo>
                  <a:lnTo>
                    <a:pt x="972" y="292"/>
                  </a:lnTo>
                  <a:lnTo>
                    <a:pt x="970" y="285"/>
                  </a:lnTo>
                  <a:lnTo>
                    <a:pt x="966" y="280"/>
                  </a:lnTo>
                  <a:lnTo>
                    <a:pt x="955" y="271"/>
                  </a:lnTo>
                  <a:lnTo>
                    <a:pt x="955" y="271"/>
                  </a:lnTo>
                  <a:lnTo>
                    <a:pt x="949" y="267"/>
                  </a:lnTo>
                  <a:lnTo>
                    <a:pt x="945" y="261"/>
                  </a:lnTo>
                  <a:lnTo>
                    <a:pt x="936" y="248"/>
                  </a:lnTo>
                  <a:lnTo>
                    <a:pt x="936" y="248"/>
                  </a:lnTo>
                  <a:lnTo>
                    <a:pt x="933" y="242"/>
                  </a:lnTo>
                  <a:lnTo>
                    <a:pt x="930" y="239"/>
                  </a:lnTo>
                  <a:lnTo>
                    <a:pt x="927" y="237"/>
                  </a:lnTo>
                  <a:lnTo>
                    <a:pt x="923" y="239"/>
                  </a:lnTo>
                  <a:lnTo>
                    <a:pt x="923" y="239"/>
                  </a:lnTo>
                  <a:lnTo>
                    <a:pt x="918" y="243"/>
                  </a:lnTo>
                  <a:lnTo>
                    <a:pt x="915" y="249"/>
                  </a:lnTo>
                  <a:lnTo>
                    <a:pt x="914" y="259"/>
                  </a:lnTo>
                  <a:lnTo>
                    <a:pt x="914" y="259"/>
                  </a:lnTo>
                  <a:lnTo>
                    <a:pt x="914" y="262"/>
                  </a:lnTo>
                  <a:lnTo>
                    <a:pt x="912" y="265"/>
                  </a:lnTo>
                  <a:lnTo>
                    <a:pt x="910" y="267"/>
                  </a:lnTo>
                  <a:lnTo>
                    <a:pt x="907" y="265"/>
                  </a:lnTo>
                  <a:lnTo>
                    <a:pt x="907" y="265"/>
                  </a:lnTo>
                  <a:lnTo>
                    <a:pt x="905" y="264"/>
                  </a:lnTo>
                  <a:lnTo>
                    <a:pt x="905" y="261"/>
                  </a:lnTo>
                  <a:lnTo>
                    <a:pt x="905" y="254"/>
                  </a:lnTo>
                  <a:lnTo>
                    <a:pt x="907" y="245"/>
                  </a:lnTo>
                  <a:lnTo>
                    <a:pt x="908" y="237"/>
                  </a:lnTo>
                  <a:lnTo>
                    <a:pt x="908" y="237"/>
                  </a:lnTo>
                  <a:lnTo>
                    <a:pt x="910" y="231"/>
                  </a:lnTo>
                  <a:lnTo>
                    <a:pt x="910" y="224"/>
                  </a:lnTo>
                  <a:lnTo>
                    <a:pt x="907" y="217"/>
                  </a:lnTo>
                  <a:lnTo>
                    <a:pt x="904" y="212"/>
                  </a:lnTo>
                  <a:lnTo>
                    <a:pt x="904" y="212"/>
                  </a:lnTo>
                  <a:lnTo>
                    <a:pt x="899" y="211"/>
                  </a:lnTo>
                  <a:lnTo>
                    <a:pt x="893" y="212"/>
                  </a:lnTo>
                  <a:lnTo>
                    <a:pt x="887" y="215"/>
                  </a:lnTo>
                  <a:lnTo>
                    <a:pt x="883" y="219"/>
                  </a:lnTo>
                  <a:lnTo>
                    <a:pt x="883" y="219"/>
                  </a:lnTo>
                  <a:close/>
                  <a:moveTo>
                    <a:pt x="761" y="131"/>
                  </a:moveTo>
                  <a:lnTo>
                    <a:pt x="761" y="131"/>
                  </a:lnTo>
                  <a:lnTo>
                    <a:pt x="754" y="132"/>
                  </a:lnTo>
                  <a:lnTo>
                    <a:pt x="747" y="137"/>
                  </a:lnTo>
                  <a:lnTo>
                    <a:pt x="735" y="144"/>
                  </a:lnTo>
                  <a:lnTo>
                    <a:pt x="735" y="144"/>
                  </a:lnTo>
                  <a:lnTo>
                    <a:pt x="732" y="148"/>
                  </a:lnTo>
                  <a:lnTo>
                    <a:pt x="730" y="157"/>
                  </a:lnTo>
                  <a:lnTo>
                    <a:pt x="727" y="168"/>
                  </a:lnTo>
                  <a:lnTo>
                    <a:pt x="727" y="168"/>
                  </a:lnTo>
                  <a:lnTo>
                    <a:pt x="723" y="172"/>
                  </a:lnTo>
                  <a:lnTo>
                    <a:pt x="717" y="175"/>
                  </a:lnTo>
                  <a:lnTo>
                    <a:pt x="711" y="179"/>
                  </a:lnTo>
                  <a:lnTo>
                    <a:pt x="711" y="179"/>
                  </a:lnTo>
                  <a:lnTo>
                    <a:pt x="705" y="182"/>
                  </a:lnTo>
                  <a:lnTo>
                    <a:pt x="704" y="185"/>
                  </a:lnTo>
                  <a:lnTo>
                    <a:pt x="702" y="188"/>
                  </a:lnTo>
                  <a:lnTo>
                    <a:pt x="702" y="193"/>
                  </a:lnTo>
                  <a:lnTo>
                    <a:pt x="702" y="193"/>
                  </a:lnTo>
                  <a:lnTo>
                    <a:pt x="704" y="194"/>
                  </a:lnTo>
                  <a:lnTo>
                    <a:pt x="705" y="196"/>
                  </a:lnTo>
                  <a:lnTo>
                    <a:pt x="710" y="199"/>
                  </a:lnTo>
                  <a:lnTo>
                    <a:pt x="724" y="203"/>
                  </a:lnTo>
                  <a:lnTo>
                    <a:pt x="724" y="203"/>
                  </a:lnTo>
                  <a:lnTo>
                    <a:pt x="727" y="205"/>
                  </a:lnTo>
                  <a:lnTo>
                    <a:pt x="729" y="208"/>
                  </a:lnTo>
                  <a:lnTo>
                    <a:pt x="730" y="214"/>
                  </a:lnTo>
                  <a:lnTo>
                    <a:pt x="730" y="227"/>
                  </a:lnTo>
                  <a:lnTo>
                    <a:pt x="730" y="227"/>
                  </a:lnTo>
                  <a:lnTo>
                    <a:pt x="732" y="233"/>
                  </a:lnTo>
                  <a:lnTo>
                    <a:pt x="733" y="239"/>
                  </a:lnTo>
                  <a:lnTo>
                    <a:pt x="736" y="245"/>
                  </a:lnTo>
                  <a:lnTo>
                    <a:pt x="742" y="251"/>
                  </a:lnTo>
                  <a:lnTo>
                    <a:pt x="742" y="251"/>
                  </a:lnTo>
                  <a:lnTo>
                    <a:pt x="751" y="255"/>
                  </a:lnTo>
                  <a:lnTo>
                    <a:pt x="760" y="261"/>
                  </a:lnTo>
                  <a:lnTo>
                    <a:pt x="769" y="264"/>
                  </a:lnTo>
                  <a:lnTo>
                    <a:pt x="778" y="267"/>
                  </a:lnTo>
                  <a:lnTo>
                    <a:pt x="778" y="267"/>
                  </a:lnTo>
                  <a:lnTo>
                    <a:pt x="784" y="268"/>
                  </a:lnTo>
                  <a:lnTo>
                    <a:pt x="788" y="271"/>
                  </a:lnTo>
                  <a:lnTo>
                    <a:pt x="798" y="277"/>
                  </a:lnTo>
                  <a:lnTo>
                    <a:pt x="798" y="277"/>
                  </a:lnTo>
                  <a:lnTo>
                    <a:pt x="804" y="280"/>
                  </a:lnTo>
                  <a:lnTo>
                    <a:pt x="810" y="282"/>
                  </a:lnTo>
                  <a:lnTo>
                    <a:pt x="822" y="282"/>
                  </a:lnTo>
                  <a:lnTo>
                    <a:pt x="822" y="282"/>
                  </a:lnTo>
                  <a:lnTo>
                    <a:pt x="833" y="279"/>
                  </a:lnTo>
                  <a:lnTo>
                    <a:pt x="837" y="277"/>
                  </a:lnTo>
                  <a:lnTo>
                    <a:pt x="841" y="277"/>
                  </a:lnTo>
                  <a:lnTo>
                    <a:pt x="841" y="277"/>
                  </a:lnTo>
                  <a:lnTo>
                    <a:pt x="843" y="277"/>
                  </a:lnTo>
                  <a:lnTo>
                    <a:pt x="844" y="276"/>
                  </a:lnTo>
                  <a:lnTo>
                    <a:pt x="847" y="271"/>
                  </a:lnTo>
                  <a:lnTo>
                    <a:pt x="850" y="258"/>
                  </a:lnTo>
                  <a:lnTo>
                    <a:pt x="850" y="258"/>
                  </a:lnTo>
                  <a:lnTo>
                    <a:pt x="852" y="254"/>
                  </a:lnTo>
                  <a:lnTo>
                    <a:pt x="850" y="249"/>
                  </a:lnTo>
                  <a:lnTo>
                    <a:pt x="847" y="246"/>
                  </a:lnTo>
                  <a:lnTo>
                    <a:pt x="843" y="242"/>
                  </a:lnTo>
                  <a:lnTo>
                    <a:pt x="843" y="242"/>
                  </a:lnTo>
                  <a:lnTo>
                    <a:pt x="838" y="237"/>
                  </a:lnTo>
                  <a:lnTo>
                    <a:pt x="834" y="230"/>
                  </a:lnTo>
                  <a:lnTo>
                    <a:pt x="833" y="224"/>
                  </a:lnTo>
                  <a:lnTo>
                    <a:pt x="833" y="222"/>
                  </a:lnTo>
                  <a:lnTo>
                    <a:pt x="833" y="219"/>
                  </a:lnTo>
                  <a:lnTo>
                    <a:pt x="833" y="219"/>
                  </a:lnTo>
                  <a:lnTo>
                    <a:pt x="835" y="218"/>
                  </a:lnTo>
                  <a:lnTo>
                    <a:pt x="840" y="217"/>
                  </a:lnTo>
                  <a:lnTo>
                    <a:pt x="843" y="215"/>
                  </a:lnTo>
                  <a:lnTo>
                    <a:pt x="847" y="212"/>
                  </a:lnTo>
                  <a:lnTo>
                    <a:pt x="847" y="212"/>
                  </a:lnTo>
                  <a:lnTo>
                    <a:pt x="849" y="205"/>
                  </a:lnTo>
                  <a:lnTo>
                    <a:pt x="849" y="196"/>
                  </a:lnTo>
                  <a:lnTo>
                    <a:pt x="849" y="179"/>
                  </a:lnTo>
                  <a:lnTo>
                    <a:pt x="849" y="179"/>
                  </a:lnTo>
                  <a:lnTo>
                    <a:pt x="849" y="168"/>
                  </a:lnTo>
                  <a:lnTo>
                    <a:pt x="846" y="156"/>
                  </a:lnTo>
                  <a:lnTo>
                    <a:pt x="846" y="156"/>
                  </a:lnTo>
                  <a:lnTo>
                    <a:pt x="841" y="148"/>
                  </a:lnTo>
                  <a:lnTo>
                    <a:pt x="837" y="145"/>
                  </a:lnTo>
                  <a:lnTo>
                    <a:pt x="831" y="142"/>
                  </a:lnTo>
                  <a:lnTo>
                    <a:pt x="825" y="144"/>
                  </a:lnTo>
                  <a:lnTo>
                    <a:pt x="825" y="144"/>
                  </a:lnTo>
                  <a:lnTo>
                    <a:pt x="822" y="147"/>
                  </a:lnTo>
                  <a:lnTo>
                    <a:pt x="821" y="150"/>
                  </a:lnTo>
                  <a:lnTo>
                    <a:pt x="819" y="156"/>
                  </a:lnTo>
                  <a:lnTo>
                    <a:pt x="818" y="160"/>
                  </a:lnTo>
                  <a:lnTo>
                    <a:pt x="818" y="160"/>
                  </a:lnTo>
                  <a:lnTo>
                    <a:pt x="812" y="169"/>
                  </a:lnTo>
                  <a:lnTo>
                    <a:pt x="804" y="175"/>
                  </a:lnTo>
                  <a:lnTo>
                    <a:pt x="804" y="175"/>
                  </a:lnTo>
                  <a:lnTo>
                    <a:pt x="797" y="182"/>
                  </a:lnTo>
                  <a:lnTo>
                    <a:pt x="793" y="184"/>
                  </a:lnTo>
                  <a:lnTo>
                    <a:pt x="791" y="184"/>
                  </a:lnTo>
                  <a:lnTo>
                    <a:pt x="790" y="182"/>
                  </a:lnTo>
                  <a:lnTo>
                    <a:pt x="790" y="182"/>
                  </a:lnTo>
                  <a:lnTo>
                    <a:pt x="788" y="181"/>
                  </a:lnTo>
                  <a:lnTo>
                    <a:pt x="790" y="178"/>
                  </a:lnTo>
                  <a:lnTo>
                    <a:pt x="794" y="174"/>
                  </a:lnTo>
                  <a:lnTo>
                    <a:pt x="794" y="174"/>
                  </a:lnTo>
                  <a:lnTo>
                    <a:pt x="800" y="165"/>
                  </a:lnTo>
                  <a:lnTo>
                    <a:pt x="807" y="154"/>
                  </a:lnTo>
                  <a:lnTo>
                    <a:pt x="807" y="154"/>
                  </a:lnTo>
                  <a:lnTo>
                    <a:pt x="810" y="147"/>
                  </a:lnTo>
                  <a:lnTo>
                    <a:pt x="810" y="138"/>
                  </a:lnTo>
                  <a:lnTo>
                    <a:pt x="809" y="129"/>
                  </a:lnTo>
                  <a:lnTo>
                    <a:pt x="807" y="126"/>
                  </a:lnTo>
                  <a:lnTo>
                    <a:pt x="806" y="125"/>
                  </a:lnTo>
                  <a:lnTo>
                    <a:pt x="806" y="125"/>
                  </a:lnTo>
                  <a:lnTo>
                    <a:pt x="801" y="123"/>
                  </a:lnTo>
                  <a:lnTo>
                    <a:pt x="797" y="125"/>
                  </a:lnTo>
                  <a:lnTo>
                    <a:pt x="788" y="129"/>
                  </a:lnTo>
                  <a:lnTo>
                    <a:pt x="788" y="129"/>
                  </a:lnTo>
                  <a:lnTo>
                    <a:pt x="784" y="131"/>
                  </a:lnTo>
                  <a:lnTo>
                    <a:pt x="776" y="131"/>
                  </a:lnTo>
                  <a:lnTo>
                    <a:pt x="761" y="131"/>
                  </a:lnTo>
                  <a:lnTo>
                    <a:pt x="761" y="131"/>
                  </a:lnTo>
                  <a:close/>
                  <a:moveTo>
                    <a:pt x="679" y="18"/>
                  </a:moveTo>
                  <a:lnTo>
                    <a:pt x="679" y="18"/>
                  </a:lnTo>
                  <a:lnTo>
                    <a:pt x="681" y="20"/>
                  </a:lnTo>
                  <a:lnTo>
                    <a:pt x="684" y="20"/>
                  </a:lnTo>
                  <a:lnTo>
                    <a:pt x="693" y="17"/>
                  </a:lnTo>
                  <a:lnTo>
                    <a:pt x="693" y="17"/>
                  </a:lnTo>
                  <a:lnTo>
                    <a:pt x="696" y="15"/>
                  </a:lnTo>
                  <a:lnTo>
                    <a:pt x="698" y="14"/>
                  </a:lnTo>
                  <a:lnTo>
                    <a:pt x="696" y="9"/>
                  </a:lnTo>
                  <a:lnTo>
                    <a:pt x="696" y="9"/>
                  </a:lnTo>
                  <a:lnTo>
                    <a:pt x="695" y="8"/>
                  </a:lnTo>
                  <a:lnTo>
                    <a:pt x="690" y="6"/>
                  </a:lnTo>
                  <a:lnTo>
                    <a:pt x="686" y="6"/>
                  </a:lnTo>
                  <a:lnTo>
                    <a:pt x="686" y="6"/>
                  </a:lnTo>
                  <a:lnTo>
                    <a:pt x="681" y="6"/>
                  </a:lnTo>
                  <a:lnTo>
                    <a:pt x="679" y="8"/>
                  </a:lnTo>
                  <a:lnTo>
                    <a:pt x="677" y="11"/>
                  </a:lnTo>
                  <a:lnTo>
                    <a:pt x="677" y="11"/>
                  </a:lnTo>
                  <a:lnTo>
                    <a:pt x="676" y="12"/>
                  </a:lnTo>
                  <a:lnTo>
                    <a:pt x="676" y="14"/>
                  </a:lnTo>
                  <a:lnTo>
                    <a:pt x="676" y="17"/>
                  </a:lnTo>
                  <a:lnTo>
                    <a:pt x="679" y="18"/>
                  </a:lnTo>
                  <a:lnTo>
                    <a:pt x="679" y="18"/>
                  </a:lnTo>
                  <a:close/>
                  <a:moveTo>
                    <a:pt x="717" y="148"/>
                  </a:moveTo>
                  <a:lnTo>
                    <a:pt x="717" y="148"/>
                  </a:lnTo>
                  <a:lnTo>
                    <a:pt x="716" y="147"/>
                  </a:lnTo>
                  <a:lnTo>
                    <a:pt x="713" y="144"/>
                  </a:lnTo>
                  <a:lnTo>
                    <a:pt x="705" y="140"/>
                  </a:lnTo>
                  <a:lnTo>
                    <a:pt x="692" y="131"/>
                  </a:lnTo>
                  <a:lnTo>
                    <a:pt x="692" y="131"/>
                  </a:lnTo>
                  <a:lnTo>
                    <a:pt x="680" y="125"/>
                  </a:lnTo>
                  <a:lnTo>
                    <a:pt x="676" y="123"/>
                  </a:lnTo>
                  <a:lnTo>
                    <a:pt x="671" y="123"/>
                  </a:lnTo>
                  <a:lnTo>
                    <a:pt x="671" y="123"/>
                  </a:lnTo>
                  <a:lnTo>
                    <a:pt x="671" y="125"/>
                  </a:lnTo>
                  <a:lnTo>
                    <a:pt x="671" y="126"/>
                  </a:lnTo>
                  <a:lnTo>
                    <a:pt x="673" y="131"/>
                  </a:lnTo>
                  <a:lnTo>
                    <a:pt x="677" y="140"/>
                  </a:lnTo>
                  <a:lnTo>
                    <a:pt x="677" y="140"/>
                  </a:lnTo>
                  <a:lnTo>
                    <a:pt x="679" y="141"/>
                  </a:lnTo>
                  <a:lnTo>
                    <a:pt x="680" y="142"/>
                  </a:lnTo>
                  <a:lnTo>
                    <a:pt x="679" y="145"/>
                  </a:lnTo>
                  <a:lnTo>
                    <a:pt x="679" y="145"/>
                  </a:lnTo>
                  <a:lnTo>
                    <a:pt x="677" y="148"/>
                  </a:lnTo>
                  <a:lnTo>
                    <a:pt x="673" y="151"/>
                  </a:lnTo>
                  <a:lnTo>
                    <a:pt x="673" y="151"/>
                  </a:lnTo>
                  <a:lnTo>
                    <a:pt x="673" y="153"/>
                  </a:lnTo>
                  <a:lnTo>
                    <a:pt x="673" y="154"/>
                  </a:lnTo>
                  <a:lnTo>
                    <a:pt x="676" y="157"/>
                  </a:lnTo>
                  <a:lnTo>
                    <a:pt x="683" y="166"/>
                  </a:lnTo>
                  <a:lnTo>
                    <a:pt x="683" y="166"/>
                  </a:lnTo>
                  <a:lnTo>
                    <a:pt x="687" y="168"/>
                  </a:lnTo>
                  <a:lnTo>
                    <a:pt x="692" y="169"/>
                  </a:lnTo>
                  <a:lnTo>
                    <a:pt x="699" y="169"/>
                  </a:lnTo>
                  <a:lnTo>
                    <a:pt x="707" y="169"/>
                  </a:lnTo>
                  <a:lnTo>
                    <a:pt x="707" y="169"/>
                  </a:lnTo>
                  <a:lnTo>
                    <a:pt x="710" y="168"/>
                  </a:lnTo>
                  <a:lnTo>
                    <a:pt x="713" y="165"/>
                  </a:lnTo>
                  <a:lnTo>
                    <a:pt x="716" y="160"/>
                  </a:lnTo>
                  <a:lnTo>
                    <a:pt x="717" y="154"/>
                  </a:lnTo>
                  <a:lnTo>
                    <a:pt x="717" y="148"/>
                  </a:lnTo>
                  <a:lnTo>
                    <a:pt x="717" y="148"/>
                  </a:lnTo>
                  <a:close/>
                  <a:moveTo>
                    <a:pt x="723" y="138"/>
                  </a:moveTo>
                  <a:lnTo>
                    <a:pt x="723" y="138"/>
                  </a:lnTo>
                  <a:lnTo>
                    <a:pt x="729" y="137"/>
                  </a:lnTo>
                  <a:lnTo>
                    <a:pt x="735" y="135"/>
                  </a:lnTo>
                  <a:lnTo>
                    <a:pt x="745" y="129"/>
                  </a:lnTo>
                  <a:lnTo>
                    <a:pt x="745" y="129"/>
                  </a:lnTo>
                  <a:lnTo>
                    <a:pt x="764" y="114"/>
                  </a:lnTo>
                  <a:lnTo>
                    <a:pt x="764" y="114"/>
                  </a:lnTo>
                  <a:lnTo>
                    <a:pt x="767" y="113"/>
                  </a:lnTo>
                  <a:lnTo>
                    <a:pt x="770" y="113"/>
                  </a:lnTo>
                  <a:lnTo>
                    <a:pt x="779" y="113"/>
                  </a:lnTo>
                  <a:lnTo>
                    <a:pt x="788" y="113"/>
                  </a:lnTo>
                  <a:lnTo>
                    <a:pt x="795" y="111"/>
                  </a:lnTo>
                  <a:lnTo>
                    <a:pt x="795" y="111"/>
                  </a:lnTo>
                  <a:lnTo>
                    <a:pt x="798" y="110"/>
                  </a:lnTo>
                  <a:lnTo>
                    <a:pt x="800" y="105"/>
                  </a:lnTo>
                  <a:lnTo>
                    <a:pt x="801" y="101"/>
                  </a:lnTo>
                  <a:lnTo>
                    <a:pt x="801" y="98"/>
                  </a:lnTo>
                  <a:lnTo>
                    <a:pt x="801" y="98"/>
                  </a:lnTo>
                  <a:lnTo>
                    <a:pt x="800" y="88"/>
                  </a:lnTo>
                  <a:lnTo>
                    <a:pt x="798" y="76"/>
                  </a:lnTo>
                  <a:lnTo>
                    <a:pt x="798" y="76"/>
                  </a:lnTo>
                  <a:lnTo>
                    <a:pt x="800" y="74"/>
                  </a:lnTo>
                  <a:lnTo>
                    <a:pt x="801" y="73"/>
                  </a:lnTo>
                  <a:lnTo>
                    <a:pt x="806" y="70"/>
                  </a:lnTo>
                  <a:lnTo>
                    <a:pt x="809" y="68"/>
                  </a:lnTo>
                  <a:lnTo>
                    <a:pt x="809" y="68"/>
                  </a:lnTo>
                  <a:lnTo>
                    <a:pt x="810" y="65"/>
                  </a:lnTo>
                  <a:lnTo>
                    <a:pt x="810" y="64"/>
                  </a:lnTo>
                  <a:lnTo>
                    <a:pt x="807" y="60"/>
                  </a:lnTo>
                  <a:lnTo>
                    <a:pt x="804" y="54"/>
                  </a:lnTo>
                  <a:lnTo>
                    <a:pt x="800" y="51"/>
                  </a:lnTo>
                  <a:lnTo>
                    <a:pt x="800" y="51"/>
                  </a:lnTo>
                  <a:lnTo>
                    <a:pt x="797" y="48"/>
                  </a:lnTo>
                  <a:lnTo>
                    <a:pt x="794" y="45"/>
                  </a:lnTo>
                  <a:lnTo>
                    <a:pt x="793" y="40"/>
                  </a:lnTo>
                  <a:lnTo>
                    <a:pt x="791" y="34"/>
                  </a:lnTo>
                  <a:lnTo>
                    <a:pt x="791" y="34"/>
                  </a:lnTo>
                  <a:lnTo>
                    <a:pt x="790" y="27"/>
                  </a:lnTo>
                  <a:lnTo>
                    <a:pt x="784" y="17"/>
                  </a:lnTo>
                  <a:lnTo>
                    <a:pt x="773" y="2"/>
                  </a:lnTo>
                  <a:lnTo>
                    <a:pt x="773" y="2"/>
                  </a:lnTo>
                  <a:lnTo>
                    <a:pt x="770" y="0"/>
                  </a:lnTo>
                  <a:lnTo>
                    <a:pt x="769" y="0"/>
                  </a:lnTo>
                  <a:lnTo>
                    <a:pt x="763" y="5"/>
                  </a:lnTo>
                  <a:lnTo>
                    <a:pt x="754" y="18"/>
                  </a:lnTo>
                  <a:lnTo>
                    <a:pt x="754" y="18"/>
                  </a:lnTo>
                  <a:lnTo>
                    <a:pt x="750" y="23"/>
                  </a:lnTo>
                  <a:lnTo>
                    <a:pt x="744" y="27"/>
                  </a:lnTo>
                  <a:lnTo>
                    <a:pt x="727" y="3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4" y="54"/>
                  </a:lnTo>
                  <a:lnTo>
                    <a:pt x="707" y="57"/>
                  </a:lnTo>
                  <a:lnTo>
                    <a:pt x="707" y="57"/>
                  </a:lnTo>
                  <a:lnTo>
                    <a:pt x="714" y="61"/>
                  </a:lnTo>
                  <a:lnTo>
                    <a:pt x="716" y="62"/>
                  </a:lnTo>
                  <a:lnTo>
                    <a:pt x="717" y="67"/>
                  </a:lnTo>
                  <a:lnTo>
                    <a:pt x="717" y="67"/>
                  </a:lnTo>
                  <a:lnTo>
                    <a:pt x="716" y="71"/>
                  </a:lnTo>
                  <a:lnTo>
                    <a:pt x="711" y="76"/>
                  </a:lnTo>
                  <a:lnTo>
                    <a:pt x="705" y="80"/>
                  </a:lnTo>
                  <a:lnTo>
                    <a:pt x="698" y="83"/>
                  </a:lnTo>
                  <a:lnTo>
                    <a:pt x="698" y="83"/>
                  </a:lnTo>
                  <a:lnTo>
                    <a:pt x="690" y="88"/>
                  </a:lnTo>
                  <a:lnTo>
                    <a:pt x="683" y="95"/>
                  </a:lnTo>
                  <a:lnTo>
                    <a:pt x="679" y="101"/>
                  </a:lnTo>
                  <a:lnTo>
                    <a:pt x="676" y="105"/>
                  </a:lnTo>
                  <a:lnTo>
                    <a:pt x="676" y="105"/>
                  </a:lnTo>
                  <a:lnTo>
                    <a:pt x="677" y="107"/>
                  </a:lnTo>
                  <a:lnTo>
                    <a:pt x="677" y="108"/>
                  </a:lnTo>
                  <a:lnTo>
                    <a:pt x="681" y="110"/>
                  </a:lnTo>
                  <a:lnTo>
                    <a:pt x="692" y="113"/>
                  </a:lnTo>
                  <a:lnTo>
                    <a:pt x="692" y="113"/>
                  </a:lnTo>
                  <a:lnTo>
                    <a:pt x="693" y="116"/>
                  </a:lnTo>
                  <a:lnTo>
                    <a:pt x="696" y="120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702" y="131"/>
                  </a:lnTo>
                  <a:lnTo>
                    <a:pt x="708" y="134"/>
                  </a:lnTo>
                  <a:lnTo>
                    <a:pt x="717" y="137"/>
                  </a:lnTo>
                  <a:lnTo>
                    <a:pt x="723" y="138"/>
                  </a:lnTo>
                  <a:lnTo>
                    <a:pt x="723" y="138"/>
                  </a:lnTo>
                  <a:close/>
                  <a:moveTo>
                    <a:pt x="197" y="2868"/>
                  </a:moveTo>
                  <a:lnTo>
                    <a:pt x="197" y="2868"/>
                  </a:lnTo>
                  <a:lnTo>
                    <a:pt x="199" y="2866"/>
                  </a:lnTo>
                  <a:lnTo>
                    <a:pt x="200" y="2865"/>
                  </a:lnTo>
                  <a:lnTo>
                    <a:pt x="205" y="2859"/>
                  </a:lnTo>
                  <a:lnTo>
                    <a:pt x="206" y="2857"/>
                  </a:lnTo>
                  <a:lnTo>
                    <a:pt x="209" y="2856"/>
                  </a:lnTo>
                  <a:lnTo>
                    <a:pt x="212" y="2856"/>
                  </a:lnTo>
                  <a:lnTo>
                    <a:pt x="215" y="2857"/>
                  </a:lnTo>
                  <a:lnTo>
                    <a:pt x="215" y="2857"/>
                  </a:lnTo>
                  <a:lnTo>
                    <a:pt x="228" y="2872"/>
                  </a:lnTo>
                  <a:lnTo>
                    <a:pt x="234" y="2879"/>
                  </a:lnTo>
                  <a:lnTo>
                    <a:pt x="240" y="2884"/>
                  </a:lnTo>
                  <a:lnTo>
                    <a:pt x="240" y="2884"/>
                  </a:lnTo>
                  <a:lnTo>
                    <a:pt x="248" y="2890"/>
                  </a:lnTo>
                  <a:lnTo>
                    <a:pt x="252" y="2897"/>
                  </a:lnTo>
                  <a:lnTo>
                    <a:pt x="255" y="2906"/>
                  </a:lnTo>
                  <a:lnTo>
                    <a:pt x="256" y="2913"/>
                  </a:lnTo>
                  <a:lnTo>
                    <a:pt x="256" y="2913"/>
                  </a:lnTo>
                  <a:lnTo>
                    <a:pt x="256" y="2919"/>
                  </a:lnTo>
                  <a:lnTo>
                    <a:pt x="255" y="2924"/>
                  </a:lnTo>
                  <a:lnTo>
                    <a:pt x="256" y="2927"/>
                  </a:lnTo>
                  <a:lnTo>
                    <a:pt x="259" y="2930"/>
                  </a:lnTo>
                  <a:lnTo>
                    <a:pt x="259" y="2930"/>
                  </a:lnTo>
                  <a:lnTo>
                    <a:pt x="262" y="2934"/>
                  </a:lnTo>
                  <a:lnTo>
                    <a:pt x="265" y="2940"/>
                  </a:lnTo>
                  <a:lnTo>
                    <a:pt x="265" y="2948"/>
                  </a:lnTo>
                  <a:lnTo>
                    <a:pt x="265" y="2948"/>
                  </a:lnTo>
                  <a:lnTo>
                    <a:pt x="267" y="2950"/>
                  </a:lnTo>
                  <a:lnTo>
                    <a:pt x="271" y="2953"/>
                  </a:lnTo>
                  <a:lnTo>
                    <a:pt x="274" y="2955"/>
                  </a:lnTo>
                  <a:lnTo>
                    <a:pt x="276" y="2959"/>
                  </a:lnTo>
                  <a:lnTo>
                    <a:pt x="276" y="2959"/>
                  </a:lnTo>
                  <a:lnTo>
                    <a:pt x="277" y="2982"/>
                  </a:lnTo>
                  <a:lnTo>
                    <a:pt x="277" y="2996"/>
                  </a:lnTo>
                  <a:lnTo>
                    <a:pt x="276" y="3008"/>
                  </a:lnTo>
                  <a:lnTo>
                    <a:pt x="276" y="3008"/>
                  </a:lnTo>
                  <a:lnTo>
                    <a:pt x="273" y="3016"/>
                  </a:lnTo>
                  <a:lnTo>
                    <a:pt x="270" y="3022"/>
                  </a:lnTo>
                  <a:lnTo>
                    <a:pt x="268" y="3023"/>
                  </a:lnTo>
                  <a:lnTo>
                    <a:pt x="268" y="3025"/>
                  </a:lnTo>
                  <a:lnTo>
                    <a:pt x="270" y="3028"/>
                  </a:lnTo>
                  <a:lnTo>
                    <a:pt x="273" y="3030"/>
                  </a:lnTo>
                  <a:lnTo>
                    <a:pt x="273" y="3030"/>
                  </a:lnTo>
                  <a:lnTo>
                    <a:pt x="286" y="3041"/>
                  </a:lnTo>
                  <a:lnTo>
                    <a:pt x="292" y="3047"/>
                  </a:lnTo>
                  <a:lnTo>
                    <a:pt x="298" y="3056"/>
                  </a:lnTo>
                  <a:lnTo>
                    <a:pt x="298" y="3056"/>
                  </a:lnTo>
                  <a:lnTo>
                    <a:pt x="302" y="3065"/>
                  </a:lnTo>
                  <a:lnTo>
                    <a:pt x="302" y="3069"/>
                  </a:lnTo>
                  <a:lnTo>
                    <a:pt x="302" y="3073"/>
                  </a:lnTo>
                  <a:lnTo>
                    <a:pt x="301" y="3078"/>
                  </a:lnTo>
                  <a:lnTo>
                    <a:pt x="298" y="3082"/>
                  </a:lnTo>
                  <a:lnTo>
                    <a:pt x="289" y="3091"/>
                  </a:lnTo>
                  <a:lnTo>
                    <a:pt x="289" y="3091"/>
                  </a:lnTo>
                  <a:lnTo>
                    <a:pt x="277" y="3097"/>
                  </a:lnTo>
                  <a:lnTo>
                    <a:pt x="270" y="3100"/>
                  </a:lnTo>
                  <a:lnTo>
                    <a:pt x="265" y="3103"/>
                  </a:lnTo>
                  <a:lnTo>
                    <a:pt x="265" y="3105"/>
                  </a:lnTo>
                  <a:lnTo>
                    <a:pt x="265" y="3107"/>
                  </a:lnTo>
                  <a:lnTo>
                    <a:pt x="265" y="3107"/>
                  </a:lnTo>
                  <a:lnTo>
                    <a:pt x="265" y="3112"/>
                  </a:lnTo>
                  <a:lnTo>
                    <a:pt x="265" y="3115"/>
                  </a:lnTo>
                  <a:lnTo>
                    <a:pt x="261" y="3121"/>
                  </a:lnTo>
                  <a:lnTo>
                    <a:pt x="255" y="3127"/>
                  </a:lnTo>
                  <a:lnTo>
                    <a:pt x="249" y="3133"/>
                  </a:lnTo>
                  <a:lnTo>
                    <a:pt x="249" y="3133"/>
                  </a:lnTo>
                  <a:lnTo>
                    <a:pt x="246" y="3137"/>
                  </a:lnTo>
                  <a:lnTo>
                    <a:pt x="245" y="3142"/>
                  </a:lnTo>
                  <a:lnTo>
                    <a:pt x="245" y="3146"/>
                  </a:lnTo>
                  <a:lnTo>
                    <a:pt x="239" y="3152"/>
                  </a:lnTo>
                  <a:lnTo>
                    <a:pt x="239" y="3152"/>
                  </a:lnTo>
                  <a:lnTo>
                    <a:pt x="231" y="3156"/>
                  </a:lnTo>
                  <a:lnTo>
                    <a:pt x="222" y="3161"/>
                  </a:lnTo>
                  <a:lnTo>
                    <a:pt x="214" y="3164"/>
                  </a:lnTo>
                  <a:lnTo>
                    <a:pt x="205" y="3168"/>
                  </a:lnTo>
                  <a:lnTo>
                    <a:pt x="205" y="3168"/>
                  </a:lnTo>
                  <a:lnTo>
                    <a:pt x="202" y="3171"/>
                  </a:lnTo>
                  <a:lnTo>
                    <a:pt x="199" y="3174"/>
                  </a:lnTo>
                  <a:lnTo>
                    <a:pt x="196" y="3182"/>
                  </a:lnTo>
                  <a:lnTo>
                    <a:pt x="193" y="3192"/>
                  </a:lnTo>
                  <a:lnTo>
                    <a:pt x="193" y="3192"/>
                  </a:lnTo>
                  <a:lnTo>
                    <a:pt x="194" y="3192"/>
                  </a:lnTo>
                  <a:lnTo>
                    <a:pt x="197" y="3192"/>
                  </a:lnTo>
                  <a:lnTo>
                    <a:pt x="197" y="3192"/>
                  </a:lnTo>
                  <a:lnTo>
                    <a:pt x="202" y="3195"/>
                  </a:lnTo>
                  <a:lnTo>
                    <a:pt x="206" y="3199"/>
                  </a:lnTo>
                  <a:lnTo>
                    <a:pt x="211" y="3207"/>
                  </a:lnTo>
                  <a:lnTo>
                    <a:pt x="214" y="3216"/>
                  </a:lnTo>
                  <a:lnTo>
                    <a:pt x="214" y="3216"/>
                  </a:lnTo>
                  <a:lnTo>
                    <a:pt x="217" y="3220"/>
                  </a:lnTo>
                  <a:lnTo>
                    <a:pt x="222" y="3226"/>
                  </a:lnTo>
                  <a:lnTo>
                    <a:pt x="236" y="3236"/>
                  </a:lnTo>
                  <a:lnTo>
                    <a:pt x="249" y="3244"/>
                  </a:lnTo>
                  <a:lnTo>
                    <a:pt x="258" y="3248"/>
                  </a:lnTo>
                  <a:lnTo>
                    <a:pt x="258" y="3248"/>
                  </a:lnTo>
                  <a:lnTo>
                    <a:pt x="262" y="3248"/>
                  </a:lnTo>
                  <a:lnTo>
                    <a:pt x="265" y="3245"/>
                  </a:lnTo>
                  <a:lnTo>
                    <a:pt x="271" y="3244"/>
                  </a:lnTo>
                  <a:lnTo>
                    <a:pt x="279" y="3244"/>
                  </a:lnTo>
                  <a:lnTo>
                    <a:pt x="279" y="3244"/>
                  </a:lnTo>
                  <a:lnTo>
                    <a:pt x="292" y="3248"/>
                  </a:lnTo>
                  <a:lnTo>
                    <a:pt x="298" y="3251"/>
                  </a:lnTo>
                  <a:lnTo>
                    <a:pt x="305" y="3251"/>
                  </a:lnTo>
                  <a:lnTo>
                    <a:pt x="305" y="3251"/>
                  </a:lnTo>
                  <a:lnTo>
                    <a:pt x="313" y="3251"/>
                  </a:lnTo>
                  <a:lnTo>
                    <a:pt x="323" y="3253"/>
                  </a:lnTo>
                  <a:lnTo>
                    <a:pt x="333" y="3254"/>
                  </a:lnTo>
                  <a:lnTo>
                    <a:pt x="342" y="3256"/>
                  </a:lnTo>
                  <a:lnTo>
                    <a:pt x="342" y="3256"/>
                  </a:lnTo>
                  <a:lnTo>
                    <a:pt x="348" y="3253"/>
                  </a:lnTo>
                  <a:lnTo>
                    <a:pt x="351" y="3250"/>
                  </a:lnTo>
                  <a:lnTo>
                    <a:pt x="356" y="3247"/>
                  </a:lnTo>
                  <a:lnTo>
                    <a:pt x="363" y="3244"/>
                  </a:lnTo>
                  <a:lnTo>
                    <a:pt x="363" y="3244"/>
                  </a:lnTo>
                  <a:lnTo>
                    <a:pt x="366" y="3244"/>
                  </a:lnTo>
                  <a:lnTo>
                    <a:pt x="368" y="3244"/>
                  </a:lnTo>
                  <a:lnTo>
                    <a:pt x="371" y="3245"/>
                  </a:lnTo>
                  <a:lnTo>
                    <a:pt x="372" y="3247"/>
                  </a:lnTo>
                  <a:lnTo>
                    <a:pt x="373" y="3247"/>
                  </a:lnTo>
                  <a:lnTo>
                    <a:pt x="379" y="3241"/>
                  </a:lnTo>
                  <a:lnTo>
                    <a:pt x="379" y="3241"/>
                  </a:lnTo>
                  <a:lnTo>
                    <a:pt x="387" y="3233"/>
                  </a:lnTo>
                  <a:lnTo>
                    <a:pt x="390" y="3227"/>
                  </a:lnTo>
                  <a:lnTo>
                    <a:pt x="394" y="3223"/>
                  </a:lnTo>
                  <a:lnTo>
                    <a:pt x="402" y="3219"/>
                  </a:lnTo>
                  <a:lnTo>
                    <a:pt x="402" y="3219"/>
                  </a:lnTo>
                  <a:lnTo>
                    <a:pt x="418" y="3211"/>
                  </a:lnTo>
                  <a:lnTo>
                    <a:pt x="422" y="3208"/>
                  </a:lnTo>
                  <a:lnTo>
                    <a:pt x="422" y="3205"/>
                  </a:lnTo>
                  <a:lnTo>
                    <a:pt x="422" y="3202"/>
                  </a:lnTo>
                  <a:lnTo>
                    <a:pt x="422" y="3202"/>
                  </a:lnTo>
                  <a:lnTo>
                    <a:pt x="422" y="3199"/>
                  </a:lnTo>
                  <a:lnTo>
                    <a:pt x="424" y="3195"/>
                  </a:lnTo>
                  <a:lnTo>
                    <a:pt x="428" y="3187"/>
                  </a:lnTo>
                  <a:lnTo>
                    <a:pt x="436" y="3180"/>
                  </a:lnTo>
                  <a:lnTo>
                    <a:pt x="443" y="3173"/>
                  </a:lnTo>
                  <a:lnTo>
                    <a:pt x="443" y="3173"/>
                  </a:lnTo>
                  <a:lnTo>
                    <a:pt x="456" y="3161"/>
                  </a:lnTo>
                  <a:lnTo>
                    <a:pt x="464" y="3153"/>
                  </a:lnTo>
                  <a:lnTo>
                    <a:pt x="464" y="3153"/>
                  </a:lnTo>
                  <a:lnTo>
                    <a:pt x="468" y="3150"/>
                  </a:lnTo>
                  <a:lnTo>
                    <a:pt x="473" y="3149"/>
                  </a:lnTo>
                  <a:lnTo>
                    <a:pt x="480" y="3146"/>
                  </a:lnTo>
                  <a:lnTo>
                    <a:pt x="480" y="3146"/>
                  </a:lnTo>
                  <a:lnTo>
                    <a:pt x="483" y="3137"/>
                  </a:lnTo>
                  <a:lnTo>
                    <a:pt x="485" y="3122"/>
                  </a:lnTo>
                  <a:lnTo>
                    <a:pt x="487" y="3106"/>
                  </a:lnTo>
                  <a:lnTo>
                    <a:pt x="489" y="3099"/>
                  </a:lnTo>
                  <a:lnTo>
                    <a:pt x="489" y="3099"/>
                  </a:lnTo>
                  <a:lnTo>
                    <a:pt x="505" y="3096"/>
                  </a:lnTo>
                  <a:lnTo>
                    <a:pt x="517" y="3094"/>
                  </a:lnTo>
                  <a:lnTo>
                    <a:pt x="526" y="3094"/>
                  </a:lnTo>
                  <a:lnTo>
                    <a:pt x="526" y="3094"/>
                  </a:lnTo>
                  <a:lnTo>
                    <a:pt x="530" y="3096"/>
                  </a:lnTo>
                  <a:lnTo>
                    <a:pt x="532" y="3097"/>
                  </a:lnTo>
                  <a:lnTo>
                    <a:pt x="535" y="3099"/>
                  </a:lnTo>
                  <a:lnTo>
                    <a:pt x="541" y="3100"/>
                  </a:lnTo>
                  <a:lnTo>
                    <a:pt x="541" y="3100"/>
                  </a:lnTo>
                  <a:lnTo>
                    <a:pt x="550" y="3100"/>
                  </a:lnTo>
                  <a:lnTo>
                    <a:pt x="553" y="3099"/>
                  </a:lnTo>
                  <a:lnTo>
                    <a:pt x="554" y="3096"/>
                  </a:lnTo>
                  <a:lnTo>
                    <a:pt x="554" y="3096"/>
                  </a:lnTo>
                  <a:lnTo>
                    <a:pt x="557" y="3093"/>
                  </a:lnTo>
                  <a:lnTo>
                    <a:pt x="563" y="3091"/>
                  </a:lnTo>
                  <a:lnTo>
                    <a:pt x="578" y="3090"/>
                  </a:lnTo>
                  <a:lnTo>
                    <a:pt x="578" y="3090"/>
                  </a:lnTo>
                  <a:lnTo>
                    <a:pt x="594" y="3090"/>
                  </a:lnTo>
                  <a:lnTo>
                    <a:pt x="599" y="3088"/>
                  </a:lnTo>
                  <a:lnTo>
                    <a:pt x="602" y="3087"/>
                  </a:lnTo>
                  <a:lnTo>
                    <a:pt x="602" y="3087"/>
                  </a:lnTo>
                  <a:lnTo>
                    <a:pt x="602" y="3084"/>
                  </a:lnTo>
                  <a:lnTo>
                    <a:pt x="603" y="3081"/>
                  </a:lnTo>
                  <a:lnTo>
                    <a:pt x="606" y="3079"/>
                  </a:lnTo>
                  <a:lnTo>
                    <a:pt x="609" y="3079"/>
                  </a:lnTo>
                  <a:lnTo>
                    <a:pt x="609" y="3079"/>
                  </a:lnTo>
                  <a:lnTo>
                    <a:pt x="615" y="3082"/>
                  </a:lnTo>
                  <a:lnTo>
                    <a:pt x="618" y="3085"/>
                  </a:lnTo>
                  <a:lnTo>
                    <a:pt x="621" y="3087"/>
                  </a:lnTo>
                  <a:lnTo>
                    <a:pt x="622" y="3087"/>
                  </a:lnTo>
                  <a:lnTo>
                    <a:pt x="622" y="3087"/>
                  </a:lnTo>
                  <a:lnTo>
                    <a:pt x="627" y="3085"/>
                  </a:lnTo>
                  <a:lnTo>
                    <a:pt x="628" y="3085"/>
                  </a:lnTo>
                  <a:lnTo>
                    <a:pt x="628" y="3082"/>
                  </a:lnTo>
                  <a:lnTo>
                    <a:pt x="628" y="3082"/>
                  </a:lnTo>
                  <a:lnTo>
                    <a:pt x="627" y="3076"/>
                  </a:lnTo>
                  <a:lnTo>
                    <a:pt x="627" y="3072"/>
                  </a:lnTo>
                  <a:lnTo>
                    <a:pt x="628" y="3069"/>
                  </a:lnTo>
                  <a:lnTo>
                    <a:pt x="628" y="3069"/>
                  </a:lnTo>
                  <a:lnTo>
                    <a:pt x="625" y="3069"/>
                  </a:lnTo>
                  <a:lnTo>
                    <a:pt x="622" y="3067"/>
                  </a:lnTo>
                  <a:lnTo>
                    <a:pt x="619" y="3066"/>
                  </a:lnTo>
                  <a:lnTo>
                    <a:pt x="619" y="3066"/>
                  </a:lnTo>
                  <a:lnTo>
                    <a:pt x="615" y="3063"/>
                  </a:lnTo>
                  <a:lnTo>
                    <a:pt x="615" y="3063"/>
                  </a:lnTo>
                  <a:lnTo>
                    <a:pt x="610" y="3056"/>
                  </a:lnTo>
                  <a:lnTo>
                    <a:pt x="569" y="3007"/>
                  </a:lnTo>
                  <a:lnTo>
                    <a:pt x="569" y="3007"/>
                  </a:lnTo>
                  <a:lnTo>
                    <a:pt x="567" y="3002"/>
                  </a:lnTo>
                  <a:lnTo>
                    <a:pt x="567" y="2998"/>
                  </a:lnTo>
                  <a:lnTo>
                    <a:pt x="570" y="2995"/>
                  </a:lnTo>
                  <a:lnTo>
                    <a:pt x="570" y="2995"/>
                  </a:lnTo>
                  <a:lnTo>
                    <a:pt x="572" y="2990"/>
                  </a:lnTo>
                  <a:lnTo>
                    <a:pt x="575" y="2989"/>
                  </a:lnTo>
                  <a:lnTo>
                    <a:pt x="578" y="2988"/>
                  </a:lnTo>
                  <a:lnTo>
                    <a:pt x="579" y="2989"/>
                  </a:lnTo>
                  <a:lnTo>
                    <a:pt x="579" y="2989"/>
                  </a:lnTo>
                  <a:lnTo>
                    <a:pt x="582" y="2985"/>
                  </a:lnTo>
                  <a:lnTo>
                    <a:pt x="584" y="2977"/>
                  </a:lnTo>
                  <a:lnTo>
                    <a:pt x="584" y="2977"/>
                  </a:lnTo>
                  <a:lnTo>
                    <a:pt x="588" y="2961"/>
                  </a:lnTo>
                  <a:lnTo>
                    <a:pt x="591" y="2956"/>
                  </a:lnTo>
                  <a:lnTo>
                    <a:pt x="593" y="2955"/>
                  </a:lnTo>
                  <a:lnTo>
                    <a:pt x="596" y="2955"/>
                  </a:lnTo>
                  <a:lnTo>
                    <a:pt x="596" y="2955"/>
                  </a:lnTo>
                  <a:lnTo>
                    <a:pt x="600" y="2958"/>
                  </a:lnTo>
                  <a:lnTo>
                    <a:pt x="603" y="2962"/>
                  </a:lnTo>
                  <a:lnTo>
                    <a:pt x="606" y="2964"/>
                  </a:lnTo>
                  <a:lnTo>
                    <a:pt x="609" y="2965"/>
                  </a:lnTo>
                  <a:lnTo>
                    <a:pt x="610" y="2964"/>
                  </a:lnTo>
                  <a:lnTo>
                    <a:pt x="610" y="2964"/>
                  </a:lnTo>
                  <a:lnTo>
                    <a:pt x="621" y="2961"/>
                  </a:lnTo>
                  <a:lnTo>
                    <a:pt x="625" y="2956"/>
                  </a:lnTo>
                  <a:lnTo>
                    <a:pt x="630" y="2950"/>
                  </a:lnTo>
                  <a:lnTo>
                    <a:pt x="630" y="2950"/>
                  </a:lnTo>
                  <a:lnTo>
                    <a:pt x="631" y="2945"/>
                  </a:lnTo>
                  <a:lnTo>
                    <a:pt x="631" y="2940"/>
                  </a:lnTo>
                  <a:lnTo>
                    <a:pt x="631" y="2930"/>
                  </a:lnTo>
                  <a:lnTo>
                    <a:pt x="630" y="2909"/>
                  </a:lnTo>
                  <a:lnTo>
                    <a:pt x="630" y="2909"/>
                  </a:lnTo>
                  <a:lnTo>
                    <a:pt x="630" y="2902"/>
                  </a:lnTo>
                  <a:lnTo>
                    <a:pt x="631" y="2894"/>
                  </a:lnTo>
                  <a:lnTo>
                    <a:pt x="634" y="2890"/>
                  </a:lnTo>
                  <a:lnTo>
                    <a:pt x="636" y="2888"/>
                  </a:lnTo>
                  <a:lnTo>
                    <a:pt x="639" y="2887"/>
                  </a:lnTo>
                  <a:lnTo>
                    <a:pt x="639" y="2887"/>
                  </a:lnTo>
                  <a:lnTo>
                    <a:pt x="641" y="2888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4" y="2890"/>
                  </a:lnTo>
                  <a:lnTo>
                    <a:pt x="646" y="2887"/>
                  </a:lnTo>
                  <a:lnTo>
                    <a:pt x="647" y="2882"/>
                  </a:lnTo>
                  <a:lnTo>
                    <a:pt x="647" y="2872"/>
                  </a:lnTo>
                  <a:lnTo>
                    <a:pt x="647" y="2863"/>
                  </a:lnTo>
                  <a:lnTo>
                    <a:pt x="647" y="2856"/>
                  </a:lnTo>
                  <a:lnTo>
                    <a:pt x="647" y="2856"/>
                  </a:lnTo>
                  <a:lnTo>
                    <a:pt x="650" y="2847"/>
                  </a:lnTo>
                  <a:lnTo>
                    <a:pt x="653" y="2838"/>
                  </a:lnTo>
                  <a:lnTo>
                    <a:pt x="653" y="2838"/>
                  </a:lnTo>
                  <a:lnTo>
                    <a:pt x="653" y="2822"/>
                  </a:lnTo>
                  <a:lnTo>
                    <a:pt x="653" y="2822"/>
                  </a:lnTo>
                  <a:lnTo>
                    <a:pt x="653" y="2817"/>
                  </a:lnTo>
                  <a:lnTo>
                    <a:pt x="655" y="2813"/>
                  </a:lnTo>
                  <a:lnTo>
                    <a:pt x="662" y="2804"/>
                  </a:lnTo>
                  <a:lnTo>
                    <a:pt x="670" y="2798"/>
                  </a:lnTo>
                  <a:lnTo>
                    <a:pt x="674" y="2796"/>
                  </a:lnTo>
                  <a:lnTo>
                    <a:pt x="676" y="2796"/>
                  </a:lnTo>
                  <a:lnTo>
                    <a:pt x="676" y="2796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86" y="2801"/>
                  </a:lnTo>
                  <a:lnTo>
                    <a:pt x="693" y="2799"/>
                  </a:lnTo>
                  <a:lnTo>
                    <a:pt x="693" y="2799"/>
                  </a:lnTo>
                  <a:lnTo>
                    <a:pt x="695" y="2796"/>
                  </a:lnTo>
                  <a:lnTo>
                    <a:pt x="695" y="2791"/>
                  </a:lnTo>
                  <a:lnTo>
                    <a:pt x="696" y="2786"/>
                  </a:lnTo>
                  <a:lnTo>
                    <a:pt x="698" y="2782"/>
                  </a:lnTo>
                  <a:lnTo>
                    <a:pt x="698" y="2782"/>
                  </a:lnTo>
                  <a:lnTo>
                    <a:pt x="699" y="2780"/>
                  </a:lnTo>
                  <a:lnTo>
                    <a:pt x="699" y="2780"/>
                  </a:lnTo>
                  <a:lnTo>
                    <a:pt x="693" y="2773"/>
                  </a:lnTo>
                  <a:lnTo>
                    <a:pt x="693" y="2771"/>
                  </a:lnTo>
                  <a:lnTo>
                    <a:pt x="698" y="2768"/>
                  </a:lnTo>
                  <a:lnTo>
                    <a:pt x="698" y="2768"/>
                  </a:lnTo>
                  <a:lnTo>
                    <a:pt x="704" y="2767"/>
                  </a:lnTo>
                  <a:lnTo>
                    <a:pt x="708" y="2768"/>
                  </a:lnTo>
                  <a:lnTo>
                    <a:pt x="711" y="2768"/>
                  </a:lnTo>
                  <a:lnTo>
                    <a:pt x="714" y="2765"/>
                  </a:lnTo>
                  <a:lnTo>
                    <a:pt x="714" y="2765"/>
                  </a:lnTo>
                  <a:lnTo>
                    <a:pt x="716" y="2759"/>
                  </a:lnTo>
                  <a:lnTo>
                    <a:pt x="716" y="2755"/>
                  </a:lnTo>
                  <a:lnTo>
                    <a:pt x="713" y="2743"/>
                  </a:lnTo>
                  <a:lnTo>
                    <a:pt x="713" y="2743"/>
                  </a:lnTo>
                  <a:lnTo>
                    <a:pt x="711" y="2733"/>
                  </a:lnTo>
                  <a:lnTo>
                    <a:pt x="711" y="2733"/>
                  </a:lnTo>
                  <a:lnTo>
                    <a:pt x="710" y="2730"/>
                  </a:lnTo>
                  <a:lnTo>
                    <a:pt x="710" y="2730"/>
                  </a:lnTo>
                  <a:lnTo>
                    <a:pt x="710" y="2727"/>
                  </a:lnTo>
                  <a:lnTo>
                    <a:pt x="710" y="2727"/>
                  </a:lnTo>
                  <a:lnTo>
                    <a:pt x="708" y="2724"/>
                  </a:lnTo>
                  <a:lnTo>
                    <a:pt x="708" y="2724"/>
                  </a:lnTo>
                  <a:lnTo>
                    <a:pt x="704" y="2722"/>
                  </a:lnTo>
                  <a:lnTo>
                    <a:pt x="704" y="2722"/>
                  </a:lnTo>
                  <a:lnTo>
                    <a:pt x="702" y="2722"/>
                  </a:lnTo>
                  <a:lnTo>
                    <a:pt x="702" y="2722"/>
                  </a:lnTo>
                  <a:lnTo>
                    <a:pt x="695" y="2719"/>
                  </a:lnTo>
                  <a:lnTo>
                    <a:pt x="689" y="2718"/>
                  </a:lnTo>
                  <a:lnTo>
                    <a:pt x="687" y="2716"/>
                  </a:lnTo>
                  <a:lnTo>
                    <a:pt x="687" y="2714"/>
                  </a:lnTo>
                  <a:lnTo>
                    <a:pt x="687" y="2714"/>
                  </a:lnTo>
                  <a:lnTo>
                    <a:pt x="692" y="2708"/>
                  </a:lnTo>
                  <a:lnTo>
                    <a:pt x="693" y="2705"/>
                  </a:lnTo>
                  <a:lnTo>
                    <a:pt x="693" y="2702"/>
                  </a:lnTo>
                  <a:lnTo>
                    <a:pt x="693" y="2702"/>
                  </a:lnTo>
                  <a:lnTo>
                    <a:pt x="693" y="2697"/>
                  </a:lnTo>
                  <a:lnTo>
                    <a:pt x="690" y="2693"/>
                  </a:lnTo>
                  <a:lnTo>
                    <a:pt x="690" y="2693"/>
                  </a:lnTo>
                  <a:lnTo>
                    <a:pt x="690" y="2691"/>
                  </a:lnTo>
                  <a:lnTo>
                    <a:pt x="690" y="2691"/>
                  </a:lnTo>
                  <a:lnTo>
                    <a:pt x="686" y="2684"/>
                  </a:lnTo>
                  <a:lnTo>
                    <a:pt x="686" y="2684"/>
                  </a:lnTo>
                  <a:lnTo>
                    <a:pt x="686" y="2678"/>
                  </a:lnTo>
                  <a:lnTo>
                    <a:pt x="687" y="2669"/>
                  </a:lnTo>
                  <a:lnTo>
                    <a:pt x="696" y="2644"/>
                  </a:lnTo>
                  <a:lnTo>
                    <a:pt x="705" y="2619"/>
                  </a:lnTo>
                  <a:lnTo>
                    <a:pt x="708" y="2611"/>
                  </a:lnTo>
                  <a:lnTo>
                    <a:pt x="711" y="2608"/>
                  </a:lnTo>
                  <a:lnTo>
                    <a:pt x="711" y="2608"/>
                  </a:lnTo>
                  <a:lnTo>
                    <a:pt x="724" y="2605"/>
                  </a:lnTo>
                  <a:lnTo>
                    <a:pt x="735" y="2605"/>
                  </a:lnTo>
                  <a:lnTo>
                    <a:pt x="747" y="2607"/>
                  </a:lnTo>
                  <a:lnTo>
                    <a:pt x="747" y="2607"/>
                  </a:lnTo>
                  <a:lnTo>
                    <a:pt x="764" y="2613"/>
                  </a:lnTo>
                  <a:lnTo>
                    <a:pt x="778" y="2616"/>
                  </a:lnTo>
                  <a:lnTo>
                    <a:pt x="778" y="2616"/>
                  </a:lnTo>
                  <a:lnTo>
                    <a:pt x="788" y="2617"/>
                  </a:lnTo>
                  <a:lnTo>
                    <a:pt x="793" y="2617"/>
                  </a:lnTo>
                  <a:lnTo>
                    <a:pt x="798" y="2613"/>
                  </a:lnTo>
                  <a:lnTo>
                    <a:pt x="798" y="2613"/>
                  </a:lnTo>
                  <a:lnTo>
                    <a:pt x="807" y="2604"/>
                  </a:lnTo>
                  <a:lnTo>
                    <a:pt x="815" y="2595"/>
                  </a:lnTo>
                  <a:lnTo>
                    <a:pt x="815" y="2595"/>
                  </a:lnTo>
                  <a:lnTo>
                    <a:pt x="822" y="2588"/>
                  </a:lnTo>
                  <a:lnTo>
                    <a:pt x="831" y="2582"/>
                  </a:lnTo>
                  <a:lnTo>
                    <a:pt x="840" y="2579"/>
                  </a:lnTo>
                  <a:lnTo>
                    <a:pt x="843" y="2579"/>
                  </a:lnTo>
                  <a:lnTo>
                    <a:pt x="847" y="2580"/>
                  </a:lnTo>
                  <a:lnTo>
                    <a:pt x="847" y="2580"/>
                  </a:lnTo>
                  <a:lnTo>
                    <a:pt x="852" y="2583"/>
                  </a:lnTo>
                  <a:lnTo>
                    <a:pt x="855" y="2588"/>
                  </a:lnTo>
                  <a:lnTo>
                    <a:pt x="858" y="2598"/>
                  </a:lnTo>
                  <a:lnTo>
                    <a:pt x="858" y="2598"/>
                  </a:lnTo>
                  <a:lnTo>
                    <a:pt x="861" y="2602"/>
                  </a:lnTo>
                  <a:lnTo>
                    <a:pt x="864" y="2608"/>
                  </a:lnTo>
                  <a:lnTo>
                    <a:pt x="872" y="2619"/>
                  </a:lnTo>
                  <a:lnTo>
                    <a:pt x="872" y="2619"/>
                  </a:lnTo>
                  <a:lnTo>
                    <a:pt x="874" y="2622"/>
                  </a:lnTo>
                  <a:lnTo>
                    <a:pt x="874" y="2625"/>
                  </a:lnTo>
                  <a:lnTo>
                    <a:pt x="872" y="2631"/>
                  </a:lnTo>
                  <a:lnTo>
                    <a:pt x="872" y="2631"/>
                  </a:lnTo>
                  <a:lnTo>
                    <a:pt x="881" y="2645"/>
                  </a:lnTo>
                  <a:lnTo>
                    <a:pt x="889" y="2653"/>
                  </a:lnTo>
                  <a:lnTo>
                    <a:pt x="893" y="2657"/>
                  </a:lnTo>
                  <a:lnTo>
                    <a:pt x="893" y="2657"/>
                  </a:lnTo>
                  <a:lnTo>
                    <a:pt x="898" y="2657"/>
                  </a:lnTo>
                  <a:lnTo>
                    <a:pt x="898" y="2657"/>
                  </a:lnTo>
                  <a:lnTo>
                    <a:pt x="902" y="2653"/>
                  </a:lnTo>
                  <a:lnTo>
                    <a:pt x="905" y="2650"/>
                  </a:lnTo>
                  <a:lnTo>
                    <a:pt x="905" y="2650"/>
                  </a:lnTo>
                  <a:lnTo>
                    <a:pt x="905" y="2645"/>
                  </a:lnTo>
                  <a:lnTo>
                    <a:pt x="905" y="2645"/>
                  </a:lnTo>
                  <a:lnTo>
                    <a:pt x="902" y="2629"/>
                  </a:lnTo>
                  <a:lnTo>
                    <a:pt x="902" y="2623"/>
                  </a:lnTo>
                  <a:lnTo>
                    <a:pt x="902" y="2619"/>
                  </a:lnTo>
                  <a:lnTo>
                    <a:pt x="902" y="2619"/>
                  </a:lnTo>
                  <a:lnTo>
                    <a:pt x="902" y="2617"/>
                  </a:lnTo>
                  <a:lnTo>
                    <a:pt x="902" y="2617"/>
                  </a:lnTo>
                  <a:lnTo>
                    <a:pt x="896" y="2608"/>
                  </a:lnTo>
                  <a:lnTo>
                    <a:pt x="896" y="2608"/>
                  </a:lnTo>
                  <a:lnTo>
                    <a:pt x="905" y="2611"/>
                  </a:lnTo>
                  <a:lnTo>
                    <a:pt x="910" y="2610"/>
                  </a:lnTo>
                  <a:lnTo>
                    <a:pt x="911" y="2608"/>
                  </a:lnTo>
                  <a:lnTo>
                    <a:pt x="912" y="2605"/>
                  </a:lnTo>
                  <a:lnTo>
                    <a:pt x="912" y="2605"/>
                  </a:lnTo>
                  <a:lnTo>
                    <a:pt x="911" y="2592"/>
                  </a:lnTo>
                  <a:lnTo>
                    <a:pt x="911" y="2586"/>
                  </a:lnTo>
                  <a:lnTo>
                    <a:pt x="914" y="2580"/>
                  </a:lnTo>
                  <a:lnTo>
                    <a:pt x="914" y="2580"/>
                  </a:lnTo>
                  <a:lnTo>
                    <a:pt x="917" y="2573"/>
                  </a:lnTo>
                  <a:lnTo>
                    <a:pt x="924" y="2568"/>
                  </a:lnTo>
                  <a:lnTo>
                    <a:pt x="932" y="2565"/>
                  </a:lnTo>
                  <a:lnTo>
                    <a:pt x="939" y="2564"/>
                  </a:lnTo>
                  <a:lnTo>
                    <a:pt x="939" y="2564"/>
                  </a:lnTo>
                  <a:lnTo>
                    <a:pt x="944" y="2562"/>
                  </a:lnTo>
                  <a:lnTo>
                    <a:pt x="944" y="2562"/>
                  </a:lnTo>
                  <a:lnTo>
                    <a:pt x="945" y="2559"/>
                  </a:lnTo>
                  <a:lnTo>
                    <a:pt x="945" y="2555"/>
                  </a:lnTo>
                  <a:lnTo>
                    <a:pt x="945" y="2555"/>
                  </a:lnTo>
                  <a:lnTo>
                    <a:pt x="945" y="2551"/>
                  </a:lnTo>
                  <a:lnTo>
                    <a:pt x="945" y="2546"/>
                  </a:lnTo>
                  <a:lnTo>
                    <a:pt x="948" y="2545"/>
                  </a:lnTo>
                  <a:lnTo>
                    <a:pt x="952" y="2543"/>
                  </a:lnTo>
                  <a:lnTo>
                    <a:pt x="952" y="2543"/>
                  </a:lnTo>
                  <a:lnTo>
                    <a:pt x="958" y="2542"/>
                  </a:lnTo>
                  <a:lnTo>
                    <a:pt x="958" y="2542"/>
                  </a:lnTo>
                  <a:lnTo>
                    <a:pt x="961" y="2537"/>
                  </a:lnTo>
                  <a:lnTo>
                    <a:pt x="961" y="2537"/>
                  </a:lnTo>
                  <a:lnTo>
                    <a:pt x="969" y="2530"/>
                  </a:lnTo>
                  <a:lnTo>
                    <a:pt x="975" y="2524"/>
                  </a:lnTo>
                  <a:lnTo>
                    <a:pt x="981" y="2518"/>
                  </a:lnTo>
                  <a:lnTo>
                    <a:pt x="982" y="2514"/>
                  </a:lnTo>
                  <a:lnTo>
                    <a:pt x="984" y="2511"/>
                  </a:lnTo>
                  <a:lnTo>
                    <a:pt x="984" y="2511"/>
                  </a:lnTo>
                  <a:lnTo>
                    <a:pt x="984" y="2502"/>
                  </a:lnTo>
                  <a:lnTo>
                    <a:pt x="984" y="2491"/>
                  </a:lnTo>
                  <a:lnTo>
                    <a:pt x="982" y="2482"/>
                  </a:lnTo>
                  <a:lnTo>
                    <a:pt x="984" y="2474"/>
                  </a:lnTo>
                  <a:lnTo>
                    <a:pt x="984" y="2474"/>
                  </a:lnTo>
                  <a:lnTo>
                    <a:pt x="985" y="2466"/>
                  </a:lnTo>
                  <a:lnTo>
                    <a:pt x="988" y="2460"/>
                  </a:lnTo>
                  <a:lnTo>
                    <a:pt x="991" y="2456"/>
                  </a:lnTo>
                  <a:lnTo>
                    <a:pt x="995" y="2456"/>
                  </a:lnTo>
                  <a:lnTo>
                    <a:pt x="995" y="2456"/>
                  </a:lnTo>
                  <a:lnTo>
                    <a:pt x="1006" y="2454"/>
                  </a:lnTo>
                  <a:lnTo>
                    <a:pt x="1006" y="2454"/>
                  </a:lnTo>
                  <a:lnTo>
                    <a:pt x="1012" y="2454"/>
                  </a:lnTo>
                  <a:lnTo>
                    <a:pt x="1016" y="2453"/>
                  </a:lnTo>
                  <a:lnTo>
                    <a:pt x="1019" y="2450"/>
                  </a:lnTo>
                  <a:lnTo>
                    <a:pt x="1021" y="2447"/>
                  </a:lnTo>
                  <a:lnTo>
                    <a:pt x="1021" y="2447"/>
                  </a:lnTo>
                  <a:lnTo>
                    <a:pt x="1022" y="2444"/>
                  </a:lnTo>
                  <a:lnTo>
                    <a:pt x="1024" y="2444"/>
                  </a:lnTo>
                  <a:lnTo>
                    <a:pt x="1031" y="2450"/>
                  </a:lnTo>
                  <a:lnTo>
                    <a:pt x="1031" y="2450"/>
                  </a:lnTo>
                  <a:lnTo>
                    <a:pt x="1035" y="2454"/>
                  </a:lnTo>
                  <a:lnTo>
                    <a:pt x="1037" y="2462"/>
                  </a:lnTo>
                  <a:lnTo>
                    <a:pt x="1041" y="2474"/>
                  </a:lnTo>
                  <a:lnTo>
                    <a:pt x="1041" y="2474"/>
                  </a:lnTo>
                  <a:lnTo>
                    <a:pt x="1043" y="2477"/>
                  </a:lnTo>
                  <a:lnTo>
                    <a:pt x="1047" y="2478"/>
                  </a:lnTo>
                  <a:lnTo>
                    <a:pt x="1056" y="2481"/>
                  </a:lnTo>
                  <a:lnTo>
                    <a:pt x="1064" y="2482"/>
                  </a:lnTo>
                  <a:lnTo>
                    <a:pt x="1068" y="2484"/>
                  </a:lnTo>
                  <a:lnTo>
                    <a:pt x="1068" y="2484"/>
                  </a:lnTo>
                  <a:lnTo>
                    <a:pt x="1068" y="2491"/>
                  </a:lnTo>
                  <a:lnTo>
                    <a:pt x="1068" y="2497"/>
                  </a:lnTo>
                  <a:lnTo>
                    <a:pt x="1069" y="2503"/>
                  </a:lnTo>
                  <a:lnTo>
                    <a:pt x="1069" y="2503"/>
                  </a:lnTo>
                  <a:lnTo>
                    <a:pt x="1069" y="2505"/>
                  </a:lnTo>
                  <a:lnTo>
                    <a:pt x="1071" y="2506"/>
                  </a:lnTo>
                  <a:lnTo>
                    <a:pt x="1074" y="2505"/>
                  </a:lnTo>
                  <a:lnTo>
                    <a:pt x="1078" y="2500"/>
                  </a:lnTo>
                  <a:lnTo>
                    <a:pt x="1086" y="2499"/>
                  </a:lnTo>
                  <a:lnTo>
                    <a:pt x="1086" y="2499"/>
                  </a:lnTo>
                  <a:lnTo>
                    <a:pt x="1089" y="2499"/>
                  </a:lnTo>
                  <a:lnTo>
                    <a:pt x="1092" y="2499"/>
                  </a:lnTo>
                  <a:lnTo>
                    <a:pt x="1095" y="2500"/>
                  </a:lnTo>
                  <a:lnTo>
                    <a:pt x="1096" y="2503"/>
                  </a:lnTo>
                  <a:lnTo>
                    <a:pt x="1098" y="2509"/>
                  </a:lnTo>
                  <a:lnTo>
                    <a:pt x="1098" y="2514"/>
                  </a:lnTo>
                  <a:lnTo>
                    <a:pt x="1098" y="2514"/>
                  </a:lnTo>
                  <a:lnTo>
                    <a:pt x="1099" y="2515"/>
                  </a:lnTo>
                  <a:lnTo>
                    <a:pt x="1101" y="2515"/>
                  </a:lnTo>
                  <a:lnTo>
                    <a:pt x="1103" y="2515"/>
                  </a:lnTo>
                  <a:lnTo>
                    <a:pt x="1108" y="2512"/>
                  </a:lnTo>
                  <a:lnTo>
                    <a:pt x="1112" y="2508"/>
                  </a:lnTo>
                  <a:lnTo>
                    <a:pt x="1112" y="2508"/>
                  </a:lnTo>
                  <a:lnTo>
                    <a:pt x="1118" y="2502"/>
                  </a:lnTo>
                  <a:lnTo>
                    <a:pt x="1120" y="2499"/>
                  </a:lnTo>
                  <a:lnTo>
                    <a:pt x="1120" y="2494"/>
                  </a:lnTo>
                  <a:lnTo>
                    <a:pt x="1120" y="2494"/>
                  </a:lnTo>
                  <a:lnTo>
                    <a:pt x="1118" y="2490"/>
                  </a:lnTo>
                  <a:lnTo>
                    <a:pt x="1117" y="2487"/>
                  </a:lnTo>
                  <a:lnTo>
                    <a:pt x="1118" y="2481"/>
                  </a:lnTo>
                  <a:lnTo>
                    <a:pt x="1121" y="2475"/>
                  </a:lnTo>
                  <a:lnTo>
                    <a:pt x="1121" y="2475"/>
                  </a:lnTo>
                  <a:lnTo>
                    <a:pt x="1123" y="2472"/>
                  </a:lnTo>
                  <a:lnTo>
                    <a:pt x="1126" y="2469"/>
                  </a:lnTo>
                  <a:lnTo>
                    <a:pt x="1133" y="2466"/>
                  </a:lnTo>
                  <a:lnTo>
                    <a:pt x="1141" y="2462"/>
                  </a:lnTo>
                  <a:lnTo>
                    <a:pt x="1148" y="2459"/>
                  </a:lnTo>
                  <a:lnTo>
                    <a:pt x="1148" y="2459"/>
                  </a:lnTo>
                  <a:lnTo>
                    <a:pt x="1149" y="2457"/>
                  </a:lnTo>
                  <a:lnTo>
                    <a:pt x="1149" y="2456"/>
                  </a:lnTo>
                  <a:lnTo>
                    <a:pt x="1148" y="2451"/>
                  </a:lnTo>
                  <a:lnTo>
                    <a:pt x="1145" y="2447"/>
                  </a:lnTo>
                  <a:lnTo>
                    <a:pt x="1141" y="2444"/>
                  </a:lnTo>
                  <a:lnTo>
                    <a:pt x="1141" y="2444"/>
                  </a:lnTo>
                  <a:lnTo>
                    <a:pt x="1139" y="2440"/>
                  </a:lnTo>
                  <a:lnTo>
                    <a:pt x="1139" y="2435"/>
                  </a:lnTo>
                  <a:lnTo>
                    <a:pt x="1141" y="2426"/>
                  </a:lnTo>
                  <a:lnTo>
                    <a:pt x="1141" y="2426"/>
                  </a:lnTo>
                  <a:lnTo>
                    <a:pt x="1141" y="2422"/>
                  </a:lnTo>
                  <a:lnTo>
                    <a:pt x="1138" y="2420"/>
                  </a:lnTo>
                  <a:lnTo>
                    <a:pt x="1130" y="2419"/>
                  </a:lnTo>
                  <a:lnTo>
                    <a:pt x="1130" y="2419"/>
                  </a:lnTo>
                  <a:lnTo>
                    <a:pt x="1126" y="2417"/>
                  </a:lnTo>
                  <a:lnTo>
                    <a:pt x="1121" y="2413"/>
                  </a:lnTo>
                  <a:lnTo>
                    <a:pt x="1115" y="2408"/>
                  </a:lnTo>
                  <a:lnTo>
                    <a:pt x="1112" y="2404"/>
                  </a:lnTo>
                  <a:lnTo>
                    <a:pt x="1112" y="2404"/>
                  </a:lnTo>
                  <a:lnTo>
                    <a:pt x="1111" y="2398"/>
                  </a:lnTo>
                  <a:lnTo>
                    <a:pt x="1112" y="2394"/>
                  </a:lnTo>
                  <a:lnTo>
                    <a:pt x="1117" y="2386"/>
                  </a:lnTo>
                  <a:lnTo>
                    <a:pt x="1117" y="2386"/>
                  </a:lnTo>
                  <a:lnTo>
                    <a:pt x="1120" y="2379"/>
                  </a:lnTo>
                  <a:lnTo>
                    <a:pt x="1123" y="2376"/>
                  </a:lnTo>
                  <a:lnTo>
                    <a:pt x="1126" y="2373"/>
                  </a:lnTo>
                  <a:lnTo>
                    <a:pt x="1126" y="2373"/>
                  </a:lnTo>
                  <a:lnTo>
                    <a:pt x="1130" y="2371"/>
                  </a:lnTo>
                  <a:lnTo>
                    <a:pt x="1135" y="2373"/>
                  </a:lnTo>
                  <a:lnTo>
                    <a:pt x="1141" y="2377"/>
                  </a:lnTo>
                  <a:lnTo>
                    <a:pt x="1141" y="2377"/>
                  </a:lnTo>
                  <a:lnTo>
                    <a:pt x="1142" y="2376"/>
                  </a:lnTo>
                  <a:lnTo>
                    <a:pt x="1143" y="2374"/>
                  </a:lnTo>
                  <a:lnTo>
                    <a:pt x="1146" y="2364"/>
                  </a:lnTo>
                  <a:lnTo>
                    <a:pt x="1146" y="2364"/>
                  </a:lnTo>
                  <a:lnTo>
                    <a:pt x="1146" y="2360"/>
                  </a:lnTo>
                  <a:lnTo>
                    <a:pt x="1145" y="2355"/>
                  </a:lnTo>
                  <a:lnTo>
                    <a:pt x="1142" y="2349"/>
                  </a:lnTo>
                  <a:lnTo>
                    <a:pt x="1141" y="2343"/>
                  </a:lnTo>
                  <a:lnTo>
                    <a:pt x="1141" y="2343"/>
                  </a:lnTo>
                  <a:lnTo>
                    <a:pt x="1139" y="2337"/>
                  </a:lnTo>
                  <a:lnTo>
                    <a:pt x="1138" y="2331"/>
                  </a:lnTo>
                  <a:lnTo>
                    <a:pt x="1133" y="2325"/>
                  </a:lnTo>
                  <a:lnTo>
                    <a:pt x="1129" y="2324"/>
                  </a:lnTo>
                  <a:lnTo>
                    <a:pt x="1129" y="2324"/>
                  </a:lnTo>
                  <a:lnTo>
                    <a:pt x="1121" y="2321"/>
                  </a:lnTo>
                  <a:lnTo>
                    <a:pt x="1112" y="2318"/>
                  </a:lnTo>
                  <a:lnTo>
                    <a:pt x="1103" y="2314"/>
                  </a:lnTo>
                  <a:lnTo>
                    <a:pt x="1096" y="2306"/>
                  </a:lnTo>
                  <a:lnTo>
                    <a:pt x="1096" y="2306"/>
                  </a:lnTo>
                  <a:lnTo>
                    <a:pt x="1095" y="2302"/>
                  </a:lnTo>
                  <a:lnTo>
                    <a:pt x="1092" y="2296"/>
                  </a:lnTo>
                  <a:lnTo>
                    <a:pt x="1090" y="2284"/>
                  </a:lnTo>
                  <a:lnTo>
                    <a:pt x="1090" y="2262"/>
                  </a:lnTo>
                  <a:lnTo>
                    <a:pt x="1090" y="2262"/>
                  </a:lnTo>
                  <a:lnTo>
                    <a:pt x="1092" y="2253"/>
                  </a:lnTo>
                  <a:lnTo>
                    <a:pt x="1093" y="2246"/>
                  </a:lnTo>
                  <a:lnTo>
                    <a:pt x="1096" y="2235"/>
                  </a:lnTo>
                  <a:lnTo>
                    <a:pt x="1096" y="2235"/>
                  </a:lnTo>
                  <a:lnTo>
                    <a:pt x="1099" y="2232"/>
                  </a:lnTo>
                  <a:lnTo>
                    <a:pt x="1103" y="2231"/>
                  </a:lnTo>
                  <a:lnTo>
                    <a:pt x="1108" y="2228"/>
                  </a:lnTo>
                  <a:lnTo>
                    <a:pt x="1112" y="2226"/>
                  </a:lnTo>
                  <a:lnTo>
                    <a:pt x="1112" y="2226"/>
                  </a:lnTo>
                  <a:lnTo>
                    <a:pt x="1114" y="2225"/>
                  </a:lnTo>
                  <a:lnTo>
                    <a:pt x="1114" y="2223"/>
                  </a:lnTo>
                  <a:lnTo>
                    <a:pt x="1111" y="2219"/>
                  </a:lnTo>
                  <a:lnTo>
                    <a:pt x="1102" y="2213"/>
                  </a:lnTo>
                  <a:lnTo>
                    <a:pt x="1102" y="2213"/>
                  </a:lnTo>
                  <a:lnTo>
                    <a:pt x="1099" y="2210"/>
                  </a:lnTo>
                  <a:lnTo>
                    <a:pt x="1102" y="2207"/>
                  </a:lnTo>
                  <a:lnTo>
                    <a:pt x="1111" y="2204"/>
                  </a:lnTo>
                  <a:lnTo>
                    <a:pt x="1111" y="2204"/>
                  </a:lnTo>
                  <a:lnTo>
                    <a:pt x="1115" y="2203"/>
                  </a:lnTo>
                  <a:lnTo>
                    <a:pt x="1118" y="2200"/>
                  </a:lnTo>
                  <a:lnTo>
                    <a:pt x="1121" y="2197"/>
                  </a:lnTo>
                  <a:lnTo>
                    <a:pt x="1121" y="2192"/>
                  </a:lnTo>
                  <a:lnTo>
                    <a:pt x="1121" y="2192"/>
                  </a:lnTo>
                  <a:lnTo>
                    <a:pt x="1123" y="2189"/>
                  </a:lnTo>
                  <a:lnTo>
                    <a:pt x="1126" y="2185"/>
                  </a:lnTo>
                  <a:lnTo>
                    <a:pt x="1136" y="2180"/>
                  </a:lnTo>
                  <a:lnTo>
                    <a:pt x="1136" y="2180"/>
                  </a:lnTo>
                  <a:lnTo>
                    <a:pt x="1142" y="2177"/>
                  </a:lnTo>
                  <a:lnTo>
                    <a:pt x="1148" y="2173"/>
                  </a:lnTo>
                  <a:lnTo>
                    <a:pt x="1152" y="2169"/>
                  </a:lnTo>
                  <a:lnTo>
                    <a:pt x="1157" y="2163"/>
                  </a:lnTo>
                  <a:lnTo>
                    <a:pt x="1157" y="2163"/>
                  </a:lnTo>
                  <a:lnTo>
                    <a:pt x="1157" y="2160"/>
                  </a:lnTo>
                  <a:lnTo>
                    <a:pt x="1155" y="2155"/>
                  </a:lnTo>
                  <a:lnTo>
                    <a:pt x="1152" y="2151"/>
                  </a:lnTo>
                  <a:lnTo>
                    <a:pt x="1151" y="2145"/>
                  </a:lnTo>
                  <a:lnTo>
                    <a:pt x="1151" y="2145"/>
                  </a:lnTo>
                  <a:lnTo>
                    <a:pt x="1152" y="2142"/>
                  </a:lnTo>
                  <a:lnTo>
                    <a:pt x="1154" y="2140"/>
                  </a:lnTo>
                  <a:lnTo>
                    <a:pt x="1160" y="2134"/>
                  </a:lnTo>
                  <a:lnTo>
                    <a:pt x="1167" y="2131"/>
                  </a:lnTo>
                  <a:lnTo>
                    <a:pt x="1169" y="2129"/>
                  </a:lnTo>
                  <a:lnTo>
                    <a:pt x="1170" y="2127"/>
                  </a:lnTo>
                  <a:lnTo>
                    <a:pt x="1170" y="2127"/>
                  </a:lnTo>
                  <a:lnTo>
                    <a:pt x="1170" y="2111"/>
                  </a:lnTo>
                  <a:lnTo>
                    <a:pt x="1170" y="2102"/>
                  </a:lnTo>
                  <a:lnTo>
                    <a:pt x="1169" y="2096"/>
                  </a:lnTo>
                  <a:lnTo>
                    <a:pt x="1169" y="2096"/>
                  </a:lnTo>
                  <a:lnTo>
                    <a:pt x="1169" y="2091"/>
                  </a:lnTo>
                  <a:lnTo>
                    <a:pt x="1170" y="2087"/>
                  </a:lnTo>
                  <a:lnTo>
                    <a:pt x="1173" y="2083"/>
                  </a:lnTo>
                  <a:lnTo>
                    <a:pt x="1178" y="2081"/>
                  </a:lnTo>
                  <a:lnTo>
                    <a:pt x="1178" y="2081"/>
                  </a:lnTo>
                  <a:lnTo>
                    <a:pt x="1180" y="2080"/>
                  </a:lnTo>
                  <a:lnTo>
                    <a:pt x="1180" y="2078"/>
                  </a:lnTo>
                  <a:lnTo>
                    <a:pt x="1182" y="2075"/>
                  </a:lnTo>
                  <a:lnTo>
                    <a:pt x="1180" y="2068"/>
                  </a:lnTo>
                  <a:lnTo>
                    <a:pt x="1180" y="2068"/>
                  </a:lnTo>
                  <a:lnTo>
                    <a:pt x="1182" y="2065"/>
                  </a:lnTo>
                  <a:lnTo>
                    <a:pt x="1183" y="2060"/>
                  </a:lnTo>
                  <a:lnTo>
                    <a:pt x="1186" y="2057"/>
                  </a:lnTo>
                  <a:lnTo>
                    <a:pt x="1188" y="2054"/>
                  </a:lnTo>
                  <a:lnTo>
                    <a:pt x="1188" y="2054"/>
                  </a:lnTo>
                  <a:lnTo>
                    <a:pt x="1186" y="2053"/>
                  </a:lnTo>
                  <a:lnTo>
                    <a:pt x="1185" y="2053"/>
                  </a:lnTo>
                  <a:lnTo>
                    <a:pt x="1180" y="2052"/>
                  </a:lnTo>
                  <a:lnTo>
                    <a:pt x="1170" y="2049"/>
                  </a:lnTo>
                  <a:lnTo>
                    <a:pt x="1170" y="2049"/>
                  </a:lnTo>
                  <a:lnTo>
                    <a:pt x="1167" y="2047"/>
                  </a:lnTo>
                  <a:lnTo>
                    <a:pt x="1164" y="2044"/>
                  </a:lnTo>
                  <a:lnTo>
                    <a:pt x="1164" y="2037"/>
                  </a:lnTo>
                  <a:lnTo>
                    <a:pt x="1164" y="2037"/>
                  </a:lnTo>
                  <a:lnTo>
                    <a:pt x="1163" y="2035"/>
                  </a:lnTo>
                  <a:lnTo>
                    <a:pt x="1160" y="2031"/>
                  </a:lnTo>
                  <a:lnTo>
                    <a:pt x="1157" y="2026"/>
                  </a:lnTo>
                  <a:lnTo>
                    <a:pt x="1154" y="2020"/>
                  </a:lnTo>
                  <a:lnTo>
                    <a:pt x="1154" y="2020"/>
                  </a:lnTo>
                  <a:lnTo>
                    <a:pt x="1152" y="2014"/>
                  </a:lnTo>
                  <a:lnTo>
                    <a:pt x="1151" y="2010"/>
                  </a:lnTo>
                  <a:lnTo>
                    <a:pt x="1154" y="2001"/>
                  </a:lnTo>
                  <a:lnTo>
                    <a:pt x="1154" y="2001"/>
                  </a:lnTo>
                  <a:lnTo>
                    <a:pt x="1155" y="1998"/>
                  </a:lnTo>
                  <a:lnTo>
                    <a:pt x="1160" y="1995"/>
                  </a:lnTo>
                  <a:lnTo>
                    <a:pt x="1163" y="1994"/>
                  </a:lnTo>
                  <a:lnTo>
                    <a:pt x="1163" y="1992"/>
                  </a:lnTo>
                  <a:lnTo>
                    <a:pt x="1163" y="1992"/>
                  </a:lnTo>
                  <a:lnTo>
                    <a:pt x="1160" y="1988"/>
                  </a:lnTo>
                  <a:lnTo>
                    <a:pt x="1158" y="1985"/>
                  </a:lnTo>
                  <a:lnTo>
                    <a:pt x="1158" y="1980"/>
                  </a:lnTo>
                  <a:lnTo>
                    <a:pt x="1158" y="1980"/>
                  </a:lnTo>
                  <a:lnTo>
                    <a:pt x="1158" y="1979"/>
                  </a:lnTo>
                  <a:lnTo>
                    <a:pt x="1160" y="1977"/>
                  </a:lnTo>
                  <a:lnTo>
                    <a:pt x="1164" y="1976"/>
                  </a:lnTo>
                  <a:lnTo>
                    <a:pt x="1169" y="1974"/>
                  </a:lnTo>
                  <a:lnTo>
                    <a:pt x="1172" y="1970"/>
                  </a:lnTo>
                  <a:lnTo>
                    <a:pt x="1172" y="1970"/>
                  </a:lnTo>
                  <a:lnTo>
                    <a:pt x="1173" y="1969"/>
                  </a:lnTo>
                  <a:lnTo>
                    <a:pt x="1173" y="1967"/>
                  </a:lnTo>
                  <a:lnTo>
                    <a:pt x="1170" y="1964"/>
                  </a:lnTo>
                  <a:lnTo>
                    <a:pt x="1166" y="1964"/>
                  </a:lnTo>
                  <a:lnTo>
                    <a:pt x="1161" y="1961"/>
                  </a:lnTo>
                  <a:lnTo>
                    <a:pt x="1161" y="1961"/>
                  </a:lnTo>
                  <a:lnTo>
                    <a:pt x="1160" y="1960"/>
                  </a:lnTo>
                  <a:lnTo>
                    <a:pt x="1158" y="1958"/>
                  </a:lnTo>
                  <a:lnTo>
                    <a:pt x="1160" y="1954"/>
                  </a:lnTo>
                  <a:lnTo>
                    <a:pt x="1163" y="1948"/>
                  </a:lnTo>
                  <a:lnTo>
                    <a:pt x="1164" y="1940"/>
                  </a:lnTo>
                  <a:lnTo>
                    <a:pt x="1164" y="1940"/>
                  </a:lnTo>
                  <a:lnTo>
                    <a:pt x="1166" y="1926"/>
                  </a:lnTo>
                  <a:lnTo>
                    <a:pt x="1167" y="1920"/>
                  </a:lnTo>
                  <a:lnTo>
                    <a:pt x="1172" y="1912"/>
                  </a:lnTo>
                  <a:lnTo>
                    <a:pt x="1172" y="1912"/>
                  </a:lnTo>
                  <a:lnTo>
                    <a:pt x="1175" y="1911"/>
                  </a:lnTo>
                  <a:lnTo>
                    <a:pt x="1178" y="1909"/>
                  </a:lnTo>
                  <a:lnTo>
                    <a:pt x="1180" y="1909"/>
                  </a:lnTo>
                  <a:lnTo>
                    <a:pt x="1185" y="1911"/>
                  </a:lnTo>
                  <a:lnTo>
                    <a:pt x="1198" y="1920"/>
                  </a:lnTo>
                  <a:lnTo>
                    <a:pt x="1198" y="1920"/>
                  </a:lnTo>
                  <a:lnTo>
                    <a:pt x="1204" y="1921"/>
                  </a:lnTo>
                  <a:lnTo>
                    <a:pt x="1209" y="1920"/>
                  </a:lnTo>
                  <a:lnTo>
                    <a:pt x="1213" y="1917"/>
                  </a:lnTo>
                  <a:lnTo>
                    <a:pt x="1218" y="1912"/>
                  </a:lnTo>
                  <a:lnTo>
                    <a:pt x="1218" y="1912"/>
                  </a:lnTo>
                  <a:lnTo>
                    <a:pt x="1220" y="1908"/>
                  </a:lnTo>
                  <a:lnTo>
                    <a:pt x="1223" y="1906"/>
                  </a:lnTo>
                  <a:lnTo>
                    <a:pt x="1229" y="1905"/>
                  </a:lnTo>
                  <a:lnTo>
                    <a:pt x="1237" y="1903"/>
                  </a:lnTo>
                  <a:lnTo>
                    <a:pt x="1237" y="1903"/>
                  </a:lnTo>
                  <a:lnTo>
                    <a:pt x="1241" y="1903"/>
                  </a:lnTo>
                  <a:lnTo>
                    <a:pt x="1244" y="1902"/>
                  </a:lnTo>
                  <a:lnTo>
                    <a:pt x="1246" y="1900"/>
                  </a:lnTo>
                  <a:lnTo>
                    <a:pt x="1247" y="1897"/>
                  </a:lnTo>
                  <a:lnTo>
                    <a:pt x="1247" y="1893"/>
                  </a:lnTo>
                  <a:lnTo>
                    <a:pt x="1247" y="1887"/>
                  </a:lnTo>
                  <a:lnTo>
                    <a:pt x="1247" y="1887"/>
                  </a:lnTo>
                  <a:lnTo>
                    <a:pt x="1247" y="1884"/>
                  </a:lnTo>
                  <a:lnTo>
                    <a:pt x="1246" y="1881"/>
                  </a:lnTo>
                  <a:lnTo>
                    <a:pt x="1241" y="1877"/>
                  </a:lnTo>
                  <a:lnTo>
                    <a:pt x="1237" y="1874"/>
                  </a:lnTo>
                  <a:lnTo>
                    <a:pt x="1234" y="1874"/>
                  </a:lnTo>
                  <a:lnTo>
                    <a:pt x="1234" y="1874"/>
                  </a:lnTo>
                  <a:lnTo>
                    <a:pt x="1231" y="1875"/>
                  </a:lnTo>
                  <a:lnTo>
                    <a:pt x="1226" y="1875"/>
                  </a:lnTo>
                  <a:lnTo>
                    <a:pt x="1220" y="1875"/>
                  </a:lnTo>
                  <a:lnTo>
                    <a:pt x="1213" y="1872"/>
                  </a:lnTo>
                  <a:lnTo>
                    <a:pt x="1213" y="1872"/>
                  </a:lnTo>
                  <a:lnTo>
                    <a:pt x="1209" y="1871"/>
                  </a:lnTo>
                  <a:lnTo>
                    <a:pt x="1206" y="1869"/>
                  </a:lnTo>
                  <a:lnTo>
                    <a:pt x="1204" y="1868"/>
                  </a:lnTo>
                  <a:lnTo>
                    <a:pt x="1203" y="1866"/>
                  </a:lnTo>
                  <a:lnTo>
                    <a:pt x="1203" y="1866"/>
                  </a:lnTo>
                  <a:lnTo>
                    <a:pt x="1195" y="1866"/>
                  </a:lnTo>
                  <a:lnTo>
                    <a:pt x="1191" y="1866"/>
                  </a:lnTo>
                  <a:lnTo>
                    <a:pt x="1186" y="1863"/>
                  </a:lnTo>
                  <a:lnTo>
                    <a:pt x="1186" y="1863"/>
                  </a:lnTo>
                  <a:lnTo>
                    <a:pt x="1182" y="1860"/>
                  </a:lnTo>
                  <a:lnTo>
                    <a:pt x="1178" y="1859"/>
                  </a:lnTo>
                  <a:lnTo>
                    <a:pt x="1170" y="1857"/>
                  </a:lnTo>
                  <a:lnTo>
                    <a:pt x="1170" y="1857"/>
                  </a:lnTo>
                  <a:lnTo>
                    <a:pt x="1166" y="1857"/>
                  </a:lnTo>
                  <a:lnTo>
                    <a:pt x="1164" y="1855"/>
                  </a:lnTo>
                  <a:lnTo>
                    <a:pt x="1161" y="1847"/>
                  </a:lnTo>
                  <a:lnTo>
                    <a:pt x="1161" y="1847"/>
                  </a:lnTo>
                  <a:lnTo>
                    <a:pt x="1158" y="1846"/>
                  </a:lnTo>
                  <a:lnTo>
                    <a:pt x="1155" y="1847"/>
                  </a:lnTo>
                  <a:lnTo>
                    <a:pt x="1146" y="1856"/>
                  </a:lnTo>
                  <a:lnTo>
                    <a:pt x="1146" y="1856"/>
                  </a:lnTo>
                  <a:lnTo>
                    <a:pt x="1145" y="1857"/>
                  </a:lnTo>
                  <a:lnTo>
                    <a:pt x="1142" y="1859"/>
                  </a:lnTo>
                  <a:lnTo>
                    <a:pt x="1141" y="1857"/>
                  </a:lnTo>
                  <a:lnTo>
                    <a:pt x="1139" y="1856"/>
                  </a:lnTo>
                  <a:lnTo>
                    <a:pt x="1136" y="1852"/>
                  </a:lnTo>
                  <a:lnTo>
                    <a:pt x="1135" y="1847"/>
                  </a:lnTo>
                  <a:lnTo>
                    <a:pt x="1135" y="1847"/>
                  </a:lnTo>
                  <a:lnTo>
                    <a:pt x="1132" y="1846"/>
                  </a:lnTo>
                  <a:lnTo>
                    <a:pt x="1130" y="1847"/>
                  </a:lnTo>
                  <a:lnTo>
                    <a:pt x="1123" y="1852"/>
                  </a:lnTo>
                  <a:lnTo>
                    <a:pt x="1123" y="1852"/>
                  </a:lnTo>
                  <a:lnTo>
                    <a:pt x="1118" y="1853"/>
                  </a:lnTo>
                  <a:lnTo>
                    <a:pt x="1115" y="1853"/>
                  </a:lnTo>
                  <a:lnTo>
                    <a:pt x="1112" y="1850"/>
                  </a:lnTo>
                  <a:lnTo>
                    <a:pt x="1112" y="1847"/>
                  </a:lnTo>
                  <a:lnTo>
                    <a:pt x="1112" y="1847"/>
                  </a:lnTo>
                  <a:lnTo>
                    <a:pt x="1112" y="1840"/>
                  </a:lnTo>
                  <a:lnTo>
                    <a:pt x="1117" y="1829"/>
                  </a:lnTo>
                  <a:lnTo>
                    <a:pt x="1121" y="1816"/>
                  </a:lnTo>
                  <a:lnTo>
                    <a:pt x="1121" y="1816"/>
                  </a:lnTo>
                  <a:lnTo>
                    <a:pt x="1123" y="1816"/>
                  </a:lnTo>
                  <a:lnTo>
                    <a:pt x="1126" y="1816"/>
                  </a:lnTo>
                  <a:lnTo>
                    <a:pt x="1129" y="1818"/>
                  </a:lnTo>
                  <a:lnTo>
                    <a:pt x="1132" y="1818"/>
                  </a:lnTo>
                  <a:lnTo>
                    <a:pt x="1132" y="1818"/>
                  </a:lnTo>
                  <a:lnTo>
                    <a:pt x="1133" y="1816"/>
                  </a:lnTo>
                  <a:lnTo>
                    <a:pt x="1133" y="1816"/>
                  </a:lnTo>
                  <a:lnTo>
                    <a:pt x="1130" y="1812"/>
                  </a:lnTo>
                  <a:lnTo>
                    <a:pt x="1123" y="1803"/>
                  </a:lnTo>
                  <a:lnTo>
                    <a:pt x="1123" y="1803"/>
                  </a:lnTo>
                  <a:lnTo>
                    <a:pt x="1120" y="1798"/>
                  </a:lnTo>
                  <a:lnTo>
                    <a:pt x="1120" y="1797"/>
                  </a:lnTo>
                  <a:lnTo>
                    <a:pt x="1121" y="1795"/>
                  </a:lnTo>
                  <a:lnTo>
                    <a:pt x="1124" y="1794"/>
                  </a:lnTo>
                  <a:lnTo>
                    <a:pt x="1127" y="1791"/>
                  </a:lnTo>
                  <a:lnTo>
                    <a:pt x="1127" y="1791"/>
                  </a:lnTo>
                  <a:lnTo>
                    <a:pt x="1136" y="1780"/>
                  </a:lnTo>
                  <a:lnTo>
                    <a:pt x="1141" y="1775"/>
                  </a:lnTo>
                  <a:lnTo>
                    <a:pt x="1142" y="1769"/>
                  </a:lnTo>
                  <a:lnTo>
                    <a:pt x="1142" y="1769"/>
                  </a:lnTo>
                  <a:lnTo>
                    <a:pt x="1142" y="1760"/>
                  </a:lnTo>
                  <a:lnTo>
                    <a:pt x="1143" y="1755"/>
                  </a:lnTo>
                  <a:lnTo>
                    <a:pt x="1148" y="1752"/>
                  </a:lnTo>
                  <a:lnTo>
                    <a:pt x="1148" y="1752"/>
                  </a:lnTo>
                  <a:lnTo>
                    <a:pt x="1158" y="1745"/>
                  </a:lnTo>
                  <a:lnTo>
                    <a:pt x="1163" y="1740"/>
                  </a:lnTo>
                  <a:lnTo>
                    <a:pt x="1164" y="1738"/>
                  </a:lnTo>
                  <a:lnTo>
                    <a:pt x="1164" y="1738"/>
                  </a:lnTo>
                  <a:lnTo>
                    <a:pt x="1160" y="1733"/>
                  </a:lnTo>
                  <a:lnTo>
                    <a:pt x="1149" y="1729"/>
                  </a:lnTo>
                  <a:lnTo>
                    <a:pt x="1139" y="1724"/>
                  </a:lnTo>
                  <a:lnTo>
                    <a:pt x="1132" y="1720"/>
                  </a:lnTo>
                  <a:lnTo>
                    <a:pt x="1132" y="1720"/>
                  </a:lnTo>
                  <a:lnTo>
                    <a:pt x="1130" y="1717"/>
                  </a:lnTo>
                  <a:lnTo>
                    <a:pt x="1129" y="1712"/>
                  </a:lnTo>
                  <a:lnTo>
                    <a:pt x="1129" y="1701"/>
                  </a:lnTo>
                  <a:lnTo>
                    <a:pt x="1130" y="1689"/>
                  </a:lnTo>
                  <a:lnTo>
                    <a:pt x="1130" y="1677"/>
                  </a:lnTo>
                  <a:lnTo>
                    <a:pt x="1130" y="1677"/>
                  </a:lnTo>
                  <a:lnTo>
                    <a:pt x="1127" y="1671"/>
                  </a:lnTo>
                  <a:lnTo>
                    <a:pt x="1124" y="1666"/>
                  </a:lnTo>
                  <a:lnTo>
                    <a:pt x="1120" y="1663"/>
                  </a:lnTo>
                  <a:lnTo>
                    <a:pt x="1117" y="1658"/>
                  </a:lnTo>
                  <a:lnTo>
                    <a:pt x="1117" y="1658"/>
                  </a:lnTo>
                  <a:lnTo>
                    <a:pt x="1115" y="1653"/>
                  </a:lnTo>
                  <a:lnTo>
                    <a:pt x="1114" y="1650"/>
                  </a:lnTo>
                  <a:lnTo>
                    <a:pt x="1115" y="1641"/>
                  </a:lnTo>
                  <a:lnTo>
                    <a:pt x="1118" y="1634"/>
                  </a:lnTo>
                  <a:lnTo>
                    <a:pt x="1120" y="1628"/>
                  </a:lnTo>
                  <a:lnTo>
                    <a:pt x="1120" y="1628"/>
                  </a:lnTo>
                  <a:lnTo>
                    <a:pt x="1121" y="1613"/>
                  </a:lnTo>
                  <a:lnTo>
                    <a:pt x="1121" y="1606"/>
                  </a:lnTo>
                  <a:lnTo>
                    <a:pt x="1121" y="1601"/>
                  </a:lnTo>
                  <a:lnTo>
                    <a:pt x="1121" y="1601"/>
                  </a:lnTo>
                  <a:lnTo>
                    <a:pt x="1118" y="1600"/>
                  </a:lnTo>
                  <a:lnTo>
                    <a:pt x="1115" y="1598"/>
                  </a:lnTo>
                  <a:lnTo>
                    <a:pt x="1112" y="1597"/>
                  </a:lnTo>
                  <a:lnTo>
                    <a:pt x="1108" y="1594"/>
                  </a:lnTo>
                  <a:lnTo>
                    <a:pt x="1108" y="1594"/>
                  </a:lnTo>
                  <a:lnTo>
                    <a:pt x="1106" y="1591"/>
                  </a:lnTo>
                  <a:lnTo>
                    <a:pt x="1106" y="1589"/>
                  </a:lnTo>
                  <a:lnTo>
                    <a:pt x="1106" y="1586"/>
                  </a:lnTo>
                  <a:lnTo>
                    <a:pt x="1105" y="1585"/>
                  </a:lnTo>
                  <a:lnTo>
                    <a:pt x="1105" y="1585"/>
                  </a:lnTo>
                  <a:lnTo>
                    <a:pt x="1102" y="1584"/>
                  </a:lnTo>
                  <a:lnTo>
                    <a:pt x="1096" y="1584"/>
                  </a:lnTo>
                  <a:lnTo>
                    <a:pt x="1090" y="1582"/>
                  </a:lnTo>
                  <a:lnTo>
                    <a:pt x="1089" y="1581"/>
                  </a:lnTo>
                  <a:lnTo>
                    <a:pt x="1086" y="1579"/>
                  </a:lnTo>
                  <a:lnTo>
                    <a:pt x="1086" y="1579"/>
                  </a:lnTo>
                  <a:lnTo>
                    <a:pt x="1086" y="1576"/>
                  </a:lnTo>
                  <a:lnTo>
                    <a:pt x="1087" y="1573"/>
                  </a:lnTo>
                  <a:lnTo>
                    <a:pt x="1101" y="1567"/>
                  </a:lnTo>
                  <a:lnTo>
                    <a:pt x="1101" y="1567"/>
                  </a:lnTo>
                  <a:lnTo>
                    <a:pt x="1106" y="1564"/>
                  </a:lnTo>
                  <a:lnTo>
                    <a:pt x="1108" y="1561"/>
                  </a:lnTo>
                  <a:lnTo>
                    <a:pt x="1109" y="1557"/>
                  </a:lnTo>
                  <a:lnTo>
                    <a:pt x="1111" y="1551"/>
                  </a:lnTo>
                  <a:lnTo>
                    <a:pt x="1111" y="1551"/>
                  </a:lnTo>
                  <a:lnTo>
                    <a:pt x="1114" y="1545"/>
                  </a:lnTo>
                  <a:lnTo>
                    <a:pt x="1117" y="1544"/>
                  </a:lnTo>
                  <a:lnTo>
                    <a:pt x="1127" y="1542"/>
                  </a:lnTo>
                  <a:lnTo>
                    <a:pt x="1127" y="1542"/>
                  </a:lnTo>
                  <a:lnTo>
                    <a:pt x="1130" y="1541"/>
                  </a:lnTo>
                  <a:lnTo>
                    <a:pt x="1133" y="1539"/>
                  </a:lnTo>
                  <a:lnTo>
                    <a:pt x="1136" y="1532"/>
                  </a:lnTo>
                  <a:lnTo>
                    <a:pt x="1138" y="1523"/>
                  </a:lnTo>
                  <a:lnTo>
                    <a:pt x="1136" y="1512"/>
                  </a:lnTo>
                  <a:lnTo>
                    <a:pt x="1136" y="1512"/>
                  </a:lnTo>
                  <a:lnTo>
                    <a:pt x="1133" y="1495"/>
                  </a:lnTo>
                  <a:lnTo>
                    <a:pt x="1132" y="1469"/>
                  </a:lnTo>
                  <a:lnTo>
                    <a:pt x="1129" y="1425"/>
                  </a:lnTo>
                  <a:lnTo>
                    <a:pt x="1129" y="1425"/>
                  </a:lnTo>
                  <a:lnTo>
                    <a:pt x="1126" y="1404"/>
                  </a:lnTo>
                  <a:lnTo>
                    <a:pt x="1124" y="1397"/>
                  </a:lnTo>
                  <a:lnTo>
                    <a:pt x="1123" y="1388"/>
                  </a:lnTo>
                  <a:lnTo>
                    <a:pt x="1123" y="1388"/>
                  </a:lnTo>
                  <a:lnTo>
                    <a:pt x="1123" y="1369"/>
                  </a:lnTo>
                  <a:lnTo>
                    <a:pt x="1120" y="1358"/>
                  </a:lnTo>
                  <a:lnTo>
                    <a:pt x="1117" y="1350"/>
                  </a:lnTo>
                  <a:lnTo>
                    <a:pt x="1117" y="1350"/>
                  </a:lnTo>
                  <a:lnTo>
                    <a:pt x="1109" y="1339"/>
                  </a:lnTo>
                  <a:lnTo>
                    <a:pt x="1099" y="1329"/>
                  </a:lnTo>
                  <a:lnTo>
                    <a:pt x="1090" y="1318"/>
                  </a:lnTo>
                  <a:lnTo>
                    <a:pt x="1086" y="1311"/>
                  </a:lnTo>
                  <a:lnTo>
                    <a:pt x="1086" y="1311"/>
                  </a:lnTo>
                  <a:lnTo>
                    <a:pt x="1084" y="1301"/>
                  </a:lnTo>
                  <a:lnTo>
                    <a:pt x="1084" y="1296"/>
                  </a:lnTo>
                  <a:lnTo>
                    <a:pt x="1086" y="1292"/>
                  </a:lnTo>
                  <a:lnTo>
                    <a:pt x="1086" y="1292"/>
                  </a:lnTo>
                  <a:lnTo>
                    <a:pt x="1095" y="1290"/>
                  </a:lnTo>
                  <a:lnTo>
                    <a:pt x="1095" y="1290"/>
                  </a:lnTo>
                  <a:lnTo>
                    <a:pt x="1096" y="1290"/>
                  </a:lnTo>
                  <a:lnTo>
                    <a:pt x="1096" y="1290"/>
                  </a:lnTo>
                  <a:lnTo>
                    <a:pt x="1105" y="1287"/>
                  </a:lnTo>
                  <a:lnTo>
                    <a:pt x="1105" y="1287"/>
                  </a:lnTo>
                  <a:lnTo>
                    <a:pt x="1112" y="1284"/>
                  </a:lnTo>
                  <a:lnTo>
                    <a:pt x="1120" y="1278"/>
                  </a:lnTo>
                  <a:lnTo>
                    <a:pt x="1120" y="1278"/>
                  </a:lnTo>
                  <a:lnTo>
                    <a:pt x="1136" y="1270"/>
                  </a:lnTo>
                  <a:lnTo>
                    <a:pt x="1149" y="1264"/>
                  </a:lnTo>
                  <a:lnTo>
                    <a:pt x="1149" y="1264"/>
                  </a:lnTo>
                  <a:lnTo>
                    <a:pt x="1152" y="1261"/>
                  </a:lnTo>
                  <a:lnTo>
                    <a:pt x="1155" y="1256"/>
                  </a:lnTo>
                  <a:lnTo>
                    <a:pt x="1161" y="1249"/>
                  </a:lnTo>
                  <a:lnTo>
                    <a:pt x="1161" y="1249"/>
                  </a:lnTo>
                  <a:lnTo>
                    <a:pt x="1166" y="1247"/>
                  </a:lnTo>
                  <a:lnTo>
                    <a:pt x="1172" y="1247"/>
                  </a:lnTo>
                  <a:lnTo>
                    <a:pt x="1185" y="1249"/>
                  </a:lnTo>
                  <a:lnTo>
                    <a:pt x="1185" y="1249"/>
                  </a:lnTo>
                  <a:lnTo>
                    <a:pt x="1191" y="1250"/>
                  </a:lnTo>
                  <a:lnTo>
                    <a:pt x="1197" y="1249"/>
                  </a:lnTo>
                  <a:lnTo>
                    <a:pt x="1201" y="1247"/>
                  </a:lnTo>
                  <a:lnTo>
                    <a:pt x="1204" y="1244"/>
                  </a:lnTo>
                  <a:lnTo>
                    <a:pt x="1204" y="1244"/>
                  </a:lnTo>
                  <a:lnTo>
                    <a:pt x="1204" y="1240"/>
                  </a:lnTo>
                  <a:lnTo>
                    <a:pt x="1204" y="1234"/>
                  </a:lnTo>
                  <a:lnTo>
                    <a:pt x="1206" y="1228"/>
                  </a:lnTo>
                  <a:lnTo>
                    <a:pt x="1207" y="1224"/>
                  </a:lnTo>
                  <a:lnTo>
                    <a:pt x="1207" y="1224"/>
                  </a:lnTo>
                  <a:lnTo>
                    <a:pt x="1210" y="1221"/>
                  </a:lnTo>
                  <a:lnTo>
                    <a:pt x="1212" y="1218"/>
                  </a:lnTo>
                  <a:lnTo>
                    <a:pt x="1210" y="1215"/>
                  </a:lnTo>
                  <a:lnTo>
                    <a:pt x="1206" y="1210"/>
                  </a:lnTo>
                  <a:lnTo>
                    <a:pt x="1206" y="1210"/>
                  </a:lnTo>
                  <a:lnTo>
                    <a:pt x="1197" y="1204"/>
                  </a:lnTo>
                  <a:lnTo>
                    <a:pt x="1195" y="1204"/>
                  </a:lnTo>
                  <a:lnTo>
                    <a:pt x="1195" y="1203"/>
                  </a:lnTo>
                  <a:lnTo>
                    <a:pt x="1200" y="1200"/>
                  </a:lnTo>
                  <a:lnTo>
                    <a:pt x="1200" y="1200"/>
                  </a:lnTo>
                  <a:lnTo>
                    <a:pt x="1204" y="1197"/>
                  </a:lnTo>
                  <a:lnTo>
                    <a:pt x="1207" y="1194"/>
                  </a:lnTo>
                  <a:lnTo>
                    <a:pt x="1209" y="1191"/>
                  </a:lnTo>
                  <a:lnTo>
                    <a:pt x="1209" y="1187"/>
                  </a:lnTo>
                  <a:lnTo>
                    <a:pt x="1209" y="1187"/>
                  </a:lnTo>
                  <a:lnTo>
                    <a:pt x="1210" y="1182"/>
                  </a:lnTo>
                  <a:lnTo>
                    <a:pt x="1213" y="1178"/>
                  </a:lnTo>
                  <a:lnTo>
                    <a:pt x="1218" y="1175"/>
                  </a:lnTo>
                  <a:lnTo>
                    <a:pt x="1223" y="1173"/>
                  </a:lnTo>
                  <a:lnTo>
                    <a:pt x="1223" y="1173"/>
                  </a:lnTo>
                  <a:lnTo>
                    <a:pt x="1228" y="1173"/>
                  </a:lnTo>
                  <a:lnTo>
                    <a:pt x="1231" y="1172"/>
                  </a:lnTo>
                  <a:lnTo>
                    <a:pt x="1231" y="1169"/>
                  </a:lnTo>
                  <a:lnTo>
                    <a:pt x="1229" y="1164"/>
                  </a:lnTo>
                  <a:lnTo>
                    <a:pt x="1229" y="1164"/>
                  </a:lnTo>
                  <a:lnTo>
                    <a:pt x="1225" y="1158"/>
                  </a:lnTo>
                  <a:lnTo>
                    <a:pt x="1219" y="1154"/>
                  </a:lnTo>
                  <a:lnTo>
                    <a:pt x="1218" y="1151"/>
                  </a:lnTo>
                  <a:lnTo>
                    <a:pt x="1218" y="1148"/>
                  </a:lnTo>
                  <a:lnTo>
                    <a:pt x="1219" y="1145"/>
                  </a:lnTo>
                  <a:lnTo>
                    <a:pt x="1223" y="1144"/>
                  </a:lnTo>
                  <a:lnTo>
                    <a:pt x="1223" y="1144"/>
                  </a:lnTo>
                  <a:lnTo>
                    <a:pt x="1228" y="1141"/>
                  </a:lnTo>
                  <a:lnTo>
                    <a:pt x="1229" y="1138"/>
                  </a:lnTo>
                  <a:lnTo>
                    <a:pt x="1232" y="1133"/>
                  </a:lnTo>
                  <a:lnTo>
                    <a:pt x="1235" y="1129"/>
                  </a:lnTo>
                  <a:lnTo>
                    <a:pt x="1237" y="1127"/>
                  </a:lnTo>
                  <a:lnTo>
                    <a:pt x="1241" y="1127"/>
                  </a:lnTo>
                  <a:lnTo>
                    <a:pt x="1241" y="1127"/>
                  </a:lnTo>
                  <a:lnTo>
                    <a:pt x="1249" y="1126"/>
                  </a:lnTo>
                  <a:lnTo>
                    <a:pt x="1255" y="1124"/>
                  </a:lnTo>
                  <a:lnTo>
                    <a:pt x="1259" y="1120"/>
                  </a:lnTo>
                  <a:lnTo>
                    <a:pt x="1262" y="1116"/>
                  </a:lnTo>
                  <a:lnTo>
                    <a:pt x="1262" y="1116"/>
                  </a:lnTo>
                  <a:lnTo>
                    <a:pt x="1268" y="1110"/>
                  </a:lnTo>
                  <a:lnTo>
                    <a:pt x="1274" y="1107"/>
                  </a:lnTo>
                  <a:lnTo>
                    <a:pt x="1280" y="1104"/>
                  </a:lnTo>
                  <a:lnTo>
                    <a:pt x="1286" y="1099"/>
                  </a:lnTo>
                  <a:lnTo>
                    <a:pt x="1286" y="1099"/>
                  </a:lnTo>
                  <a:lnTo>
                    <a:pt x="1290" y="1093"/>
                  </a:lnTo>
                  <a:lnTo>
                    <a:pt x="1293" y="1089"/>
                  </a:lnTo>
                  <a:lnTo>
                    <a:pt x="1295" y="1080"/>
                  </a:lnTo>
                  <a:lnTo>
                    <a:pt x="1295" y="1080"/>
                  </a:lnTo>
                  <a:lnTo>
                    <a:pt x="1296" y="1070"/>
                  </a:lnTo>
                  <a:lnTo>
                    <a:pt x="1295" y="1064"/>
                  </a:lnTo>
                  <a:lnTo>
                    <a:pt x="1293" y="1061"/>
                  </a:lnTo>
                  <a:lnTo>
                    <a:pt x="1293" y="1061"/>
                  </a:lnTo>
                  <a:lnTo>
                    <a:pt x="1290" y="1059"/>
                  </a:lnTo>
                  <a:lnTo>
                    <a:pt x="1284" y="1061"/>
                  </a:lnTo>
                  <a:lnTo>
                    <a:pt x="1280" y="1059"/>
                  </a:lnTo>
                  <a:lnTo>
                    <a:pt x="1277" y="1058"/>
                  </a:lnTo>
                  <a:lnTo>
                    <a:pt x="1275" y="1055"/>
                  </a:lnTo>
                  <a:lnTo>
                    <a:pt x="1275" y="1055"/>
                  </a:lnTo>
                  <a:lnTo>
                    <a:pt x="1268" y="1030"/>
                  </a:lnTo>
                  <a:lnTo>
                    <a:pt x="1263" y="1007"/>
                  </a:lnTo>
                  <a:lnTo>
                    <a:pt x="1263" y="1007"/>
                  </a:lnTo>
                  <a:lnTo>
                    <a:pt x="1265" y="988"/>
                  </a:lnTo>
                  <a:lnTo>
                    <a:pt x="1265" y="982"/>
                  </a:lnTo>
                  <a:lnTo>
                    <a:pt x="1263" y="978"/>
                  </a:lnTo>
                  <a:lnTo>
                    <a:pt x="1260" y="972"/>
                  </a:lnTo>
                  <a:lnTo>
                    <a:pt x="1257" y="969"/>
                  </a:lnTo>
                  <a:lnTo>
                    <a:pt x="1257" y="969"/>
                  </a:lnTo>
                  <a:lnTo>
                    <a:pt x="1249" y="964"/>
                  </a:lnTo>
                  <a:lnTo>
                    <a:pt x="1238" y="961"/>
                  </a:lnTo>
                  <a:lnTo>
                    <a:pt x="1229" y="959"/>
                  </a:lnTo>
                  <a:lnTo>
                    <a:pt x="1225" y="956"/>
                  </a:lnTo>
                  <a:lnTo>
                    <a:pt x="1225" y="956"/>
                  </a:lnTo>
                  <a:lnTo>
                    <a:pt x="1223" y="954"/>
                  </a:lnTo>
                  <a:lnTo>
                    <a:pt x="1222" y="951"/>
                  </a:lnTo>
                  <a:lnTo>
                    <a:pt x="1222" y="948"/>
                  </a:lnTo>
                  <a:lnTo>
                    <a:pt x="1225" y="945"/>
                  </a:lnTo>
                  <a:lnTo>
                    <a:pt x="1225" y="945"/>
                  </a:lnTo>
                  <a:lnTo>
                    <a:pt x="1229" y="939"/>
                  </a:lnTo>
                  <a:lnTo>
                    <a:pt x="1231" y="938"/>
                  </a:lnTo>
                  <a:lnTo>
                    <a:pt x="1229" y="935"/>
                  </a:lnTo>
                  <a:lnTo>
                    <a:pt x="1229" y="935"/>
                  </a:lnTo>
                  <a:lnTo>
                    <a:pt x="1225" y="933"/>
                  </a:lnTo>
                  <a:lnTo>
                    <a:pt x="1220" y="933"/>
                  </a:lnTo>
                  <a:lnTo>
                    <a:pt x="1218" y="932"/>
                  </a:lnTo>
                  <a:lnTo>
                    <a:pt x="1216" y="930"/>
                  </a:lnTo>
                  <a:lnTo>
                    <a:pt x="1216" y="930"/>
                  </a:lnTo>
                  <a:lnTo>
                    <a:pt x="1215" y="927"/>
                  </a:lnTo>
                  <a:lnTo>
                    <a:pt x="1213" y="923"/>
                  </a:lnTo>
                  <a:lnTo>
                    <a:pt x="1213" y="923"/>
                  </a:lnTo>
                  <a:lnTo>
                    <a:pt x="1210" y="920"/>
                  </a:lnTo>
                  <a:lnTo>
                    <a:pt x="1207" y="919"/>
                  </a:lnTo>
                  <a:lnTo>
                    <a:pt x="1204" y="917"/>
                  </a:lnTo>
                  <a:lnTo>
                    <a:pt x="1204" y="916"/>
                  </a:lnTo>
                  <a:lnTo>
                    <a:pt x="1204" y="916"/>
                  </a:lnTo>
                  <a:lnTo>
                    <a:pt x="1203" y="871"/>
                  </a:lnTo>
                  <a:lnTo>
                    <a:pt x="1203" y="871"/>
                  </a:lnTo>
                  <a:lnTo>
                    <a:pt x="1195" y="870"/>
                  </a:lnTo>
                  <a:lnTo>
                    <a:pt x="1189" y="868"/>
                  </a:lnTo>
                  <a:lnTo>
                    <a:pt x="1186" y="867"/>
                  </a:lnTo>
                  <a:lnTo>
                    <a:pt x="1186" y="867"/>
                  </a:lnTo>
                  <a:lnTo>
                    <a:pt x="1186" y="865"/>
                  </a:lnTo>
                  <a:lnTo>
                    <a:pt x="1186" y="864"/>
                  </a:lnTo>
                  <a:lnTo>
                    <a:pt x="1188" y="861"/>
                  </a:lnTo>
                  <a:lnTo>
                    <a:pt x="1188" y="858"/>
                  </a:lnTo>
                  <a:lnTo>
                    <a:pt x="1188" y="858"/>
                  </a:lnTo>
                  <a:lnTo>
                    <a:pt x="1188" y="855"/>
                  </a:lnTo>
                  <a:lnTo>
                    <a:pt x="1186" y="852"/>
                  </a:lnTo>
                  <a:lnTo>
                    <a:pt x="1183" y="846"/>
                  </a:lnTo>
                  <a:lnTo>
                    <a:pt x="1183" y="846"/>
                  </a:lnTo>
                  <a:lnTo>
                    <a:pt x="1183" y="842"/>
                  </a:lnTo>
                  <a:lnTo>
                    <a:pt x="1183" y="839"/>
                  </a:lnTo>
                  <a:lnTo>
                    <a:pt x="1186" y="836"/>
                  </a:lnTo>
                  <a:lnTo>
                    <a:pt x="1189" y="833"/>
                  </a:lnTo>
                  <a:lnTo>
                    <a:pt x="1189" y="833"/>
                  </a:lnTo>
                  <a:lnTo>
                    <a:pt x="1191" y="831"/>
                  </a:lnTo>
                  <a:lnTo>
                    <a:pt x="1191" y="830"/>
                  </a:lnTo>
                  <a:lnTo>
                    <a:pt x="1188" y="827"/>
                  </a:lnTo>
                  <a:lnTo>
                    <a:pt x="1180" y="824"/>
                  </a:lnTo>
                  <a:lnTo>
                    <a:pt x="1180" y="824"/>
                  </a:lnTo>
                  <a:lnTo>
                    <a:pt x="1170" y="831"/>
                  </a:lnTo>
                  <a:lnTo>
                    <a:pt x="1170" y="831"/>
                  </a:lnTo>
                  <a:lnTo>
                    <a:pt x="1149" y="847"/>
                  </a:lnTo>
                  <a:lnTo>
                    <a:pt x="1129" y="865"/>
                  </a:lnTo>
                  <a:lnTo>
                    <a:pt x="1129" y="865"/>
                  </a:lnTo>
                  <a:lnTo>
                    <a:pt x="1121" y="870"/>
                  </a:lnTo>
                  <a:lnTo>
                    <a:pt x="1109" y="877"/>
                  </a:lnTo>
                  <a:lnTo>
                    <a:pt x="1096" y="884"/>
                  </a:lnTo>
                  <a:lnTo>
                    <a:pt x="1087" y="889"/>
                  </a:lnTo>
                  <a:lnTo>
                    <a:pt x="1087" y="889"/>
                  </a:lnTo>
                  <a:lnTo>
                    <a:pt x="1071" y="892"/>
                  </a:lnTo>
                  <a:lnTo>
                    <a:pt x="1064" y="895"/>
                  </a:lnTo>
                  <a:lnTo>
                    <a:pt x="1059" y="896"/>
                  </a:lnTo>
                  <a:lnTo>
                    <a:pt x="1059" y="896"/>
                  </a:lnTo>
                  <a:lnTo>
                    <a:pt x="1055" y="901"/>
                  </a:lnTo>
                  <a:lnTo>
                    <a:pt x="1053" y="908"/>
                  </a:lnTo>
                  <a:lnTo>
                    <a:pt x="1050" y="921"/>
                  </a:lnTo>
                  <a:lnTo>
                    <a:pt x="1050" y="921"/>
                  </a:lnTo>
                  <a:lnTo>
                    <a:pt x="1049" y="926"/>
                  </a:lnTo>
                  <a:lnTo>
                    <a:pt x="1046" y="932"/>
                  </a:lnTo>
                  <a:lnTo>
                    <a:pt x="1038" y="939"/>
                  </a:lnTo>
                  <a:lnTo>
                    <a:pt x="1038" y="939"/>
                  </a:lnTo>
                  <a:lnTo>
                    <a:pt x="1034" y="942"/>
                  </a:lnTo>
                  <a:lnTo>
                    <a:pt x="1025" y="945"/>
                  </a:lnTo>
                  <a:lnTo>
                    <a:pt x="1016" y="948"/>
                  </a:lnTo>
                  <a:lnTo>
                    <a:pt x="1010" y="948"/>
                  </a:lnTo>
                  <a:lnTo>
                    <a:pt x="1010" y="948"/>
                  </a:lnTo>
                  <a:lnTo>
                    <a:pt x="1009" y="947"/>
                  </a:lnTo>
                  <a:lnTo>
                    <a:pt x="1009" y="945"/>
                  </a:lnTo>
                  <a:lnTo>
                    <a:pt x="1012" y="941"/>
                  </a:lnTo>
                  <a:lnTo>
                    <a:pt x="1019" y="933"/>
                  </a:lnTo>
                  <a:lnTo>
                    <a:pt x="1019" y="933"/>
                  </a:lnTo>
                  <a:lnTo>
                    <a:pt x="1029" y="923"/>
                  </a:lnTo>
                  <a:lnTo>
                    <a:pt x="1040" y="910"/>
                  </a:lnTo>
                  <a:lnTo>
                    <a:pt x="1040" y="910"/>
                  </a:lnTo>
                  <a:lnTo>
                    <a:pt x="1043" y="904"/>
                  </a:lnTo>
                  <a:lnTo>
                    <a:pt x="1047" y="895"/>
                  </a:lnTo>
                  <a:lnTo>
                    <a:pt x="1050" y="880"/>
                  </a:lnTo>
                  <a:lnTo>
                    <a:pt x="1050" y="880"/>
                  </a:lnTo>
                  <a:lnTo>
                    <a:pt x="1053" y="876"/>
                  </a:lnTo>
                  <a:lnTo>
                    <a:pt x="1058" y="871"/>
                  </a:lnTo>
                  <a:lnTo>
                    <a:pt x="1066" y="864"/>
                  </a:lnTo>
                  <a:lnTo>
                    <a:pt x="1066" y="864"/>
                  </a:lnTo>
                  <a:lnTo>
                    <a:pt x="1074" y="858"/>
                  </a:lnTo>
                  <a:lnTo>
                    <a:pt x="1087" y="846"/>
                  </a:lnTo>
                  <a:lnTo>
                    <a:pt x="1109" y="824"/>
                  </a:lnTo>
                  <a:lnTo>
                    <a:pt x="1109" y="824"/>
                  </a:lnTo>
                  <a:lnTo>
                    <a:pt x="1129" y="802"/>
                  </a:lnTo>
                  <a:lnTo>
                    <a:pt x="1142" y="782"/>
                  </a:lnTo>
                  <a:lnTo>
                    <a:pt x="1142" y="782"/>
                  </a:lnTo>
                  <a:lnTo>
                    <a:pt x="1145" y="775"/>
                  </a:lnTo>
                  <a:lnTo>
                    <a:pt x="1146" y="769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6" y="762"/>
                  </a:lnTo>
                  <a:lnTo>
                    <a:pt x="1145" y="757"/>
                  </a:lnTo>
                  <a:lnTo>
                    <a:pt x="1142" y="754"/>
                  </a:lnTo>
                  <a:lnTo>
                    <a:pt x="1142" y="751"/>
                  </a:lnTo>
                  <a:lnTo>
                    <a:pt x="1142" y="751"/>
                  </a:lnTo>
                  <a:lnTo>
                    <a:pt x="1143" y="748"/>
                  </a:lnTo>
                  <a:lnTo>
                    <a:pt x="1148" y="745"/>
                  </a:lnTo>
                  <a:lnTo>
                    <a:pt x="1158" y="742"/>
                  </a:lnTo>
                  <a:lnTo>
                    <a:pt x="1158" y="742"/>
                  </a:lnTo>
                  <a:lnTo>
                    <a:pt x="1164" y="738"/>
                  </a:lnTo>
                  <a:lnTo>
                    <a:pt x="1173" y="730"/>
                  </a:lnTo>
                  <a:lnTo>
                    <a:pt x="1186" y="717"/>
                  </a:lnTo>
                  <a:lnTo>
                    <a:pt x="1186" y="717"/>
                  </a:lnTo>
                  <a:lnTo>
                    <a:pt x="1201" y="695"/>
                  </a:lnTo>
                  <a:lnTo>
                    <a:pt x="1216" y="674"/>
                  </a:lnTo>
                  <a:lnTo>
                    <a:pt x="1216" y="674"/>
                  </a:lnTo>
                  <a:lnTo>
                    <a:pt x="1225" y="653"/>
                  </a:lnTo>
                  <a:lnTo>
                    <a:pt x="1234" y="631"/>
                  </a:lnTo>
                  <a:lnTo>
                    <a:pt x="1234" y="631"/>
                  </a:lnTo>
                  <a:lnTo>
                    <a:pt x="1234" y="625"/>
                  </a:lnTo>
                  <a:lnTo>
                    <a:pt x="1234" y="618"/>
                  </a:lnTo>
                  <a:lnTo>
                    <a:pt x="1232" y="610"/>
                  </a:lnTo>
                  <a:lnTo>
                    <a:pt x="1229" y="605"/>
                  </a:lnTo>
                  <a:lnTo>
                    <a:pt x="1229" y="605"/>
                  </a:lnTo>
                  <a:lnTo>
                    <a:pt x="1226" y="602"/>
                  </a:lnTo>
                  <a:lnTo>
                    <a:pt x="1225" y="600"/>
                  </a:lnTo>
                  <a:lnTo>
                    <a:pt x="1218" y="596"/>
                  </a:lnTo>
                  <a:lnTo>
                    <a:pt x="1218" y="596"/>
                  </a:lnTo>
                  <a:lnTo>
                    <a:pt x="1207" y="590"/>
                  </a:lnTo>
                  <a:lnTo>
                    <a:pt x="1198" y="582"/>
                  </a:lnTo>
                  <a:lnTo>
                    <a:pt x="1198" y="582"/>
                  </a:lnTo>
                  <a:lnTo>
                    <a:pt x="1195" y="579"/>
                  </a:lnTo>
                  <a:lnTo>
                    <a:pt x="1197" y="576"/>
                  </a:lnTo>
                  <a:lnTo>
                    <a:pt x="1200" y="575"/>
                  </a:lnTo>
                  <a:lnTo>
                    <a:pt x="1203" y="573"/>
                  </a:lnTo>
                  <a:lnTo>
                    <a:pt x="1203" y="573"/>
                  </a:lnTo>
                  <a:lnTo>
                    <a:pt x="1207" y="573"/>
                  </a:lnTo>
                  <a:lnTo>
                    <a:pt x="1213" y="576"/>
                  </a:lnTo>
                  <a:lnTo>
                    <a:pt x="1219" y="578"/>
                  </a:lnTo>
                  <a:lnTo>
                    <a:pt x="1225" y="579"/>
                  </a:lnTo>
                  <a:lnTo>
                    <a:pt x="1225" y="579"/>
                  </a:lnTo>
                  <a:lnTo>
                    <a:pt x="1226" y="579"/>
                  </a:lnTo>
                  <a:lnTo>
                    <a:pt x="1228" y="578"/>
                  </a:lnTo>
                  <a:lnTo>
                    <a:pt x="1229" y="573"/>
                  </a:lnTo>
                  <a:lnTo>
                    <a:pt x="1229" y="569"/>
                  </a:lnTo>
                  <a:lnTo>
                    <a:pt x="1229" y="563"/>
                  </a:lnTo>
                  <a:lnTo>
                    <a:pt x="1229" y="563"/>
                  </a:lnTo>
                  <a:lnTo>
                    <a:pt x="1228" y="560"/>
                  </a:lnTo>
                  <a:lnTo>
                    <a:pt x="1225" y="557"/>
                  </a:lnTo>
                  <a:lnTo>
                    <a:pt x="1218" y="550"/>
                  </a:lnTo>
                  <a:lnTo>
                    <a:pt x="1218" y="550"/>
                  </a:lnTo>
                  <a:lnTo>
                    <a:pt x="1215" y="545"/>
                  </a:lnTo>
                  <a:lnTo>
                    <a:pt x="1213" y="541"/>
                  </a:lnTo>
                  <a:lnTo>
                    <a:pt x="1210" y="532"/>
                  </a:lnTo>
                  <a:lnTo>
                    <a:pt x="1210" y="532"/>
                  </a:lnTo>
                  <a:lnTo>
                    <a:pt x="1209" y="528"/>
                  </a:lnTo>
                  <a:lnTo>
                    <a:pt x="1206" y="525"/>
                  </a:lnTo>
                  <a:lnTo>
                    <a:pt x="1204" y="525"/>
                  </a:lnTo>
                  <a:lnTo>
                    <a:pt x="1201" y="526"/>
                  </a:lnTo>
                  <a:lnTo>
                    <a:pt x="1201" y="526"/>
                  </a:lnTo>
                  <a:lnTo>
                    <a:pt x="1200" y="528"/>
                  </a:lnTo>
                  <a:lnTo>
                    <a:pt x="1198" y="531"/>
                  </a:lnTo>
                  <a:lnTo>
                    <a:pt x="1198" y="536"/>
                  </a:lnTo>
                  <a:lnTo>
                    <a:pt x="1198" y="542"/>
                  </a:lnTo>
                  <a:lnTo>
                    <a:pt x="1198" y="547"/>
                  </a:lnTo>
                  <a:lnTo>
                    <a:pt x="1198" y="547"/>
                  </a:lnTo>
                  <a:lnTo>
                    <a:pt x="1197" y="547"/>
                  </a:lnTo>
                  <a:lnTo>
                    <a:pt x="1195" y="547"/>
                  </a:lnTo>
                  <a:lnTo>
                    <a:pt x="1192" y="544"/>
                  </a:lnTo>
                  <a:lnTo>
                    <a:pt x="1188" y="533"/>
                  </a:lnTo>
                  <a:lnTo>
                    <a:pt x="1188" y="533"/>
                  </a:lnTo>
                  <a:lnTo>
                    <a:pt x="1185" y="528"/>
                  </a:lnTo>
                  <a:lnTo>
                    <a:pt x="1178" y="519"/>
                  </a:lnTo>
                  <a:lnTo>
                    <a:pt x="1166" y="505"/>
                  </a:lnTo>
                  <a:lnTo>
                    <a:pt x="1166" y="505"/>
                  </a:lnTo>
                  <a:lnTo>
                    <a:pt x="1161" y="502"/>
                  </a:lnTo>
                  <a:lnTo>
                    <a:pt x="1154" y="498"/>
                  </a:lnTo>
                  <a:lnTo>
                    <a:pt x="1139" y="491"/>
                  </a:lnTo>
                  <a:lnTo>
                    <a:pt x="1139" y="491"/>
                  </a:lnTo>
                  <a:lnTo>
                    <a:pt x="1129" y="489"/>
                  </a:lnTo>
                  <a:lnTo>
                    <a:pt x="1112" y="489"/>
                  </a:lnTo>
                  <a:lnTo>
                    <a:pt x="1084" y="489"/>
                  </a:lnTo>
                  <a:lnTo>
                    <a:pt x="1084" y="489"/>
                  </a:lnTo>
                  <a:lnTo>
                    <a:pt x="1080" y="489"/>
                  </a:lnTo>
                  <a:lnTo>
                    <a:pt x="1075" y="491"/>
                  </a:lnTo>
                  <a:lnTo>
                    <a:pt x="1066" y="495"/>
                  </a:lnTo>
                  <a:lnTo>
                    <a:pt x="1066" y="495"/>
                  </a:lnTo>
                  <a:lnTo>
                    <a:pt x="1064" y="498"/>
                  </a:lnTo>
                  <a:lnTo>
                    <a:pt x="1064" y="502"/>
                  </a:lnTo>
                  <a:lnTo>
                    <a:pt x="1064" y="505"/>
                  </a:lnTo>
                  <a:lnTo>
                    <a:pt x="1065" y="510"/>
                  </a:lnTo>
                  <a:lnTo>
                    <a:pt x="1065" y="510"/>
                  </a:lnTo>
                  <a:lnTo>
                    <a:pt x="1066" y="514"/>
                  </a:lnTo>
                  <a:lnTo>
                    <a:pt x="1066" y="517"/>
                  </a:lnTo>
                  <a:lnTo>
                    <a:pt x="1065" y="522"/>
                  </a:lnTo>
                  <a:lnTo>
                    <a:pt x="1065" y="522"/>
                  </a:lnTo>
                  <a:lnTo>
                    <a:pt x="1062" y="525"/>
                  </a:lnTo>
                  <a:lnTo>
                    <a:pt x="1056" y="526"/>
                  </a:lnTo>
                  <a:lnTo>
                    <a:pt x="1046" y="528"/>
                  </a:lnTo>
                  <a:lnTo>
                    <a:pt x="1046" y="528"/>
                  </a:lnTo>
                  <a:lnTo>
                    <a:pt x="1034" y="528"/>
                  </a:lnTo>
                  <a:lnTo>
                    <a:pt x="1028" y="526"/>
                  </a:lnTo>
                  <a:lnTo>
                    <a:pt x="1022" y="523"/>
                  </a:lnTo>
                  <a:lnTo>
                    <a:pt x="1022" y="523"/>
                  </a:lnTo>
                  <a:lnTo>
                    <a:pt x="1021" y="520"/>
                  </a:lnTo>
                  <a:lnTo>
                    <a:pt x="1021" y="516"/>
                  </a:lnTo>
                  <a:lnTo>
                    <a:pt x="1022" y="513"/>
                  </a:lnTo>
                  <a:lnTo>
                    <a:pt x="1026" y="508"/>
                  </a:lnTo>
                  <a:lnTo>
                    <a:pt x="1026" y="508"/>
                  </a:lnTo>
                  <a:lnTo>
                    <a:pt x="1035" y="498"/>
                  </a:lnTo>
                  <a:lnTo>
                    <a:pt x="1038" y="493"/>
                  </a:lnTo>
                  <a:lnTo>
                    <a:pt x="1040" y="489"/>
                  </a:lnTo>
                  <a:lnTo>
                    <a:pt x="1040" y="489"/>
                  </a:lnTo>
                  <a:lnTo>
                    <a:pt x="1040" y="485"/>
                  </a:lnTo>
                  <a:lnTo>
                    <a:pt x="1037" y="480"/>
                  </a:lnTo>
                  <a:lnTo>
                    <a:pt x="1032" y="476"/>
                  </a:lnTo>
                  <a:lnTo>
                    <a:pt x="1025" y="471"/>
                  </a:lnTo>
                  <a:lnTo>
                    <a:pt x="1025" y="471"/>
                  </a:lnTo>
                  <a:lnTo>
                    <a:pt x="1015" y="470"/>
                  </a:lnTo>
                  <a:lnTo>
                    <a:pt x="1001" y="470"/>
                  </a:lnTo>
                  <a:lnTo>
                    <a:pt x="979" y="470"/>
                  </a:lnTo>
                  <a:lnTo>
                    <a:pt x="979" y="470"/>
                  </a:lnTo>
                  <a:lnTo>
                    <a:pt x="975" y="470"/>
                  </a:lnTo>
                  <a:lnTo>
                    <a:pt x="970" y="468"/>
                  </a:lnTo>
                  <a:lnTo>
                    <a:pt x="969" y="467"/>
                  </a:lnTo>
                  <a:lnTo>
                    <a:pt x="967" y="464"/>
                  </a:lnTo>
                  <a:lnTo>
                    <a:pt x="967" y="464"/>
                  </a:lnTo>
                  <a:lnTo>
                    <a:pt x="967" y="461"/>
                  </a:lnTo>
                  <a:lnTo>
                    <a:pt x="969" y="459"/>
                  </a:lnTo>
                  <a:lnTo>
                    <a:pt x="978" y="458"/>
                  </a:lnTo>
                  <a:lnTo>
                    <a:pt x="978" y="458"/>
                  </a:lnTo>
                  <a:lnTo>
                    <a:pt x="982" y="455"/>
                  </a:lnTo>
                  <a:lnTo>
                    <a:pt x="985" y="452"/>
                  </a:lnTo>
                  <a:lnTo>
                    <a:pt x="992" y="445"/>
                  </a:lnTo>
                  <a:lnTo>
                    <a:pt x="992" y="445"/>
                  </a:lnTo>
                  <a:lnTo>
                    <a:pt x="995" y="439"/>
                  </a:lnTo>
                  <a:lnTo>
                    <a:pt x="998" y="431"/>
                  </a:lnTo>
                  <a:lnTo>
                    <a:pt x="1001" y="424"/>
                  </a:lnTo>
                  <a:lnTo>
                    <a:pt x="1001" y="418"/>
                  </a:lnTo>
                  <a:lnTo>
                    <a:pt x="1001" y="418"/>
                  </a:lnTo>
                  <a:lnTo>
                    <a:pt x="1000" y="414"/>
                  </a:lnTo>
                  <a:lnTo>
                    <a:pt x="997" y="411"/>
                  </a:lnTo>
                  <a:lnTo>
                    <a:pt x="992" y="409"/>
                  </a:lnTo>
                  <a:lnTo>
                    <a:pt x="988" y="408"/>
                  </a:lnTo>
                  <a:lnTo>
                    <a:pt x="988" y="408"/>
                  </a:lnTo>
                  <a:lnTo>
                    <a:pt x="978" y="408"/>
                  </a:lnTo>
                  <a:lnTo>
                    <a:pt x="967" y="405"/>
                  </a:lnTo>
                  <a:lnTo>
                    <a:pt x="967" y="405"/>
                  </a:lnTo>
                  <a:lnTo>
                    <a:pt x="957" y="399"/>
                  </a:lnTo>
                  <a:lnTo>
                    <a:pt x="954" y="397"/>
                  </a:lnTo>
                  <a:lnTo>
                    <a:pt x="948" y="396"/>
                  </a:lnTo>
                  <a:lnTo>
                    <a:pt x="948" y="396"/>
                  </a:lnTo>
                  <a:lnTo>
                    <a:pt x="945" y="397"/>
                  </a:lnTo>
                  <a:lnTo>
                    <a:pt x="941" y="402"/>
                  </a:lnTo>
                  <a:lnTo>
                    <a:pt x="935" y="411"/>
                  </a:lnTo>
                  <a:lnTo>
                    <a:pt x="935" y="411"/>
                  </a:lnTo>
                  <a:lnTo>
                    <a:pt x="895" y="449"/>
                  </a:lnTo>
                  <a:lnTo>
                    <a:pt x="895" y="449"/>
                  </a:lnTo>
                  <a:lnTo>
                    <a:pt x="886" y="461"/>
                  </a:lnTo>
                  <a:lnTo>
                    <a:pt x="875" y="476"/>
                  </a:lnTo>
                  <a:lnTo>
                    <a:pt x="875" y="476"/>
                  </a:lnTo>
                  <a:lnTo>
                    <a:pt x="874" y="480"/>
                  </a:lnTo>
                  <a:lnTo>
                    <a:pt x="874" y="486"/>
                  </a:lnTo>
                  <a:lnTo>
                    <a:pt x="874" y="504"/>
                  </a:lnTo>
                  <a:lnTo>
                    <a:pt x="875" y="526"/>
                  </a:lnTo>
                  <a:lnTo>
                    <a:pt x="875" y="526"/>
                  </a:lnTo>
                  <a:lnTo>
                    <a:pt x="878" y="529"/>
                  </a:lnTo>
                  <a:lnTo>
                    <a:pt x="887" y="538"/>
                  </a:lnTo>
                  <a:lnTo>
                    <a:pt x="887" y="538"/>
                  </a:lnTo>
                  <a:lnTo>
                    <a:pt x="893" y="541"/>
                  </a:lnTo>
                  <a:lnTo>
                    <a:pt x="901" y="542"/>
                  </a:lnTo>
                  <a:lnTo>
                    <a:pt x="912" y="544"/>
                  </a:lnTo>
                  <a:lnTo>
                    <a:pt x="912" y="544"/>
                  </a:lnTo>
                  <a:lnTo>
                    <a:pt x="915" y="545"/>
                  </a:lnTo>
                  <a:lnTo>
                    <a:pt x="915" y="547"/>
                  </a:lnTo>
                  <a:lnTo>
                    <a:pt x="915" y="553"/>
                  </a:lnTo>
                  <a:lnTo>
                    <a:pt x="915" y="553"/>
                  </a:lnTo>
                  <a:lnTo>
                    <a:pt x="905" y="554"/>
                  </a:lnTo>
                  <a:lnTo>
                    <a:pt x="898" y="553"/>
                  </a:lnTo>
                  <a:lnTo>
                    <a:pt x="889" y="551"/>
                  </a:lnTo>
                  <a:lnTo>
                    <a:pt x="889" y="551"/>
                  </a:lnTo>
                  <a:lnTo>
                    <a:pt x="881" y="548"/>
                  </a:lnTo>
                  <a:lnTo>
                    <a:pt x="874" y="544"/>
                  </a:lnTo>
                  <a:lnTo>
                    <a:pt x="861" y="536"/>
                  </a:lnTo>
                  <a:lnTo>
                    <a:pt x="861" y="536"/>
                  </a:lnTo>
                  <a:lnTo>
                    <a:pt x="855" y="536"/>
                  </a:lnTo>
                  <a:lnTo>
                    <a:pt x="847" y="538"/>
                  </a:lnTo>
                  <a:lnTo>
                    <a:pt x="833" y="541"/>
                  </a:lnTo>
                  <a:lnTo>
                    <a:pt x="833" y="541"/>
                  </a:lnTo>
                  <a:lnTo>
                    <a:pt x="828" y="542"/>
                  </a:lnTo>
                  <a:lnTo>
                    <a:pt x="824" y="545"/>
                  </a:lnTo>
                  <a:lnTo>
                    <a:pt x="822" y="547"/>
                  </a:lnTo>
                  <a:lnTo>
                    <a:pt x="822" y="550"/>
                  </a:lnTo>
                  <a:lnTo>
                    <a:pt x="822" y="550"/>
                  </a:lnTo>
                  <a:lnTo>
                    <a:pt x="822" y="553"/>
                  </a:lnTo>
                  <a:lnTo>
                    <a:pt x="825" y="556"/>
                  </a:lnTo>
                  <a:lnTo>
                    <a:pt x="834" y="562"/>
                  </a:lnTo>
                  <a:lnTo>
                    <a:pt x="834" y="562"/>
                  </a:lnTo>
                  <a:lnTo>
                    <a:pt x="840" y="566"/>
                  </a:lnTo>
                  <a:lnTo>
                    <a:pt x="844" y="573"/>
                  </a:lnTo>
                  <a:lnTo>
                    <a:pt x="847" y="581"/>
                  </a:lnTo>
                  <a:lnTo>
                    <a:pt x="849" y="585"/>
                  </a:lnTo>
                  <a:lnTo>
                    <a:pt x="849" y="585"/>
                  </a:lnTo>
                  <a:lnTo>
                    <a:pt x="849" y="588"/>
                  </a:lnTo>
                  <a:lnTo>
                    <a:pt x="846" y="590"/>
                  </a:lnTo>
                  <a:lnTo>
                    <a:pt x="843" y="588"/>
                  </a:lnTo>
                  <a:lnTo>
                    <a:pt x="838" y="587"/>
                  </a:lnTo>
                  <a:lnTo>
                    <a:pt x="838" y="587"/>
                  </a:lnTo>
                  <a:lnTo>
                    <a:pt x="834" y="582"/>
                  </a:lnTo>
                  <a:lnTo>
                    <a:pt x="831" y="578"/>
                  </a:lnTo>
                  <a:lnTo>
                    <a:pt x="827" y="572"/>
                  </a:lnTo>
                  <a:lnTo>
                    <a:pt x="822" y="568"/>
                  </a:lnTo>
                  <a:lnTo>
                    <a:pt x="822" y="568"/>
                  </a:lnTo>
                  <a:lnTo>
                    <a:pt x="819" y="565"/>
                  </a:lnTo>
                  <a:lnTo>
                    <a:pt x="816" y="565"/>
                  </a:lnTo>
                  <a:lnTo>
                    <a:pt x="812" y="569"/>
                  </a:lnTo>
                  <a:lnTo>
                    <a:pt x="812" y="569"/>
                  </a:lnTo>
                  <a:lnTo>
                    <a:pt x="797" y="581"/>
                  </a:lnTo>
                  <a:lnTo>
                    <a:pt x="788" y="588"/>
                  </a:lnTo>
                  <a:lnTo>
                    <a:pt x="781" y="593"/>
                  </a:lnTo>
                  <a:lnTo>
                    <a:pt x="781" y="593"/>
                  </a:lnTo>
                  <a:lnTo>
                    <a:pt x="773" y="594"/>
                  </a:lnTo>
                  <a:lnTo>
                    <a:pt x="760" y="596"/>
                  </a:lnTo>
                  <a:lnTo>
                    <a:pt x="748" y="597"/>
                  </a:lnTo>
                  <a:lnTo>
                    <a:pt x="739" y="597"/>
                  </a:lnTo>
                  <a:lnTo>
                    <a:pt x="739" y="597"/>
                  </a:lnTo>
                  <a:lnTo>
                    <a:pt x="738" y="596"/>
                  </a:lnTo>
                  <a:lnTo>
                    <a:pt x="736" y="594"/>
                  </a:lnTo>
                  <a:lnTo>
                    <a:pt x="738" y="591"/>
                  </a:lnTo>
                  <a:lnTo>
                    <a:pt x="742" y="585"/>
                  </a:lnTo>
                  <a:lnTo>
                    <a:pt x="742" y="585"/>
                  </a:lnTo>
                  <a:lnTo>
                    <a:pt x="742" y="581"/>
                  </a:lnTo>
                  <a:lnTo>
                    <a:pt x="739" y="573"/>
                  </a:lnTo>
                  <a:lnTo>
                    <a:pt x="739" y="573"/>
                  </a:lnTo>
                  <a:lnTo>
                    <a:pt x="736" y="570"/>
                  </a:lnTo>
                  <a:lnTo>
                    <a:pt x="732" y="570"/>
                  </a:lnTo>
                  <a:lnTo>
                    <a:pt x="723" y="569"/>
                  </a:lnTo>
                  <a:lnTo>
                    <a:pt x="723" y="569"/>
                  </a:lnTo>
                  <a:lnTo>
                    <a:pt x="701" y="566"/>
                  </a:lnTo>
                  <a:lnTo>
                    <a:pt x="676" y="566"/>
                  </a:lnTo>
                  <a:lnTo>
                    <a:pt x="676" y="566"/>
                  </a:lnTo>
                  <a:lnTo>
                    <a:pt x="673" y="566"/>
                  </a:lnTo>
                  <a:lnTo>
                    <a:pt x="670" y="568"/>
                  </a:lnTo>
                  <a:lnTo>
                    <a:pt x="665" y="570"/>
                  </a:lnTo>
                  <a:lnTo>
                    <a:pt x="662" y="576"/>
                  </a:lnTo>
                  <a:lnTo>
                    <a:pt x="662" y="581"/>
                  </a:lnTo>
                  <a:lnTo>
                    <a:pt x="662" y="581"/>
                  </a:lnTo>
                  <a:lnTo>
                    <a:pt x="665" y="584"/>
                  </a:lnTo>
                  <a:lnTo>
                    <a:pt x="671" y="585"/>
                  </a:lnTo>
                  <a:lnTo>
                    <a:pt x="677" y="587"/>
                  </a:lnTo>
                  <a:lnTo>
                    <a:pt x="683" y="590"/>
                  </a:lnTo>
                  <a:lnTo>
                    <a:pt x="683" y="590"/>
                  </a:lnTo>
                  <a:lnTo>
                    <a:pt x="684" y="593"/>
                  </a:lnTo>
                  <a:lnTo>
                    <a:pt x="684" y="594"/>
                  </a:lnTo>
                  <a:lnTo>
                    <a:pt x="677" y="597"/>
                  </a:lnTo>
                  <a:lnTo>
                    <a:pt x="677" y="597"/>
                  </a:lnTo>
                  <a:lnTo>
                    <a:pt x="673" y="600"/>
                  </a:lnTo>
                  <a:lnTo>
                    <a:pt x="665" y="602"/>
                  </a:lnTo>
                  <a:lnTo>
                    <a:pt x="652" y="603"/>
                  </a:lnTo>
                  <a:lnTo>
                    <a:pt x="652" y="603"/>
                  </a:lnTo>
                  <a:lnTo>
                    <a:pt x="600" y="612"/>
                  </a:lnTo>
                  <a:lnTo>
                    <a:pt x="600" y="612"/>
                  </a:lnTo>
                  <a:lnTo>
                    <a:pt x="584" y="616"/>
                  </a:lnTo>
                  <a:lnTo>
                    <a:pt x="566" y="622"/>
                  </a:lnTo>
                  <a:lnTo>
                    <a:pt x="566" y="622"/>
                  </a:lnTo>
                  <a:lnTo>
                    <a:pt x="539" y="634"/>
                  </a:lnTo>
                  <a:lnTo>
                    <a:pt x="517" y="646"/>
                  </a:lnTo>
                  <a:lnTo>
                    <a:pt x="517" y="646"/>
                  </a:lnTo>
                  <a:lnTo>
                    <a:pt x="505" y="649"/>
                  </a:lnTo>
                  <a:lnTo>
                    <a:pt x="490" y="652"/>
                  </a:lnTo>
                  <a:lnTo>
                    <a:pt x="490" y="652"/>
                  </a:lnTo>
                  <a:lnTo>
                    <a:pt x="486" y="653"/>
                  </a:lnTo>
                  <a:lnTo>
                    <a:pt x="483" y="658"/>
                  </a:lnTo>
                  <a:lnTo>
                    <a:pt x="480" y="665"/>
                  </a:lnTo>
                  <a:lnTo>
                    <a:pt x="480" y="665"/>
                  </a:lnTo>
                  <a:lnTo>
                    <a:pt x="477" y="676"/>
                  </a:lnTo>
                  <a:lnTo>
                    <a:pt x="473" y="685"/>
                  </a:lnTo>
                  <a:lnTo>
                    <a:pt x="473" y="685"/>
                  </a:lnTo>
                  <a:lnTo>
                    <a:pt x="470" y="687"/>
                  </a:lnTo>
                  <a:lnTo>
                    <a:pt x="465" y="690"/>
                  </a:lnTo>
                  <a:lnTo>
                    <a:pt x="462" y="690"/>
                  </a:lnTo>
                  <a:lnTo>
                    <a:pt x="458" y="692"/>
                  </a:lnTo>
                  <a:lnTo>
                    <a:pt x="458" y="692"/>
                  </a:lnTo>
                  <a:lnTo>
                    <a:pt x="453" y="689"/>
                  </a:lnTo>
                  <a:lnTo>
                    <a:pt x="449" y="685"/>
                  </a:lnTo>
                  <a:lnTo>
                    <a:pt x="446" y="680"/>
                  </a:lnTo>
                  <a:lnTo>
                    <a:pt x="443" y="679"/>
                  </a:lnTo>
                  <a:lnTo>
                    <a:pt x="443" y="679"/>
                  </a:lnTo>
                  <a:lnTo>
                    <a:pt x="442" y="679"/>
                  </a:lnTo>
                  <a:lnTo>
                    <a:pt x="440" y="680"/>
                  </a:lnTo>
                  <a:lnTo>
                    <a:pt x="439" y="685"/>
                  </a:lnTo>
                  <a:lnTo>
                    <a:pt x="436" y="695"/>
                  </a:lnTo>
                  <a:lnTo>
                    <a:pt x="436" y="695"/>
                  </a:lnTo>
                  <a:lnTo>
                    <a:pt x="437" y="699"/>
                  </a:lnTo>
                  <a:lnTo>
                    <a:pt x="440" y="701"/>
                  </a:lnTo>
                  <a:lnTo>
                    <a:pt x="448" y="705"/>
                  </a:lnTo>
                  <a:lnTo>
                    <a:pt x="448" y="705"/>
                  </a:lnTo>
                  <a:lnTo>
                    <a:pt x="453" y="710"/>
                  </a:lnTo>
                  <a:lnTo>
                    <a:pt x="458" y="714"/>
                  </a:lnTo>
                  <a:lnTo>
                    <a:pt x="467" y="723"/>
                  </a:lnTo>
                  <a:lnTo>
                    <a:pt x="467" y="723"/>
                  </a:lnTo>
                  <a:lnTo>
                    <a:pt x="467" y="726"/>
                  </a:lnTo>
                  <a:lnTo>
                    <a:pt x="467" y="729"/>
                  </a:lnTo>
                  <a:lnTo>
                    <a:pt x="464" y="730"/>
                  </a:lnTo>
                  <a:lnTo>
                    <a:pt x="459" y="732"/>
                  </a:lnTo>
                  <a:lnTo>
                    <a:pt x="459" y="732"/>
                  </a:lnTo>
                  <a:lnTo>
                    <a:pt x="455" y="730"/>
                  </a:lnTo>
                  <a:lnTo>
                    <a:pt x="450" y="726"/>
                  </a:lnTo>
                  <a:lnTo>
                    <a:pt x="446" y="723"/>
                  </a:lnTo>
                  <a:lnTo>
                    <a:pt x="442" y="720"/>
                  </a:lnTo>
                  <a:lnTo>
                    <a:pt x="442" y="720"/>
                  </a:lnTo>
                  <a:lnTo>
                    <a:pt x="436" y="719"/>
                  </a:lnTo>
                  <a:lnTo>
                    <a:pt x="433" y="720"/>
                  </a:lnTo>
                  <a:lnTo>
                    <a:pt x="431" y="723"/>
                  </a:lnTo>
                  <a:lnTo>
                    <a:pt x="430" y="726"/>
                  </a:lnTo>
                  <a:lnTo>
                    <a:pt x="430" y="726"/>
                  </a:lnTo>
                  <a:lnTo>
                    <a:pt x="431" y="730"/>
                  </a:lnTo>
                  <a:lnTo>
                    <a:pt x="434" y="735"/>
                  </a:lnTo>
                  <a:lnTo>
                    <a:pt x="439" y="739"/>
                  </a:lnTo>
                  <a:lnTo>
                    <a:pt x="445" y="742"/>
                  </a:lnTo>
                  <a:lnTo>
                    <a:pt x="445" y="742"/>
                  </a:lnTo>
                  <a:lnTo>
                    <a:pt x="448" y="745"/>
                  </a:lnTo>
                  <a:lnTo>
                    <a:pt x="450" y="748"/>
                  </a:lnTo>
                  <a:lnTo>
                    <a:pt x="453" y="756"/>
                  </a:lnTo>
                  <a:lnTo>
                    <a:pt x="456" y="765"/>
                  </a:lnTo>
                  <a:lnTo>
                    <a:pt x="458" y="770"/>
                  </a:lnTo>
                  <a:lnTo>
                    <a:pt x="458" y="770"/>
                  </a:lnTo>
                  <a:lnTo>
                    <a:pt x="456" y="779"/>
                  </a:lnTo>
                  <a:lnTo>
                    <a:pt x="452" y="787"/>
                  </a:lnTo>
                  <a:lnTo>
                    <a:pt x="452" y="787"/>
                  </a:lnTo>
                  <a:lnTo>
                    <a:pt x="449" y="788"/>
                  </a:lnTo>
                  <a:lnTo>
                    <a:pt x="443" y="788"/>
                  </a:lnTo>
                  <a:lnTo>
                    <a:pt x="430" y="784"/>
                  </a:lnTo>
                  <a:lnTo>
                    <a:pt x="430" y="784"/>
                  </a:lnTo>
                  <a:lnTo>
                    <a:pt x="424" y="784"/>
                  </a:lnTo>
                  <a:lnTo>
                    <a:pt x="419" y="785"/>
                  </a:lnTo>
                  <a:lnTo>
                    <a:pt x="410" y="788"/>
                  </a:lnTo>
                  <a:lnTo>
                    <a:pt x="410" y="788"/>
                  </a:lnTo>
                  <a:lnTo>
                    <a:pt x="400" y="793"/>
                  </a:lnTo>
                  <a:lnTo>
                    <a:pt x="394" y="793"/>
                  </a:lnTo>
                  <a:lnTo>
                    <a:pt x="388" y="794"/>
                  </a:lnTo>
                  <a:lnTo>
                    <a:pt x="388" y="794"/>
                  </a:lnTo>
                  <a:lnTo>
                    <a:pt x="382" y="791"/>
                  </a:lnTo>
                  <a:lnTo>
                    <a:pt x="376" y="788"/>
                  </a:lnTo>
                  <a:lnTo>
                    <a:pt x="371" y="787"/>
                  </a:lnTo>
                  <a:lnTo>
                    <a:pt x="366" y="785"/>
                  </a:lnTo>
                  <a:lnTo>
                    <a:pt x="366" y="785"/>
                  </a:lnTo>
                  <a:lnTo>
                    <a:pt x="341" y="785"/>
                  </a:lnTo>
                  <a:lnTo>
                    <a:pt x="328" y="785"/>
                  </a:lnTo>
                  <a:lnTo>
                    <a:pt x="319" y="785"/>
                  </a:lnTo>
                  <a:lnTo>
                    <a:pt x="319" y="785"/>
                  </a:lnTo>
                  <a:lnTo>
                    <a:pt x="313" y="784"/>
                  </a:lnTo>
                  <a:lnTo>
                    <a:pt x="305" y="779"/>
                  </a:lnTo>
                  <a:lnTo>
                    <a:pt x="291" y="770"/>
                  </a:lnTo>
                  <a:lnTo>
                    <a:pt x="291" y="770"/>
                  </a:lnTo>
                  <a:lnTo>
                    <a:pt x="282" y="767"/>
                  </a:lnTo>
                  <a:lnTo>
                    <a:pt x="271" y="766"/>
                  </a:lnTo>
                  <a:lnTo>
                    <a:pt x="252" y="766"/>
                  </a:lnTo>
                  <a:lnTo>
                    <a:pt x="252" y="766"/>
                  </a:lnTo>
                  <a:lnTo>
                    <a:pt x="249" y="766"/>
                  </a:lnTo>
                  <a:lnTo>
                    <a:pt x="246" y="767"/>
                  </a:lnTo>
                  <a:lnTo>
                    <a:pt x="242" y="772"/>
                  </a:lnTo>
                  <a:lnTo>
                    <a:pt x="233" y="784"/>
                  </a:lnTo>
                  <a:lnTo>
                    <a:pt x="233" y="784"/>
                  </a:lnTo>
                  <a:lnTo>
                    <a:pt x="231" y="787"/>
                  </a:lnTo>
                  <a:lnTo>
                    <a:pt x="231" y="791"/>
                  </a:lnTo>
                  <a:lnTo>
                    <a:pt x="231" y="802"/>
                  </a:lnTo>
                  <a:lnTo>
                    <a:pt x="233" y="818"/>
                  </a:lnTo>
                  <a:lnTo>
                    <a:pt x="233" y="818"/>
                  </a:lnTo>
                  <a:lnTo>
                    <a:pt x="231" y="824"/>
                  </a:lnTo>
                  <a:lnTo>
                    <a:pt x="228" y="831"/>
                  </a:lnTo>
                  <a:lnTo>
                    <a:pt x="224" y="846"/>
                  </a:lnTo>
                  <a:lnTo>
                    <a:pt x="224" y="846"/>
                  </a:lnTo>
                  <a:lnTo>
                    <a:pt x="222" y="861"/>
                  </a:lnTo>
                  <a:lnTo>
                    <a:pt x="222" y="871"/>
                  </a:lnTo>
                  <a:lnTo>
                    <a:pt x="222" y="880"/>
                  </a:lnTo>
                  <a:lnTo>
                    <a:pt x="222" y="880"/>
                  </a:lnTo>
                  <a:lnTo>
                    <a:pt x="224" y="884"/>
                  </a:lnTo>
                  <a:lnTo>
                    <a:pt x="227" y="887"/>
                  </a:lnTo>
                  <a:lnTo>
                    <a:pt x="234" y="893"/>
                  </a:lnTo>
                  <a:lnTo>
                    <a:pt x="249" y="902"/>
                  </a:lnTo>
                  <a:lnTo>
                    <a:pt x="249" y="902"/>
                  </a:lnTo>
                  <a:lnTo>
                    <a:pt x="254" y="907"/>
                  </a:lnTo>
                  <a:lnTo>
                    <a:pt x="255" y="911"/>
                  </a:lnTo>
                  <a:lnTo>
                    <a:pt x="254" y="923"/>
                  </a:lnTo>
                  <a:lnTo>
                    <a:pt x="254" y="923"/>
                  </a:lnTo>
                  <a:lnTo>
                    <a:pt x="254" y="929"/>
                  </a:lnTo>
                  <a:lnTo>
                    <a:pt x="255" y="936"/>
                  </a:lnTo>
                  <a:lnTo>
                    <a:pt x="258" y="948"/>
                  </a:lnTo>
                  <a:lnTo>
                    <a:pt x="258" y="948"/>
                  </a:lnTo>
                  <a:lnTo>
                    <a:pt x="261" y="953"/>
                  </a:lnTo>
                  <a:lnTo>
                    <a:pt x="267" y="957"/>
                  </a:lnTo>
                  <a:lnTo>
                    <a:pt x="274" y="961"/>
                  </a:lnTo>
                  <a:lnTo>
                    <a:pt x="280" y="967"/>
                  </a:lnTo>
                  <a:lnTo>
                    <a:pt x="280" y="967"/>
                  </a:lnTo>
                  <a:lnTo>
                    <a:pt x="285" y="973"/>
                  </a:lnTo>
                  <a:lnTo>
                    <a:pt x="286" y="982"/>
                  </a:lnTo>
                  <a:lnTo>
                    <a:pt x="286" y="990"/>
                  </a:lnTo>
                  <a:lnTo>
                    <a:pt x="285" y="996"/>
                  </a:lnTo>
                  <a:lnTo>
                    <a:pt x="285" y="996"/>
                  </a:lnTo>
                  <a:lnTo>
                    <a:pt x="282" y="1001"/>
                  </a:lnTo>
                  <a:lnTo>
                    <a:pt x="276" y="1010"/>
                  </a:lnTo>
                  <a:lnTo>
                    <a:pt x="268" y="1019"/>
                  </a:lnTo>
                  <a:lnTo>
                    <a:pt x="262" y="1025"/>
                  </a:lnTo>
                  <a:lnTo>
                    <a:pt x="262" y="1025"/>
                  </a:lnTo>
                  <a:lnTo>
                    <a:pt x="256" y="1031"/>
                  </a:lnTo>
                  <a:lnTo>
                    <a:pt x="255" y="1037"/>
                  </a:lnTo>
                  <a:lnTo>
                    <a:pt x="255" y="1049"/>
                  </a:lnTo>
                  <a:lnTo>
                    <a:pt x="255" y="1049"/>
                  </a:lnTo>
                  <a:lnTo>
                    <a:pt x="255" y="1056"/>
                  </a:lnTo>
                  <a:lnTo>
                    <a:pt x="255" y="1065"/>
                  </a:lnTo>
                  <a:lnTo>
                    <a:pt x="256" y="1076"/>
                  </a:lnTo>
                  <a:lnTo>
                    <a:pt x="259" y="1083"/>
                  </a:lnTo>
                  <a:lnTo>
                    <a:pt x="259" y="1083"/>
                  </a:lnTo>
                  <a:lnTo>
                    <a:pt x="261" y="1090"/>
                  </a:lnTo>
                  <a:lnTo>
                    <a:pt x="261" y="1102"/>
                  </a:lnTo>
                  <a:lnTo>
                    <a:pt x="259" y="1118"/>
                  </a:lnTo>
                  <a:lnTo>
                    <a:pt x="259" y="1118"/>
                  </a:lnTo>
                  <a:lnTo>
                    <a:pt x="256" y="1123"/>
                  </a:lnTo>
                  <a:lnTo>
                    <a:pt x="251" y="1127"/>
                  </a:lnTo>
                  <a:lnTo>
                    <a:pt x="237" y="1133"/>
                  </a:lnTo>
                  <a:lnTo>
                    <a:pt x="237" y="1133"/>
                  </a:lnTo>
                  <a:lnTo>
                    <a:pt x="234" y="1136"/>
                  </a:lnTo>
                  <a:lnTo>
                    <a:pt x="231" y="1138"/>
                  </a:lnTo>
                  <a:lnTo>
                    <a:pt x="228" y="1144"/>
                  </a:lnTo>
                  <a:lnTo>
                    <a:pt x="227" y="1148"/>
                  </a:lnTo>
                  <a:lnTo>
                    <a:pt x="225" y="1153"/>
                  </a:lnTo>
                  <a:lnTo>
                    <a:pt x="225" y="1153"/>
                  </a:lnTo>
                  <a:lnTo>
                    <a:pt x="221" y="1155"/>
                  </a:lnTo>
                  <a:lnTo>
                    <a:pt x="217" y="1155"/>
                  </a:lnTo>
                  <a:lnTo>
                    <a:pt x="211" y="1154"/>
                  </a:lnTo>
                  <a:lnTo>
                    <a:pt x="206" y="1153"/>
                  </a:lnTo>
                  <a:lnTo>
                    <a:pt x="206" y="1153"/>
                  </a:lnTo>
                  <a:lnTo>
                    <a:pt x="203" y="1148"/>
                  </a:lnTo>
                  <a:lnTo>
                    <a:pt x="203" y="1145"/>
                  </a:lnTo>
                  <a:lnTo>
                    <a:pt x="206" y="1138"/>
                  </a:lnTo>
                  <a:lnTo>
                    <a:pt x="206" y="1138"/>
                  </a:lnTo>
                  <a:lnTo>
                    <a:pt x="208" y="1133"/>
                  </a:lnTo>
                  <a:lnTo>
                    <a:pt x="212" y="1132"/>
                  </a:lnTo>
                  <a:lnTo>
                    <a:pt x="219" y="1127"/>
                  </a:lnTo>
                  <a:lnTo>
                    <a:pt x="219" y="1127"/>
                  </a:lnTo>
                  <a:lnTo>
                    <a:pt x="246" y="1108"/>
                  </a:lnTo>
                  <a:lnTo>
                    <a:pt x="246" y="1108"/>
                  </a:lnTo>
                  <a:lnTo>
                    <a:pt x="249" y="1107"/>
                  </a:lnTo>
                  <a:lnTo>
                    <a:pt x="249" y="1104"/>
                  </a:lnTo>
                  <a:lnTo>
                    <a:pt x="249" y="1098"/>
                  </a:lnTo>
                  <a:lnTo>
                    <a:pt x="245" y="1081"/>
                  </a:lnTo>
                  <a:lnTo>
                    <a:pt x="245" y="1081"/>
                  </a:lnTo>
                  <a:lnTo>
                    <a:pt x="242" y="1077"/>
                  </a:lnTo>
                  <a:lnTo>
                    <a:pt x="237" y="1074"/>
                  </a:lnTo>
                  <a:lnTo>
                    <a:pt x="233" y="1073"/>
                  </a:lnTo>
                  <a:lnTo>
                    <a:pt x="227" y="1073"/>
                  </a:lnTo>
                  <a:lnTo>
                    <a:pt x="227" y="1073"/>
                  </a:lnTo>
                  <a:lnTo>
                    <a:pt x="225" y="1074"/>
                  </a:lnTo>
                  <a:lnTo>
                    <a:pt x="222" y="1076"/>
                  </a:lnTo>
                  <a:lnTo>
                    <a:pt x="217" y="1081"/>
                  </a:lnTo>
                  <a:lnTo>
                    <a:pt x="212" y="1087"/>
                  </a:lnTo>
                  <a:lnTo>
                    <a:pt x="208" y="1090"/>
                  </a:lnTo>
                  <a:lnTo>
                    <a:pt x="208" y="1090"/>
                  </a:lnTo>
                  <a:lnTo>
                    <a:pt x="206" y="1090"/>
                  </a:lnTo>
                  <a:lnTo>
                    <a:pt x="205" y="1090"/>
                  </a:lnTo>
                  <a:lnTo>
                    <a:pt x="206" y="1086"/>
                  </a:lnTo>
                  <a:lnTo>
                    <a:pt x="211" y="1076"/>
                  </a:lnTo>
                  <a:lnTo>
                    <a:pt x="211" y="1076"/>
                  </a:lnTo>
                  <a:lnTo>
                    <a:pt x="212" y="1073"/>
                  </a:lnTo>
                  <a:lnTo>
                    <a:pt x="212" y="1067"/>
                  </a:lnTo>
                  <a:lnTo>
                    <a:pt x="214" y="1055"/>
                  </a:lnTo>
                  <a:lnTo>
                    <a:pt x="214" y="1055"/>
                  </a:lnTo>
                  <a:lnTo>
                    <a:pt x="217" y="1044"/>
                  </a:lnTo>
                  <a:lnTo>
                    <a:pt x="222" y="1034"/>
                  </a:lnTo>
                  <a:lnTo>
                    <a:pt x="222" y="1034"/>
                  </a:lnTo>
                  <a:lnTo>
                    <a:pt x="227" y="1030"/>
                  </a:lnTo>
                  <a:lnTo>
                    <a:pt x="233" y="1024"/>
                  </a:lnTo>
                  <a:lnTo>
                    <a:pt x="243" y="1018"/>
                  </a:lnTo>
                  <a:lnTo>
                    <a:pt x="243" y="1018"/>
                  </a:lnTo>
                  <a:lnTo>
                    <a:pt x="254" y="1010"/>
                  </a:lnTo>
                  <a:lnTo>
                    <a:pt x="259" y="1006"/>
                  </a:lnTo>
                  <a:lnTo>
                    <a:pt x="265" y="1001"/>
                  </a:lnTo>
                  <a:lnTo>
                    <a:pt x="265" y="1001"/>
                  </a:lnTo>
                  <a:lnTo>
                    <a:pt x="268" y="997"/>
                  </a:lnTo>
                  <a:lnTo>
                    <a:pt x="270" y="993"/>
                  </a:lnTo>
                  <a:lnTo>
                    <a:pt x="270" y="988"/>
                  </a:lnTo>
                  <a:lnTo>
                    <a:pt x="270" y="985"/>
                  </a:lnTo>
                  <a:lnTo>
                    <a:pt x="270" y="985"/>
                  </a:lnTo>
                  <a:lnTo>
                    <a:pt x="267" y="979"/>
                  </a:lnTo>
                  <a:lnTo>
                    <a:pt x="264" y="976"/>
                  </a:lnTo>
                  <a:lnTo>
                    <a:pt x="258" y="973"/>
                  </a:lnTo>
                  <a:lnTo>
                    <a:pt x="258" y="973"/>
                  </a:lnTo>
                  <a:lnTo>
                    <a:pt x="251" y="972"/>
                  </a:lnTo>
                  <a:lnTo>
                    <a:pt x="243" y="970"/>
                  </a:lnTo>
                  <a:lnTo>
                    <a:pt x="234" y="969"/>
                  </a:lnTo>
                  <a:lnTo>
                    <a:pt x="227" y="966"/>
                  </a:lnTo>
                  <a:lnTo>
                    <a:pt x="227" y="966"/>
                  </a:lnTo>
                  <a:lnTo>
                    <a:pt x="222" y="963"/>
                  </a:lnTo>
                  <a:lnTo>
                    <a:pt x="218" y="960"/>
                  </a:lnTo>
                  <a:lnTo>
                    <a:pt x="211" y="951"/>
                  </a:lnTo>
                  <a:lnTo>
                    <a:pt x="202" y="936"/>
                  </a:lnTo>
                  <a:lnTo>
                    <a:pt x="202" y="936"/>
                  </a:lnTo>
                  <a:lnTo>
                    <a:pt x="182" y="901"/>
                  </a:lnTo>
                  <a:lnTo>
                    <a:pt x="182" y="901"/>
                  </a:lnTo>
                  <a:lnTo>
                    <a:pt x="178" y="893"/>
                  </a:lnTo>
                  <a:lnTo>
                    <a:pt x="169" y="886"/>
                  </a:lnTo>
                  <a:lnTo>
                    <a:pt x="154" y="871"/>
                  </a:lnTo>
                  <a:lnTo>
                    <a:pt x="154" y="871"/>
                  </a:lnTo>
                  <a:lnTo>
                    <a:pt x="151" y="870"/>
                  </a:lnTo>
                  <a:lnTo>
                    <a:pt x="147" y="868"/>
                  </a:lnTo>
                  <a:lnTo>
                    <a:pt x="137" y="867"/>
                  </a:lnTo>
                  <a:lnTo>
                    <a:pt x="137" y="867"/>
                  </a:lnTo>
                  <a:lnTo>
                    <a:pt x="141" y="874"/>
                  </a:lnTo>
                  <a:lnTo>
                    <a:pt x="144" y="882"/>
                  </a:lnTo>
                  <a:lnTo>
                    <a:pt x="145" y="887"/>
                  </a:lnTo>
                  <a:lnTo>
                    <a:pt x="145" y="887"/>
                  </a:lnTo>
                  <a:lnTo>
                    <a:pt x="145" y="898"/>
                  </a:lnTo>
                  <a:lnTo>
                    <a:pt x="147" y="904"/>
                  </a:lnTo>
                  <a:lnTo>
                    <a:pt x="148" y="907"/>
                  </a:lnTo>
                  <a:lnTo>
                    <a:pt x="148" y="907"/>
                  </a:lnTo>
                  <a:lnTo>
                    <a:pt x="153" y="910"/>
                  </a:lnTo>
                  <a:lnTo>
                    <a:pt x="157" y="911"/>
                  </a:lnTo>
                  <a:lnTo>
                    <a:pt x="162" y="913"/>
                  </a:lnTo>
                  <a:lnTo>
                    <a:pt x="168" y="914"/>
                  </a:lnTo>
                  <a:lnTo>
                    <a:pt x="168" y="914"/>
                  </a:lnTo>
                  <a:lnTo>
                    <a:pt x="171" y="919"/>
                  </a:lnTo>
                  <a:lnTo>
                    <a:pt x="174" y="924"/>
                  </a:lnTo>
                  <a:lnTo>
                    <a:pt x="174" y="933"/>
                  </a:lnTo>
                  <a:lnTo>
                    <a:pt x="171" y="942"/>
                  </a:lnTo>
                  <a:lnTo>
                    <a:pt x="171" y="942"/>
                  </a:lnTo>
                  <a:lnTo>
                    <a:pt x="168" y="951"/>
                  </a:lnTo>
                  <a:lnTo>
                    <a:pt x="163" y="959"/>
                  </a:lnTo>
                  <a:lnTo>
                    <a:pt x="157" y="963"/>
                  </a:lnTo>
                  <a:lnTo>
                    <a:pt x="154" y="963"/>
                  </a:lnTo>
                  <a:lnTo>
                    <a:pt x="151" y="963"/>
                  </a:lnTo>
                  <a:lnTo>
                    <a:pt x="151" y="963"/>
                  </a:lnTo>
                  <a:lnTo>
                    <a:pt x="147" y="961"/>
                  </a:lnTo>
                  <a:lnTo>
                    <a:pt x="142" y="963"/>
                  </a:lnTo>
                  <a:lnTo>
                    <a:pt x="138" y="966"/>
                  </a:lnTo>
                  <a:lnTo>
                    <a:pt x="132" y="969"/>
                  </a:lnTo>
                  <a:lnTo>
                    <a:pt x="132" y="969"/>
                  </a:lnTo>
                  <a:lnTo>
                    <a:pt x="126" y="970"/>
                  </a:lnTo>
                  <a:lnTo>
                    <a:pt x="123" y="975"/>
                  </a:lnTo>
                  <a:lnTo>
                    <a:pt x="120" y="978"/>
                  </a:lnTo>
                  <a:lnTo>
                    <a:pt x="122" y="981"/>
                  </a:lnTo>
                  <a:lnTo>
                    <a:pt x="122" y="981"/>
                  </a:lnTo>
                  <a:lnTo>
                    <a:pt x="142" y="1010"/>
                  </a:lnTo>
                  <a:lnTo>
                    <a:pt x="142" y="1010"/>
                  </a:lnTo>
                  <a:lnTo>
                    <a:pt x="151" y="1019"/>
                  </a:lnTo>
                  <a:lnTo>
                    <a:pt x="154" y="1022"/>
                  </a:lnTo>
                  <a:lnTo>
                    <a:pt x="156" y="1027"/>
                  </a:lnTo>
                  <a:lnTo>
                    <a:pt x="156" y="1027"/>
                  </a:lnTo>
                  <a:lnTo>
                    <a:pt x="156" y="1033"/>
                  </a:lnTo>
                  <a:lnTo>
                    <a:pt x="153" y="1044"/>
                  </a:lnTo>
                  <a:lnTo>
                    <a:pt x="150" y="1058"/>
                  </a:lnTo>
                  <a:lnTo>
                    <a:pt x="145" y="1070"/>
                  </a:lnTo>
                  <a:lnTo>
                    <a:pt x="145" y="1070"/>
                  </a:lnTo>
                  <a:lnTo>
                    <a:pt x="140" y="1087"/>
                  </a:lnTo>
                  <a:lnTo>
                    <a:pt x="137" y="1090"/>
                  </a:lnTo>
                  <a:lnTo>
                    <a:pt x="135" y="1092"/>
                  </a:lnTo>
                  <a:lnTo>
                    <a:pt x="132" y="1093"/>
                  </a:lnTo>
                  <a:lnTo>
                    <a:pt x="128" y="1093"/>
                  </a:lnTo>
                  <a:lnTo>
                    <a:pt x="128" y="1093"/>
                  </a:lnTo>
                  <a:lnTo>
                    <a:pt x="123" y="1093"/>
                  </a:lnTo>
                  <a:lnTo>
                    <a:pt x="117" y="1095"/>
                  </a:lnTo>
                  <a:lnTo>
                    <a:pt x="104" y="1101"/>
                  </a:lnTo>
                  <a:lnTo>
                    <a:pt x="91" y="1105"/>
                  </a:lnTo>
                  <a:lnTo>
                    <a:pt x="85" y="1107"/>
                  </a:lnTo>
                  <a:lnTo>
                    <a:pt x="80" y="1108"/>
                  </a:lnTo>
                  <a:lnTo>
                    <a:pt x="80" y="1108"/>
                  </a:lnTo>
                  <a:lnTo>
                    <a:pt x="76" y="1108"/>
                  </a:lnTo>
                  <a:lnTo>
                    <a:pt x="73" y="1110"/>
                  </a:lnTo>
                  <a:lnTo>
                    <a:pt x="71" y="1111"/>
                  </a:lnTo>
                  <a:lnTo>
                    <a:pt x="70" y="1113"/>
                  </a:lnTo>
                  <a:lnTo>
                    <a:pt x="68" y="1118"/>
                  </a:lnTo>
                  <a:lnTo>
                    <a:pt x="67" y="1121"/>
                  </a:lnTo>
                  <a:lnTo>
                    <a:pt x="65" y="1126"/>
                  </a:lnTo>
                  <a:lnTo>
                    <a:pt x="65" y="1126"/>
                  </a:lnTo>
                  <a:lnTo>
                    <a:pt x="61" y="1132"/>
                  </a:lnTo>
                  <a:lnTo>
                    <a:pt x="60" y="1139"/>
                  </a:lnTo>
                  <a:lnTo>
                    <a:pt x="61" y="1148"/>
                  </a:lnTo>
                  <a:lnTo>
                    <a:pt x="65" y="1157"/>
                  </a:lnTo>
                  <a:lnTo>
                    <a:pt x="65" y="1157"/>
                  </a:lnTo>
                  <a:lnTo>
                    <a:pt x="70" y="1169"/>
                  </a:lnTo>
                  <a:lnTo>
                    <a:pt x="73" y="1179"/>
                  </a:lnTo>
                  <a:lnTo>
                    <a:pt x="79" y="1188"/>
                  </a:lnTo>
                  <a:lnTo>
                    <a:pt x="82" y="1193"/>
                  </a:lnTo>
                  <a:lnTo>
                    <a:pt x="86" y="1195"/>
                  </a:lnTo>
                  <a:lnTo>
                    <a:pt x="86" y="1195"/>
                  </a:lnTo>
                  <a:lnTo>
                    <a:pt x="97" y="1200"/>
                  </a:lnTo>
                  <a:lnTo>
                    <a:pt x="105" y="1207"/>
                  </a:lnTo>
                  <a:lnTo>
                    <a:pt x="119" y="1219"/>
                  </a:lnTo>
                  <a:lnTo>
                    <a:pt x="119" y="1219"/>
                  </a:lnTo>
                  <a:lnTo>
                    <a:pt x="122" y="1221"/>
                  </a:lnTo>
                  <a:lnTo>
                    <a:pt x="126" y="1221"/>
                  </a:lnTo>
                  <a:lnTo>
                    <a:pt x="132" y="1218"/>
                  </a:lnTo>
                  <a:lnTo>
                    <a:pt x="140" y="1213"/>
                  </a:lnTo>
                  <a:lnTo>
                    <a:pt x="144" y="1209"/>
                  </a:lnTo>
                  <a:lnTo>
                    <a:pt x="144" y="1209"/>
                  </a:lnTo>
                  <a:lnTo>
                    <a:pt x="145" y="1207"/>
                  </a:lnTo>
                  <a:lnTo>
                    <a:pt x="147" y="1209"/>
                  </a:lnTo>
                  <a:lnTo>
                    <a:pt x="150" y="1215"/>
                  </a:lnTo>
                  <a:lnTo>
                    <a:pt x="150" y="1224"/>
                  </a:lnTo>
                  <a:lnTo>
                    <a:pt x="148" y="1235"/>
                  </a:lnTo>
                  <a:lnTo>
                    <a:pt x="148" y="1235"/>
                  </a:lnTo>
                  <a:lnTo>
                    <a:pt x="148" y="1241"/>
                  </a:lnTo>
                  <a:lnTo>
                    <a:pt x="151" y="1244"/>
                  </a:lnTo>
                  <a:lnTo>
                    <a:pt x="154" y="1247"/>
                  </a:lnTo>
                  <a:lnTo>
                    <a:pt x="157" y="1249"/>
                  </a:lnTo>
                  <a:lnTo>
                    <a:pt x="165" y="1249"/>
                  </a:lnTo>
                  <a:lnTo>
                    <a:pt x="168" y="1250"/>
                  </a:lnTo>
                  <a:lnTo>
                    <a:pt x="168" y="1252"/>
                  </a:lnTo>
                  <a:lnTo>
                    <a:pt x="168" y="1252"/>
                  </a:lnTo>
                  <a:lnTo>
                    <a:pt x="168" y="1256"/>
                  </a:lnTo>
                  <a:lnTo>
                    <a:pt x="166" y="1258"/>
                  </a:lnTo>
                  <a:lnTo>
                    <a:pt x="165" y="1261"/>
                  </a:lnTo>
                  <a:lnTo>
                    <a:pt x="162" y="1267"/>
                  </a:lnTo>
                  <a:lnTo>
                    <a:pt x="162" y="1267"/>
                  </a:lnTo>
                  <a:lnTo>
                    <a:pt x="162" y="1272"/>
                  </a:lnTo>
                  <a:lnTo>
                    <a:pt x="162" y="1278"/>
                  </a:lnTo>
                  <a:lnTo>
                    <a:pt x="165" y="1284"/>
                  </a:lnTo>
                  <a:lnTo>
                    <a:pt x="168" y="1289"/>
                  </a:lnTo>
                  <a:lnTo>
                    <a:pt x="168" y="1289"/>
                  </a:lnTo>
                  <a:lnTo>
                    <a:pt x="171" y="1295"/>
                  </a:lnTo>
                  <a:lnTo>
                    <a:pt x="171" y="1296"/>
                  </a:lnTo>
                  <a:lnTo>
                    <a:pt x="168" y="1299"/>
                  </a:lnTo>
                  <a:lnTo>
                    <a:pt x="168" y="1299"/>
                  </a:lnTo>
                  <a:lnTo>
                    <a:pt x="162" y="1311"/>
                  </a:lnTo>
                  <a:lnTo>
                    <a:pt x="154" y="1327"/>
                  </a:lnTo>
                  <a:lnTo>
                    <a:pt x="154" y="1327"/>
                  </a:lnTo>
                  <a:lnTo>
                    <a:pt x="151" y="1339"/>
                  </a:lnTo>
                  <a:lnTo>
                    <a:pt x="151" y="1342"/>
                  </a:lnTo>
                  <a:lnTo>
                    <a:pt x="148" y="1345"/>
                  </a:lnTo>
                  <a:lnTo>
                    <a:pt x="148" y="1345"/>
                  </a:lnTo>
                  <a:lnTo>
                    <a:pt x="147" y="1348"/>
                  </a:lnTo>
                  <a:lnTo>
                    <a:pt x="144" y="1350"/>
                  </a:lnTo>
                  <a:lnTo>
                    <a:pt x="141" y="1352"/>
                  </a:lnTo>
                  <a:lnTo>
                    <a:pt x="138" y="1354"/>
                  </a:lnTo>
                  <a:lnTo>
                    <a:pt x="138" y="1354"/>
                  </a:lnTo>
                  <a:lnTo>
                    <a:pt x="132" y="1363"/>
                  </a:lnTo>
                  <a:lnTo>
                    <a:pt x="131" y="1367"/>
                  </a:lnTo>
                  <a:lnTo>
                    <a:pt x="126" y="1373"/>
                  </a:lnTo>
                  <a:lnTo>
                    <a:pt x="126" y="1373"/>
                  </a:lnTo>
                  <a:lnTo>
                    <a:pt x="125" y="1375"/>
                  </a:lnTo>
                  <a:lnTo>
                    <a:pt x="122" y="1376"/>
                  </a:lnTo>
                  <a:lnTo>
                    <a:pt x="117" y="1376"/>
                  </a:lnTo>
                  <a:lnTo>
                    <a:pt x="105" y="1372"/>
                  </a:lnTo>
                  <a:lnTo>
                    <a:pt x="105" y="1372"/>
                  </a:lnTo>
                  <a:lnTo>
                    <a:pt x="101" y="1370"/>
                  </a:lnTo>
                  <a:lnTo>
                    <a:pt x="98" y="1373"/>
                  </a:lnTo>
                  <a:lnTo>
                    <a:pt x="97" y="1376"/>
                  </a:lnTo>
                  <a:lnTo>
                    <a:pt x="95" y="1381"/>
                  </a:lnTo>
                  <a:lnTo>
                    <a:pt x="95" y="1381"/>
                  </a:lnTo>
                  <a:lnTo>
                    <a:pt x="97" y="1385"/>
                  </a:lnTo>
                  <a:lnTo>
                    <a:pt x="98" y="1388"/>
                  </a:lnTo>
                  <a:lnTo>
                    <a:pt x="104" y="1395"/>
                  </a:lnTo>
                  <a:lnTo>
                    <a:pt x="104" y="1395"/>
                  </a:lnTo>
                  <a:lnTo>
                    <a:pt x="107" y="1400"/>
                  </a:lnTo>
                  <a:lnTo>
                    <a:pt x="107" y="1406"/>
                  </a:lnTo>
                  <a:lnTo>
                    <a:pt x="108" y="1413"/>
                  </a:lnTo>
                  <a:lnTo>
                    <a:pt x="108" y="1413"/>
                  </a:lnTo>
                  <a:lnTo>
                    <a:pt x="110" y="1419"/>
                  </a:lnTo>
                  <a:lnTo>
                    <a:pt x="110" y="1427"/>
                  </a:lnTo>
                  <a:lnTo>
                    <a:pt x="108" y="1435"/>
                  </a:lnTo>
                  <a:lnTo>
                    <a:pt x="104" y="1443"/>
                  </a:lnTo>
                  <a:lnTo>
                    <a:pt x="104" y="1443"/>
                  </a:lnTo>
                  <a:lnTo>
                    <a:pt x="97" y="1453"/>
                  </a:lnTo>
                  <a:lnTo>
                    <a:pt x="94" y="1459"/>
                  </a:lnTo>
                  <a:lnTo>
                    <a:pt x="94" y="1459"/>
                  </a:lnTo>
                  <a:lnTo>
                    <a:pt x="94" y="1462"/>
                  </a:lnTo>
                  <a:lnTo>
                    <a:pt x="97" y="1465"/>
                  </a:lnTo>
                  <a:lnTo>
                    <a:pt x="100" y="1469"/>
                  </a:lnTo>
                  <a:lnTo>
                    <a:pt x="105" y="1477"/>
                  </a:lnTo>
                  <a:lnTo>
                    <a:pt x="105" y="1477"/>
                  </a:lnTo>
                  <a:lnTo>
                    <a:pt x="114" y="1490"/>
                  </a:lnTo>
                  <a:lnTo>
                    <a:pt x="120" y="1504"/>
                  </a:lnTo>
                  <a:lnTo>
                    <a:pt x="120" y="1504"/>
                  </a:lnTo>
                  <a:lnTo>
                    <a:pt x="123" y="1506"/>
                  </a:lnTo>
                  <a:lnTo>
                    <a:pt x="123" y="1511"/>
                  </a:lnTo>
                  <a:lnTo>
                    <a:pt x="123" y="1518"/>
                  </a:lnTo>
                  <a:lnTo>
                    <a:pt x="120" y="1526"/>
                  </a:lnTo>
                  <a:lnTo>
                    <a:pt x="116" y="1530"/>
                  </a:lnTo>
                  <a:lnTo>
                    <a:pt x="116" y="1530"/>
                  </a:lnTo>
                  <a:lnTo>
                    <a:pt x="113" y="1532"/>
                  </a:lnTo>
                  <a:lnTo>
                    <a:pt x="110" y="1535"/>
                  </a:lnTo>
                  <a:lnTo>
                    <a:pt x="107" y="1541"/>
                  </a:lnTo>
                  <a:lnTo>
                    <a:pt x="107" y="1541"/>
                  </a:lnTo>
                  <a:lnTo>
                    <a:pt x="104" y="1551"/>
                  </a:lnTo>
                  <a:lnTo>
                    <a:pt x="104" y="1555"/>
                  </a:lnTo>
                  <a:lnTo>
                    <a:pt x="104" y="1558"/>
                  </a:lnTo>
                  <a:lnTo>
                    <a:pt x="104" y="1558"/>
                  </a:lnTo>
                  <a:lnTo>
                    <a:pt x="107" y="1561"/>
                  </a:lnTo>
                  <a:lnTo>
                    <a:pt x="111" y="1566"/>
                  </a:lnTo>
                  <a:lnTo>
                    <a:pt x="116" y="1572"/>
                  </a:lnTo>
                  <a:lnTo>
                    <a:pt x="119" y="1578"/>
                  </a:lnTo>
                  <a:lnTo>
                    <a:pt x="119" y="1578"/>
                  </a:lnTo>
                  <a:lnTo>
                    <a:pt x="117" y="1584"/>
                  </a:lnTo>
                  <a:lnTo>
                    <a:pt x="114" y="1586"/>
                  </a:lnTo>
                  <a:lnTo>
                    <a:pt x="111" y="1589"/>
                  </a:lnTo>
                  <a:lnTo>
                    <a:pt x="107" y="1589"/>
                  </a:lnTo>
                  <a:lnTo>
                    <a:pt x="107" y="1589"/>
                  </a:lnTo>
                  <a:lnTo>
                    <a:pt x="105" y="1591"/>
                  </a:lnTo>
                  <a:lnTo>
                    <a:pt x="105" y="1592"/>
                  </a:lnTo>
                  <a:lnTo>
                    <a:pt x="107" y="1598"/>
                  </a:lnTo>
                  <a:lnTo>
                    <a:pt x="107" y="1598"/>
                  </a:lnTo>
                  <a:lnTo>
                    <a:pt x="107" y="1603"/>
                  </a:lnTo>
                  <a:lnTo>
                    <a:pt x="108" y="1612"/>
                  </a:lnTo>
                  <a:lnTo>
                    <a:pt x="108" y="1621"/>
                  </a:lnTo>
                  <a:lnTo>
                    <a:pt x="110" y="1625"/>
                  </a:lnTo>
                  <a:lnTo>
                    <a:pt x="111" y="1628"/>
                  </a:lnTo>
                  <a:lnTo>
                    <a:pt x="111" y="1628"/>
                  </a:lnTo>
                  <a:lnTo>
                    <a:pt x="117" y="1631"/>
                  </a:lnTo>
                  <a:lnTo>
                    <a:pt x="123" y="1632"/>
                  </a:lnTo>
                  <a:lnTo>
                    <a:pt x="129" y="1635"/>
                  </a:lnTo>
                  <a:lnTo>
                    <a:pt x="134" y="1638"/>
                  </a:lnTo>
                  <a:lnTo>
                    <a:pt x="134" y="1638"/>
                  </a:lnTo>
                  <a:lnTo>
                    <a:pt x="134" y="1641"/>
                  </a:lnTo>
                  <a:lnTo>
                    <a:pt x="135" y="1644"/>
                  </a:lnTo>
                  <a:lnTo>
                    <a:pt x="135" y="1655"/>
                  </a:lnTo>
                  <a:lnTo>
                    <a:pt x="135" y="1655"/>
                  </a:lnTo>
                  <a:lnTo>
                    <a:pt x="135" y="1658"/>
                  </a:lnTo>
                  <a:lnTo>
                    <a:pt x="135" y="1659"/>
                  </a:lnTo>
                  <a:lnTo>
                    <a:pt x="140" y="1662"/>
                  </a:lnTo>
                  <a:lnTo>
                    <a:pt x="142" y="1663"/>
                  </a:lnTo>
                  <a:lnTo>
                    <a:pt x="145" y="1668"/>
                  </a:lnTo>
                  <a:lnTo>
                    <a:pt x="145" y="1668"/>
                  </a:lnTo>
                  <a:lnTo>
                    <a:pt x="147" y="1677"/>
                  </a:lnTo>
                  <a:lnTo>
                    <a:pt x="145" y="1687"/>
                  </a:lnTo>
                  <a:lnTo>
                    <a:pt x="142" y="1696"/>
                  </a:lnTo>
                  <a:lnTo>
                    <a:pt x="140" y="1701"/>
                  </a:lnTo>
                  <a:lnTo>
                    <a:pt x="137" y="1702"/>
                  </a:lnTo>
                  <a:lnTo>
                    <a:pt x="137" y="1702"/>
                  </a:lnTo>
                  <a:lnTo>
                    <a:pt x="131" y="1708"/>
                  </a:lnTo>
                  <a:lnTo>
                    <a:pt x="125" y="1715"/>
                  </a:lnTo>
                  <a:lnTo>
                    <a:pt x="119" y="1730"/>
                  </a:lnTo>
                  <a:lnTo>
                    <a:pt x="119" y="1730"/>
                  </a:lnTo>
                  <a:lnTo>
                    <a:pt x="119" y="1733"/>
                  </a:lnTo>
                  <a:lnTo>
                    <a:pt x="119" y="1735"/>
                  </a:lnTo>
                  <a:lnTo>
                    <a:pt x="120" y="1736"/>
                  </a:lnTo>
                  <a:lnTo>
                    <a:pt x="122" y="1736"/>
                  </a:lnTo>
                  <a:lnTo>
                    <a:pt x="128" y="1736"/>
                  </a:lnTo>
                  <a:lnTo>
                    <a:pt x="135" y="1735"/>
                  </a:lnTo>
                  <a:lnTo>
                    <a:pt x="135" y="1735"/>
                  </a:lnTo>
                  <a:lnTo>
                    <a:pt x="140" y="1733"/>
                  </a:lnTo>
                  <a:lnTo>
                    <a:pt x="142" y="1733"/>
                  </a:lnTo>
                  <a:lnTo>
                    <a:pt x="144" y="1735"/>
                  </a:lnTo>
                  <a:lnTo>
                    <a:pt x="144" y="1736"/>
                  </a:lnTo>
                  <a:lnTo>
                    <a:pt x="145" y="1742"/>
                  </a:lnTo>
                  <a:lnTo>
                    <a:pt x="147" y="1746"/>
                  </a:lnTo>
                  <a:lnTo>
                    <a:pt x="147" y="1746"/>
                  </a:lnTo>
                  <a:lnTo>
                    <a:pt x="148" y="1749"/>
                  </a:lnTo>
                  <a:lnTo>
                    <a:pt x="151" y="1751"/>
                  </a:lnTo>
                  <a:lnTo>
                    <a:pt x="159" y="1752"/>
                  </a:lnTo>
                  <a:lnTo>
                    <a:pt x="169" y="1754"/>
                  </a:lnTo>
                  <a:lnTo>
                    <a:pt x="177" y="1755"/>
                  </a:lnTo>
                  <a:lnTo>
                    <a:pt x="177" y="1755"/>
                  </a:lnTo>
                  <a:lnTo>
                    <a:pt x="179" y="1757"/>
                  </a:lnTo>
                  <a:lnTo>
                    <a:pt x="181" y="1760"/>
                  </a:lnTo>
                  <a:lnTo>
                    <a:pt x="185" y="1767"/>
                  </a:lnTo>
                  <a:lnTo>
                    <a:pt x="185" y="1775"/>
                  </a:lnTo>
                  <a:lnTo>
                    <a:pt x="185" y="1779"/>
                  </a:lnTo>
                  <a:lnTo>
                    <a:pt x="184" y="1782"/>
                  </a:lnTo>
                  <a:lnTo>
                    <a:pt x="184" y="1782"/>
                  </a:lnTo>
                  <a:lnTo>
                    <a:pt x="178" y="1789"/>
                  </a:lnTo>
                  <a:lnTo>
                    <a:pt x="177" y="1794"/>
                  </a:lnTo>
                  <a:lnTo>
                    <a:pt x="175" y="1800"/>
                  </a:lnTo>
                  <a:lnTo>
                    <a:pt x="175" y="1800"/>
                  </a:lnTo>
                  <a:lnTo>
                    <a:pt x="175" y="1807"/>
                  </a:lnTo>
                  <a:lnTo>
                    <a:pt x="172" y="1816"/>
                  </a:lnTo>
                  <a:lnTo>
                    <a:pt x="169" y="1825"/>
                  </a:lnTo>
                  <a:lnTo>
                    <a:pt x="163" y="1834"/>
                  </a:lnTo>
                  <a:lnTo>
                    <a:pt x="163" y="1834"/>
                  </a:lnTo>
                  <a:lnTo>
                    <a:pt x="156" y="1840"/>
                  </a:lnTo>
                  <a:lnTo>
                    <a:pt x="151" y="1844"/>
                  </a:lnTo>
                  <a:lnTo>
                    <a:pt x="145" y="1847"/>
                  </a:lnTo>
                  <a:lnTo>
                    <a:pt x="142" y="1852"/>
                  </a:lnTo>
                  <a:lnTo>
                    <a:pt x="142" y="1852"/>
                  </a:lnTo>
                  <a:lnTo>
                    <a:pt x="137" y="1860"/>
                  </a:lnTo>
                  <a:lnTo>
                    <a:pt x="128" y="1869"/>
                  </a:lnTo>
                  <a:lnTo>
                    <a:pt x="116" y="1881"/>
                  </a:lnTo>
                  <a:lnTo>
                    <a:pt x="116" y="1881"/>
                  </a:lnTo>
                  <a:lnTo>
                    <a:pt x="125" y="1892"/>
                  </a:lnTo>
                  <a:lnTo>
                    <a:pt x="138" y="1908"/>
                  </a:lnTo>
                  <a:lnTo>
                    <a:pt x="138" y="1908"/>
                  </a:lnTo>
                  <a:lnTo>
                    <a:pt x="140" y="1909"/>
                  </a:lnTo>
                  <a:lnTo>
                    <a:pt x="141" y="1912"/>
                  </a:lnTo>
                  <a:lnTo>
                    <a:pt x="138" y="1917"/>
                  </a:lnTo>
                  <a:lnTo>
                    <a:pt x="135" y="1921"/>
                  </a:lnTo>
                  <a:lnTo>
                    <a:pt x="132" y="1926"/>
                  </a:lnTo>
                  <a:lnTo>
                    <a:pt x="132" y="1926"/>
                  </a:lnTo>
                  <a:lnTo>
                    <a:pt x="129" y="1936"/>
                  </a:lnTo>
                  <a:lnTo>
                    <a:pt x="129" y="1940"/>
                  </a:lnTo>
                  <a:lnTo>
                    <a:pt x="126" y="1948"/>
                  </a:lnTo>
                  <a:lnTo>
                    <a:pt x="126" y="1948"/>
                  </a:lnTo>
                  <a:lnTo>
                    <a:pt x="122" y="1954"/>
                  </a:lnTo>
                  <a:lnTo>
                    <a:pt x="114" y="1958"/>
                  </a:lnTo>
                  <a:lnTo>
                    <a:pt x="108" y="1963"/>
                  </a:lnTo>
                  <a:lnTo>
                    <a:pt x="102" y="1969"/>
                  </a:lnTo>
                  <a:lnTo>
                    <a:pt x="102" y="1969"/>
                  </a:lnTo>
                  <a:lnTo>
                    <a:pt x="100" y="1973"/>
                  </a:lnTo>
                  <a:lnTo>
                    <a:pt x="95" y="1976"/>
                  </a:lnTo>
                  <a:lnTo>
                    <a:pt x="80" y="1980"/>
                  </a:lnTo>
                  <a:lnTo>
                    <a:pt x="80" y="1980"/>
                  </a:lnTo>
                  <a:lnTo>
                    <a:pt x="76" y="1982"/>
                  </a:lnTo>
                  <a:lnTo>
                    <a:pt x="74" y="1983"/>
                  </a:lnTo>
                  <a:lnTo>
                    <a:pt x="73" y="1986"/>
                  </a:lnTo>
                  <a:lnTo>
                    <a:pt x="73" y="1988"/>
                  </a:lnTo>
                  <a:lnTo>
                    <a:pt x="74" y="1992"/>
                  </a:lnTo>
                  <a:lnTo>
                    <a:pt x="76" y="1997"/>
                  </a:lnTo>
                  <a:lnTo>
                    <a:pt x="76" y="1997"/>
                  </a:lnTo>
                  <a:lnTo>
                    <a:pt x="74" y="2000"/>
                  </a:lnTo>
                  <a:lnTo>
                    <a:pt x="73" y="2001"/>
                  </a:lnTo>
                  <a:lnTo>
                    <a:pt x="68" y="2004"/>
                  </a:lnTo>
                  <a:lnTo>
                    <a:pt x="64" y="2006"/>
                  </a:lnTo>
                  <a:lnTo>
                    <a:pt x="60" y="2009"/>
                  </a:lnTo>
                  <a:lnTo>
                    <a:pt x="60" y="2009"/>
                  </a:lnTo>
                  <a:lnTo>
                    <a:pt x="55" y="2014"/>
                  </a:lnTo>
                  <a:lnTo>
                    <a:pt x="52" y="2017"/>
                  </a:lnTo>
                  <a:lnTo>
                    <a:pt x="51" y="2019"/>
                  </a:lnTo>
                  <a:lnTo>
                    <a:pt x="51" y="2019"/>
                  </a:lnTo>
                  <a:lnTo>
                    <a:pt x="54" y="2022"/>
                  </a:lnTo>
                  <a:lnTo>
                    <a:pt x="58" y="2026"/>
                  </a:lnTo>
                  <a:lnTo>
                    <a:pt x="60" y="2032"/>
                  </a:lnTo>
                  <a:lnTo>
                    <a:pt x="60" y="2037"/>
                  </a:lnTo>
                  <a:lnTo>
                    <a:pt x="58" y="2040"/>
                  </a:lnTo>
                  <a:lnTo>
                    <a:pt x="58" y="2040"/>
                  </a:lnTo>
                  <a:lnTo>
                    <a:pt x="55" y="2049"/>
                  </a:lnTo>
                  <a:lnTo>
                    <a:pt x="54" y="2056"/>
                  </a:lnTo>
                  <a:lnTo>
                    <a:pt x="54" y="2059"/>
                  </a:lnTo>
                  <a:lnTo>
                    <a:pt x="57" y="2062"/>
                  </a:lnTo>
                  <a:lnTo>
                    <a:pt x="60" y="2065"/>
                  </a:lnTo>
                  <a:lnTo>
                    <a:pt x="63" y="2066"/>
                  </a:lnTo>
                  <a:lnTo>
                    <a:pt x="63" y="2066"/>
                  </a:lnTo>
                  <a:lnTo>
                    <a:pt x="71" y="2069"/>
                  </a:lnTo>
                  <a:lnTo>
                    <a:pt x="74" y="2072"/>
                  </a:lnTo>
                  <a:lnTo>
                    <a:pt x="77" y="2075"/>
                  </a:lnTo>
                  <a:lnTo>
                    <a:pt x="79" y="2081"/>
                  </a:lnTo>
                  <a:lnTo>
                    <a:pt x="79" y="2081"/>
                  </a:lnTo>
                  <a:lnTo>
                    <a:pt x="82" y="2089"/>
                  </a:lnTo>
                  <a:lnTo>
                    <a:pt x="86" y="2091"/>
                  </a:lnTo>
                  <a:lnTo>
                    <a:pt x="100" y="2094"/>
                  </a:lnTo>
                  <a:lnTo>
                    <a:pt x="100" y="2094"/>
                  </a:lnTo>
                  <a:lnTo>
                    <a:pt x="107" y="2097"/>
                  </a:lnTo>
                  <a:lnTo>
                    <a:pt x="113" y="2102"/>
                  </a:lnTo>
                  <a:lnTo>
                    <a:pt x="113" y="2103"/>
                  </a:lnTo>
                  <a:lnTo>
                    <a:pt x="113" y="2105"/>
                  </a:lnTo>
                  <a:lnTo>
                    <a:pt x="111" y="2106"/>
                  </a:lnTo>
                  <a:lnTo>
                    <a:pt x="108" y="2108"/>
                  </a:lnTo>
                  <a:lnTo>
                    <a:pt x="108" y="2108"/>
                  </a:lnTo>
                  <a:lnTo>
                    <a:pt x="92" y="2111"/>
                  </a:lnTo>
                  <a:lnTo>
                    <a:pt x="86" y="2114"/>
                  </a:lnTo>
                  <a:lnTo>
                    <a:pt x="85" y="2115"/>
                  </a:lnTo>
                  <a:lnTo>
                    <a:pt x="85" y="2118"/>
                  </a:lnTo>
                  <a:lnTo>
                    <a:pt x="85" y="2118"/>
                  </a:lnTo>
                  <a:lnTo>
                    <a:pt x="83" y="2124"/>
                  </a:lnTo>
                  <a:lnTo>
                    <a:pt x="79" y="2131"/>
                  </a:lnTo>
                  <a:lnTo>
                    <a:pt x="71" y="2139"/>
                  </a:lnTo>
                  <a:lnTo>
                    <a:pt x="61" y="2145"/>
                  </a:lnTo>
                  <a:lnTo>
                    <a:pt x="61" y="2145"/>
                  </a:lnTo>
                  <a:lnTo>
                    <a:pt x="27" y="2158"/>
                  </a:lnTo>
                  <a:lnTo>
                    <a:pt x="5" y="2167"/>
                  </a:lnTo>
                  <a:lnTo>
                    <a:pt x="5" y="2167"/>
                  </a:lnTo>
                  <a:lnTo>
                    <a:pt x="15" y="2169"/>
                  </a:lnTo>
                  <a:lnTo>
                    <a:pt x="15" y="2169"/>
                  </a:lnTo>
                  <a:lnTo>
                    <a:pt x="17" y="2170"/>
                  </a:lnTo>
                  <a:lnTo>
                    <a:pt x="18" y="2171"/>
                  </a:lnTo>
                  <a:lnTo>
                    <a:pt x="20" y="2176"/>
                  </a:lnTo>
                  <a:lnTo>
                    <a:pt x="18" y="2180"/>
                  </a:lnTo>
                  <a:lnTo>
                    <a:pt x="18" y="2183"/>
                  </a:lnTo>
                  <a:lnTo>
                    <a:pt x="18" y="2183"/>
                  </a:lnTo>
                  <a:lnTo>
                    <a:pt x="21" y="2192"/>
                  </a:lnTo>
                  <a:lnTo>
                    <a:pt x="23" y="2197"/>
                  </a:lnTo>
                  <a:lnTo>
                    <a:pt x="23" y="2201"/>
                  </a:lnTo>
                  <a:lnTo>
                    <a:pt x="23" y="2201"/>
                  </a:lnTo>
                  <a:lnTo>
                    <a:pt x="21" y="2204"/>
                  </a:lnTo>
                  <a:lnTo>
                    <a:pt x="18" y="2206"/>
                  </a:lnTo>
                  <a:lnTo>
                    <a:pt x="14" y="2208"/>
                  </a:lnTo>
                  <a:lnTo>
                    <a:pt x="12" y="2211"/>
                  </a:lnTo>
                  <a:lnTo>
                    <a:pt x="12" y="2211"/>
                  </a:lnTo>
                  <a:lnTo>
                    <a:pt x="9" y="2222"/>
                  </a:lnTo>
                  <a:lnTo>
                    <a:pt x="8" y="2228"/>
                  </a:lnTo>
                  <a:lnTo>
                    <a:pt x="5" y="2229"/>
                  </a:lnTo>
                  <a:lnTo>
                    <a:pt x="3" y="2231"/>
                  </a:lnTo>
                  <a:lnTo>
                    <a:pt x="3" y="2231"/>
                  </a:lnTo>
                  <a:lnTo>
                    <a:pt x="0" y="2232"/>
                  </a:lnTo>
                  <a:lnTo>
                    <a:pt x="0" y="2234"/>
                  </a:lnTo>
                  <a:lnTo>
                    <a:pt x="0" y="2238"/>
                  </a:lnTo>
                  <a:lnTo>
                    <a:pt x="5" y="2250"/>
                  </a:lnTo>
                  <a:lnTo>
                    <a:pt x="5" y="2250"/>
                  </a:lnTo>
                  <a:lnTo>
                    <a:pt x="6" y="2256"/>
                  </a:lnTo>
                  <a:lnTo>
                    <a:pt x="6" y="2260"/>
                  </a:lnTo>
                  <a:lnTo>
                    <a:pt x="3" y="2269"/>
                  </a:lnTo>
                  <a:lnTo>
                    <a:pt x="3" y="2269"/>
                  </a:lnTo>
                  <a:lnTo>
                    <a:pt x="3" y="2272"/>
                  </a:lnTo>
                  <a:lnTo>
                    <a:pt x="5" y="2274"/>
                  </a:lnTo>
                  <a:lnTo>
                    <a:pt x="12" y="2277"/>
                  </a:lnTo>
                  <a:lnTo>
                    <a:pt x="27" y="2281"/>
                  </a:lnTo>
                  <a:lnTo>
                    <a:pt x="27" y="2281"/>
                  </a:lnTo>
                  <a:lnTo>
                    <a:pt x="70" y="2288"/>
                  </a:lnTo>
                  <a:lnTo>
                    <a:pt x="101" y="2294"/>
                  </a:lnTo>
                  <a:lnTo>
                    <a:pt x="114" y="2299"/>
                  </a:lnTo>
                  <a:lnTo>
                    <a:pt x="123" y="2303"/>
                  </a:lnTo>
                  <a:lnTo>
                    <a:pt x="123" y="2303"/>
                  </a:lnTo>
                  <a:lnTo>
                    <a:pt x="132" y="2309"/>
                  </a:lnTo>
                  <a:lnTo>
                    <a:pt x="134" y="2312"/>
                  </a:lnTo>
                  <a:lnTo>
                    <a:pt x="135" y="2315"/>
                  </a:lnTo>
                  <a:lnTo>
                    <a:pt x="134" y="2320"/>
                  </a:lnTo>
                  <a:lnTo>
                    <a:pt x="134" y="2324"/>
                  </a:lnTo>
                  <a:lnTo>
                    <a:pt x="134" y="2324"/>
                  </a:lnTo>
                  <a:lnTo>
                    <a:pt x="134" y="2327"/>
                  </a:lnTo>
                  <a:lnTo>
                    <a:pt x="135" y="2328"/>
                  </a:lnTo>
                  <a:lnTo>
                    <a:pt x="140" y="2328"/>
                  </a:lnTo>
                  <a:lnTo>
                    <a:pt x="145" y="2328"/>
                  </a:lnTo>
                  <a:lnTo>
                    <a:pt x="153" y="2328"/>
                  </a:lnTo>
                  <a:lnTo>
                    <a:pt x="153" y="2328"/>
                  </a:lnTo>
                  <a:lnTo>
                    <a:pt x="156" y="2330"/>
                  </a:lnTo>
                  <a:lnTo>
                    <a:pt x="157" y="2334"/>
                  </a:lnTo>
                  <a:lnTo>
                    <a:pt x="160" y="2345"/>
                  </a:lnTo>
                  <a:lnTo>
                    <a:pt x="165" y="2368"/>
                  </a:lnTo>
                  <a:lnTo>
                    <a:pt x="165" y="2368"/>
                  </a:lnTo>
                  <a:lnTo>
                    <a:pt x="166" y="2374"/>
                  </a:lnTo>
                  <a:lnTo>
                    <a:pt x="169" y="2376"/>
                  </a:lnTo>
                  <a:lnTo>
                    <a:pt x="172" y="2377"/>
                  </a:lnTo>
                  <a:lnTo>
                    <a:pt x="179" y="2377"/>
                  </a:lnTo>
                  <a:lnTo>
                    <a:pt x="190" y="2377"/>
                  </a:lnTo>
                  <a:lnTo>
                    <a:pt x="190" y="2377"/>
                  </a:lnTo>
                  <a:lnTo>
                    <a:pt x="200" y="2377"/>
                  </a:lnTo>
                  <a:lnTo>
                    <a:pt x="205" y="2379"/>
                  </a:lnTo>
                  <a:lnTo>
                    <a:pt x="206" y="2380"/>
                  </a:lnTo>
                  <a:lnTo>
                    <a:pt x="206" y="2385"/>
                  </a:lnTo>
                  <a:lnTo>
                    <a:pt x="206" y="2385"/>
                  </a:lnTo>
                  <a:lnTo>
                    <a:pt x="205" y="2395"/>
                  </a:lnTo>
                  <a:lnTo>
                    <a:pt x="203" y="2405"/>
                  </a:lnTo>
                  <a:lnTo>
                    <a:pt x="203" y="2405"/>
                  </a:lnTo>
                  <a:lnTo>
                    <a:pt x="203" y="2408"/>
                  </a:lnTo>
                  <a:lnTo>
                    <a:pt x="203" y="2411"/>
                  </a:lnTo>
                  <a:lnTo>
                    <a:pt x="206" y="2416"/>
                  </a:lnTo>
                  <a:lnTo>
                    <a:pt x="211" y="2420"/>
                  </a:lnTo>
                  <a:lnTo>
                    <a:pt x="211" y="2423"/>
                  </a:lnTo>
                  <a:lnTo>
                    <a:pt x="211" y="2423"/>
                  </a:lnTo>
                  <a:lnTo>
                    <a:pt x="211" y="2425"/>
                  </a:lnTo>
                  <a:lnTo>
                    <a:pt x="209" y="2425"/>
                  </a:lnTo>
                  <a:lnTo>
                    <a:pt x="203" y="2426"/>
                  </a:lnTo>
                  <a:lnTo>
                    <a:pt x="184" y="2426"/>
                  </a:lnTo>
                  <a:lnTo>
                    <a:pt x="184" y="2426"/>
                  </a:lnTo>
                  <a:lnTo>
                    <a:pt x="178" y="2428"/>
                  </a:lnTo>
                  <a:lnTo>
                    <a:pt x="175" y="2429"/>
                  </a:lnTo>
                  <a:lnTo>
                    <a:pt x="172" y="2431"/>
                  </a:lnTo>
                  <a:lnTo>
                    <a:pt x="171" y="2434"/>
                  </a:lnTo>
                  <a:lnTo>
                    <a:pt x="169" y="2440"/>
                  </a:lnTo>
                  <a:lnTo>
                    <a:pt x="166" y="2445"/>
                  </a:lnTo>
                  <a:lnTo>
                    <a:pt x="166" y="2445"/>
                  </a:lnTo>
                  <a:lnTo>
                    <a:pt x="162" y="2450"/>
                  </a:lnTo>
                  <a:lnTo>
                    <a:pt x="156" y="2454"/>
                  </a:lnTo>
                  <a:lnTo>
                    <a:pt x="153" y="2457"/>
                  </a:lnTo>
                  <a:lnTo>
                    <a:pt x="148" y="2460"/>
                  </a:lnTo>
                  <a:lnTo>
                    <a:pt x="148" y="2460"/>
                  </a:lnTo>
                  <a:lnTo>
                    <a:pt x="147" y="2468"/>
                  </a:lnTo>
                  <a:lnTo>
                    <a:pt x="144" y="2481"/>
                  </a:lnTo>
                  <a:lnTo>
                    <a:pt x="142" y="2503"/>
                  </a:lnTo>
                  <a:lnTo>
                    <a:pt x="142" y="2503"/>
                  </a:lnTo>
                  <a:lnTo>
                    <a:pt x="142" y="2506"/>
                  </a:lnTo>
                  <a:lnTo>
                    <a:pt x="145" y="2509"/>
                  </a:lnTo>
                  <a:lnTo>
                    <a:pt x="153" y="2512"/>
                  </a:lnTo>
                  <a:lnTo>
                    <a:pt x="174" y="2518"/>
                  </a:lnTo>
                  <a:lnTo>
                    <a:pt x="174" y="2518"/>
                  </a:lnTo>
                  <a:lnTo>
                    <a:pt x="178" y="2520"/>
                  </a:lnTo>
                  <a:lnTo>
                    <a:pt x="182" y="2521"/>
                  </a:lnTo>
                  <a:lnTo>
                    <a:pt x="187" y="2527"/>
                  </a:lnTo>
                  <a:lnTo>
                    <a:pt x="191" y="2533"/>
                  </a:lnTo>
                  <a:lnTo>
                    <a:pt x="196" y="2539"/>
                  </a:lnTo>
                  <a:lnTo>
                    <a:pt x="196" y="2539"/>
                  </a:lnTo>
                  <a:lnTo>
                    <a:pt x="200" y="2543"/>
                  </a:lnTo>
                  <a:lnTo>
                    <a:pt x="203" y="2546"/>
                  </a:lnTo>
                  <a:lnTo>
                    <a:pt x="206" y="2548"/>
                  </a:lnTo>
                  <a:lnTo>
                    <a:pt x="209" y="2554"/>
                  </a:lnTo>
                  <a:lnTo>
                    <a:pt x="209" y="2554"/>
                  </a:lnTo>
                  <a:lnTo>
                    <a:pt x="209" y="2559"/>
                  </a:lnTo>
                  <a:lnTo>
                    <a:pt x="209" y="2564"/>
                  </a:lnTo>
                  <a:lnTo>
                    <a:pt x="206" y="2568"/>
                  </a:lnTo>
                  <a:lnTo>
                    <a:pt x="202" y="2573"/>
                  </a:lnTo>
                  <a:lnTo>
                    <a:pt x="202" y="2573"/>
                  </a:lnTo>
                  <a:lnTo>
                    <a:pt x="194" y="2580"/>
                  </a:lnTo>
                  <a:lnTo>
                    <a:pt x="184" y="2589"/>
                  </a:lnTo>
                  <a:lnTo>
                    <a:pt x="184" y="2589"/>
                  </a:lnTo>
                  <a:lnTo>
                    <a:pt x="172" y="2601"/>
                  </a:lnTo>
                  <a:lnTo>
                    <a:pt x="166" y="2611"/>
                  </a:lnTo>
                  <a:lnTo>
                    <a:pt x="166" y="2611"/>
                  </a:lnTo>
                  <a:lnTo>
                    <a:pt x="160" y="2619"/>
                  </a:lnTo>
                  <a:lnTo>
                    <a:pt x="159" y="2622"/>
                  </a:lnTo>
                  <a:lnTo>
                    <a:pt x="159" y="2623"/>
                  </a:lnTo>
                  <a:lnTo>
                    <a:pt x="159" y="2623"/>
                  </a:lnTo>
                  <a:lnTo>
                    <a:pt x="159" y="2632"/>
                  </a:lnTo>
                  <a:lnTo>
                    <a:pt x="160" y="2642"/>
                  </a:lnTo>
                  <a:lnTo>
                    <a:pt x="160" y="2642"/>
                  </a:lnTo>
                  <a:lnTo>
                    <a:pt x="159" y="2656"/>
                  </a:lnTo>
                  <a:lnTo>
                    <a:pt x="157" y="2663"/>
                  </a:lnTo>
                  <a:lnTo>
                    <a:pt x="156" y="2666"/>
                  </a:lnTo>
                  <a:lnTo>
                    <a:pt x="156" y="2666"/>
                  </a:lnTo>
                  <a:lnTo>
                    <a:pt x="159" y="2675"/>
                  </a:lnTo>
                  <a:lnTo>
                    <a:pt x="159" y="2681"/>
                  </a:lnTo>
                  <a:lnTo>
                    <a:pt x="157" y="2684"/>
                  </a:lnTo>
                  <a:lnTo>
                    <a:pt x="156" y="2685"/>
                  </a:lnTo>
                  <a:lnTo>
                    <a:pt x="156" y="2685"/>
                  </a:lnTo>
                  <a:lnTo>
                    <a:pt x="144" y="2687"/>
                  </a:lnTo>
                  <a:lnTo>
                    <a:pt x="141" y="2688"/>
                  </a:lnTo>
                  <a:lnTo>
                    <a:pt x="141" y="2690"/>
                  </a:lnTo>
                  <a:lnTo>
                    <a:pt x="142" y="2693"/>
                  </a:lnTo>
                  <a:lnTo>
                    <a:pt x="142" y="2693"/>
                  </a:lnTo>
                  <a:lnTo>
                    <a:pt x="148" y="2702"/>
                  </a:lnTo>
                  <a:lnTo>
                    <a:pt x="159" y="2715"/>
                  </a:lnTo>
                  <a:lnTo>
                    <a:pt x="159" y="2715"/>
                  </a:lnTo>
                  <a:lnTo>
                    <a:pt x="165" y="2725"/>
                  </a:lnTo>
                  <a:lnTo>
                    <a:pt x="171" y="2737"/>
                  </a:lnTo>
                  <a:lnTo>
                    <a:pt x="175" y="2751"/>
                  </a:lnTo>
                  <a:lnTo>
                    <a:pt x="177" y="2761"/>
                  </a:lnTo>
                  <a:lnTo>
                    <a:pt x="177" y="2761"/>
                  </a:lnTo>
                  <a:lnTo>
                    <a:pt x="178" y="2765"/>
                  </a:lnTo>
                  <a:lnTo>
                    <a:pt x="177" y="2770"/>
                  </a:lnTo>
                  <a:lnTo>
                    <a:pt x="175" y="2773"/>
                  </a:lnTo>
                  <a:lnTo>
                    <a:pt x="174" y="2776"/>
                  </a:lnTo>
                  <a:lnTo>
                    <a:pt x="165" y="2783"/>
                  </a:lnTo>
                  <a:lnTo>
                    <a:pt x="151" y="2791"/>
                  </a:lnTo>
                  <a:lnTo>
                    <a:pt x="151" y="2791"/>
                  </a:lnTo>
                  <a:lnTo>
                    <a:pt x="137" y="2798"/>
                  </a:lnTo>
                  <a:lnTo>
                    <a:pt x="125" y="2805"/>
                  </a:lnTo>
                  <a:lnTo>
                    <a:pt x="122" y="2808"/>
                  </a:lnTo>
                  <a:lnTo>
                    <a:pt x="119" y="2811"/>
                  </a:lnTo>
                  <a:lnTo>
                    <a:pt x="117" y="2816"/>
                  </a:lnTo>
                  <a:lnTo>
                    <a:pt x="117" y="2820"/>
                  </a:lnTo>
                  <a:lnTo>
                    <a:pt x="117" y="2820"/>
                  </a:lnTo>
                  <a:lnTo>
                    <a:pt x="116" y="2826"/>
                  </a:lnTo>
                  <a:lnTo>
                    <a:pt x="114" y="2831"/>
                  </a:lnTo>
                  <a:lnTo>
                    <a:pt x="114" y="2831"/>
                  </a:lnTo>
                  <a:lnTo>
                    <a:pt x="117" y="2831"/>
                  </a:lnTo>
                  <a:lnTo>
                    <a:pt x="126" y="2831"/>
                  </a:lnTo>
                  <a:lnTo>
                    <a:pt x="135" y="2832"/>
                  </a:lnTo>
                  <a:lnTo>
                    <a:pt x="140" y="2835"/>
                  </a:lnTo>
                  <a:lnTo>
                    <a:pt x="144" y="2838"/>
                  </a:lnTo>
                  <a:lnTo>
                    <a:pt x="144" y="2838"/>
                  </a:lnTo>
                  <a:lnTo>
                    <a:pt x="147" y="2842"/>
                  </a:lnTo>
                  <a:lnTo>
                    <a:pt x="148" y="2847"/>
                  </a:lnTo>
                  <a:lnTo>
                    <a:pt x="148" y="2856"/>
                  </a:lnTo>
                  <a:lnTo>
                    <a:pt x="148" y="2862"/>
                  </a:lnTo>
                  <a:lnTo>
                    <a:pt x="151" y="2863"/>
                  </a:lnTo>
                  <a:lnTo>
                    <a:pt x="154" y="2866"/>
                  </a:lnTo>
                  <a:lnTo>
                    <a:pt x="154" y="2866"/>
                  </a:lnTo>
                  <a:lnTo>
                    <a:pt x="166" y="2868"/>
                  </a:lnTo>
                  <a:lnTo>
                    <a:pt x="178" y="2868"/>
                  </a:lnTo>
                  <a:lnTo>
                    <a:pt x="197" y="2868"/>
                  </a:lnTo>
                  <a:lnTo>
                    <a:pt x="197" y="2868"/>
                  </a:lnTo>
                  <a:lnTo>
                    <a:pt x="197" y="286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0" name="Freeform 69">
              <a:extLst>
                <a:ext uri="{FF2B5EF4-FFF2-40B4-BE49-F238E27FC236}">
                  <a16:creationId xmlns:a16="http://schemas.microsoft.com/office/drawing/2014/main" id="{869A6DAF-7E1B-5042-8084-F529F557B8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7675" y="5634038"/>
              <a:ext cx="479425" cy="619125"/>
            </a:xfrm>
            <a:custGeom>
              <a:avLst/>
              <a:gdLst>
                <a:gd name="T0" fmla="*/ 85 w 302"/>
                <a:gd name="T1" fmla="*/ 147 h 390"/>
                <a:gd name="T2" fmla="*/ 101 w 302"/>
                <a:gd name="T3" fmla="*/ 151 h 390"/>
                <a:gd name="T4" fmla="*/ 142 w 302"/>
                <a:gd name="T5" fmla="*/ 199 h 390"/>
                <a:gd name="T6" fmla="*/ 156 w 302"/>
                <a:gd name="T7" fmla="*/ 231 h 390"/>
                <a:gd name="T8" fmla="*/ 160 w 302"/>
                <a:gd name="T9" fmla="*/ 286 h 390"/>
                <a:gd name="T10" fmla="*/ 134 w 302"/>
                <a:gd name="T11" fmla="*/ 310 h 390"/>
                <a:gd name="T12" fmla="*/ 125 w 302"/>
                <a:gd name="T13" fmla="*/ 291 h 390"/>
                <a:gd name="T14" fmla="*/ 114 w 302"/>
                <a:gd name="T15" fmla="*/ 283 h 390"/>
                <a:gd name="T16" fmla="*/ 97 w 302"/>
                <a:gd name="T17" fmla="*/ 301 h 390"/>
                <a:gd name="T18" fmla="*/ 86 w 302"/>
                <a:gd name="T19" fmla="*/ 316 h 390"/>
                <a:gd name="T20" fmla="*/ 48 w 302"/>
                <a:gd name="T21" fmla="*/ 322 h 390"/>
                <a:gd name="T22" fmla="*/ 49 w 302"/>
                <a:gd name="T23" fmla="*/ 279 h 390"/>
                <a:gd name="T24" fmla="*/ 70 w 302"/>
                <a:gd name="T25" fmla="*/ 271 h 390"/>
                <a:gd name="T26" fmla="*/ 94 w 302"/>
                <a:gd name="T27" fmla="*/ 270 h 390"/>
                <a:gd name="T28" fmla="*/ 122 w 302"/>
                <a:gd name="T29" fmla="*/ 237 h 390"/>
                <a:gd name="T30" fmla="*/ 134 w 302"/>
                <a:gd name="T31" fmla="*/ 221 h 390"/>
                <a:gd name="T32" fmla="*/ 120 w 302"/>
                <a:gd name="T33" fmla="*/ 203 h 390"/>
                <a:gd name="T34" fmla="*/ 101 w 302"/>
                <a:gd name="T35" fmla="*/ 202 h 390"/>
                <a:gd name="T36" fmla="*/ 76 w 302"/>
                <a:gd name="T37" fmla="*/ 175 h 390"/>
                <a:gd name="T38" fmla="*/ 230 w 302"/>
                <a:gd name="T39" fmla="*/ 234 h 390"/>
                <a:gd name="T40" fmla="*/ 249 w 302"/>
                <a:gd name="T41" fmla="*/ 248 h 390"/>
                <a:gd name="T42" fmla="*/ 274 w 302"/>
                <a:gd name="T43" fmla="*/ 234 h 390"/>
                <a:gd name="T44" fmla="*/ 298 w 302"/>
                <a:gd name="T45" fmla="*/ 200 h 390"/>
                <a:gd name="T46" fmla="*/ 298 w 302"/>
                <a:gd name="T47" fmla="*/ 190 h 390"/>
                <a:gd name="T48" fmla="*/ 273 w 302"/>
                <a:gd name="T49" fmla="*/ 178 h 390"/>
                <a:gd name="T50" fmla="*/ 282 w 302"/>
                <a:gd name="T51" fmla="*/ 146 h 390"/>
                <a:gd name="T52" fmla="*/ 289 w 302"/>
                <a:gd name="T53" fmla="*/ 122 h 390"/>
                <a:gd name="T54" fmla="*/ 293 w 302"/>
                <a:gd name="T55" fmla="*/ 104 h 390"/>
                <a:gd name="T56" fmla="*/ 256 w 302"/>
                <a:gd name="T57" fmla="*/ 64 h 390"/>
                <a:gd name="T58" fmla="*/ 243 w 302"/>
                <a:gd name="T59" fmla="*/ 72 h 390"/>
                <a:gd name="T60" fmla="*/ 231 w 302"/>
                <a:gd name="T61" fmla="*/ 51 h 390"/>
                <a:gd name="T62" fmla="*/ 243 w 302"/>
                <a:gd name="T63" fmla="*/ 39 h 390"/>
                <a:gd name="T64" fmla="*/ 216 w 302"/>
                <a:gd name="T65" fmla="*/ 21 h 390"/>
                <a:gd name="T66" fmla="*/ 191 w 302"/>
                <a:gd name="T67" fmla="*/ 2 h 390"/>
                <a:gd name="T68" fmla="*/ 176 w 302"/>
                <a:gd name="T69" fmla="*/ 8 h 390"/>
                <a:gd name="T70" fmla="*/ 188 w 302"/>
                <a:gd name="T71" fmla="*/ 45 h 390"/>
                <a:gd name="T72" fmla="*/ 182 w 302"/>
                <a:gd name="T73" fmla="*/ 67 h 390"/>
                <a:gd name="T74" fmla="*/ 163 w 302"/>
                <a:gd name="T75" fmla="*/ 55 h 390"/>
                <a:gd name="T76" fmla="*/ 119 w 302"/>
                <a:gd name="T77" fmla="*/ 49 h 390"/>
                <a:gd name="T78" fmla="*/ 51 w 302"/>
                <a:gd name="T79" fmla="*/ 46 h 390"/>
                <a:gd name="T80" fmla="*/ 45 w 302"/>
                <a:gd name="T81" fmla="*/ 29 h 390"/>
                <a:gd name="T82" fmla="*/ 17 w 302"/>
                <a:gd name="T83" fmla="*/ 15 h 390"/>
                <a:gd name="T84" fmla="*/ 11 w 302"/>
                <a:gd name="T85" fmla="*/ 60 h 390"/>
                <a:gd name="T86" fmla="*/ 2 w 302"/>
                <a:gd name="T87" fmla="*/ 95 h 390"/>
                <a:gd name="T88" fmla="*/ 20 w 302"/>
                <a:gd name="T89" fmla="*/ 166 h 390"/>
                <a:gd name="T90" fmla="*/ 24 w 302"/>
                <a:gd name="T91" fmla="*/ 227 h 390"/>
                <a:gd name="T92" fmla="*/ 9 w 302"/>
                <a:gd name="T93" fmla="*/ 301 h 390"/>
                <a:gd name="T94" fmla="*/ 31 w 302"/>
                <a:gd name="T95" fmla="*/ 348 h 390"/>
                <a:gd name="T96" fmla="*/ 45 w 302"/>
                <a:gd name="T97" fmla="*/ 366 h 390"/>
                <a:gd name="T98" fmla="*/ 76 w 302"/>
                <a:gd name="T99" fmla="*/ 362 h 390"/>
                <a:gd name="T100" fmla="*/ 92 w 302"/>
                <a:gd name="T101" fmla="*/ 354 h 390"/>
                <a:gd name="T102" fmla="*/ 108 w 302"/>
                <a:gd name="T103" fmla="*/ 372 h 390"/>
                <a:gd name="T104" fmla="*/ 123 w 302"/>
                <a:gd name="T105" fmla="*/ 388 h 390"/>
                <a:gd name="T106" fmla="*/ 147 w 302"/>
                <a:gd name="T107" fmla="*/ 378 h 390"/>
                <a:gd name="T108" fmla="*/ 171 w 302"/>
                <a:gd name="T109" fmla="*/ 374 h 390"/>
                <a:gd name="T110" fmla="*/ 181 w 302"/>
                <a:gd name="T111" fmla="*/ 362 h 390"/>
                <a:gd name="T112" fmla="*/ 202 w 302"/>
                <a:gd name="T113" fmla="*/ 347 h 390"/>
                <a:gd name="T114" fmla="*/ 208 w 302"/>
                <a:gd name="T115" fmla="*/ 331 h 390"/>
                <a:gd name="T116" fmla="*/ 224 w 302"/>
                <a:gd name="T117" fmla="*/ 300 h 390"/>
                <a:gd name="T118" fmla="*/ 224 w 302"/>
                <a:gd name="T119" fmla="*/ 271 h 390"/>
                <a:gd name="T120" fmla="*/ 219 w 302"/>
                <a:gd name="T121" fmla="*/ 243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2" h="390">
                  <a:moveTo>
                    <a:pt x="71" y="166"/>
                  </a:moveTo>
                  <a:lnTo>
                    <a:pt x="71" y="166"/>
                  </a:lnTo>
                  <a:lnTo>
                    <a:pt x="71" y="162"/>
                  </a:lnTo>
                  <a:lnTo>
                    <a:pt x="73" y="159"/>
                  </a:lnTo>
                  <a:lnTo>
                    <a:pt x="77" y="153"/>
                  </a:lnTo>
                  <a:lnTo>
                    <a:pt x="85" y="147"/>
                  </a:lnTo>
                  <a:lnTo>
                    <a:pt x="85" y="147"/>
                  </a:lnTo>
                  <a:lnTo>
                    <a:pt x="92" y="146"/>
                  </a:lnTo>
                  <a:lnTo>
                    <a:pt x="97" y="147"/>
                  </a:lnTo>
                  <a:lnTo>
                    <a:pt x="99" y="150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4" y="16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17" y="180"/>
                  </a:lnTo>
                  <a:lnTo>
                    <a:pt x="126" y="187"/>
                  </a:lnTo>
                  <a:lnTo>
                    <a:pt x="142" y="199"/>
                  </a:lnTo>
                  <a:lnTo>
                    <a:pt x="142" y="199"/>
                  </a:lnTo>
                  <a:lnTo>
                    <a:pt x="145" y="203"/>
                  </a:lnTo>
                  <a:lnTo>
                    <a:pt x="148" y="212"/>
                  </a:lnTo>
                  <a:lnTo>
                    <a:pt x="151" y="223"/>
                  </a:lnTo>
                  <a:lnTo>
                    <a:pt x="156" y="231"/>
                  </a:lnTo>
                  <a:lnTo>
                    <a:pt x="156" y="231"/>
                  </a:lnTo>
                  <a:lnTo>
                    <a:pt x="165" y="249"/>
                  </a:lnTo>
                  <a:lnTo>
                    <a:pt x="168" y="257"/>
                  </a:lnTo>
                  <a:lnTo>
                    <a:pt x="169" y="264"/>
                  </a:lnTo>
                  <a:lnTo>
                    <a:pt x="169" y="264"/>
                  </a:lnTo>
                  <a:lnTo>
                    <a:pt x="166" y="273"/>
                  </a:lnTo>
                  <a:lnTo>
                    <a:pt x="160" y="286"/>
                  </a:lnTo>
                  <a:lnTo>
                    <a:pt x="147" y="310"/>
                  </a:lnTo>
                  <a:lnTo>
                    <a:pt x="147" y="310"/>
                  </a:lnTo>
                  <a:lnTo>
                    <a:pt x="144" y="311"/>
                  </a:lnTo>
                  <a:lnTo>
                    <a:pt x="141" y="313"/>
                  </a:lnTo>
                  <a:lnTo>
                    <a:pt x="138" y="311"/>
                  </a:lnTo>
                  <a:lnTo>
                    <a:pt x="134" y="310"/>
                  </a:lnTo>
                  <a:lnTo>
                    <a:pt x="131" y="308"/>
                  </a:lnTo>
                  <a:lnTo>
                    <a:pt x="128" y="306"/>
                  </a:lnTo>
                  <a:lnTo>
                    <a:pt x="126" y="303"/>
                  </a:lnTo>
                  <a:lnTo>
                    <a:pt x="125" y="298"/>
                  </a:lnTo>
                  <a:lnTo>
                    <a:pt x="125" y="298"/>
                  </a:lnTo>
                  <a:lnTo>
                    <a:pt x="125" y="291"/>
                  </a:lnTo>
                  <a:lnTo>
                    <a:pt x="122" y="285"/>
                  </a:lnTo>
                  <a:lnTo>
                    <a:pt x="120" y="283"/>
                  </a:lnTo>
                  <a:lnTo>
                    <a:pt x="119" y="283"/>
                  </a:lnTo>
                  <a:lnTo>
                    <a:pt x="117" y="283"/>
                  </a:lnTo>
                  <a:lnTo>
                    <a:pt x="114" y="283"/>
                  </a:lnTo>
                  <a:lnTo>
                    <a:pt x="114" y="283"/>
                  </a:lnTo>
                  <a:lnTo>
                    <a:pt x="110" y="289"/>
                  </a:lnTo>
                  <a:lnTo>
                    <a:pt x="105" y="294"/>
                  </a:lnTo>
                  <a:lnTo>
                    <a:pt x="101" y="300"/>
                  </a:lnTo>
                  <a:lnTo>
                    <a:pt x="99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4" y="303"/>
                  </a:lnTo>
                  <a:lnTo>
                    <a:pt x="91" y="304"/>
                  </a:lnTo>
                  <a:lnTo>
                    <a:pt x="89" y="307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6" y="316"/>
                  </a:lnTo>
                  <a:lnTo>
                    <a:pt x="83" y="319"/>
                  </a:lnTo>
                  <a:lnTo>
                    <a:pt x="73" y="322"/>
                  </a:lnTo>
                  <a:lnTo>
                    <a:pt x="62" y="323"/>
                  </a:lnTo>
                  <a:lnTo>
                    <a:pt x="52" y="323"/>
                  </a:lnTo>
                  <a:lnTo>
                    <a:pt x="52" y="323"/>
                  </a:lnTo>
                  <a:lnTo>
                    <a:pt x="48" y="322"/>
                  </a:lnTo>
                  <a:lnTo>
                    <a:pt x="46" y="319"/>
                  </a:lnTo>
                  <a:lnTo>
                    <a:pt x="45" y="314"/>
                  </a:lnTo>
                  <a:lnTo>
                    <a:pt x="45" y="308"/>
                  </a:lnTo>
                  <a:lnTo>
                    <a:pt x="48" y="295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1"/>
                  </a:lnTo>
                  <a:lnTo>
                    <a:pt x="51" y="267"/>
                  </a:lnTo>
                  <a:lnTo>
                    <a:pt x="54" y="266"/>
                  </a:lnTo>
                  <a:lnTo>
                    <a:pt x="57" y="266"/>
                  </a:lnTo>
                  <a:lnTo>
                    <a:pt x="62" y="268"/>
                  </a:lnTo>
                  <a:lnTo>
                    <a:pt x="70" y="271"/>
                  </a:lnTo>
                  <a:lnTo>
                    <a:pt x="70" y="271"/>
                  </a:lnTo>
                  <a:lnTo>
                    <a:pt x="79" y="274"/>
                  </a:lnTo>
                  <a:lnTo>
                    <a:pt x="83" y="276"/>
                  </a:lnTo>
                  <a:lnTo>
                    <a:pt x="88" y="274"/>
                  </a:lnTo>
                  <a:lnTo>
                    <a:pt x="88" y="274"/>
                  </a:lnTo>
                  <a:lnTo>
                    <a:pt x="94" y="270"/>
                  </a:lnTo>
                  <a:lnTo>
                    <a:pt x="99" y="261"/>
                  </a:lnTo>
                  <a:lnTo>
                    <a:pt x="105" y="252"/>
                  </a:lnTo>
                  <a:lnTo>
                    <a:pt x="113" y="243"/>
                  </a:lnTo>
                  <a:lnTo>
                    <a:pt x="113" y="243"/>
                  </a:lnTo>
                  <a:lnTo>
                    <a:pt x="117" y="240"/>
                  </a:lnTo>
                  <a:lnTo>
                    <a:pt x="122" y="237"/>
                  </a:lnTo>
                  <a:lnTo>
                    <a:pt x="128" y="236"/>
                  </a:lnTo>
                  <a:lnTo>
                    <a:pt x="132" y="234"/>
                  </a:lnTo>
                  <a:lnTo>
                    <a:pt x="134" y="231"/>
                  </a:lnTo>
                  <a:lnTo>
                    <a:pt x="135" y="229"/>
                  </a:lnTo>
                  <a:lnTo>
                    <a:pt x="135" y="229"/>
                  </a:lnTo>
                  <a:lnTo>
                    <a:pt x="134" y="221"/>
                  </a:lnTo>
                  <a:lnTo>
                    <a:pt x="132" y="218"/>
                  </a:lnTo>
                  <a:lnTo>
                    <a:pt x="128" y="217"/>
                  </a:lnTo>
                  <a:lnTo>
                    <a:pt x="125" y="212"/>
                  </a:lnTo>
                  <a:lnTo>
                    <a:pt x="125" y="212"/>
                  </a:lnTo>
                  <a:lnTo>
                    <a:pt x="122" y="205"/>
                  </a:lnTo>
                  <a:lnTo>
                    <a:pt x="120" y="203"/>
                  </a:lnTo>
                  <a:lnTo>
                    <a:pt x="114" y="200"/>
                  </a:lnTo>
                  <a:lnTo>
                    <a:pt x="114" y="200"/>
                  </a:lnTo>
                  <a:lnTo>
                    <a:pt x="111" y="199"/>
                  </a:lnTo>
                  <a:lnTo>
                    <a:pt x="108" y="199"/>
                  </a:lnTo>
                  <a:lnTo>
                    <a:pt x="105" y="200"/>
                  </a:lnTo>
                  <a:lnTo>
                    <a:pt x="101" y="202"/>
                  </a:lnTo>
                  <a:lnTo>
                    <a:pt x="99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89" y="196"/>
                  </a:lnTo>
                  <a:lnTo>
                    <a:pt x="82" y="186"/>
                  </a:lnTo>
                  <a:lnTo>
                    <a:pt x="76" y="175"/>
                  </a:lnTo>
                  <a:lnTo>
                    <a:pt x="71" y="166"/>
                  </a:lnTo>
                  <a:lnTo>
                    <a:pt x="71" y="166"/>
                  </a:lnTo>
                  <a:close/>
                  <a:moveTo>
                    <a:pt x="219" y="243"/>
                  </a:moveTo>
                  <a:lnTo>
                    <a:pt x="219" y="243"/>
                  </a:lnTo>
                  <a:lnTo>
                    <a:pt x="224" y="237"/>
                  </a:lnTo>
                  <a:lnTo>
                    <a:pt x="230" y="234"/>
                  </a:lnTo>
                  <a:lnTo>
                    <a:pt x="234" y="233"/>
                  </a:lnTo>
                  <a:lnTo>
                    <a:pt x="237" y="233"/>
                  </a:lnTo>
                  <a:lnTo>
                    <a:pt x="239" y="236"/>
                  </a:lnTo>
                  <a:lnTo>
                    <a:pt x="239" y="236"/>
                  </a:lnTo>
                  <a:lnTo>
                    <a:pt x="246" y="245"/>
                  </a:lnTo>
                  <a:lnTo>
                    <a:pt x="249" y="248"/>
                  </a:lnTo>
                  <a:lnTo>
                    <a:pt x="252" y="248"/>
                  </a:lnTo>
                  <a:lnTo>
                    <a:pt x="255" y="246"/>
                  </a:lnTo>
                  <a:lnTo>
                    <a:pt x="255" y="24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6" y="231"/>
                  </a:lnTo>
                  <a:lnTo>
                    <a:pt x="279" y="226"/>
                  </a:lnTo>
                  <a:lnTo>
                    <a:pt x="285" y="220"/>
                  </a:lnTo>
                  <a:lnTo>
                    <a:pt x="289" y="214"/>
                  </a:lnTo>
                  <a:lnTo>
                    <a:pt x="289" y="214"/>
                  </a:lnTo>
                  <a:lnTo>
                    <a:pt x="298" y="200"/>
                  </a:lnTo>
                  <a:lnTo>
                    <a:pt x="301" y="196"/>
                  </a:lnTo>
                  <a:lnTo>
                    <a:pt x="302" y="193"/>
                  </a:lnTo>
                  <a:lnTo>
                    <a:pt x="301" y="191"/>
                  </a:lnTo>
                  <a:lnTo>
                    <a:pt x="301" y="191"/>
                  </a:lnTo>
                  <a:lnTo>
                    <a:pt x="301" y="190"/>
                  </a:lnTo>
                  <a:lnTo>
                    <a:pt x="298" y="190"/>
                  </a:lnTo>
                  <a:lnTo>
                    <a:pt x="293" y="190"/>
                  </a:lnTo>
                  <a:lnTo>
                    <a:pt x="288" y="190"/>
                  </a:lnTo>
                  <a:lnTo>
                    <a:pt x="282" y="189"/>
                  </a:lnTo>
                  <a:lnTo>
                    <a:pt x="282" y="189"/>
                  </a:lnTo>
                  <a:lnTo>
                    <a:pt x="277" y="184"/>
                  </a:lnTo>
                  <a:lnTo>
                    <a:pt x="273" y="178"/>
                  </a:lnTo>
                  <a:lnTo>
                    <a:pt x="265" y="165"/>
                  </a:lnTo>
                  <a:lnTo>
                    <a:pt x="265" y="165"/>
                  </a:lnTo>
                  <a:lnTo>
                    <a:pt x="265" y="162"/>
                  </a:lnTo>
                  <a:lnTo>
                    <a:pt x="265" y="159"/>
                  </a:lnTo>
                  <a:lnTo>
                    <a:pt x="270" y="154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5" y="143"/>
                  </a:lnTo>
                  <a:lnTo>
                    <a:pt x="286" y="13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9" y="122"/>
                  </a:lnTo>
                  <a:lnTo>
                    <a:pt x="292" y="119"/>
                  </a:lnTo>
                  <a:lnTo>
                    <a:pt x="295" y="116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09"/>
                  </a:lnTo>
                  <a:lnTo>
                    <a:pt x="293" y="104"/>
                  </a:lnTo>
                  <a:lnTo>
                    <a:pt x="283" y="91"/>
                  </a:lnTo>
                  <a:lnTo>
                    <a:pt x="283" y="91"/>
                  </a:lnTo>
                  <a:lnTo>
                    <a:pt x="271" y="77"/>
                  </a:lnTo>
                  <a:lnTo>
                    <a:pt x="261" y="67"/>
                  </a:lnTo>
                  <a:lnTo>
                    <a:pt x="261" y="67"/>
                  </a:lnTo>
                  <a:lnTo>
                    <a:pt x="256" y="64"/>
                  </a:lnTo>
                  <a:lnTo>
                    <a:pt x="255" y="64"/>
                  </a:lnTo>
                  <a:lnTo>
                    <a:pt x="253" y="66"/>
                  </a:lnTo>
                  <a:lnTo>
                    <a:pt x="251" y="69"/>
                  </a:lnTo>
                  <a:lnTo>
                    <a:pt x="246" y="72"/>
                  </a:lnTo>
                  <a:lnTo>
                    <a:pt x="246" y="72"/>
                  </a:lnTo>
                  <a:lnTo>
                    <a:pt x="243" y="72"/>
                  </a:lnTo>
                  <a:lnTo>
                    <a:pt x="242" y="72"/>
                  </a:lnTo>
                  <a:lnTo>
                    <a:pt x="239" y="67"/>
                  </a:lnTo>
                  <a:lnTo>
                    <a:pt x="236" y="61"/>
                  </a:lnTo>
                  <a:lnTo>
                    <a:pt x="233" y="55"/>
                  </a:lnTo>
                  <a:lnTo>
                    <a:pt x="233" y="55"/>
                  </a:lnTo>
                  <a:lnTo>
                    <a:pt x="231" y="51"/>
                  </a:lnTo>
                  <a:lnTo>
                    <a:pt x="233" y="49"/>
                  </a:lnTo>
                  <a:lnTo>
                    <a:pt x="237" y="46"/>
                  </a:lnTo>
                  <a:lnTo>
                    <a:pt x="242" y="43"/>
                  </a:lnTo>
                  <a:lnTo>
                    <a:pt x="242" y="43"/>
                  </a:lnTo>
                  <a:lnTo>
                    <a:pt x="243" y="42"/>
                  </a:lnTo>
                  <a:lnTo>
                    <a:pt x="243" y="39"/>
                  </a:lnTo>
                  <a:lnTo>
                    <a:pt x="242" y="36"/>
                  </a:lnTo>
                  <a:lnTo>
                    <a:pt x="239" y="32"/>
                  </a:lnTo>
                  <a:lnTo>
                    <a:pt x="237" y="29"/>
                  </a:lnTo>
                  <a:lnTo>
                    <a:pt x="237" y="29"/>
                  </a:lnTo>
                  <a:lnTo>
                    <a:pt x="222" y="24"/>
                  </a:lnTo>
                  <a:lnTo>
                    <a:pt x="216" y="21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06" y="8"/>
                  </a:lnTo>
                  <a:lnTo>
                    <a:pt x="202" y="3"/>
                  </a:lnTo>
                  <a:lnTo>
                    <a:pt x="197" y="0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84" y="2"/>
                  </a:lnTo>
                  <a:lnTo>
                    <a:pt x="179" y="3"/>
                  </a:lnTo>
                  <a:lnTo>
                    <a:pt x="178" y="3"/>
                  </a:lnTo>
                  <a:lnTo>
                    <a:pt x="176" y="5"/>
                  </a:lnTo>
                  <a:lnTo>
                    <a:pt x="176" y="8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7" y="30"/>
                  </a:lnTo>
                  <a:lnTo>
                    <a:pt x="188" y="37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90" y="60"/>
                  </a:lnTo>
                  <a:lnTo>
                    <a:pt x="188" y="64"/>
                  </a:lnTo>
                  <a:lnTo>
                    <a:pt x="188" y="66"/>
                  </a:lnTo>
                  <a:lnTo>
                    <a:pt x="187" y="66"/>
                  </a:lnTo>
                  <a:lnTo>
                    <a:pt x="187" y="66"/>
                  </a:lnTo>
                  <a:lnTo>
                    <a:pt x="182" y="67"/>
                  </a:lnTo>
                  <a:lnTo>
                    <a:pt x="179" y="67"/>
                  </a:lnTo>
                  <a:lnTo>
                    <a:pt x="175" y="67"/>
                  </a:lnTo>
                  <a:lnTo>
                    <a:pt x="171" y="64"/>
                  </a:lnTo>
                  <a:lnTo>
                    <a:pt x="171" y="64"/>
                  </a:lnTo>
                  <a:lnTo>
                    <a:pt x="166" y="60"/>
                  </a:lnTo>
                  <a:lnTo>
                    <a:pt x="163" y="55"/>
                  </a:lnTo>
                  <a:lnTo>
                    <a:pt x="162" y="52"/>
                  </a:lnTo>
                  <a:lnTo>
                    <a:pt x="159" y="51"/>
                  </a:lnTo>
                  <a:lnTo>
                    <a:pt x="159" y="51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19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71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51" y="46"/>
                  </a:lnTo>
                  <a:lnTo>
                    <a:pt x="49" y="45"/>
                  </a:lnTo>
                  <a:lnTo>
                    <a:pt x="49" y="43"/>
                  </a:lnTo>
                  <a:lnTo>
                    <a:pt x="49" y="39"/>
                  </a:lnTo>
                  <a:lnTo>
                    <a:pt x="48" y="34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39" y="18"/>
                  </a:lnTo>
                  <a:lnTo>
                    <a:pt x="33" y="14"/>
                  </a:lnTo>
                  <a:lnTo>
                    <a:pt x="27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7" y="15"/>
                  </a:lnTo>
                  <a:lnTo>
                    <a:pt x="14" y="18"/>
                  </a:lnTo>
                  <a:lnTo>
                    <a:pt x="12" y="23"/>
                  </a:lnTo>
                  <a:lnTo>
                    <a:pt x="12" y="29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1" y="60"/>
                  </a:lnTo>
                  <a:lnTo>
                    <a:pt x="9" y="64"/>
                  </a:lnTo>
                  <a:lnTo>
                    <a:pt x="6" y="69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0" y="85"/>
                  </a:lnTo>
                  <a:lnTo>
                    <a:pt x="2" y="95"/>
                  </a:lnTo>
                  <a:lnTo>
                    <a:pt x="5" y="109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14" y="137"/>
                  </a:lnTo>
                  <a:lnTo>
                    <a:pt x="18" y="151"/>
                  </a:lnTo>
                  <a:lnTo>
                    <a:pt x="20" y="166"/>
                  </a:lnTo>
                  <a:lnTo>
                    <a:pt x="21" y="181"/>
                  </a:lnTo>
                  <a:lnTo>
                    <a:pt x="21" y="181"/>
                  </a:lnTo>
                  <a:lnTo>
                    <a:pt x="22" y="194"/>
                  </a:lnTo>
                  <a:lnTo>
                    <a:pt x="24" y="205"/>
                  </a:lnTo>
                  <a:lnTo>
                    <a:pt x="25" y="215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15" y="261"/>
                  </a:lnTo>
                  <a:lnTo>
                    <a:pt x="11" y="280"/>
                  </a:lnTo>
                  <a:lnTo>
                    <a:pt x="9" y="29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8" y="348"/>
                  </a:lnTo>
                  <a:lnTo>
                    <a:pt x="8" y="348"/>
                  </a:lnTo>
                  <a:lnTo>
                    <a:pt x="20" y="347"/>
                  </a:lnTo>
                  <a:lnTo>
                    <a:pt x="27" y="347"/>
                  </a:lnTo>
                  <a:lnTo>
                    <a:pt x="30" y="347"/>
                  </a:lnTo>
                  <a:lnTo>
                    <a:pt x="31" y="348"/>
                  </a:lnTo>
                  <a:lnTo>
                    <a:pt x="31" y="348"/>
                  </a:lnTo>
                  <a:lnTo>
                    <a:pt x="33" y="356"/>
                  </a:lnTo>
                  <a:lnTo>
                    <a:pt x="34" y="360"/>
                  </a:lnTo>
                  <a:lnTo>
                    <a:pt x="39" y="365"/>
                  </a:lnTo>
                  <a:lnTo>
                    <a:pt x="39" y="365"/>
                  </a:lnTo>
                  <a:lnTo>
                    <a:pt x="45" y="366"/>
                  </a:lnTo>
                  <a:lnTo>
                    <a:pt x="49" y="366"/>
                  </a:lnTo>
                  <a:lnTo>
                    <a:pt x="57" y="362"/>
                  </a:lnTo>
                  <a:lnTo>
                    <a:pt x="57" y="362"/>
                  </a:lnTo>
                  <a:lnTo>
                    <a:pt x="61" y="360"/>
                  </a:lnTo>
                  <a:lnTo>
                    <a:pt x="67" y="360"/>
                  </a:lnTo>
                  <a:lnTo>
                    <a:pt x="76" y="362"/>
                  </a:lnTo>
                  <a:lnTo>
                    <a:pt x="76" y="362"/>
                  </a:lnTo>
                  <a:lnTo>
                    <a:pt x="80" y="360"/>
                  </a:lnTo>
                  <a:lnTo>
                    <a:pt x="85" y="357"/>
                  </a:lnTo>
                  <a:lnTo>
                    <a:pt x="88" y="354"/>
                  </a:lnTo>
                  <a:lnTo>
                    <a:pt x="92" y="354"/>
                  </a:lnTo>
                  <a:lnTo>
                    <a:pt x="92" y="354"/>
                  </a:lnTo>
                  <a:lnTo>
                    <a:pt x="95" y="356"/>
                  </a:lnTo>
                  <a:lnTo>
                    <a:pt x="101" y="359"/>
                  </a:lnTo>
                  <a:lnTo>
                    <a:pt x="105" y="362"/>
                  </a:lnTo>
                  <a:lnTo>
                    <a:pt x="108" y="366"/>
                  </a:lnTo>
                  <a:lnTo>
                    <a:pt x="108" y="366"/>
                  </a:lnTo>
                  <a:lnTo>
                    <a:pt x="108" y="372"/>
                  </a:lnTo>
                  <a:lnTo>
                    <a:pt x="108" y="377"/>
                  </a:lnTo>
                  <a:lnTo>
                    <a:pt x="110" y="381"/>
                  </a:lnTo>
                  <a:lnTo>
                    <a:pt x="110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23" y="388"/>
                  </a:lnTo>
                  <a:lnTo>
                    <a:pt x="129" y="390"/>
                  </a:lnTo>
                  <a:lnTo>
                    <a:pt x="136" y="388"/>
                  </a:lnTo>
                  <a:lnTo>
                    <a:pt x="136" y="388"/>
                  </a:lnTo>
                  <a:lnTo>
                    <a:pt x="141" y="385"/>
                  </a:lnTo>
                  <a:lnTo>
                    <a:pt x="144" y="383"/>
                  </a:lnTo>
                  <a:lnTo>
                    <a:pt x="147" y="378"/>
                  </a:lnTo>
                  <a:lnTo>
                    <a:pt x="150" y="375"/>
                  </a:lnTo>
                  <a:lnTo>
                    <a:pt x="150" y="375"/>
                  </a:lnTo>
                  <a:lnTo>
                    <a:pt x="154" y="375"/>
                  </a:lnTo>
                  <a:lnTo>
                    <a:pt x="160" y="375"/>
                  </a:lnTo>
                  <a:lnTo>
                    <a:pt x="171" y="374"/>
                  </a:lnTo>
                  <a:lnTo>
                    <a:pt x="171" y="374"/>
                  </a:lnTo>
                  <a:lnTo>
                    <a:pt x="172" y="372"/>
                  </a:lnTo>
                  <a:lnTo>
                    <a:pt x="175" y="371"/>
                  </a:lnTo>
                  <a:lnTo>
                    <a:pt x="175" y="371"/>
                  </a:lnTo>
                  <a:lnTo>
                    <a:pt x="178" y="366"/>
                  </a:lnTo>
                  <a:lnTo>
                    <a:pt x="181" y="362"/>
                  </a:lnTo>
                  <a:lnTo>
                    <a:pt x="181" y="362"/>
                  </a:lnTo>
                  <a:lnTo>
                    <a:pt x="182" y="357"/>
                  </a:lnTo>
                  <a:lnTo>
                    <a:pt x="187" y="353"/>
                  </a:lnTo>
                  <a:lnTo>
                    <a:pt x="193" y="350"/>
                  </a:lnTo>
                  <a:lnTo>
                    <a:pt x="197" y="348"/>
                  </a:lnTo>
                  <a:lnTo>
                    <a:pt x="197" y="348"/>
                  </a:lnTo>
                  <a:lnTo>
                    <a:pt x="202" y="347"/>
                  </a:lnTo>
                  <a:lnTo>
                    <a:pt x="205" y="346"/>
                  </a:lnTo>
                  <a:lnTo>
                    <a:pt x="208" y="341"/>
                  </a:lnTo>
                  <a:lnTo>
                    <a:pt x="209" y="337"/>
                  </a:lnTo>
                  <a:lnTo>
                    <a:pt x="209" y="337"/>
                  </a:lnTo>
                  <a:lnTo>
                    <a:pt x="209" y="334"/>
                  </a:lnTo>
                  <a:lnTo>
                    <a:pt x="208" y="331"/>
                  </a:lnTo>
                  <a:lnTo>
                    <a:pt x="208" y="328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19" y="307"/>
                  </a:lnTo>
                  <a:lnTo>
                    <a:pt x="222" y="301"/>
                  </a:lnTo>
                  <a:lnTo>
                    <a:pt x="224" y="300"/>
                  </a:lnTo>
                  <a:lnTo>
                    <a:pt x="222" y="298"/>
                  </a:lnTo>
                  <a:lnTo>
                    <a:pt x="222" y="298"/>
                  </a:lnTo>
                  <a:lnTo>
                    <a:pt x="222" y="292"/>
                  </a:lnTo>
                  <a:lnTo>
                    <a:pt x="224" y="285"/>
                  </a:lnTo>
                  <a:lnTo>
                    <a:pt x="224" y="276"/>
                  </a:lnTo>
                  <a:lnTo>
                    <a:pt x="224" y="271"/>
                  </a:lnTo>
                  <a:lnTo>
                    <a:pt x="222" y="266"/>
                  </a:lnTo>
                  <a:lnTo>
                    <a:pt x="222" y="266"/>
                  </a:lnTo>
                  <a:lnTo>
                    <a:pt x="216" y="252"/>
                  </a:lnTo>
                  <a:lnTo>
                    <a:pt x="216" y="248"/>
                  </a:lnTo>
                  <a:lnTo>
                    <a:pt x="219" y="243"/>
                  </a:lnTo>
                  <a:lnTo>
                    <a:pt x="219" y="24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1" name="Freeform 70">
              <a:extLst>
                <a:ext uri="{FF2B5EF4-FFF2-40B4-BE49-F238E27FC236}">
                  <a16:creationId xmlns:a16="http://schemas.microsoft.com/office/drawing/2014/main" id="{0A5E3769-80C5-514E-9823-D8AC58B857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25" y="4581525"/>
              <a:ext cx="708025" cy="458787"/>
            </a:xfrm>
            <a:custGeom>
              <a:avLst/>
              <a:gdLst>
                <a:gd name="T0" fmla="*/ 158 w 446"/>
                <a:gd name="T1" fmla="*/ 235 h 289"/>
                <a:gd name="T2" fmla="*/ 188 w 446"/>
                <a:gd name="T3" fmla="*/ 237 h 289"/>
                <a:gd name="T4" fmla="*/ 215 w 446"/>
                <a:gd name="T5" fmla="*/ 229 h 289"/>
                <a:gd name="T6" fmla="*/ 244 w 446"/>
                <a:gd name="T7" fmla="*/ 244 h 289"/>
                <a:gd name="T8" fmla="*/ 244 w 446"/>
                <a:gd name="T9" fmla="*/ 264 h 289"/>
                <a:gd name="T10" fmla="*/ 266 w 446"/>
                <a:gd name="T11" fmla="*/ 271 h 289"/>
                <a:gd name="T12" fmla="*/ 286 w 446"/>
                <a:gd name="T13" fmla="*/ 289 h 289"/>
                <a:gd name="T14" fmla="*/ 299 w 446"/>
                <a:gd name="T15" fmla="*/ 275 h 289"/>
                <a:gd name="T16" fmla="*/ 320 w 446"/>
                <a:gd name="T17" fmla="*/ 274 h 289"/>
                <a:gd name="T18" fmla="*/ 334 w 446"/>
                <a:gd name="T19" fmla="*/ 262 h 289"/>
                <a:gd name="T20" fmla="*/ 354 w 446"/>
                <a:gd name="T21" fmla="*/ 268 h 289"/>
                <a:gd name="T22" fmla="*/ 377 w 446"/>
                <a:gd name="T23" fmla="*/ 280 h 289"/>
                <a:gd name="T24" fmla="*/ 386 w 446"/>
                <a:gd name="T25" fmla="*/ 271 h 289"/>
                <a:gd name="T26" fmla="*/ 400 w 446"/>
                <a:gd name="T27" fmla="*/ 275 h 289"/>
                <a:gd name="T28" fmla="*/ 410 w 446"/>
                <a:gd name="T29" fmla="*/ 275 h 289"/>
                <a:gd name="T30" fmla="*/ 411 w 446"/>
                <a:gd name="T31" fmla="*/ 241 h 289"/>
                <a:gd name="T32" fmla="*/ 420 w 446"/>
                <a:gd name="T33" fmla="*/ 219 h 289"/>
                <a:gd name="T34" fmla="*/ 441 w 446"/>
                <a:gd name="T35" fmla="*/ 206 h 289"/>
                <a:gd name="T36" fmla="*/ 437 w 446"/>
                <a:gd name="T37" fmla="*/ 201 h 289"/>
                <a:gd name="T38" fmla="*/ 420 w 446"/>
                <a:gd name="T39" fmla="*/ 190 h 289"/>
                <a:gd name="T40" fmla="*/ 403 w 446"/>
                <a:gd name="T41" fmla="*/ 181 h 289"/>
                <a:gd name="T42" fmla="*/ 386 w 446"/>
                <a:gd name="T43" fmla="*/ 197 h 289"/>
                <a:gd name="T44" fmla="*/ 361 w 446"/>
                <a:gd name="T45" fmla="*/ 188 h 289"/>
                <a:gd name="T46" fmla="*/ 339 w 446"/>
                <a:gd name="T47" fmla="*/ 163 h 289"/>
                <a:gd name="T48" fmla="*/ 312 w 446"/>
                <a:gd name="T49" fmla="*/ 154 h 289"/>
                <a:gd name="T50" fmla="*/ 286 w 446"/>
                <a:gd name="T51" fmla="*/ 107 h 289"/>
                <a:gd name="T52" fmla="*/ 269 w 446"/>
                <a:gd name="T53" fmla="*/ 84 h 289"/>
                <a:gd name="T54" fmla="*/ 275 w 446"/>
                <a:gd name="T55" fmla="*/ 67 h 289"/>
                <a:gd name="T56" fmla="*/ 259 w 446"/>
                <a:gd name="T57" fmla="*/ 62 h 289"/>
                <a:gd name="T58" fmla="*/ 241 w 446"/>
                <a:gd name="T59" fmla="*/ 50 h 289"/>
                <a:gd name="T60" fmla="*/ 243 w 446"/>
                <a:gd name="T61" fmla="*/ 31 h 289"/>
                <a:gd name="T62" fmla="*/ 232 w 446"/>
                <a:gd name="T63" fmla="*/ 22 h 289"/>
                <a:gd name="T64" fmla="*/ 238 w 446"/>
                <a:gd name="T65" fmla="*/ 1 h 289"/>
                <a:gd name="T66" fmla="*/ 209 w 446"/>
                <a:gd name="T67" fmla="*/ 10 h 289"/>
                <a:gd name="T68" fmla="*/ 175 w 446"/>
                <a:gd name="T69" fmla="*/ 4 h 289"/>
                <a:gd name="T70" fmla="*/ 157 w 446"/>
                <a:gd name="T71" fmla="*/ 10 h 289"/>
                <a:gd name="T72" fmla="*/ 138 w 446"/>
                <a:gd name="T73" fmla="*/ 16 h 289"/>
                <a:gd name="T74" fmla="*/ 114 w 446"/>
                <a:gd name="T75" fmla="*/ 28 h 289"/>
                <a:gd name="T76" fmla="*/ 83 w 446"/>
                <a:gd name="T77" fmla="*/ 46 h 289"/>
                <a:gd name="T78" fmla="*/ 25 w 446"/>
                <a:gd name="T79" fmla="*/ 44 h 289"/>
                <a:gd name="T80" fmla="*/ 19 w 446"/>
                <a:gd name="T81" fmla="*/ 58 h 289"/>
                <a:gd name="T82" fmla="*/ 7 w 446"/>
                <a:gd name="T83" fmla="*/ 83 h 289"/>
                <a:gd name="T84" fmla="*/ 44 w 446"/>
                <a:gd name="T85" fmla="*/ 117 h 289"/>
                <a:gd name="T86" fmla="*/ 63 w 446"/>
                <a:gd name="T87" fmla="*/ 115 h 289"/>
                <a:gd name="T88" fmla="*/ 84 w 446"/>
                <a:gd name="T89" fmla="*/ 90 h 289"/>
                <a:gd name="T90" fmla="*/ 87 w 446"/>
                <a:gd name="T91" fmla="*/ 96 h 289"/>
                <a:gd name="T92" fmla="*/ 87 w 446"/>
                <a:gd name="T93" fmla="*/ 147 h 289"/>
                <a:gd name="T94" fmla="*/ 126 w 446"/>
                <a:gd name="T95" fmla="*/ 160 h 289"/>
                <a:gd name="T96" fmla="*/ 106 w 446"/>
                <a:gd name="T97" fmla="*/ 172 h 289"/>
                <a:gd name="T98" fmla="*/ 111 w 446"/>
                <a:gd name="T99" fmla="*/ 188 h 289"/>
                <a:gd name="T100" fmla="*/ 133 w 446"/>
                <a:gd name="T101" fmla="*/ 200 h 289"/>
                <a:gd name="T102" fmla="*/ 133 w 446"/>
                <a:gd name="T103" fmla="*/ 216 h 289"/>
                <a:gd name="T104" fmla="*/ 138 w 446"/>
                <a:gd name="T105" fmla="*/ 228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6" h="289">
                  <a:moveTo>
                    <a:pt x="138" y="228"/>
                  </a:moveTo>
                  <a:lnTo>
                    <a:pt x="138" y="228"/>
                  </a:lnTo>
                  <a:lnTo>
                    <a:pt x="148" y="231"/>
                  </a:lnTo>
                  <a:lnTo>
                    <a:pt x="158" y="235"/>
                  </a:lnTo>
                  <a:lnTo>
                    <a:pt x="158" y="235"/>
                  </a:lnTo>
                  <a:lnTo>
                    <a:pt x="166" y="237"/>
                  </a:lnTo>
                  <a:lnTo>
                    <a:pt x="173" y="235"/>
                  </a:lnTo>
                  <a:lnTo>
                    <a:pt x="180" y="235"/>
                  </a:lnTo>
                  <a:lnTo>
                    <a:pt x="188" y="237"/>
                  </a:lnTo>
                  <a:lnTo>
                    <a:pt x="188" y="237"/>
                  </a:lnTo>
                  <a:lnTo>
                    <a:pt x="195" y="237"/>
                  </a:lnTo>
                  <a:lnTo>
                    <a:pt x="201" y="235"/>
                  </a:lnTo>
                  <a:lnTo>
                    <a:pt x="207" y="232"/>
                  </a:lnTo>
                  <a:lnTo>
                    <a:pt x="215" y="229"/>
                  </a:lnTo>
                  <a:lnTo>
                    <a:pt x="215" y="229"/>
                  </a:lnTo>
                  <a:lnTo>
                    <a:pt x="217" y="229"/>
                  </a:lnTo>
                  <a:lnTo>
                    <a:pt x="222" y="229"/>
                  </a:lnTo>
                  <a:lnTo>
                    <a:pt x="231" y="234"/>
                  </a:lnTo>
                  <a:lnTo>
                    <a:pt x="238" y="238"/>
                  </a:lnTo>
                  <a:lnTo>
                    <a:pt x="244" y="244"/>
                  </a:lnTo>
                  <a:lnTo>
                    <a:pt x="244" y="244"/>
                  </a:lnTo>
                  <a:lnTo>
                    <a:pt x="244" y="250"/>
                  </a:lnTo>
                  <a:lnTo>
                    <a:pt x="243" y="255"/>
                  </a:lnTo>
                  <a:lnTo>
                    <a:pt x="243" y="259"/>
                  </a:lnTo>
                  <a:lnTo>
                    <a:pt x="244" y="264"/>
                  </a:lnTo>
                  <a:lnTo>
                    <a:pt x="244" y="264"/>
                  </a:lnTo>
                  <a:lnTo>
                    <a:pt x="249" y="267"/>
                  </a:lnTo>
                  <a:lnTo>
                    <a:pt x="255" y="268"/>
                  </a:lnTo>
                  <a:lnTo>
                    <a:pt x="260" y="269"/>
                  </a:lnTo>
                  <a:lnTo>
                    <a:pt x="266" y="271"/>
                  </a:lnTo>
                  <a:lnTo>
                    <a:pt x="266" y="271"/>
                  </a:lnTo>
                  <a:lnTo>
                    <a:pt x="272" y="275"/>
                  </a:lnTo>
                  <a:lnTo>
                    <a:pt x="277" y="280"/>
                  </a:lnTo>
                  <a:lnTo>
                    <a:pt x="286" y="289"/>
                  </a:lnTo>
                  <a:lnTo>
                    <a:pt x="286" y="289"/>
                  </a:lnTo>
                  <a:lnTo>
                    <a:pt x="287" y="289"/>
                  </a:lnTo>
                  <a:lnTo>
                    <a:pt x="287" y="289"/>
                  </a:lnTo>
                  <a:lnTo>
                    <a:pt x="292" y="286"/>
                  </a:lnTo>
                  <a:lnTo>
                    <a:pt x="296" y="281"/>
                  </a:lnTo>
                  <a:lnTo>
                    <a:pt x="299" y="275"/>
                  </a:lnTo>
                  <a:lnTo>
                    <a:pt x="302" y="274"/>
                  </a:lnTo>
                  <a:lnTo>
                    <a:pt x="302" y="274"/>
                  </a:lnTo>
                  <a:lnTo>
                    <a:pt x="308" y="274"/>
                  </a:lnTo>
                  <a:lnTo>
                    <a:pt x="314" y="275"/>
                  </a:lnTo>
                  <a:lnTo>
                    <a:pt x="320" y="274"/>
                  </a:lnTo>
                  <a:lnTo>
                    <a:pt x="320" y="274"/>
                  </a:lnTo>
                  <a:lnTo>
                    <a:pt x="323" y="274"/>
                  </a:lnTo>
                  <a:lnTo>
                    <a:pt x="326" y="271"/>
                  </a:lnTo>
                  <a:lnTo>
                    <a:pt x="330" y="267"/>
                  </a:lnTo>
                  <a:lnTo>
                    <a:pt x="334" y="262"/>
                  </a:lnTo>
                  <a:lnTo>
                    <a:pt x="337" y="262"/>
                  </a:lnTo>
                  <a:lnTo>
                    <a:pt x="339" y="264"/>
                  </a:lnTo>
                  <a:lnTo>
                    <a:pt x="339" y="264"/>
                  </a:lnTo>
                  <a:lnTo>
                    <a:pt x="345" y="267"/>
                  </a:lnTo>
                  <a:lnTo>
                    <a:pt x="354" y="268"/>
                  </a:lnTo>
                  <a:lnTo>
                    <a:pt x="361" y="271"/>
                  </a:lnTo>
                  <a:lnTo>
                    <a:pt x="367" y="272"/>
                  </a:lnTo>
                  <a:lnTo>
                    <a:pt x="367" y="272"/>
                  </a:lnTo>
                  <a:lnTo>
                    <a:pt x="374" y="280"/>
                  </a:lnTo>
                  <a:lnTo>
                    <a:pt x="377" y="280"/>
                  </a:lnTo>
                  <a:lnTo>
                    <a:pt x="379" y="280"/>
                  </a:lnTo>
                  <a:lnTo>
                    <a:pt x="380" y="278"/>
                  </a:lnTo>
                  <a:lnTo>
                    <a:pt x="380" y="278"/>
                  </a:lnTo>
                  <a:lnTo>
                    <a:pt x="383" y="274"/>
                  </a:lnTo>
                  <a:lnTo>
                    <a:pt x="386" y="271"/>
                  </a:lnTo>
                  <a:lnTo>
                    <a:pt x="391" y="269"/>
                  </a:lnTo>
                  <a:lnTo>
                    <a:pt x="392" y="269"/>
                  </a:lnTo>
                  <a:lnTo>
                    <a:pt x="395" y="272"/>
                  </a:lnTo>
                  <a:lnTo>
                    <a:pt x="395" y="272"/>
                  </a:lnTo>
                  <a:lnTo>
                    <a:pt x="400" y="275"/>
                  </a:lnTo>
                  <a:lnTo>
                    <a:pt x="404" y="278"/>
                  </a:lnTo>
                  <a:lnTo>
                    <a:pt x="409" y="278"/>
                  </a:lnTo>
                  <a:lnTo>
                    <a:pt x="410" y="278"/>
                  </a:lnTo>
                  <a:lnTo>
                    <a:pt x="410" y="275"/>
                  </a:lnTo>
                  <a:lnTo>
                    <a:pt x="410" y="275"/>
                  </a:lnTo>
                  <a:lnTo>
                    <a:pt x="410" y="259"/>
                  </a:lnTo>
                  <a:lnTo>
                    <a:pt x="410" y="246"/>
                  </a:lnTo>
                  <a:lnTo>
                    <a:pt x="410" y="246"/>
                  </a:lnTo>
                  <a:lnTo>
                    <a:pt x="410" y="244"/>
                  </a:lnTo>
                  <a:lnTo>
                    <a:pt x="411" y="241"/>
                  </a:lnTo>
                  <a:lnTo>
                    <a:pt x="416" y="235"/>
                  </a:lnTo>
                  <a:lnTo>
                    <a:pt x="416" y="235"/>
                  </a:lnTo>
                  <a:lnTo>
                    <a:pt x="417" y="228"/>
                  </a:lnTo>
                  <a:lnTo>
                    <a:pt x="419" y="222"/>
                  </a:lnTo>
                  <a:lnTo>
                    <a:pt x="420" y="219"/>
                  </a:lnTo>
                  <a:lnTo>
                    <a:pt x="420" y="219"/>
                  </a:lnTo>
                  <a:lnTo>
                    <a:pt x="426" y="215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41" y="206"/>
                  </a:lnTo>
                  <a:lnTo>
                    <a:pt x="446" y="201"/>
                  </a:lnTo>
                  <a:lnTo>
                    <a:pt x="446" y="201"/>
                  </a:lnTo>
                  <a:lnTo>
                    <a:pt x="443" y="203"/>
                  </a:lnTo>
                  <a:lnTo>
                    <a:pt x="441" y="203"/>
                  </a:lnTo>
                  <a:lnTo>
                    <a:pt x="437" y="201"/>
                  </a:lnTo>
                  <a:lnTo>
                    <a:pt x="434" y="198"/>
                  </a:lnTo>
                  <a:lnTo>
                    <a:pt x="429" y="195"/>
                  </a:lnTo>
                  <a:lnTo>
                    <a:pt x="429" y="195"/>
                  </a:lnTo>
                  <a:lnTo>
                    <a:pt x="425" y="194"/>
                  </a:lnTo>
                  <a:lnTo>
                    <a:pt x="420" y="190"/>
                  </a:lnTo>
                  <a:lnTo>
                    <a:pt x="411" y="178"/>
                  </a:lnTo>
                  <a:lnTo>
                    <a:pt x="411" y="178"/>
                  </a:lnTo>
                  <a:lnTo>
                    <a:pt x="410" y="176"/>
                  </a:lnTo>
                  <a:lnTo>
                    <a:pt x="407" y="176"/>
                  </a:lnTo>
                  <a:lnTo>
                    <a:pt x="403" y="181"/>
                  </a:lnTo>
                  <a:lnTo>
                    <a:pt x="397" y="188"/>
                  </a:lnTo>
                  <a:lnTo>
                    <a:pt x="392" y="194"/>
                  </a:lnTo>
                  <a:lnTo>
                    <a:pt x="392" y="194"/>
                  </a:lnTo>
                  <a:lnTo>
                    <a:pt x="389" y="195"/>
                  </a:lnTo>
                  <a:lnTo>
                    <a:pt x="386" y="197"/>
                  </a:lnTo>
                  <a:lnTo>
                    <a:pt x="377" y="197"/>
                  </a:lnTo>
                  <a:lnTo>
                    <a:pt x="370" y="195"/>
                  </a:lnTo>
                  <a:lnTo>
                    <a:pt x="366" y="194"/>
                  </a:lnTo>
                  <a:lnTo>
                    <a:pt x="366" y="194"/>
                  </a:lnTo>
                  <a:lnTo>
                    <a:pt x="361" y="188"/>
                  </a:lnTo>
                  <a:lnTo>
                    <a:pt x="357" y="181"/>
                  </a:lnTo>
                  <a:lnTo>
                    <a:pt x="349" y="170"/>
                  </a:lnTo>
                  <a:lnTo>
                    <a:pt x="349" y="170"/>
                  </a:lnTo>
                  <a:lnTo>
                    <a:pt x="343" y="166"/>
                  </a:lnTo>
                  <a:lnTo>
                    <a:pt x="339" y="163"/>
                  </a:lnTo>
                  <a:lnTo>
                    <a:pt x="332" y="161"/>
                  </a:lnTo>
                  <a:lnTo>
                    <a:pt x="332" y="161"/>
                  </a:lnTo>
                  <a:lnTo>
                    <a:pt x="320" y="158"/>
                  </a:lnTo>
                  <a:lnTo>
                    <a:pt x="312" y="154"/>
                  </a:lnTo>
                  <a:lnTo>
                    <a:pt x="312" y="154"/>
                  </a:lnTo>
                  <a:lnTo>
                    <a:pt x="306" y="148"/>
                  </a:lnTo>
                  <a:lnTo>
                    <a:pt x="302" y="142"/>
                  </a:lnTo>
                  <a:lnTo>
                    <a:pt x="293" y="123"/>
                  </a:lnTo>
                  <a:lnTo>
                    <a:pt x="293" y="123"/>
                  </a:lnTo>
                  <a:lnTo>
                    <a:pt x="286" y="107"/>
                  </a:lnTo>
                  <a:lnTo>
                    <a:pt x="281" y="99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1" y="89"/>
                  </a:lnTo>
                  <a:lnTo>
                    <a:pt x="269" y="84"/>
                  </a:lnTo>
                  <a:lnTo>
                    <a:pt x="269" y="81"/>
                  </a:lnTo>
                  <a:lnTo>
                    <a:pt x="271" y="78"/>
                  </a:lnTo>
                  <a:lnTo>
                    <a:pt x="274" y="71"/>
                  </a:lnTo>
                  <a:lnTo>
                    <a:pt x="275" y="67"/>
                  </a:lnTo>
                  <a:lnTo>
                    <a:pt x="275" y="67"/>
                  </a:lnTo>
                  <a:lnTo>
                    <a:pt x="274" y="64"/>
                  </a:lnTo>
                  <a:lnTo>
                    <a:pt x="271" y="62"/>
                  </a:lnTo>
                  <a:lnTo>
                    <a:pt x="265" y="62"/>
                  </a:lnTo>
                  <a:lnTo>
                    <a:pt x="259" y="62"/>
                  </a:lnTo>
                  <a:lnTo>
                    <a:pt x="259" y="62"/>
                  </a:lnTo>
                  <a:lnTo>
                    <a:pt x="255" y="61"/>
                  </a:lnTo>
                  <a:lnTo>
                    <a:pt x="252" y="59"/>
                  </a:lnTo>
                  <a:lnTo>
                    <a:pt x="243" y="52"/>
                  </a:lnTo>
                  <a:lnTo>
                    <a:pt x="243" y="52"/>
                  </a:lnTo>
                  <a:lnTo>
                    <a:pt x="241" y="50"/>
                  </a:lnTo>
                  <a:lnTo>
                    <a:pt x="241" y="47"/>
                  </a:lnTo>
                  <a:lnTo>
                    <a:pt x="241" y="41"/>
                  </a:lnTo>
                  <a:lnTo>
                    <a:pt x="243" y="37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1" y="27"/>
                  </a:lnTo>
                  <a:lnTo>
                    <a:pt x="238" y="25"/>
                  </a:lnTo>
                  <a:lnTo>
                    <a:pt x="235" y="24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18"/>
                  </a:lnTo>
                  <a:lnTo>
                    <a:pt x="234" y="12"/>
                  </a:lnTo>
                  <a:lnTo>
                    <a:pt x="238" y="3"/>
                  </a:lnTo>
                  <a:lnTo>
                    <a:pt x="238" y="3"/>
                  </a:lnTo>
                  <a:lnTo>
                    <a:pt x="238" y="1"/>
                  </a:lnTo>
                  <a:lnTo>
                    <a:pt x="234" y="0"/>
                  </a:lnTo>
                  <a:lnTo>
                    <a:pt x="229" y="1"/>
                  </a:lnTo>
                  <a:lnTo>
                    <a:pt x="222" y="3"/>
                  </a:lnTo>
                  <a:lnTo>
                    <a:pt x="222" y="3"/>
                  </a:lnTo>
                  <a:lnTo>
                    <a:pt x="209" y="10"/>
                  </a:lnTo>
                  <a:lnTo>
                    <a:pt x="203" y="13"/>
                  </a:lnTo>
                  <a:lnTo>
                    <a:pt x="198" y="15"/>
                  </a:lnTo>
                  <a:lnTo>
                    <a:pt x="198" y="15"/>
                  </a:lnTo>
                  <a:lnTo>
                    <a:pt x="189" y="10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69" y="1"/>
                  </a:lnTo>
                  <a:lnTo>
                    <a:pt x="164" y="3"/>
                  </a:lnTo>
                  <a:lnTo>
                    <a:pt x="157" y="10"/>
                  </a:lnTo>
                  <a:lnTo>
                    <a:pt x="157" y="10"/>
                  </a:lnTo>
                  <a:lnTo>
                    <a:pt x="151" y="13"/>
                  </a:lnTo>
                  <a:lnTo>
                    <a:pt x="145" y="16"/>
                  </a:lnTo>
                  <a:lnTo>
                    <a:pt x="140" y="16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2" y="15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0" y="22"/>
                  </a:lnTo>
                  <a:lnTo>
                    <a:pt x="114" y="28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2" y="38"/>
                  </a:lnTo>
                  <a:lnTo>
                    <a:pt x="93" y="43"/>
                  </a:lnTo>
                  <a:lnTo>
                    <a:pt x="83" y="46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47" y="44"/>
                  </a:lnTo>
                  <a:lnTo>
                    <a:pt x="32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4" y="47"/>
                  </a:lnTo>
                  <a:lnTo>
                    <a:pt x="24" y="50"/>
                  </a:lnTo>
                  <a:lnTo>
                    <a:pt x="22" y="55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7" y="65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7" y="83"/>
                  </a:lnTo>
                  <a:lnTo>
                    <a:pt x="13" y="92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37" y="112"/>
                  </a:lnTo>
                  <a:lnTo>
                    <a:pt x="44" y="117"/>
                  </a:lnTo>
                  <a:lnTo>
                    <a:pt x="53" y="118"/>
                  </a:lnTo>
                  <a:lnTo>
                    <a:pt x="53" y="118"/>
                  </a:lnTo>
                  <a:lnTo>
                    <a:pt x="58" y="120"/>
                  </a:lnTo>
                  <a:lnTo>
                    <a:pt x="61" y="118"/>
                  </a:lnTo>
                  <a:lnTo>
                    <a:pt x="63" y="115"/>
                  </a:lnTo>
                  <a:lnTo>
                    <a:pt x="66" y="114"/>
                  </a:lnTo>
                  <a:lnTo>
                    <a:pt x="71" y="107"/>
                  </a:lnTo>
                  <a:lnTo>
                    <a:pt x="74" y="102"/>
                  </a:lnTo>
                  <a:lnTo>
                    <a:pt x="74" y="102"/>
                  </a:lnTo>
                  <a:lnTo>
                    <a:pt x="84" y="90"/>
                  </a:lnTo>
                  <a:lnTo>
                    <a:pt x="86" y="89"/>
                  </a:lnTo>
                  <a:lnTo>
                    <a:pt x="87" y="89"/>
                  </a:lnTo>
                  <a:lnTo>
                    <a:pt x="87" y="90"/>
                  </a:lnTo>
                  <a:lnTo>
                    <a:pt x="87" y="96"/>
                  </a:lnTo>
                  <a:lnTo>
                    <a:pt x="87" y="96"/>
                  </a:lnTo>
                  <a:lnTo>
                    <a:pt x="84" y="129"/>
                  </a:lnTo>
                  <a:lnTo>
                    <a:pt x="84" y="141"/>
                  </a:lnTo>
                  <a:lnTo>
                    <a:pt x="84" y="145"/>
                  </a:lnTo>
                  <a:lnTo>
                    <a:pt x="87" y="147"/>
                  </a:lnTo>
                  <a:lnTo>
                    <a:pt x="87" y="147"/>
                  </a:lnTo>
                  <a:lnTo>
                    <a:pt x="115" y="154"/>
                  </a:lnTo>
                  <a:lnTo>
                    <a:pt x="115" y="154"/>
                  </a:lnTo>
                  <a:lnTo>
                    <a:pt x="120" y="155"/>
                  </a:lnTo>
                  <a:lnTo>
                    <a:pt x="124" y="158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4" y="163"/>
                  </a:lnTo>
                  <a:lnTo>
                    <a:pt x="120" y="166"/>
                  </a:lnTo>
                  <a:lnTo>
                    <a:pt x="120" y="166"/>
                  </a:lnTo>
                  <a:lnTo>
                    <a:pt x="106" y="172"/>
                  </a:lnTo>
                  <a:lnTo>
                    <a:pt x="103" y="175"/>
                  </a:lnTo>
                  <a:lnTo>
                    <a:pt x="102" y="176"/>
                  </a:lnTo>
                  <a:lnTo>
                    <a:pt x="103" y="178"/>
                  </a:lnTo>
                  <a:lnTo>
                    <a:pt x="103" y="178"/>
                  </a:lnTo>
                  <a:lnTo>
                    <a:pt x="111" y="188"/>
                  </a:lnTo>
                  <a:lnTo>
                    <a:pt x="111" y="188"/>
                  </a:lnTo>
                  <a:lnTo>
                    <a:pt x="118" y="194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33" y="200"/>
                  </a:lnTo>
                  <a:lnTo>
                    <a:pt x="136" y="201"/>
                  </a:lnTo>
                  <a:lnTo>
                    <a:pt x="138" y="204"/>
                  </a:lnTo>
                  <a:lnTo>
                    <a:pt x="138" y="204"/>
                  </a:lnTo>
                  <a:lnTo>
                    <a:pt x="136" y="209"/>
                  </a:lnTo>
                  <a:lnTo>
                    <a:pt x="133" y="216"/>
                  </a:lnTo>
                  <a:lnTo>
                    <a:pt x="132" y="219"/>
                  </a:lnTo>
                  <a:lnTo>
                    <a:pt x="133" y="224"/>
                  </a:lnTo>
                  <a:lnTo>
                    <a:pt x="135" y="225"/>
                  </a:lnTo>
                  <a:lnTo>
                    <a:pt x="138" y="228"/>
                  </a:lnTo>
                  <a:lnTo>
                    <a:pt x="138" y="22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2" name="Freeform 71">
              <a:extLst>
                <a:ext uri="{FF2B5EF4-FFF2-40B4-BE49-F238E27FC236}">
                  <a16:creationId xmlns:a16="http://schemas.microsoft.com/office/drawing/2014/main" id="{88870F4A-1733-4944-82EA-5030049B1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4743450"/>
              <a:ext cx="850900" cy="879475"/>
            </a:xfrm>
            <a:custGeom>
              <a:avLst/>
              <a:gdLst>
                <a:gd name="T0" fmla="*/ 68 w 536"/>
                <a:gd name="T1" fmla="*/ 339 h 554"/>
                <a:gd name="T2" fmla="*/ 107 w 536"/>
                <a:gd name="T3" fmla="*/ 367 h 554"/>
                <a:gd name="T4" fmla="*/ 139 w 536"/>
                <a:gd name="T5" fmla="*/ 357 h 554"/>
                <a:gd name="T6" fmla="*/ 114 w 536"/>
                <a:gd name="T7" fmla="*/ 387 h 554"/>
                <a:gd name="T8" fmla="*/ 132 w 536"/>
                <a:gd name="T9" fmla="*/ 430 h 554"/>
                <a:gd name="T10" fmla="*/ 133 w 536"/>
                <a:gd name="T11" fmla="*/ 476 h 554"/>
                <a:gd name="T12" fmla="*/ 116 w 536"/>
                <a:gd name="T13" fmla="*/ 507 h 554"/>
                <a:gd name="T14" fmla="*/ 120 w 536"/>
                <a:gd name="T15" fmla="*/ 547 h 554"/>
                <a:gd name="T16" fmla="*/ 144 w 536"/>
                <a:gd name="T17" fmla="*/ 545 h 554"/>
                <a:gd name="T18" fmla="*/ 159 w 536"/>
                <a:gd name="T19" fmla="*/ 518 h 554"/>
                <a:gd name="T20" fmla="*/ 194 w 536"/>
                <a:gd name="T21" fmla="*/ 493 h 554"/>
                <a:gd name="T22" fmla="*/ 222 w 536"/>
                <a:gd name="T23" fmla="*/ 443 h 554"/>
                <a:gd name="T24" fmla="*/ 246 w 536"/>
                <a:gd name="T25" fmla="*/ 461 h 554"/>
                <a:gd name="T26" fmla="*/ 276 w 536"/>
                <a:gd name="T27" fmla="*/ 447 h 554"/>
                <a:gd name="T28" fmla="*/ 292 w 536"/>
                <a:gd name="T29" fmla="*/ 422 h 554"/>
                <a:gd name="T30" fmla="*/ 302 w 536"/>
                <a:gd name="T31" fmla="*/ 399 h 554"/>
                <a:gd name="T32" fmla="*/ 336 w 536"/>
                <a:gd name="T33" fmla="*/ 384 h 554"/>
                <a:gd name="T34" fmla="*/ 355 w 536"/>
                <a:gd name="T35" fmla="*/ 401 h 554"/>
                <a:gd name="T36" fmla="*/ 376 w 536"/>
                <a:gd name="T37" fmla="*/ 413 h 554"/>
                <a:gd name="T38" fmla="*/ 384 w 536"/>
                <a:gd name="T39" fmla="*/ 440 h 554"/>
                <a:gd name="T40" fmla="*/ 401 w 536"/>
                <a:gd name="T41" fmla="*/ 446 h 554"/>
                <a:gd name="T42" fmla="*/ 443 w 536"/>
                <a:gd name="T43" fmla="*/ 440 h 554"/>
                <a:gd name="T44" fmla="*/ 452 w 536"/>
                <a:gd name="T45" fmla="*/ 415 h 554"/>
                <a:gd name="T46" fmla="*/ 453 w 536"/>
                <a:gd name="T47" fmla="*/ 384 h 554"/>
                <a:gd name="T48" fmla="*/ 477 w 536"/>
                <a:gd name="T49" fmla="*/ 357 h 554"/>
                <a:gd name="T50" fmla="*/ 518 w 536"/>
                <a:gd name="T51" fmla="*/ 341 h 554"/>
                <a:gd name="T52" fmla="*/ 533 w 536"/>
                <a:gd name="T53" fmla="*/ 296 h 554"/>
                <a:gd name="T54" fmla="*/ 489 w 536"/>
                <a:gd name="T55" fmla="*/ 253 h 554"/>
                <a:gd name="T56" fmla="*/ 456 w 536"/>
                <a:gd name="T57" fmla="*/ 249 h 554"/>
                <a:gd name="T58" fmla="*/ 422 w 536"/>
                <a:gd name="T59" fmla="*/ 237 h 554"/>
                <a:gd name="T60" fmla="*/ 376 w 536"/>
                <a:gd name="T61" fmla="*/ 221 h 554"/>
                <a:gd name="T62" fmla="*/ 326 w 536"/>
                <a:gd name="T63" fmla="*/ 230 h 554"/>
                <a:gd name="T64" fmla="*/ 299 w 536"/>
                <a:gd name="T65" fmla="*/ 228 h 554"/>
                <a:gd name="T66" fmla="*/ 295 w 536"/>
                <a:gd name="T67" fmla="*/ 190 h 554"/>
                <a:gd name="T68" fmla="*/ 290 w 536"/>
                <a:gd name="T69" fmla="*/ 167 h 554"/>
                <a:gd name="T70" fmla="*/ 310 w 536"/>
                <a:gd name="T71" fmla="*/ 144 h 554"/>
                <a:gd name="T72" fmla="*/ 342 w 536"/>
                <a:gd name="T73" fmla="*/ 116 h 554"/>
                <a:gd name="T74" fmla="*/ 372 w 536"/>
                <a:gd name="T75" fmla="*/ 67 h 554"/>
                <a:gd name="T76" fmla="*/ 360 w 536"/>
                <a:gd name="T77" fmla="*/ 33 h 554"/>
                <a:gd name="T78" fmla="*/ 332 w 536"/>
                <a:gd name="T79" fmla="*/ 0 h 554"/>
                <a:gd name="T80" fmla="*/ 302 w 536"/>
                <a:gd name="T81" fmla="*/ 24 h 554"/>
                <a:gd name="T82" fmla="*/ 271 w 536"/>
                <a:gd name="T83" fmla="*/ 34 h 554"/>
                <a:gd name="T84" fmla="*/ 250 w 536"/>
                <a:gd name="T85" fmla="*/ 55 h 554"/>
                <a:gd name="T86" fmla="*/ 250 w 536"/>
                <a:gd name="T87" fmla="*/ 77 h 554"/>
                <a:gd name="T88" fmla="*/ 231 w 536"/>
                <a:gd name="T89" fmla="*/ 104 h 554"/>
                <a:gd name="T90" fmla="*/ 206 w 536"/>
                <a:gd name="T91" fmla="*/ 133 h 554"/>
                <a:gd name="T92" fmla="*/ 199 w 536"/>
                <a:gd name="T93" fmla="*/ 176 h 554"/>
                <a:gd name="T94" fmla="*/ 170 w 536"/>
                <a:gd name="T95" fmla="*/ 176 h 554"/>
                <a:gd name="T96" fmla="*/ 135 w 536"/>
                <a:gd name="T97" fmla="*/ 165 h 554"/>
                <a:gd name="T98" fmla="*/ 110 w 536"/>
                <a:gd name="T99" fmla="*/ 172 h 554"/>
                <a:gd name="T100" fmla="*/ 77 w 536"/>
                <a:gd name="T101" fmla="*/ 187 h 554"/>
                <a:gd name="T102" fmla="*/ 120 w 536"/>
                <a:gd name="T103" fmla="*/ 252 h 554"/>
                <a:gd name="T104" fmla="*/ 77 w 536"/>
                <a:gd name="T105" fmla="*/ 273 h 554"/>
                <a:gd name="T106" fmla="*/ 45 w 536"/>
                <a:gd name="T107" fmla="*/ 253 h 554"/>
                <a:gd name="T108" fmla="*/ 21 w 536"/>
                <a:gd name="T109" fmla="*/ 264 h 554"/>
                <a:gd name="T110" fmla="*/ 0 w 536"/>
                <a:gd name="T111" fmla="*/ 286 h 554"/>
                <a:gd name="T112" fmla="*/ 5 w 536"/>
                <a:gd name="T113" fmla="*/ 311 h 554"/>
                <a:gd name="T114" fmla="*/ 49 w 536"/>
                <a:gd name="T115" fmla="*/ 323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6" h="554">
                  <a:moveTo>
                    <a:pt x="55" y="330"/>
                  </a:moveTo>
                  <a:lnTo>
                    <a:pt x="55" y="330"/>
                  </a:lnTo>
                  <a:lnTo>
                    <a:pt x="59" y="339"/>
                  </a:lnTo>
                  <a:lnTo>
                    <a:pt x="62" y="342"/>
                  </a:lnTo>
                  <a:lnTo>
                    <a:pt x="64" y="342"/>
                  </a:lnTo>
                  <a:lnTo>
                    <a:pt x="64" y="341"/>
                  </a:lnTo>
                  <a:lnTo>
                    <a:pt x="64" y="341"/>
                  </a:lnTo>
                  <a:lnTo>
                    <a:pt x="65" y="339"/>
                  </a:lnTo>
                  <a:lnTo>
                    <a:pt x="68" y="339"/>
                  </a:lnTo>
                  <a:lnTo>
                    <a:pt x="74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6" y="345"/>
                  </a:lnTo>
                  <a:lnTo>
                    <a:pt x="96" y="351"/>
                  </a:lnTo>
                  <a:lnTo>
                    <a:pt x="99" y="353"/>
                  </a:lnTo>
                  <a:lnTo>
                    <a:pt x="102" y="357"/>
                  </a:lnTo>
                  <a:lnTo>
                    <a:pt x="102" y="357"/>
                  </a:lnTo>
                  <a:lnTo>
                    <a:pt x="107" y="367"/>
                  </a:lnTo>
                  <a:lnTo>
                    <a:pt x="108" y="370"/>
                  </a:lnTo>
                  <a:lnTo>
                    <a:pt x="113" y="373"/>
                  </a:lnTo>
                  <a:lnTo>
                    <a:pt x="113" y="373"/>
                  </a:lnTo>
                  <a:lnTo>
                    <a:pt x="117" y="372"/>
                  </a:lnTo>
                  <a:lnTo>
                    <a:pt x="123" y="367"/>
                  </a:lnTo>
                  <a:lnTo>
                    <a:pt x="135" y="359"/>
                  </a:lnTo>
                  <a:lnTo>
                    <a:pt x="135" y="359"/>
                  </a:lnTo>
                  <a:lnTo>
                    <a:pt x="138" y="356"/>
                  </a:lnTo>
                  <a:lnTo>
                    <a:pt x="139" y="357"/>
                  </a:lnTo>
                  <a:lnTo>
                    <a:pt x="138" y="361"/>
                  </a:lnTo>
                  <a:lnTo>
                    <a:pt x="136" y="367"/>
                  </a:lnTo>
                  <a:lnTo>
                    <a:pt x="136" y="367"/>
                  </a:lnTo>
                  <a:lnTo>
                    <a:pt x="132" y="372"/>
                  </a:lnTo>
                  <a:lnTo>
                    <a:pt x="127" y="376"/>
                  </a:lnTo>
                  <a:lnTo>
                    <a:pt x="122" y="379"/>
                  </a:lnTo>
                  <a:lnTo>
                    <a:pt x="117" y="382"/>
                  </a:lnTo>
                  <a:lnTo>
                    <a:pt x="117" y="382"/>
                  </a:lnTo>
                  <a:lnTo>
                    <a:pt x="114" y="387"/>
                  </a:lnTo>
                  <a:lnTo>
                    <a:pt x="114" y="391"/>
                  </a:lnTo>
                  <a:lnTo>
                    <a:pt x="117" y="396"/>
                  </a:lnTo>
                  <a:lnTo>
                    <a:pt x="122" y="400"/>
                  </a:lnTo>
                  <a:lnTo>
                    <a:pt x="122" y="400"/>
                  </a:lnTo>
                  <a:lnTo>
                    <a:pt x="132" y="406"/>
                  </a:lnTo>
                  <a:lnTo>
                    <a:pt x="136" y="412"/>
                  </a:lnTo>
                  <a:lnTo>
                    <a:pt x="136" y="412"/>
                  </a:lnTo>
                  <a:lnTo>
                    <a:pt x="136" y="418"/>
                  </a:lnTo>
                  <a:lnTo>
                    <a:pt x="132" y="430"/>
                  </a:lnTo>
                  <a:lnTo>
                    <a:pt x="132" y="430"/>
                  </a:lnTo>
                  <a:lnTo>
                    <a:pt x="123" y="459"/>
                  </a:lnTo>
                  <a:lnTo>
                    <a:pt x="123" y="459"/>
                  </a:lnTo>
                  <a:lnTo>
                    <a:pt x="120" y="465"/>
                  </a:lnTo>
                  <a:lnTo>
                    <a:pt x="119" y="470"/>
                  </a:lnTo>
                  <a:lnTo>
                    <a:pt x="126" y="468"/>
                  </a:lnTo>
                  <a:lnTo>
                    <a:pt x="126" y="468"/>
                  </a:lnTo>
                  <a:lnTo>
                    <a:pt x="130" y="473"/>
                  </a:lnTo>
                  <a:lnTo>
                    <a:pt x="133" y="476"/>
                  </a:lnTo>
                  <a:lnTo>
                    <a:pt x="133" y="478"/>
                  </a:lnTo>
                  <a:lnTo>
                    <a:pt x="133" y="481"/>
                  </a:lnTo>
                  <a:lnTo>
                    <a:pt x="133" y="481"/>
                  </a:lnTo>
                  <a:lnTo>
                    <a:pt x="132" y="487"/>
                  </a:lnTo>
                  <a:lnTo>
                    <a:pt x="127" y="493"/>
                  </a:lnTo>
                  <a:lnTo>
                    <a:pt x="117" y="501"/>
                  </a:lnTo>
                  <a:lnTo>
                    <a:pt x="117" y="501"/>
                  </a:lnTo>
                  <a:lnTo>
                    <a:pt x="114" y="505"/>
                  </a:lnTo>
                  <a:lnTo>
                    <a:pt x="116" y="507"/>
                  </a:lnTo>
                  <a:lnTo>
                    <a:pt x="119" y="508"/>
                  </a:lnTo>
                  <a:lnTo>
                    <a:pt x="122" y="511"/>
                  </a:lnTo>
                  <a:lnTo>
                    <a:pt x="122" y="511"/>
                  </a:lnTo>
                  <a:lnTo>
                    <a:pt x="124" y="517"/>
                  </a:lnTo>
                  <a:lnTo>
                    <a:pt x="123" y="526"/>
                  </a:lnTo>
                  <a:lnTo>
                    <a:pt x="120" y="542"/>
                  </a:lnTo>
                  <a:lnTo>
                    <a:pt x="120" y="542"/>
                  </a:lnTo>
                  <a:lnTo>
                    <a:pt x="119" y="545"/>
                  </a:lnTo>
                  <a:lnTo>
                    <a:pt x="120" y="547"/>
                  </a:lnTo>
                  <a:lnTo>
                    <a:pt x="120" y="550"/>
                  </a:lnTo>
                  <a:lnTo>
                    <a:pt x="123" y="550"/>
                  </a:lnTo>
                  <a:lnTo>
                    <a:pt x="127" y="551"/>
                  </a:lnTo>
                  <a:lnTo>
                    <a:pt x="133" y="551"/>
                  </a:lnTo>
                  <a:lnTo>
                    <a:pt x="133" y="551"/>
                  </a:lnTo>
                  <a:lnTo>
                    <a:pt x="139" y="553"/>
                  </a:lnTo>
                  <a:lnTo>
                    <a:pt x="144" y="554"/>
                  </a:lnTo>
                  <a:lnTo>
                    <a:pt x="144" y="554"/>
                  </a:lnTo>
                  <a:lnTo>
                    <a:pt x="144" y="545"/>
                  </a:lnTo>
                  <a:lnTo>
                    <a:pt x="145" y="539"/>
                  </a:lnTo>
                  <a:lnTo>
                    <a:pt x="147" y="536"/>
                  </a:lnTo>
                  <a:lnTo>
                    <a:pt x="148" y="535"/>
                  </a:lnTo>
                  <a:lnTo>
                    <a:pt x="148" y="535"/>
                  </a:lnTo>
                  <a:lnTo>
                    <a:pt x="156" y="529"/>
                  </a:lnTo>
                  <a:lnTo>
                    <a:pt x="157" y="526"/>
                  </a:lnTo>
                  <a:lnTo>
                    <a:pt x="157" y="523"/>
                  </a:lnTo>
                  <a:lnTo>
                    <a:pt x="157" y="523"/>
                  </a:lnTo>
                  <a:lnTo>
                    <a:pt x="159" y="518"/>
                  </a:lnTo>
                  <a:lnTo>
                    <a:pt x="161" y="513"/>
                  </a:lnTo>
                  <a:lnTo>
                    <a:pt x="166" y="510"/>
                  </a:lnTo>
                  <a:lnTo>
                    <a:pt x="169" y="507"/>
                  </a:lnTo>
                  <a:lnTo>
                    <a:pt x="169" y="507"/>
                  </a:lnTo>
                  <a:lnTo>
                    <a:pt x="179" y="505"/>
                  </a:lnTo>
                  <a:lnTo>
                    <a:pt x="187" y="502"/>
                  </a:lnTo>
                  <a:lnTo>
                    <a:pt x="187" y="502"/>
                  </a:lnTo>
                  <a:lnTo>
                    <a:pt x="190" y="499"/>
                  </a:lnTo>
                  <a:lnTo>
                    <a:pt x="194" y="493"/>
                  </a:lnTo>
                  <a:lnTo>
                    <a:pt x="199" y="484"/>
                  </a:lnTo>
                  <a:lnTo>
                    <a:pt x="201" y="476"/>
                  </a:lnTo>
                  <a:lnTo>
                    <a:pt x="201" y="476"/>
                  </a:lnTo>
                  <a:lnTo>
                    <a:pt x="204" y="467"/>
                  </a:lnTo>
                  <a:lnTo>
                    <a:pt x="209" y="458"/>
                  </a:lnTo>
                  <a:lnTo>
                    <a:pt x="213" y="450"/>
                  </a:lnTo>
                  <a:lnTo>
                    <a:pt x="219" y="446"/>
                  </a:lnTo>
                  <a:lnTo>
                    <a:pt x="219" y="446"/>
                  </a:lnTo>
                  <a:lnTo>
                    <a:pt x="222" y="443"/>
                  </a:lnTo>
                  <a:lnTo>
                    <a:pt x="227" y="441"/>
                  </a:lnTo>
                  <a:lnTo>
                    <a:pt x="231" y="441"/>
                  </a:lnTo>
                  <a:lnTo>
                    <a:pt x="233" y="443"/>
                  </a:lnTo>
                  <a:lnTo>
                    <a:pt x="233" y="444"/>
                  </a:lnTo>
                  <a:lnTo>
                    <a:pt x="233" y="444"/>
                  </a:lnTo>
                  <a:lnTo>
                    <a:pt x="234" y="450"/>
                  </a:lnTo>
                  <a:lnTo>
                    <a:pt x="238" y="455"/>
                  </a:lnTo>
                  <a:lnTo>
                    <a:pt x="243" y="459"/>
                  </a:lnTo>
                  <a:lnTo>
                    <a:pt x="246" y="461"/>
                  </a:lnTo>
                  <a:lnTo>
                    <a:pt x="249" y="461"/>
                  </a:lnTo>
                  <a:lnTo>
                    <a:pt x="249" y="461"/>
                  </a:lnTo>
                  <a:lnTo>
                    <a:pt x="255" y="458"/>
                  </a:lnTo>
                  <a:lnTo>
                    <a:pt x="261" y="455"/>
                  </a:lnTo>
                  <a:lnTo>
                    <a:pt x="265" y="450"/>
                  </a:lnTo>
                  <a:lnTo>
                    <a:pt x="270" y="447"/>
                  </a:lnTo>
                  <a:lnTo>
                    <a:pt x="270" y="447"/>
                  </a:lnTo>
                  <a:lnTo>
                    <a:pt x="273" y="446"/>
                  </a:lnTo>
                  <a:lnTo>
                    <a:pt x="276" y="447"/>
                  </a:lnTo>
                  <a:lnTo>
                    <a:pt x="277" y="447"/>
                  </a:lnTo>
                  <a:lnTo>
                    <a:pt x="280" y="444"/>
                  </a:lnTo>
                  <a:lnTo>
                    <a:pt x="280" y="444"/>
                  </a:lnTo>
                  <a:lnTo>
                    <a:pt x="283" y="436"/>
                  </a:lnTo>
                  <a:lnTo>
                    <a:pt x="284" y="430"/>
                  </a:lnTo>
                  <a:lnTo>
                    <a:pt x="284" y="430"/>
                  </a:lnTo>
                  <a:lnTo>
                    <a:pt x="284" y="427"/>
                  </a:lnTo>
                  <a:lnTo>
                    <a:pt x="286" y="425"/>
                  </a:lnTo>
                  <a:lnTo>
                    <a:pt x="292" y="422"/>
                  </a:lnTo>
                  <a:lnTo>
                    <a:pt x="292" y="422"/>
                  </a:lnTo>
                  <a:lnTo>
                    <a:pt x="296" y="421"/>
                  </a:lnTo>
                  <a:lnTo>
                    <a:pt x="299" y="416"/>
                  </a:lnTo>
                  <a:lnTo>
                    <a:pt x="301" y="412"/>
                  </a:lnTo>
                  <a:lnTo>
                    <a:pt x="301" y="407"/>
                  </a:lnTo>
                  <a:lnTo>
                    <a:pt x="301" y="407"/>
                  </a:lnTo>
                  <a:lnTo>
                    <a:pt x="299" y="403"/>
                  </a:lnTo>
                  <a:lnTo>
                    <a:pt x="301" y="400"/>
                  </a:lnTo>
                  <a:lnTo>
                    <a:pt x="302" y="399"/>
                  </a:lnTo>
                  <a:lnTo>
                    <a:pt x="305" y="397"/>
                  </a:lnTo>
                  <a:lnTo>
                    <a:pt x="305" y="397"/>
                  </a:lnTo>
                  <a:lnTo>
                    <a:pt x="314" y="399"/>
                  </a:lnTo>
                  <a:lnTo>
                    <a:pt x="317" y="399"/>
                  </a:lnTo>
                  <a:lnTo>
                    <a:pt x="320" y="396"/>
                  </a:lnTo>
                  <a:lnTo>
                    <a:pt x="320" y="396"/>
                  </a:lnTo>
                  <a:lnTo>
                    <a:pt x="329" y="388"/>
                  </a:lnTo>
                  <a:lnTo>
                    <a:pt x="335" y="384"/>
                  </a:lnTo>
                  <a:lnTo>
                    <a:pt x="336" y="384"/>
                  </a:lnTo>
                  <a:lnTo>
                    <a:pt x="339" y="384"/>
                  </a:lnTo>
                  <a:lnTo>
                    <a:pt x="339" y="384"/>
                  </a:lnTo>
                  <a:lnTo>
                    <a:pt x="344" y="385"/>
                  </a:lnTo>
                  <a:lnTo>
                    <a:pt x="345" y="388"/>
                  </a:lnTo>
                  <a:lnTo>
                    <a:pt x="347" y="393"/>
                  </a:lnTo>
                  <a:lnTo>
                    <a:pt x="350" y="397"/>
                  </a:lnTo>
                  <a:lnTo>
                    <a:pt x="350" y="397"/>
                  </a:lnTo>
                  <a:lnTo>
                    <a:pt x="353" y="400"/>
                  </a:lnTo>
                  <a:lnTo>
                    <a:pt x="355" y="401"/>
                  </a:lnTo>
                  <a:lnTo>
                    <a:pt x="360" y="403"/>
                  </a:lnTo>
                  <a:lnTo>
                    <a:pt x="363" y="406"/>
                  </a:lnTo>
                  <a:lnTo>
                    <a:pt x="363" y="406"/>
                  </a:lnTo>
                  <a:lnTo>
                    <a:pt x="364" y="409"/>
                  </a:lnTo>
                  <a:lnTo>
                    <a:pt x="366" y="413"/>
                  </a:lnTo>
                  <a:lnTo>
                    <a:pt x="364" y="415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76" y="413"/>
                  </a:lnTo>
                  <a:lnTo>
                    <a:pt x="381" y="412"/>
                  </a:lnTo>
                  <a:lnTo>
                    <a:pt x="384" y="413"/>
                  </a:lnTo>
                  <a:lnTo>
                    <a:pt x="385" y="413"/>
                  </a:lnTo>
                  <a:lnTo>
                    <a:pt x="385" y="413"/>
                  </a:lnTo>
                  <a:lnTo>
                    <a:pt x="387" y="416"/>
                  </a:lnTo>
                  <a:lnTo>
                    <a:pt x="388" y="418"/>
                  </a:lnTo>
                  <a:lnTo>
                    <a:pt x="385" y="427"/>
                  </a:lnTo>
                  <a:lnTo>
                    <a:pt x="385" y="427"/>
                  </a:lnTo>
                  <a:lnTo>
                    <a:pt x="384" y="440"/>
                  </a:lnTo>
                  <a:lnTo>
                    <a:pt x="384" y="444"/>
                  </a:lnTo>
                  <a:lnTo>
                    <a:pt x="385" y="446"/>
                  </a:lnTo>
                  <a:lnTo>
                    <a:pt x="387" y="447"/>
                  </a:lnTo>
                  <a:lnTo>
                    <a:pt x="387" y="447"/>
                  </a:lnTo>
                  <a:lnTo>
                    <a:pt x="391" y="446"/>
                  </a:lnTo>
                  <a:lnTo>
                    <a:pt x="395" y="444"/>
                  </a:lnTo>
                  <a:lnTo>
                    <a:pt x="398" y="444"/>
                  </a:lnTo>
                  <a:lnTo>
                    <a:pt x="400" y="444"/>
                  </a:lnTo>
                  <a:lnTo>
                    <a:pt x="401" y="446"/>
                  </a:lnTo>
                  <a:lnTo>
                    <a:pt x="401" y="446"/>
                  </a:lnTo>
                  <a:lnTo>
                    <a:pt x="407" y="455"/>
                  </a:lnTo>
                  <a:lnTo>
                    <a:pt x="410" y="461"/>
                  </a:lnTo>
                  <a:lnTo>
                    <a:pt x="410" y="461"/>
                  </a:lnTo>
                  <a:lnTo>
                    <a:pt x="416" y="455"/>
                  </a:lnTo>
                  <a:lnTo>
                    <a:pt x="424" y="449"/>
                  </a:lnTo>
                  <a:lnTo>
                    <a:pt x="430" y="444"/>
                  </a:lnTo>
                  <a:lnTo>
                    <a:pt x="430" y="444"/>
                  </a:lnTo>
                  <a:lnTo>
                    <a:pt x="443" y="440"/>
                  </a:lnTo>
                  <a:lnTo>
                    <a:pt x="443" y="440"/>
                  </a:lnTo>
                  <a:lnTo>
                    <a:pt x="443" y="440"/>
                  </a:lnTo>
                  <a:lnTo>
                    <a:pt x="447" y="437"/>
                  </a:lnTo>
                  <a:lnTo>
                    <a:pt x="449" y="434"/>
                  </a:lnTo>
                  <a:lnTo>
                    <a:pt x="449" y="434"/>
                  </a:lnTo>
                  <a:lnTo>
                    <a:pt x="447" y="428"/>
                  </a:lnTo>
                  <a:lnTo>
                    <a:pt x="449" y="422"/>
                  </a:lnTo>
                  <a:lnTo>
                    <a:pt x="450" y="418"/>
                  </a:lnTo>
                  <a:lnTo>
                    <a:pt x="452" y="415"/>
                  </a:lnTo>
                  <a:lnTo>
                    <a:pt x="456" y="413"/>
                  </a:lnTo>
                  <a:lnTo>
                    <a:pt x="456" y="413"/>
                  </a:lnTo>
                  <a:lnTo>
                    <a:pt x="468" y="410"/>
                  </a:lnTo>
                  <a:lnTo>
                    <a:pt x="469" y="409"/>
                  </a:lnTo>
                  <a:lnTo>
                    <a:pt x="469" y="404"/>
                  </a:lnTo>
                  <a:lnTo>
                    <a:pt x="469" y="404"/>
                  </a:lnTo>
                  <a:lnTo>
                    <a:pt x="465" y="399"/>
                  </a:lnTo>
                  <a:lnTo>
                    <a:pt x="458" y="391"/>
                  </a:lnTo>
                  <a:lnTo>
                    <a:pt x="453" y="384"/>
                  </a:lnTo>
                  <a:lnTo>
                    <a:pt x="452" y="381"/>
                  </a:lnTo>
                  <a:lnTo>
                    <a:pt x="453" y="378"/>
                  </a:lnTo>
                  <a:lnTo>
                    <a:pt x="453" y="378"/>
                  </a:lnTo>
                  <a:lnTo>
                    <a:pt x="456" y="372"/>
                  </a:lnTo>
                  <a:lnTo>
                    <a:pt x="461" y="367"/>
                  </a:lnTo>
                  <a:lnTo>
                    <a:pt x="465" y="363"/>
                  </a:lnTo>
                  <a:lnTo>
                    <a:pt x="472" y="360"/>
                  </a:lnTo>
                  <a:lnTo>
                    <a:pt x="472" y="360"/>
                  </a:lnTo>
                  <a:lnTo>
                    <a:pt x="477" y="357"/>
                  </a:lnTo>
                  <a:lnTo>
                    <a:pt x="481" y="353"/>
                  </a:lnTo>
                  <a:lnTo>
                    <a:pt x="486" y="350"/>
                  </a:lnTo>
                  <a:lnTo>
                    <a:pt x="489" y="348"/>
                  </a:lnTo>
                  <a:lnTo>
                    <a:pt x="489" y="348"/>
                  </a:lnTo>
                  <a:lnTo>
                    <a:pt x="504" y="347"/>
                  </a:lnTo>
                  <a:lnTo>
                    <a:pt x="512" y="345"/>
                  </a:lnTo>
                  <a:lnTo>
                    <a:pt x="517" y="342"/>
                  </a:lnTo>
                  <a:lnTo>
                    <a:pt x="518" y="341"/>
                  </a:lnTo>
                  <a:lnTo>
                    <a:pt x="518" y="341"/>
                  </a:lnTo>
                  <a:lnTo>
                    <a:pt x="523" y="335"/>
                  </a:lnTo>
                  <a:lnTo>
                    <a:pt x="527" y="326"/>
                  </a:lnTo>
                  <a:lnTo>
                    <a:pt x="530" y="317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3" y="305"/>
                  </a:lnTo>
                  <a:lnTo>
                    <a:pt x="535" y="301"/>
                  </a:lnTo>
                  <a:lnTo>
                    <a:pt x="536" y="298"/>
                  </a:lnTo>
                  <a:lnTo>
                    <a:pt x="533" y="296"/>
                  </a:lnTo>
                  <a:lnTo>
                    <a:pt x="533" y="296"/>
                  </a:lnTo>
                  <a:lnTo>
                    <a:pt x="527" y="295"/>
                  </a:lnTo>
                  <a:lnTo>
                    <a:pt x="515" y="290"/>
                  </a:lnTo>
                  <a:lnTo>
                    <a:pt x="504" y="283"/>
                  </a:lnTo>
                  <a:lnTo>
                    <a:pt x="499" y="280"/>
                  </a:lnTo>
                  <a:lnTo>
                    <a:pt x="496" y="276"/>
                  </a:lnTo>
                  <a:lnTo>
                    <a:pt x="496" y="276"/>
                  </a:lnTo>
                  <a:lnTo>
                    <a:pt x="493" y="265"/>
                  </a:lnTo>
                  <a:lnTo>
                    <a:pt x="489" y="253"/>
                  </a:lnTo>
                  <a:lnTo>
                    <a:pt x="489" y="253"/>
                  </a:lnTo>
                  <a:lnTo>
                    <a:pt x="487" y="244"/>
                  </a:lnTo>
                  <a:lnTo>
                    <a:pt x="486" y="240"/>
                  </a:lnTo>
                  <a:lnTo>
                    <a:pt x="486" y="240"/>
                  </a:lnTo>
                  <a:lnTo>
                    <a:pt x="481" y="242"/>
                  </a:lnTo>
                  <a:lnTo>
                    <a:pt x="472" y="244"/>
                  </a:lnTo>
                  <a:lnTo>
                    <a:pt x="464" y="247"/>
                  </a:lnTo>
                  <a:lnTo>
                    <a:pt x="456" y="249"/>
                  </a:lnTo>
                  <a:lnTo>
                    <a:pt x="456" y="249"/>
                  </a:lnTo>
                  <a:lnTo>
                    <a:pt x="450" y="249"/>
                  </a:lnTo>
                  <a:lnTo>
                    <a:pt x="444" y="250"/>
                  </a:lnTo>
                  <a:lnTo>
                    <a:pt x="434" y="253"/>
                  </a:lnTo>
                  <a:lnTo>
                    <a:pt x="434" y="253"/>
                  </a:lnTo>
                  <a:lnTo>
                    <a:pt x="431" y="252"/>
                  </a:lnTo>
                  <a:lnTo>
                    <a:pt x="428" y="247"/>
                  </a:lnTo>
                  <a:lnTo>
                    <a:pt x="424" y="240"/>
                  </a:lnTo>
                  <a:lnTo>
                    <a:pt x="424" y="240"/>
                  </a:lnTo>
                  <a:lnTo>
                    <a:pt x="422" y="237"/>
                  </a:lnTo>
                  <a:lnTo>
                    <a:pt x="418" y="234"/>
                  </a:lnTo>
                  <a:lnTo>
                    <a:pt x="412" y="231"/>
                  </a:lnTo>
                  <a:lnTo>
                    <a:pt x="404" y="230"/>
                  </a:lnTo>
                  <a:lnTo>
                    <a:pt x="404" y="230"/>
                  </a:lnTo>
                  <a:lnTo>
                    <a:pt x="388" y="228"/>
                  </a:lnTo>
                  <a:lnTo>
                    <a:pt x="382" y="227"/>
                  </a:lnTo>
                  <a:lnTo>
                    <a:pt x="379" y="224"/>
                  </a:lnTo>
                  <a:lnTo>
                    <a:pt x="379" y="224"/>
                  </a:lnTo>
                  <a:lnTo>
                    <a:pt x="376" y="221"/>
                  </a:lnTo>
                  <a:lnTo>
                    <a:pt x="372" y="219"/>
                  </a:lnTo>
                  <a:lnTo>
                    <a:pt x="360" y="215"/>
                  </a:lnTo>
                  <a:lnTo>
                    <a:pt x="360" y="215"/>
                  </a:lnTo>
                  <a:lnTo>
                    <a:pt x="353" y="213"/>
                  </a:lnTo>
                  <a:lnTo>
                    <a:pt x="344" y="215"/>
                  </a:lnTo>
                  <a:lnTo>
                    <a:pt x="336" y="216"/>
                  </a:lnTo>
                  <a:lnTo>
                    <a:pt x="332" y="221"/>
                  </a:lnTo>
                  <a:lnTo>
                    <a:pt x="332" y="221"/>
                  </a:lnTo>
                  <a:lnTo>
                    <a:pt x="326" y="230"/>
                  </a:lnTo>
                  <a:lnTo>
                    <a:pt x="323" y="233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0" y="237"/>
                  </a:lnTo>
                  <a:lnTo>
                    <a:pt x="302" y="236"/>
                  </a:lnTo>
                  <a:lnTo>
                    <a:pt x="299" y="233"/>
                  </a:lnTo>
                  <a:lnTo>
                    <a:pt x="298" y="231"/>
                  </a:lnTo>
                  <a:lnTo>
                    <a:pt x="299" y="228"/>
                  </a:lnTo>
                  <a:lnTo>
                    <a:pt x="299" y="228"/>
                  </a:lnTo>
                  <a:lnTo>
                    <a:pt x="302" y="221"/>
                  </a:lnTo>
                  <a:lnTo>
                    <a:pt x="302" y="216"/>
                  </a:lnTo>
                  <a:lnTo>
                    <a:pt x="302" y="210"/>
                  </a:lnTo>
                  <a:lnTo>
                    <a:pt x="302" y="210"/>
                  </a:lnTo>
                  <a:lnTo>
                    <a:pt x="299" y="205"/>
                  </a:lnTo>
                  <a:lnTo>
                    <a:pt x="296" y="199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5" y="190"/>
                  </a:lnTo>
                  <a:lnTo>
                    <a:pt x="295" y="190"/>
                  </a:lnTo>
                  <a:lnTo>
                    <a:pt x="299" y="187"/>
                  </a:lnTo>
                  <a:lnTo>
                    <a:pt x="305" y="184"/>
                  </a:lnTo>
                  <a:lnTo>
                    <a:pt x="307" y="184"/>
                  </a:lnTo>
                  <a:lnTo>
                    <a:pt x="307" y="182"/>
                  </a:lnTo>
                  <a:lnTo>
                    <a:pt x="307" y="179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290" y="167"/>
                  </a:lnTo>
                  <a:lnTo>
                    <a:pt x="289" y="166"/>
                  </a:lnTo>
                  <a:lnTo>
                    <a:pt x="289" y="165"/>
                  </a:lnTo>
                  <a:lnTo>
                    <a:pt x="290" y="162"/>
                  </a:lnTo>
                  <a:lnTo>
                    <a:pt x="292" y="159"/>
                  </a:lnTo>
                  <a:lnTo>
                    <a:pt x="292" y="159"/>
                  </a:lnTo>
                  <a:lnTo>
                    <a:pt x="298" y="154"/>
                  </a:lnTo>
                  <a:lnTo>
                    <a:pt x="302" y="151"/>
                  </a:lnTo>
                  <a:lnTo>
                    <a:pt x="307" y="148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8" y="127"/>
                  </a:lnTo>
                  <a:lnTo>
                    <a:pt x="324" y="119"/>
                  </a:lnTo>
                  <a:lnTo>
                    <a:pt x="326" y="117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36" y="117"/>
                  </a:lnTo>
                  <a:lnTo>
                    <a:pt x="341" y="117"/>
                  </a:lnTo>
                  <a:lnTo>
                    <a:pt x="342" y="116"/>
                  </a:lnTo>
                  <a:lnTo>
                    <a:pt x="345" y="113"/>
                  </a:lnTo>
                  <a:lnTo>
                    <a:pt x="345" y="113"/>
                  </a:lnTo>
                  <a:lnTo>
                    <a:pt x="347" y="107"/>
                  </a:lnTo>
                  <a:lnTo>
                    <a:pt x="347" y="102"/>
                  </a:lnTo>
                  <a:lnTo>
                    <a:pt x="347" y="98"/>
                  </a:lnTo>
                  <a:lnTo>
                    <a:pt x="350" y="93"/>
                  </a:lnTo>
                  <a:lnTo>
                    <a:pt x="350" y="93"/>
                  </a:lnTo>
                  <a:lnTo>
                    <a:pt x="372" y="67"/>
                  </a:lnTo>
                  <a:lnTo>
                    <a:pt x="372" y="67"/>
                  </a:lnTo>
                  <a:lnTo>
                    <a:pt x="375" y="62"/>
                  </a:lnTo>
                  <a:lnTo>
                    <a:pt x="376" y="59"/>
                  </a:lnTo>
                  <a:lnTo>
                    <a:pt x="378" y="53"/>
                  </a:lnTo>
                  <a:lnTo>
                    <a:pt x="378" y="53"/>
                  </a:lnTo>
                  <a:lnTo>
                    <a:pt x="369" y="49"/>
                  </a:lnTo>
                  <a:lnTo>
                    <a:pt x="369" y="49"/>
                  </a:lnTo>
                  <a:lnTo>
                    <a:pt x="363" y="46"/>
                  </a:lnTo>
                  <a:lnTo>
                    <a:pt x="361" y="42"/>
                  </a:lnTo>
                  <a:lnTo>
                    <a:pt x="360" y="33"/>
                  </a:lnTo>
                  <a:lnTo>
                    <a:pt x="360" y="33"/>
                  </a:lnTo>
                  <a:lnTo>
                    <a:pt x="358" y="21"/>
                  </a:lnTo>
                  <a:lnTo>
                    <a:pt x="357" y="16"/>
                  </a:lnTo>
                  <a:lnTo>
                    <a:pt x="354" y="12"/>
                  </a:lnTo>
                  <a:lnTo>
                    <a:pt x="354" y="12"/>
                  </a:lnTo>
                  <a:lnTo>
                    <a:pt x="350" y="8"/>
                  </a:lnTo>
                  <a:lnTo>
                    <a:pt x="344" y="3"/>
                  </a:lnTo>
                  <a:lnTo>
                    <a:pt x="336" y="2"/>
                  </a:lnTo>
                  <a:lnTo>
                    <a:pt x="332" y="0"/>
                  </a:lnTo>
                  <a:lnTo>
                    <a:pt x="332" y="0"/>
                  </a:lnTo>
                  <a:lnTo>
                    <a:pt x="326" y="6"/>
                  </a:lnTo>
                  <a:lnTo>
                    <a:pt x="318" y="13"/>
                  </a:lnTo>
                  <a:lnTo>
                    <a:pt x="318" y="13"/>
                  </a:lnTo>
                  <a:lnTo>
                    <a:pt x="315" y="16"/>
                  </a:lnTo>
                  <a:lnTo>
                    <a:pt x="311" y="19"/>
                  </a:lnTo>
                  <a:lnTo>
                    <a:pt x="307" y="22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3" y="25"/>
                  </a:lnTo>
                  <a:lnTo>
                    <a:pt x="289" y="27"/>
                  </a:lnTo>
                  <a:lnTo>
                    <a:pt x="287" y="30"/>
                  </a:lnTo>
                  <a:lnTo>
                    <a:pt x="287" y="30"/>
                  </a:lnTo>
                  <a:lnTo>
                    <a:pt x="286" y="33"/>
                  </a:lnTo>
                  <a:lnTo>
                    <a:pt x="281" y="34"/>
                  </a:lnTo>
                  <a:lnTo>
                    <a:pt x="277" y="34"/>
                  </a:lnTo>
                  <a:lnTo>
                    <a:pt x="271" y="34"/>
                  </a:lnTo>
                  <a:lnTo>
                    <a:pt x="271" y="34"/>
                  </a:lnTo>
                  <a:lnTo>
                    <a:pt x="265" y="33"/>
                  </a:lnTo>
                  <a:lnTo>
                    <a:pt x="259" y="28"/>
                  </a:lnTo>
                  <a:lnTo>
                    <a:pt x="255" y="25"/>
                  </a:lnTo>
                  <a:lnTo>
                    <a:pt x="250" y="24"/>
                  </a:lnTo>
                  <a:lnTo>
                    <a:pt x="250" y="24"/>
                  </a:lnTo>
                  <a:lnTo>
                    <a:pt x="249" y="24"/>
                  </a:lnTo>
                  <a:lnTo>
                    <a:pt x="247" y="27"/>
                  </a:lnTo>
                  <a:lnTo>
                    <a:pt x="247" y="36"/>
                  </a:lnTo>
                  <a:lnTo>
                    <a:pt x="250" y="55"/>
                  </a:lnTo>
                  <a:lnTo>
                    <a:pt x="250" y="55"/>
                  </a:lnTo>
                  <a:lnTo>
                    <a:pt x="253" y="61"/>
                  </a:lnTo>
                  <a:lnTo>
                    <a:pt x="256" y="65"/>
                  </a:lnTo>
                  <a:lnTo>
                    <a:pt x="258" y="68"/>
                  </a:lnTo>
                  <a:lnTo>
                    <a:pt x="258" y="71"/>
                  </a:lnTo>
                  <a:lnTo>
                    <a:pt x="258" y="71"/>
                  </a:lnTo>
                  <a:lnTo>
                    <a:pt x="258" y="74"/>
                  </a:lnTo>
                  <a:lnTo>
                    <a:pt x="256" y="76"/>
                  </a:lnTo>
                  <a:lnTo>
                    <a:pt x="250" y="77"/>
                  </a:lnTo>
                  <a:lnTo>
                    <a:pt x="246" y="80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38" y="88"/>
                  </a:lnTo>
                  <a:lnTo>
                    <a:pt x="238" y="92"/>
                  </a:lnTo>
                  <a:lnTo>
                    <a:pt x="238" y="96"/>
                  </a:lnTo>
                  <a:lnTo>
                    <a:pt x="236" y="99"/>
                  </a:lnTo>
                  <a:lnTo>
                    <a:pt x="236" y="99"/>
                  </a:lnTo>
                  <a:lnTo>
                    <a:pt x="231" y="104"/>
                  </a:lnTo>
                  <a:lnTo>
                    <a:pt x="224" y="110"/>
                  </a:lnTo>
                  <a:lnTo>
                    <a:pt x="224" y="110"/>
                  </a:lnTo>
                  <a:lnTo>
                    <a:pt x="216" y="113"/>
                  </a:lnTo>
                  <a:lnTo>
                    <a:pt x="210" y="117"/>
                  </a:lnTo>
                  <a:lnTo>
                    <a:pt x="210" y="117"/>
                  </a:lnTo>
                  <a:lnTo>
                    <a:pt x="209" y="120"/>
                  </a:lnTo>
                  <a:lnTo>
                    <a:pt x="207" y="126"/>
                  </a:lnTo>
                  <a:lnTo>
                    <a:pt x="206" y="133"/>
                  </a:lnTo>
                  <a:lnTo>
                    <a:pt x="206" y="133"/>
                  </a:lnTo>
                  <a:lnTo>
                    <a:pt x="201" y="139"/>
                  </a:lnTo>
                  <a:lnTo>
                    <a:pt x="200" y="142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57"/>
                  </a:lnTo>
                  <a:lnTo>
                    <a:pt x="200" y="173"/>
                  </a:lnTo>
                  <a:lnTo>
                    <a:pt x="200" y="173"/>
                  </a:lnTo>
                  <a:lnTo>
                    <a:pt x="200" y="176"/>
                  </a:lnTo>
                  <a:lnTo>
                    <a:pt x="199" y="176"/>
                  </a:lnTo>
                  <a:lnTo>
                    <a:pt x="194" y="176"/>
                  </a:lnTo>
                  <a:lnTo>
                    <a:pt x="190" y="173"/>
                  </a:lnTo>
                  <a:lnTo>
                    <a:pt x="185" y="170"/>
                  </a:lnTo>
                  <a:lnTo>
                    <a:pt x="185" y="170"/>
                  </a:lnTo>
                  <a:lnTo>
                    <a:pt x="182" y="167"/>
                  </a:lnTo>
                  <a:lnTo>
                    <a:pt x="181" y="167"/>
                  </a:lnTo>
                  <a:lnTo>
                    <a:pt x="176" y="169"/>
                  </a:lnTo>
                  <a:lnTo>
                    <a:pt x="173" y="172"/>
                  </a:lnTo>
                  <a:lnTo>
                    <a:pt x="170" y="176"/>
                  </a:lnTo>
                  <a:lnTo>
                    <a:pt x="170" y="176"/>
                  </a:lnTo>
                  <a:lnTo>
                    <a:pt x="169" y="178"/>
                  </a:lnTo>
                  <a:lnTo>
                    <a:pt x="167" y="178"/>
                  </a:lnTo>
                  <a:lnTo>
                    <a:pt x="164" y="178"/>
                  </a:lnTo>
                  <a:lnTo>
                    <a:pt x="157" y="170"/>
                  </a:lnTo>
                  <a:lnTo>
                    <a:pt x="157" y="170"/>
                  </a:lnTo>
                  <a:lnTo>
                    <a:pt x="151" y="169"/>
                  </a:lnTo>
                  <a:lnTo>
                    <a:pt x="144" y="166"/>
                  </a:lnTo>
                  <a:lnTo>
                    <a:pt x="135" y="165"/>
                  </a:lnTo>
                  <a:lnTo>
                    <a:pt x="129" y="162"/>
                  </a:lnTo>
                  <a:lnTo>
                    <a:pt x="129" y="162"/>
                  </a:lnTo>
                  <a:lnTo>
                    <a:pt x="127" y="160"/>
                  </a:lnTo>
                  <a:lnTo>
                    <a:pt x="124" y="160"/>
                  </a:lnTo>
                  <a:lnTo>
                    <a:pt x="120" y="165"/>
                  </a:lnTo>
                  <a:lnTo>
                    <a:pt x="116" y="169"/>
                  </a:lnTo>
                  <a:lnTo>
                    <a:pt x="113" y="172"/>
                  </a:lnTo>
                  <a:lnTo>
                    <a:pt x="110" y="172"/>
                  </a:lnTo>
                  <a:lnTo>
                    <a:pt x="110" y="172"/>
                  </a:lnTo>
                  <a:lnTo>
                    <a:pt x="104" y="173"/>
                  </a:lnTo>
                  <a:lnTo>
                    <a:pt x="98" y="172"/>
                  </a:lnTo>
                  <a:lnTo>
                    <a:pt x="92" y="172"/>
                  </a:lnTo>
                  <a:lnTo>
                    <a:pt x="92" y="172"/>
                  </a:lnTo>
                  <a:lnTo>
                    <a:pt x="89" y="173"/>
                  </a:lnTo>
                  <a:lnTo>
                    <a:pt x="86" y="179"/>
                  </a:lnTo>
                  <a:lnTo>
                    <a:pt x="82" y="184"/>
                  </a:lnTo>
                  <a:lnTo>
                    <a:pt x="77" y="187"/>
                  </a:lnTo>
                  <a:lnTo>
                    <a:pt x="77" y="187"/>
                  </a:lnTo>
                  <a:lnTo>
                    <a:pt x="80" y="196"/>
                  </a:lnTo>
                  <a:lnTo>
                    <a:pt x="82" y="202"/>
                  </a:lnTo>
                  <a:lnTo>
                    <a:pt x="86" y="207"/>
                  </a:lnTo>
                  <a:lnTo>
                    <a:pt x="86" y="207"/>
                  </a:lnTo>
                  <a:lnTo>
                    <a:pt x="102" y="227"/>
                  </a:lnTo>
                  <a:lnTo>
                    <a:pt x="111" y="237"/>
                  </a:lnTo>
                  <a:lnTo>
                    <a:pt x="117" y="246"/>
                  </a:lnTo>
                  <a:lnTo>
                    <a:pt x="117" y="246"/>
                  </a:lnTo>
                  <a:lnTo>
                    <a:pt x="120" y="252"/>
                  </a:lnTo>
                  <a:lnTo>
                    <a:pt x="119" y="256"/>
                  </a:lnTo>
                  <a:lnTo>
                    <a:pt x="116" y="259"/>
                  </a:lnTo>
                  <a:lnTo>
                    <a:pt x="113" y="262"/>
                  </a:lnTo>
                  <a:lnTo>
                    <a:pt x="113" y="262"/>
                  </a:lnTo>
                  <a:lnTo>
                    <a:pt x="101" y="264"/>
                  </a:lnTo>
                  <a:lnTo>
                    <a:pt x="87" y="271"/>
                  </a:lnTo>
                  <a:lnTo>
                    <a:pt x="87" y="271"/>
                  </a:lnTo>
                  <a:lnTo>
                    <a:pt x="82" y="273"/>
                  </a:lnTo>
                  <a:lnTo>
                    <a:pt x="77" y="273"/>
                  </a:lnTo>
                  <a:lnTo>
                    <a:pt x="74" y="270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65" y="262"/>
                  </a:lnTo>
                  <a:lnTo>
                    <a:pt x="61" y="261"/>
                  </a:lnTo>
                  <a:lnTo>
                    <a:pt x="55" y="259"/>
                  </a:lnTo>
                  <a:lnTo>
                    <a:pt x="49" y="256"/>
                  </a:lnTo>
                  <a:lnTo>
                    <a:pt x="49" y="256"/>
                  </a:lnTo>
                  <a:lnTo>
                    <a:pt x="45" y="253"/>
                  </a:lnTo>
                  <a:lnTo>
                    <a:pt x="45" y="249"/>
                  </a:lnTo>
                  <a:lnTo>
                    <a:pt x="45" y="246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37" y="246"/>
                  </a:lnTo>
                  <a:lnTo>
                    <a:pt x="34" y="249"/>
                  </a:lnTo>
                  <a:lnTo>
                    <a:pt x="28" y="256"/>
                  </a:lnTo>
                  <a:lnTo>
                    <a:pt x="28" y="256"/>
                  </a:lnTo>
                  <a:lnTo>
                    <a:pt x="21" y="264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3" y="276"/>
                  </a:lnTo>
                  <a:lnTo>
                    <a:pt x="10" y="277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0" y="280"/>
                  </a:lnTo>
                  <a:lnTo>
                    <a:pt x="0" y="280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2" y="290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9" y="301"/>
                  </a:lnTo>
                  <a:lnTo>
                    <a:pt x="9" y="304"/>
                  </a:lnTo>
                  <a:lnTo>
                    <a:pt x="7" y="307"/>
                  </a:lnTo>
                  <a:lnTo>
                    <a:pt x="5" y="311"/>
                  </a:lnTo>
                  <a:lnTo>
                    <a:pt x="5" y="311"/>
                  </a:lnTo>
                  <a:lnTo>
                    <a:pt x="3" y="316"/>
                  </a:lnTo>
                  <a:lnTo>
                    <a:pt x="5" y="319"/>
                  </a:lnTo>
                  <a:lnTo>
                    <a:pt x="13" y="324"/>
                  </a:lnTo>
                  <a:lnTo>
                    <a:pt x="13" y="324"/>
                  </a:lnTo>
                  <a:lnTo>
                    <a:pt x="18" y="326"/>
                  </a:lnTo>
                  <a:lnTo>
                    <a:pt x="24" y="326"/>
                  </a:lnTo>
                  <a:lnTo>
                    <a:pt x="40" y="323"/>
                  </a:lnTo>
                  <a:lnTo>
                    <a:pt x="40" y="323"/>
                  </a:lnTo>
                  <a:lnTo>
                    <a:pt x="49" y="323"/>
                  </a:lnTo>
                  <a:lnTo>
                    <a:pt x="52" y="324"/>
                  </a:lnTo>
                  <a:lnTo>
                    <a:pt x="55" y="326"/>
                  </a:lnTo>
                  <a:lnTo>
                    <a:pt x="55" y="330"/>
                  </a:lnTo>
                  <a:lnTo>
                    <a:pt x="55" y="33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3" name="Freeform 72">
              <a:extLst>
                <a:ext uri="{FF2B5EF4-FFF2-40B4-BE49-F238E27FC236}">
                  <a16:creationId xmlns:a16="http://schemas.microsoft.com/office/drawing/2014/main" id="{7E6C931A-5848-4A4D-A92D-74E18F5E1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0875" y="7132638"/>
              <a:ext cx="490538" cy="831850"/>
            </a:xfrm>
            <a:custGeom>
              <a:avLst/>
              <a:gdLst>
                <a:gd name="T0" fmla="*/ 179 w 309"/>
                <a:gd name="T1" fmla="*/ 10 h 524"/>
                <a:gd name="T2" fmla="*/ 143 w 309"/>
                <a:gd name="T3" fmla="*/ 9 h 524"/>
                <a:gd name="T4" fmla="*/ 143 w 309"/>
                <a:gd name="T5" fmla="*/ 0 h 524"/>
                <a:gd name="T6" fmla="*/ 128 w 309"/>
                <a:gd name="T7" fmla="*/ 21 h 524"/>
                <a:gd name="T8" fmla="*/ 111 w 309"/>
                <a:gd name="T9" fmla="*/ 18 h 524"/>
                <a:gd name="T10" fmla="*/ 99 w 309"/>
                <a:gd name="T11" fmla="*/ 29 h 524"/>
                <a:gd name="T12" fmla="*/ 72 w 309"/>
                <a:gd name="T13" fmla="*/ 27 h 524"/>
                <a:gd name="T14" fmla="*/ 54 w 309"/>
                <a:gd name="T15" fmla="*/ 37 h 524"/>
                <a:gd name="T16" fmla="*/ 23 w 309"/>
                <a:gd name="T17" fmla="*/ 56 h 524"/>
                <a:gd name="T18" fmla="*/ 14 w 309"/>
                <a:gd name="T19" fmla="*/ 93 h 524"/>
                <a:gd name="T20" fmla="*/ 11 w 309"/>
                <a:gd name="T21" fmla="*/ 112 h 524"/>
                <a:gd name="T22" fmla="*/ 19 w 309"/>
                <a:gd name="T23" fmla="*/ 130 h 524"/>
                <a:gd name="T24" fmla="*/ 10 w 309"/>
                <a:gd name="T25" fmla="*/ 158 h 524"/>
                <a:gd name="T26" fmla="*/ 20 w 309"/>
                <a:gd name="T27" fmla="*/ 188 h 524"/>
                <a:gd name="T28" fmla="*/ 8 w 309"/>
                <a:gd name="T29" fmla="*/ 197 h 524"/>
                <a:gd name="T30" fmla="*/ 7 w 309"/>
                <a:gd name="T31" fmla="*/ 225 h 524"/>
                <a:gd name="T32" fmla="*/ 25 w 309"/>
                <a:gd name="T33" fmla="*/ 250 h 524"/>
                <a:gd name="T34" fmla="*/ 37 w 309"/>
                <a:gd name="T35" fmla="*/ 263 h 524"/>
                <a:gd name="T36" fmla="*/ 69 w 309"/>
                <a:gd name="T37" fmla="*/ 308 h 524"/>
                <a:gd name="T38" fmla="*/ 90 w 309"/>
                <a:gd name="T39" fmla="*/ 349 h 524"/>
                <a:gd name="T40" fmla="*/ 91 w 309"/>
                <a:gd name="T41" fmla="*/ 373 h 524"/>
                <a:gd name="T42" fmla="*/ 85 w 309"/>
                <a:gd name="T43" fmla="*/ 385 h 524"/>
                <a:gd name="T44" fmla="*/ 100 w 309"/>
                <a:gd name="T45" fmla="*/ 420 h 524"/>
                <a:gd name="T46" fmla="*/ 93 w 309"/>
                <a:gd name="T47" fmla="*/ 440 h 524"/>
                <a:gd name="T48" fmla="*/ 99 w 309"/>
                <a:gd name="T49" fmla="*/ 453 h 524"/>
                <a:gd name="T50" fmla="*/ 128 w 309"/>
                <a:gd name="T51" fmla="*/ 474 h 524"/>
                <a:gd name="T52" fmla="*/ 149 w 309"/>
                <a:gd name="T53" fmla="*/ 475 h 524"/>
                <a:gd name="T54" fmla="*/ 168 w 309"/>
                <a:gd name="T55" fmla="*/ 486 h 524"/>
                <a:gd name="T56" fmla="*/ 177 w 309"/>
                <a:gd name="T57" fmla="*/ 511 h 524"/>
                <a:gd name="T58" fmla="*/ 195 w 309"/>
                <a:gd name="T59" fmla="*/ 515 h 524"/>
                <a:gd name="T60" fmla="*/ 225 w 309"/>
                <a:gd name="T61" fmla="*/ 483 h 524"/>
                <a:gd name="T62" fmla="*/ 235 w 309"/>
                <a:gd name="T63" fmla="*/ 462 h 524"/>
                <a:gd name="T64" fmla="*/ 238 w 309"/>
                <a:gd name="T65" fmla="*/ 443 h 524"/>
                <a:gd name="T66" fmla="*/ 228 w 309"/>
                <a:gd name="T67" fmla="*/ 440 h 524"/>
                <a:gd name="T68" fmla="*/ 242 w 309"/>
                <a:gd name="T69" fmla="*/ 419 h 524"/>
                <a:gd name="T70" fmla="*/ 229 w 309"/>
                <a:gd name="T71" fmla="*/ 394 h 524"/>
                <a:gd name="T72" fmla="*/ 239 w 309"/>
                <a:gd name="T73" fmla="*/ 370 h 524"/>
                <a:gd name="T74" fmla="*/ 265 w 309"/>
                <a:gd name="T75" fmla="*/ 348 h 524"/>
                <a:gd name="T76" fmla="*/ 271 w 309"/>
                <a:gd name="T77" fmla="*/ 308 h 524"/>
                <a:gd name="T78" fmla="*/ 265 w 309"/>
                <a:gd name="T79" fmla="*/ 298 h 524"/>
                <a:gd name="T80" fmla="*/ 250 w 309"/>
                <a:gd name="T81" fmla="*/ 286 h 524"/>
                <a:gd name="T82" fmla="*/ 238 w 309"/>
                <a:gd name="T83" fmla="*/ 290 h 524"/>
                <a:gd name="T84" fmla="*/ 220 w 309"/>
                <a:gd name="T85" fmla="*/ 272 h 524"/>
                <a:gd name="T86" fmla="*/ 236 w 309"/>
                <a:gd name="T87" fmla="*/ 265 h 524"/>
                <a:gd name="T88" fmla="*/ 254 w 309"/>
                <a:gd name="T89" fmla="*/ 218 h 524"/>
                <a:gd name="T90" fmla="*/ 244 w 309"/>
                <a:gd name="T91" fmla="*/ 185 h 524"/>
                <a:gd name="T92" fmla="*/ 250 w 309"/>
                <a:gd name="T93" fmla="*/ 161 h 524"/>
                <a:gd name="T94" fmla="*/ 296 w 309"/>
                <a:gd name="T95" fmla="*/ 133 h 524"/>
                <a:gd name="T96" fmla="*/ 308 w 309"/>
                <a:gd name="T97" fmla="*/ 111 h 524"/>
                <a:gd name="T98" fmla="*/ 279 w 309"/>
                <a:gd name="T99" fmla="*/ 52 h 524"/>
                <a:gd name="T100" fmla="*/ 287 w 309"/>
                <a:gd name="T101" fmla="*/ 35 h 524"/>
                <a:gd name="T102" fmla="*/ 287 w 309"/>
                <a:gd name="T103" fmla="*/ 16 h 524"/>
                <a:gd name="T104" fmla="*/ 259 w 309"/>
                <a:gd name="T105" fmla="*/ 18 h 524"/>
                <a:gd name="T106" fmla="*/ 242 w 309"/>
                <a:gd name="T107" fmla="*/ 15 h 524"/>
                <a:gd name="T108" fmla="*/ 229 w 309"/>
                <a:gd name="T109" fmla="*/ 24 h 524"/>
                <a:gd name="T110" fmla="*/ 217 w 309"/>
                <a:gd name="T111" fmla="*/ 13 h 524"/>
                <a:gd name="T112" fmla="*/ 182 w 309"/>
                <a:gd name="T113" fmla="*/ 21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9" h="524">
                  <a:moveTo>
                    <a:pt x="182" y="21"/>
                  </a:moveTo>
                  <a:lnTo>
                    <a:pt x="182" y="21"/>
                  </a:lnTo>
                  <a:lnTo>
                    <a:pt x="180" y="21"/>
                  </a:lnTo>
                  <a:lnTo>
                    <a:pt x="179" y="19"/>
                  </a:lnTo>
                  <a:lnTo>
                    <a:pt x="179" y="16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0" y="12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5" y="10"/>
                  </a:lnTo>
                  <a:lnTo>
                    <a:pt x="143" y="9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43" y="1"/>
                  </a:lnTo>
                  <a:lnTo>
                    <a:pt x="145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2" y="1"/>
                  </a:lnTo>
                  <a:lnTo>
                    <a:pt x="140" y="6"/>
                  </a:lnTo>
                  <a:lnTo>
                    <a:pt x="139" y="12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28" y="21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1" y="24"/>
                  </a:lnTo>
                  <a:lnTo>
                    <a:pt x="118" y="22"/>
                  </a:lnTo>
                  <a:lnTo>
                    <a:pt x="115" y="19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09" y="16"/>
                  </a:lnTo>
                  <a:lnTo>
                    <a:pt x="108" y="18"/>
                  </a:lnTo>
                  <a:lnTo>
                    <a:pt x="103" y="21"/>
                  </a:lnTo>
                  <a:lnTo>
                    <a:pt x="100" y="25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79" y="31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8" y="25"/>
                  </a:lnTo>
                  <a:lnTo>
                    <a:pt x="65" y="27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4" y="37"/>
                  </a:lnTo>
                  <a:lnTo>
                    <a:pt x="45" y="38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6" y="46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0" y="62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80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1" y="101"/>
                  </a:lnTo>
                  <a:lnTo>
                    <a:pt x="11" y="106"/>
                  </a:lnTo>
                  <a:lnTo>
                    <a:pt x="11" y="111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5"/>
                  </a:lnTo>
                  <a:lnTo>
                    <a:pt x="13" y="117"/>
                  </a:lnTo>
                  <a:lnTo>
                    <a:pt x="16" y="120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9" y="130"/>
                  </a:lnTo>
                  <a:lnTo>
                    <a:pt x="17" y="138"/>
                  </a:lnTo>
                  <a:lnTo>
                    <a:pt x="16" y="145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0" y="155"/>
                  </a:lnTo>
                  <a:lnTo>
                    <a:pt x="10" y="158"/>
                  </a:lnTo>
                  <a:lnTo>
                    <a:pt x="10" y="161"/>
                  </a:lnTo>
                  <a:lnTo>
                    <a:pt x="11" y="167"/>
                  </a:lnTo>
                  <a:lnTo>
                    <a:pt x="11" y="167"/>
                  </a:lnTo>
                  <a:lnTo>
                    <a:pt x="17" y="179"/>
                  </a:lnTo>
                  <a:lnTo>
                    <a:pt x="19" y="183"/>
                  </a:lnTo>
                  <a:lnTo>
                    <a:pt x="20" y="188"/>
                  </a:lnTo>
                  <a:lnTo>
                    <a:pt x="20" y="188"/>
                  </a:lnTo>
                  <a:lnTo>
                    <a:pt x="19" y="191"/>
                  </a:lnTo>
                  <a:lnTo>
                    <a:pt x="16" y="192"/>
                  </a:lnTo>
                  <a:lnTo>
                    <a:pt x="11" y="194"/>
                  </a:lnTo>
                  <a:lnTo>
                    <a:pt x="8" y="197"/>
                  </a:lnTo>
                  <a:lnTo>
                    <a:pt x="8" y="197"/>
                  </a:lnTo>
                  <a:lnTo>
                    <a:pt x="5" y="201"/>
                  </a:lnTo>
                  <a:lnTo>
                    <a:pt x="2" y="206"/>
                  </a:lnTo>
                  <a:lnTo>
                    <a:pt x="0" y="215"/>
                  </a:lnTo>
                  <a:lnTo>
                    <a:pt x="0" y="215"/>
                  </a:lnTo>
                  <a:lnTo>
                    <a:pt x="2" y="219"/>
                  </a:lnTo>
                  <a:lnTo>
                    <a:pt x="7" y="225"/>
                  </a:lnTo>
                  <a:lnTo>
                    <a:pt x="11" y="231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7" y="238"/>
                  </a:lnTo>
                  <a:lnTo>
                    <a:pt x="22" y="244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28" y="256"/>
                  </a:lnTo>
                  <a:lnTo>
                    <a:pt x="29" y="261"/>
                  </a:lnTo>
                  <a:lnTo>
                    <a:pt x="32" y="262"/>
                  </a:lnTo>
                  <a:lnTo>
                    <a:pt x="37" y="263"/>
                  </a:lnTo>
                  <a:lnTo>
                    <a:pt x="37" y="263"/>
                  </a:lnTo>
                  <a:lnTo>
                    <a:pt x="41" y="265"/>
                  </a:lnTo>
                  <a:lnTo>
                    <a:pt x="45" y="268"/>
                  </a:lnTo>
                  <a:lnTo>
                    <a:pt x="53" y="280"/>
                  </a:lnTo>
                  <a:lnTo>
                    <a:pt x="53" y="280"/>
                  </a:lnTo>
                  <a:lnTo>
                    <a:pt x="63" y="298"/>
                  </a:lnTo>
                  <a:lnTo>
                    <a:pt x="69" y="308"/>
                  </a:lnTo>
                  <a:lnTo>
                    <a:pt x="71" y="315"/>
                  </a:lnTo>
                  <a:lnTo>
                    <a:pt x="71" y="315"/>
                  </a:lnTo>
                  <a:lnTo>
                    <a:pt x="72" y="323"/>
                  </a:lnTo>
                  <a:lnTo>
                    <a:pt x="78" y="332"/>
                  </a:lnTo>
                  <a:lnTo>
                    <a:pt x="90" y="349"/>
                  </a:lnTo>
                  <a:lnTo>
                    <a:pt x="90" y="349"/>
                  </a:lnTo>
                  <a:lnTo>
                    <a:pt x="94" y="355"/>
                  </a:lnTo>
                  <a:lnTo>
                    <a:pt x="96" y="360"/>
                  </a:lnTo>
                  <a:lnTo>
                    <a:pt x="97" y="366"/>
                  </a:lnTo>
                  <a:lnTo>
                    <a:pt x="94" y="370"/>
                  </a:lnTo>
                  <a:lnTo>
                    <a:pt x="94" y="370"/>
                  </a:lnTo>
                  <a:lnTo>
                    <a:pt x="91" y="373"/>
                  </a:lnTo>
                  <a:lnTo>
                    <a:pt x="87" y="375"/>
                  </a:lnTo>
                  <a:lnTo>
                    <a:pt x="84" y="376"/>
                  </a:lnTo>
                  <a:lnTo>
                    <a:pt x="81" y="379"/>
                  </a:lnTo>
                  <a:lnTo>
                    <a:pt x="81" y="379"/>
                  </a:lnTo>
                  <a:lnTo>
                    <a:pt x="82" y="382"/>
                  </a:lnTo>
                  <a:lnTo>
                    <a:pt x="85" y="385"/>
                  </a:lnTo>
                  <a:lnTo>
                    <a:pt x="91" y="392"/>
                  </a:lnTo>
                  <a:lnTo>
                    <a:pt x="91" y="392"/>
                  </a:lnTo>
                  <a:lnTo>
                    <a:pt x="94" y="398"/>
                  </a:lnTo>
                  <a:lnTo>
                    <a:pt x="97" y="407"/>
                  </a:lnTo>
                  <a:lnTo>
                    <a:pt x="100" y="416"/>
                  </a:lnTo>
                  <a:lnTo>
                    <a:pt x="100" y="420"/>
                  </a:lnTo>
                  <a:lnTo>
                    <a:pt x="99" y="423"/>
                  </a:lnTo>
                  <a:lnTo>
                    <a:pt x="99" y="423"/>
                  </a:lnTo>
                  <a:lnTo>
                    <a:pt x="94" y="431"/>
                  </a:lnTo>
                  <a:lnTo>
                    <a:pt x="93" y="437"/>
                  </a:lnTo>
                  <a:lnTo>
                    <a:pt x="93" y="437"/>
                  </a:lnTo>
                  <a:lnTo>
                    <a:pt x="93" y="440"/>
                  </a:lnTo>
                  <a:lnTo>
                    <a:pt x="94" y="441"/>
                  </a:lnTo>
                  <a:lnTo>
                    <a:pt x="97" y="447"/>
                  </a:lnTo>
                  <a:lnTo>
                    <a:pt x="97" y="447"/>
                  </a:lnTo>
                  <a:lnTo>
                    <a:pt x="99" y="450"/>
                  </a:lnTo>
                  <a:lnTo>
                    <a:pt x="99" y="453"/>
                  </a:lnTo>
                  <a:lnTo>
                    <a:pt x="99" y="453"/>
                  </a:lnTo>
                  <a:lnTo>
                    <a:pt x="100" y="456"/>
                  </a:lnTo>
                  <a:lnTo>
                    <a:pt x="100" y="457"/>
                  </a:lnTo>
                  <a:lnTo>
                    <a:pt x="105" y="460"/>
                  </a:lnTo>
                  <a:lnTo>
                    <a:pt x="121" y="469"/>
                  </a:lnTo>
                  <a:lnTo>
                    <a:pt x="121" y="469"/>
                  </a:lnTo>
                  <a:lnTo>
                    <a:pt x="128" y="474"/>
                  </a:lnTo>
                  <a:lnTo>
                    <a:pt x="130" y="477"/>
                  </a:lnTo>
                  <a:lnTo>
                    <a:pt x="131" y="477"/>
                  </a:lnTo>
                  <a:lnTo>
                    <a:pt x="136" y="477"/>
                  </a:lnTo>
                  <a:lnTo>
                    <a:pt x="136" y="477"/>
                  </a:lnTo>
                  <a:lnTo>
                    <a:pt x="145" y="474"/>
                  </a:lnTo>
                  <a:lnTo>
                    <a:pt x="149" y="475"/>
                  </a:lnTo>
                  <a:lnTo>
                    <a:pt x="154" y="478"/>
                  </a:lnTo>
                  <a:lnTo>
                    <a:pt x="154" y="478"/>
                  </a:lnTo>
                  <a:lnTo>
                    <a:pt x="161" y="484"/>
                  </a:lnTo>
                  <a:lnTo>
                    <a:pt x="164" y="486"/>
                  </a:lnTo>
                  <a:lnTo>
                    <a:pt x="168" y="486"/>
                  </a:lnTo>
                  <a:lnTo>
                    <a:pt x="168" y="486"/>
                  </a:lnTo>
                  <a:lnTo>
                    <a:pt x="173" y="487"/>
                  </a:lnTo>
                  <a:lnTo>
                    <a:pt x="176" y="490"/>
                  </a:lnTo>
                  <a:lnTo>
                    <a:pt x="179" y="495"/>
                  </a:lnTo>
                  <a:lnTo>
                    <a:pt x="179" y="500"/>
                  </a:lnTo>
                  <a:lnTo>
                    <a:pt x="179" y="500"/>
                  </a:lnTo>
                  <a:lnTo>
                    <a:pt x="177" y="511"/>
                  </a:lnTo>
                  <a:lnTo>
                    <a:pt x="174" y="521"/>
                  </a:lnTo>
                  <a:lnTo>
                    <a:pt x="174" y="521"/>
                  </a:lnTo>
                  <a:lnTo>
                    <a:pt x="174" y="523"/>
                  </a:lnTo>
                  <a:lnTo>
                    <a:pt x="176" y="524"/>
                  </a:lnTo>
                  <a:lnTo>
                    <a:pt x="180" y="523"/>
                  </a:lnTo>
                  <a:lnTo>
                    <a:pt x="195" y="515"/>
                  </a:lnTo>
                  <a:lnTo>
                    <a:pt x="195" y="515"/>
                  </a:lnTo>
                  <a:lnTo>
                    <a:pt x="198" y="512"/>
                  </a:lnTo>
                  <a:lnTo>
                    <a:pt x="202" y="509"/>
                  </a:lnTo>
                  <a:lnTo>
                    <a:pt x="210" y="499"/>
                  </a:lnTo>
                  <a:lnTo>
                    <a:pt x="219" y="489"/>
                  </a:lnTo>
                  <a:lnTo>
                    <a:pt x="225" y="483"/>
                  </a:lnTo>
                  <a:lnTo>
                    <a:pt x="225" y="483"/>
                  </a:lnTo>
                  <a:lnTo>
                    <a:pt x="229" y="480"/>
                  </a:lnTo>
                  <a:lnTo>
                    <a:pt x="231" y="477"/>
                  </a:lnTo>
                  <a:lnTo>
                    <a:pt x="233" y="468"/>
                  </a:lnTo>
                  <a:lnTo>
                    <a:pt x="233" y="468"/>
                  </a:lnTo>
                  <a:lnTo>
                    <a:pt x="235" y="462"/>
                  </a:lnTo>
                  <a:lnTo>
                    <a:pt x="238" y="459"/>
                  </a:lnTo>
                  <a:lnTo>
                    <a:pt x="239" y="456"/>
                  </a:lnTo>
                  <a:lnTo>
                    <a:pt x="239" y="450"/>
                  </a:lnTo>
                  <a:lnTo>
                    <a:pt x="239" y="450"/>
                  </a:lnTo>
                  <a:lnTo>
                    <a:pt x="239" y="444"/>
                  </a:lnTo>
                  <a:lnTo>
                    <a:pt x="238" y="443"/>
                  </a:lnTo>
                  <a:lnTo>
                    <a:pt x="236" y="443"/>
                  </a:lnTo>
                  <a:lnTo>
                    <a:pt x="233" y="443"/>
                  </a:lnTo>
                  <a:lnTo>
                    <a:pt x="229" y="443"/>
                  </a:lnTo>
                  <a:lnTo>
                    <a:pt x="229" y="443"/>
                  </a:lnTo>
                  <a:lnTo>
                    <a:pt x="228" y="443"/>
                  </a:lnTo>
                  <a:lnTo>
                    <a:pt x="228" y="440"/>
                  </a:lnTo>
                  <a:lnTo>
                    <a:pt x="228" y="435"/>
                  </a:lnTo>
                  <a:lnTo>
                    <a:pt x="232" y="431"/>
                  </a:lnTo>
                  <a:lnTo>
                    <a:pt x="236" y="426"/>
                  </a:lnTo>
                  <a:lnTo>
                    <a:pt x="236" y="426"/>
                  </a:lnTo>
                  <a:lnTo>
                    <a:pt x="241" y="422"/>
                  </a:lnTo>
                  <a:lnTo>
                    <a:pt x="242" y="419"/>
                  </a:lnTo>
                  <a:lnTo>
                    <a:pt x="242" y="415"/>
                  </a:lnTo>
                  <a:lnTo>
                    <a:pt x="242" y="410"/>
                  </a:lnTo>
                  <a:lnTo>
                    <a:pt x="242" y="410"/>
                  </a:lnTo>
                  <a:lnTo>
                    <a:pt x="241" y="406"/>
                  </a:lnTo>
                  <a:lnTo>
                    <a:pt x="236" y="401"/>
                  </a:lnTo>
                  <a:lnTo>
                    <a:pt x="229" y="394"/>
                  </a:lnTo>
                  <a:lnTo>
                    <a:pt x="229" y="394"/>
                  </a:lnTo>
                  <a:lnTo>
                    <a:pt x="226" y="391"/>
                  </a:lnTo>
                  <a:lnTo>
                    <a:pt x="228" y="389"/>
                  </a:lnTo>
                  <a:lnTo>
                    <a:pt x="233" y="386"/>
                  </a:lnTo>
                  <a:lnTo>
                    <a:pt x="233" y="386"/>
                  </a:lnTo>
                  <a:lnTo>
                    <a:pt x="239" y="370"/>
                  </a:lnTo>
                  <a:lnTo>
                    <a:pt x="245" y="360"/>
                  </a:lnTo>
                  <a:lnTo>
                    <a:pt x="248" y="354"/>
                  </a:lnTo>
                  <a:lnTo>
                    <a:pt x="248" y="354"/>
                  </a:lnTo>
                  <a:lnTo>
                    <a:pt x="259" y="351"/>
                  </a:lnTo>
                  <a:lnTo>
                    <a:pt x="263" y="348"/>
                  </a:lnTo>
                  <a:lnTo>
                    <a:pt x="265" y="348"/>
                  </a:lnTo>
                  <a:lnTo>
                    <a:pt x="265" y="346"/>
                  </a:lnTo>
                  <a:lnTo>
                    <a:pt x="265" y="346"/>
                  </a:lnTo>
                  <a:lnTo>
                    <a:pt x="265" y="340"/>
                  </a:lnTo>
                  <a:lnTo>
                    <a:pt x="265" y="329"/>
                  </a:lnTo>
                  <a:lnTo>
                    <a:pt x="268" y="317"/>
                  </a:lnTo>
                  <a:lnTo>
                    <a:pt x="271" y="308"/>
                  </a:lnTo>
                  <a:lnTo>
                    <a:pt x="271" y="308"/>
                  </a:lnTo>
                  <a:lnTo>
                    <a:pt x="272" y="305"/>
                  </a:lnTo>
                  <a:lnTo>
                    <a:pt x="272" y="302"/>
                  </a:lnTo>
                  <a:lnTo>
                    <a:pt x="271" y="300"/>
                  </a:lnTo>
                  <a:lnTo>
                    <a:pt x="269" y="299"/>
                  </a:lnTo>
                  <a:lnTo>
                    <a:pt x="265" y="298"/>
                  </a:lnTo>
                  <a:lnTo>
                    <a:pt x="260" y="296"/>
                  </a:lnTo>
                  <a:lnTo>
                    <a:pt x="260" y="296"/>
                  </a:lnTo>
                  <a:lnTo>
                    <a:pt x="257" y="295"/>
                  </a:lnTo>
                  <a:lnTo>
                    <a:pt x="254" y="292"/>
                  </a:lnTo>
                  <a:lnTo>
                    <a:pt x="250" y="286"/>
                  </a:lnTo>
                  <a:lnTo>
                    <a:pt x="250" y="286"/>
                  </a:lnTo>
                  <a:lnTo>
                    <a:pt x="248" y="284"/>
                  </a:lnTo>
                  <a:lnTo>
                    <a:pt x="247" y="284"/>
                  </a:lnTo>
                  <a:lnTo>
                    <a:pt x="244" y="286"/>
                  </a:lnTo>
                  <a:lnTo>
                    <a:pt x="241" y="289"/>
                  </a:lnTo>
                  <a:lnTo>
                    <a:pt x="238" y="290"/>
                  </a:lnTo>
                  <a:lnTo>
                    <a:pt x="238" y="290"/>
                  </a:lnTo>
                  <a:lnTo>
                    <a:pt x="232" y="287"/>
                  </a:lnTo>
                  <a:lnTo>
                    <a:pt x="228" y="283"/>
                  </a:lnTo>
                  <a:lnTo>
                    <a:pt x="222" y="278"/>
                  </a:lnTo>
                  <a:lnTo>
                    <a:pt x="220" y="274"/>
                  </a:lnTo>
                  <a:lnTo>
                    <a:pt x="220" y="274"/>
                  </a:lnTo>
                  <a:lnTo>
                    <a:pt x="220" y="272"/>
                  </a:lnTo>
                  <a:lnTo>
                    <a:pt x="222" y="271"/>
                  </a:lnTo>
                  <a:lnTo>
                    <a:pt x="226" y="271"/>
                  </a:lnTo>
                  <a:lnTo>
                    <a:pt x="232" y="269"/>
                  </a:lnTo>
                  <a:lnTo>
                    <a:pt x="233" y="266"/>
                  </a:lnTo>
                  <a:lnTo>
                    <a:pt x="236" y="265"/>
                  </a:lnTo>
                  <a:lnTo>
                    <a:pt x="236" y="265"/>
                  </a:lnTo>
                  <a:lnTo>
                    <a:pt x="248" y="243"/>
                  </a:lnTo>
                  <a:lnTo>
                    <a:pt x="254" y="231"/>
                  </a:lnTo>
                  <a:lnTo>
                    <a:pt x="257" y="223"/>
                  </a:lnTo>
                  <a:lnTo>
                    <a:pt x="257" y="223"/>
                  </a:lnTo>
                  <a:lnTo>
                    <a:pt x="256" y="221"/>
                  </a:lnTo>
                  <a:lnTo>
                    <a:pt x="254" y="218"/>
                  </a:lnTo>
                  <a:lnTo>
                    <a:pt x="247" y="201"/>
                  </a:lnTo>
                  <a:lnTo>
                    <a:pt x="247" y="201"/>
                  </a:lnTo>
                  <a:lnTo>
                    <a:pt x="244" y="197"/>
                  </a:lnTo>
                  <a:lnTo>
                    <a:pt x="242" y="192"/>
                  </a:lnTo>
                  <a:lnTo>
                    <a:pt x="242" y="188"/>
                  </a:lnTo>
                  <a:lnTo>
                    <a:pt x="244" y="185"/>
                  </a:lnTo>
                  <a:lnTo>
                    <a:pt x="247" y="178"/>
                  </a:lnTo>
                  <a:lnTo>
                    <a:pt x="247" y="175"/>
                  </a:lnTo>
                  <a:lnTo>
                    <a:pt x="248" y="170"/>
                  </a:lnTo>
                  <a:lnTo>
                    <a:pt x="248" y="170"/>
                  </a:lnTo>
                  <a:lnTo>
                    <a:pt x="248" y="166"/>
                  </a:lnTo>
                  <a:lnTo>
                    <a:pt x="250" y="161"/>
                  </a:lnTo>
                  <a:lnTo>
                    <a:pt x="253" y="158"/>
                  </a:lnTo>
                  <a:lnTo>
                    <a:pt x="256" y="155"/>
                  </a:lnTo>
                  <a:lnTo>
                    <a:pt x="268" y="148"/>
                  </a:lnTo>
                  <a:lnTo>
                    <a:pt x="282" y="141"/>
                  </a:lnTo>
                  <a:lnTo>
                    <a:pt x="282" y="141"/>
                  </a:lnTo>
                  <a:lnTo>
                    <a:pt x="296" y="133"/>
                  </a:lnTo>
                  <a:lnTo>
                    <a:pt x="305" y="126"/>
                  </a:lnTo>
                  <a:lnTo>
                    <a:pt x="306" y="123"/>
                  </a:lnTo>
                  <a:lnTo>
                    <a:pt x="308" y="120"/>
                  </a:lnTo>
                  <a:lnTo>
                    <a:pt x="309" y="115"/>
                  </a:lnTo>
                  <a:lnTo>
                    <a:pt x="308" y="111"/>
                  </a:lnTo>
                  <a:lnTo>
                    <a:pt x="308" y="111"/>
                  </a:lnTo>
                  <a:lnTo>
                    <a:pt x="306" y="101"/>
                  </a:lnTo>
                  <a:lnTo>
                    <a:pt x="302" y="87"/>
                  </a:lnTo>
                  <a:lnTo>
                    <a:pt x="296" y="7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79" y="52"/>
                  </a:lnTo>
                  <a:lnTo>
                    <a:pt x="273" y="43"/>
                  </a:lnTo>
                  <a:lnTo>
                    <a:pt x="273" y="43"/>
                  </a:lnTo>
                  <a:lnTo>
                    <a:pt x="272" y="40"/>
                  </a:lnTo>
                  <a:lnTo>
                    <a:pt x="272" y="38"/>
                  </a:lnTo>
                  <a:lnTo>
                    <a:pt x="275" y="37"/>
                  </a:lnTo>
                  <a:lnTo>
                    <a:pt x="287" y="35"/>
                  </a:lnTo>
                  <a:lnTo>
                    <a:pt x="287" y="35"/>
                  </a:lnTo>
                  <a:lnTo>
                    <a:pt x="288" y="34"/>
                  </a:lnTo>
                  <a:lnTo>
                    <a:pt x="290" y="31"/>
                  </a:lnTo>
                  <a:lnTo>
                    <a:pt x="290" y="25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79" y="15"/>
                  </a:lnTo>
                  <a:lnTo>
                    <a:pt x="271" y="13"/>
                  </a:lnTo>
                  <a:lnTo>
                    <a:pt x="271" y="13"/>
                  </a:lnTo>
                  <a:lnTo>
                    <a:pt x="266" y="15"/>
                  </a:lnTo>
                  <a:lnTo>
                    <a:pt x="263" y="16"/>
                  </a:lnTo>
                  <a:lnTo>
                    <a:pt x="259" y="18"/>
                  </a:lnTo>
                  <a:lnTo>
                    <a:pt x="254" y="19"/>
                  </a:lnTo>
                  <a:lnTo>
                    <a:pt x="254" y="19"/>
                  </a:lnTo>
                  <a:lnTo>
                    <a:pt x="250" y="18"/>
                  </a:lnTo>
                  <a:lnTo>
                    <a:pt x="248" y="16"/>
                  </a:lnTo>
                  <a:lnTo>
                    <a:pt x="247" y="15"/>
                  </a:lnTo>
                  <a:lnTo>
                    <a:pt x="242" y="15"/>
                  </a:lnTo>
                  <a:lnTo>
                    <a:pt x="242" y="15"/>
                  </a:lnTo>
                  <a:lnTo>
                    <a:pt x="239" y="16"/>
                  </a:lnTo>
                  <a:lnTo>
                    <a:pt x="236" y="19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29" y="24"/>
                  </a:lnTo>
                  <a:lnTo>
                    <a:pt x="226" y="22"/>
                  </a:lnTo>
                  <a:lnTo>
                    <a:pt x="223" y="19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19" y="15"/>
                  </a:lnTo>
                  <a:lnTo>
                    <a:pt x="217" y="13"/>
                  </a:lnTo>
                  <a:lnTo>
                    <a:pt x="213" y="13"/>
                  </a:lnTo>
                  <a:lnTo>
                    <a:pt x="202" y="16"/>
                  </a:lnTo>
                  <a:lnTo>
                    <a:pt x="202" y="16"/>
                  </a:lnTo>
                  <a:lnTo>
                    <a:pt x="192" y="19"/>
                  </a:lnTo>
                  <a:lnTo>
                    <a:pt x="188" y="21"/>
                  </a:lnTo>
                  <a:lnTo>
                    <a:pt x="182" y="21"/>
                  </a:lnTo>
                  <a:lnTo>
                    <a:pt x="182" y="2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4" name="Freeform 73">
              <a:extLst>
                <a:ext uri="{FF2B5EF4-FFF2-40B4-BE49-F238E27FC236}">
                  <a16:creationId xmlns:a16="http://schemas.microsoft.com/office/drawing/2014/main" id="{B59D1870-F1A1-B441-B834-27711AA9F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6184900"/>
              <a:ext cx="325438" cy="255587"/>
            </a:xfrm>
            <a:custGeom>
              <a:avLst/>
              <a:gdLst>
                <a:gd name="T0" fmla="*/ 128 w 205"/>
                <a:gd name="T1" fmla="*/ 41 h 161"/>
                <a:gd name="T2" fmla="*/ 115 w 205"/>
                <a:gd name="T3" fmla="*/ 41 h 161"/>
                <a:gd name="T4" fmla="*/ 105 w 205"/>
                <a:gd name="T5" fmla="*/ 37 h 161"/>
                <a:gd name="T6" fmla="*/ 102 w 205"/>
                <a:gd name="T7" fmla="*/ 34 h 161"/>
                <a:gd name="T8" fmla="*/ 100 w 205"/>
                <a:gd name="T9" fmla="*/ 25 h 161"/>
                <a:gd name="T10" fmla="*/ 100 w 205"/>
                <a:gd name="T11" fmla="*/ 19 h 161"/>
                <a:gd name="T12" fmla="*/ 93 w 205"/>
                <a:gd name="T13" fmla="*/ 12 h 161"/>
                <a:gd name="T14" fmla="*/ 84 w 205"/>
                <a:gd name="T15" fmla="*/ 7 h 161"/>
                <a:gd name="T16" fmla="*/ 80 w 205"/>
                <a:gd name="T17" fmla="*/ 7 h 161"/>
                <a:gd name="T18" fmla="*/ 72 w 205"/>
                <a:gd name="T19" fmla="*/ 13 h 161"/>
                <a:gd name="T20" fmla="*/ 68 w 205"/>
                <a:gd name="T21" fmla="*/ 15 h 161"/>
                <a:gd name="T22" fmla="*/ 53 w 205"/>
                <a:gd name="T23" fmla="*/ 13 h 161"/>
                <a:gd name="T24" fmla="*/ 49 w 205"/>
                <a:gd name="T25" fmla="*/ 15 h 161"/>
                <a:gd name="T26" fmla="*/ 37 w 205"/>
                <a:gd name="T27" fmla="*/ 19 h 161"/>
                <a:gd name="T28" fmla="*/ 31 w 205"/>
                <a:gd name="T29" fmla="*/ 18 h 161"/>
                <a:gd name="T30" fmla="*/ 25 w 205"/>
                <a:gd name="T31" fmla="*/ 9 h 161"/>
                <a:gd name="T32" fmla="*/ 23 w 205"/>
                <a:gd name="T33" fmla="*/ 1 h 161"/>
                <a:gd name="T34" fmla="*/ 19 w 205"/>
                <a:gd name="T35" fmla="*/ 0 h 161"/>
                <a:gd name="T36" fmla="*/ 0 w 205"/>
                <a:gd name="T37" fmla="*/ 1 h 161"/>
                <a:gd name="T38" fmla="*/ 1 w 205"/>
                <a:gd name="T39" fmla="*/ 12 h 161"/>
                <a:gd name="T40" fmla="*/ 10 w 205"/>
                <a:gd name="T41" fmla="*/ 21 h 161"/>
                <a:gd name="T42" fmla="*/ 32 w 205"/>
                <a:gd name="T43" fmla="*/ 49 h 161"/>
                <a:gd name="T44" fmla="*/ 40 w 205"/>
                <a:gd name="T45" fmla="*/ 64 h 161"/>
                <a:gd name="T46" fmla="*/ 41 w 205"/>
                <a:gd name="T47" fmla="*/ 73 h 161"/>
                <a:gd name="T48" fmla="*/ 46 w 205"/>
                <a:gd name="T49" fmla="*/ 99 h 161"/>
                <a:gd name="T50" fmla="*/ 50 w 205"/>
                <a:gd name="T51" fmla="*/ 117 h 161"/>
                <a:gd name="T52" fmla="*/ 60 w 205"/>
                <a:gd name="T53" fmla="*/ 133 h 161"/>
                <a:gd name="T54" fmla="*/ 90 w 205"/>
                <a:gd name="T55" fmla="*/ 161 h 161"/>
                <a:gd name="T56" fmla="*/ 100 w 205"/>
                <a:gd name="T57" fmla="*/ 158 h 161"/>
                <a:gd name="T58" fmla="*/ 111 w 205"/>
                <a:gd name="T59" fmla="*/ 155 h 161"/>
                <a:gd name="T60" fmla="*/ 115 w 205"/>
                <a:gd name="T61" fmla="*/ 150 h 161"/>
                <a:gd name="T62" fmla="*/ 124 w 205"/>
                <a:gd name="T63" fmla="*/ 139 h 161"/>
                <a:gd name="T64" fmla="*/ 128 w 205"/>
                <a:gd name="T65" fmla="*/ 138 h 161"/>
                <a:gd name="T66" fmla="*/ 142 w 205"/>
                <a:gd name="T67" fmla="*/ 138 h 161"/>
                <a:gd name="T68" fmla="*/ 160 w 205"/>
                <a:gd name="T69" fmla="*/ 142 h 161"/>
                <a:gd name="T70" fmla="*/ 170 w 205"/>
                <a:gd name="T71" fmla="*/ 142 h 161"/>
                <a:gd name="T72" fmla="*/ 174 w 205"/>
                <a:gd name="T73" fmla="*/ 139 h 161"/>
                <a:gd name="T74" fmla="*/ 182 w 205"/>
                <a:gd name="T75" fmla="*/ 135 h 161"/>
                <a:gd name="T76" fmla="*/ 185 w 205"/>
                <a:gd name="T77" fmla="*/ 132 h 161"/>
                <a:gd name="T78" fmla="*/ 180 w 205"/>
                <a:gd name="T79" fmla="*/ 120 h 161"/>
                <a:gd name="T80" fmla="*/ 174 w 205"/>
                <a:gd name="T81" fmla="*/ 117 h 161"/>
                <a:gd name="T82" fmla="*/ 173 w 205"/>
                <a:gd name="T83" fmla="*/ 113 h 161"/>
                <a:gd name="T84" fmla="*/ 176 w 205"/>
                <a:gd name="T85" fmla="*/ 107 h 161"/>
                <a:gd name="T86" fmla="*/ 191 w 205"/>
                <a:gd name="T87" fmla="*/ 101 h 161"/>
                <a:gd name="T88" fmla="*/ 198 w 205"/>
                <a:gd name="T89" fmla="*/ 101 h 161"/>
                <a:gd name="T90" fmla="*/ 204 w 205"/>
                <a:gd name="T91" fmla="*/ 95 h 161"/>
                <a:gd name="T92" fmla="*/ 205 w 205"/>
                <a:gd name="T93" fmla="*/ 92 h 161"/>
                <a:gd name="T94" fmla="*/ 200 w 205"/>
                <a:gd name="T95" fmla="*/ 81 h 161"/>
                <a:gd name="T96" fmla="*/ 188 w 205"/>
                <a:gd name="T97" fmla="*/ 68 h 161"/>
                <a:gd name="T98" fmla="*/ 180 w 205"/>
                <a:gd name="T99" fmla="*/ 58 h 161"/>
                <a:gd name="T100" fmla="*/ 180 w 205"/>
                <a:gd name="T101" fmla="*/ 56 h 161"/>
                <a:gd name="T102" fmla="*/ 185 w 205"/>
                <a:gd name="T103" fmla="*/ 47 h 161"/>
                <a:gd name="T104" fmla="*/ 167 w 205"/>
                <a:gd name="T105" fmla="*/ 24 h 161"/>
                <a:gd name="T106" fmla="*/ 164 w 205"/>
                <a:gd name="T107" fmla="*/ 25 h 161"/>
                <a:gd name="T108" fmla="*/ 163 w 205"/>
                <a:gd name="T109" fmla="*/ 27 h 161"/>
                <a:gd name="T110" fmla="*/ 146 w 205"/>
                <a:gd name="T111" fmla="*/ 28 h 161"/>
                <a:gd name="T112" fmla="*/ 142 w 205"/>
                <a:gd name="T113" fmla="*/ 28 h 161"/>
                <a:gd name="T114" fmla="*/ 136 w 205"/>
                <a:gd name="T115" fmla="*/ 36 h 161"/>
                <a:gd name="T116" fmla="*/ 128 w 205"/>
                <a:gd name="T117" fmla="*/ 4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5" h="161">
                  <a:moveTo>
                    <a:pt x="128" y="41"/>
                  </a:moveTo>
                  <a:lnTo>
                    <a:pt x="128" y="41"/>
                  </a:lnTo>
                  <a:lnTo>
                    <a:pt x="121" y="43"/>
                  </a:lnTo>
                  <a:lnTo>
                    <a:pt x="115" y="41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2" y="37"/>
                  </a:lnTo>
                  <a:lnTo>
                    <a:pt x="102" y="34"/>
                  </a:lnTo>
                  <a:lnTo>
                    <a:pt x="100" y="30"/>
                  </a:lnTo>
                  <a:lnTo>
                    <a:pt x="100" y="25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7" y="15"/>
                  </a:lnTo>
                  <a:lnTo>
                    <a:pt x="93" y="12"/>
                  </a:lnTo>
                  <a:lnTo>
                    <a:pt x="87" y="9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0" y="7"/>
                  </a:lnTo>
                  <a:lnTo>
                    <a:pt x="77" y="10"/>
                  </a:lnTo>
                  <a:lnTo>
                    <a:pt x="72" y="13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59" y="13"/>
                  </a:lnTo>
                  <a:lnTo>
                    <a:pt x="53" y="13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1" y="19"/>
                  </a:lnTo>
                  <a:lnTo>
                    <a:pt x="37" y="19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6" y="13"/>
                  </a:lnTo>
                  <a:lnTo>
                    <a:pt x="25" y="9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0" y="21"/>
                  </a:lnTo>
                  <a:lnTo>
                    <a:pt x="20" y="33"/>
                  </a:lnTo>
                  <a:lnTo>
                    <a:pt x="32" y="49"/>
                  </a:lnTo>
                  <a:lnTo>
                    <a:pt x="37" y="56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73"/>
                  </a:lnTo>
                  <a:lnTo>
                    <a:pt x="43" y="83"/>
                  </a:lnTo>
                  <a:lnTo>
                    <a:pt x="46" y="99"/>
                  </a:lnTo>
                  <a:lnTo>
                    <a:pt x="47" y="108"/>
                  </a:lnTo>
                  <a:lnTo>
                    <a:pt x="50" y="117"/>
                  </a:lnTo>
                  <a:lnTo>
                    <a:pt x="54" y="124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90" y="161"/>
                  </a:lnTo>
                  <a:lnTo>
                    <a:pt x="90" y="161"/>
                  </a:lnTo>
                  <a:lnTo>
                    <a:pt x="100" y="158"/>
                  </a:lnTo>
                  <a:lnTo>
                    <a:pt x="111" y="155"/>
                  </a:lnTo>
                  <a:lnTo>
                    <a:pt x="111" y="155"/>
                  </a:lnTo>
                  <a:lnTo>
                    <a:pt x="114" y="153"/>
                  </a:lnTo>
                  <a:lnTo>
                    <a:pt x="115" y="150"/>
                  </a:lnTo>
                  <a:lnTo>
                    <a:pt x="120" y="145"/>
                  </a:lnTo>
                  <a:lnTo>
                    <a:pt x="124" y="139"/>
                  </a:lnTo>
                  <a:lnTo>
                    <a:pt x="124" y="139"/>
                  </a:lnTo>
                  <a:lnTo>
                    <a:pt x="128" y="138"/>
                  </a:lnTo>
                  <a:lnTo>
                    <a:pt x="131" y="136"/>
                  </a:lnTo>
                  <a:lnTo>
                    <a:pt x="142" y="138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6" y="142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4" y="139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3" y="133"/>
                  </a:lnTo>
                  <a:lnTo>
                    <a:pt x="185" y="132"/>
                  </a:lnTo>
                  <a:lnTo>
                    <a:pt x="183" y="126"/>
                  </a:lnTo>
                  <a:lnTo>
                    <a:pt x="180" y="120"/>
                  </a:lnTo>
                  <a:lnTo>
                    <a:pt x="174" y="117"/>
                  </a:lnTo>
                  <a:lnTo>
                    <a:pt x="174" y="117"/>
                  </a:lnTo>
                  <a:lnTo>
                    <a:pt x="173" y="114"/>
                  </a:lnTo>
                  <a:lnTo>
                    <a:pt x="173" y="113"/>
                  </a:lnTo>
                  <a:lnTo>
                    <a:pt x="174" y="110"/>
                  </a:lnTo>
                  <a:lnTo>
                    <a:pt x="176" y="107"/>
                  </a:lnTo>
                  <a:lnTo>
                    <a:pt x="182" y="104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8" y="101"/>
                  </a:lnTo>
                  <a:lnTo>
                    <a:pt x="203" y="98"/>
                  </a:lnTo>
                  <a:lnTo>
                    <a:pt x="204" y="95"/>
                  </a:lnTo>
                  <a:lnTo>
                    <a:pt x="205" y="92"/>
                  </a:lnTo>
                  <a:lnTo>
                    <a:pt x="205" y="92"/>
                  </a:lnTo>
                  <a:lnTo>
                    <a:pt x="204" y="87"/>
                  </a:lnTo>
                  <a:lnTo>
                    <a:pt x="200" y="81"/>
                  </a:lnTo>
                  <a:lnTo>
                    <a:pt x="188" y="68"/>
                  </a:lnTo>
                  <a:lnTo>
                    <a:pt x="188" y="68"/>
                  </a:lnTo>
                  <a:lnTo>
                    <a:pt x="182" y="61"/>
                  </a:lnTo>
                  <a:lnTo>
                    <a:pt x="180" y="58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2" y="52"/>
                  </a:lnTo>
                  <a:lnTo>
                    <a:pt x="185" y="47"/>
                  </a:lnTo>
                  <a:lnTo>
                    <a:pt x="188" y="43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4" y="25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52" y="28"/>
                  </a:lnTo>
                  <a:lnTo>
                    <a:pt x="146" y="28"/>
                  </a:lnTo>
                  <a:lnTo>
                    <a:pt x="142" y="28"/>
                  </a:lnTo>
                  <a:lnTo>
                    <a:pt x="142" y="28"/>
                  </a:lnTo>
                  <a:lnTo>
                    <a:pt x="139" y="31"/>
                  </a:lnTo>
                  <a:lnTo>
                    <a:pt x="136" y="36"/>
                  </a:lnTo>
                  <a:lnTo>
                    <a:pt x="133" y="38"/>
                  </a:lnTo>
                  <a:lnTo>
                    <a:pt x="128" y="41"/>
                  </a:lnTo>
                  <a:lnTo>
                    <a:pt x="128" y="4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5" name="Freeform 74">
              <a:extLst>
                <a:ext uri="{FF2B5EF4-FFF2-40B4-BE49-F238E27FC236}">
                  <a16:creationId xmlns:a16="http://schemas.microsoft.com/office/drawing/2014/main" id="{18875031-A542-DE46-A40E-FF8C90070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0300" y="3133725"/>
              <a:ext cx="1560513" cy="2532062"/>
            </a:xfrm>
            <a:custGeom>
              <a:avLst/>
              <a:gdLst>
                <a:gd name="T0" fmla="*/ 122 w 983"/>
                <a:gd name="T1" fmla="*/ 435 h 1595"/>
                <a:gd name="T2" fmla="*/ 162 w 983"/>
                <a:gd name="T3" fmla="*/ 490 h 1595"/>
                <a:gd name="T4" fmla="*/ 219 w 983"/>
                <a:gd name="T5" fmla="*/ 549 h 1595"/>
                <a:gd name="T6" fmla="*/ 241 w 983"/>
                <a:gd name="T7" fmla="*/ 554 h 1595"/>
                <a:gd name="T8" fmla="*/ 290 w 983"/>
                <a:gd name="T9" fmla="*/ 564 h 1595"/>
                <a:gd name="T10" fmla="*/ 262 w 983"/>
                <a:gd name="T11" fmla="*/ 534 h 1595"/>
                <a:gd name="T12" fmla="*/ 217 w 983"/>
                <a:gd name="T13" fmla="*/ 479 h 1595"/>
                <a:gd name="T14" fmla="*/ 281 w 983"/>
                <a:gd name="T15" fmla="*/ 411 h 1595"/>
                <a:gd name="T16" fmla="*/ 287 w 983"/>
                <a:gd name="T17" fmla="*/ 484 h 1595"/>
                <a:gd name="T18" fmla="*/ 343 w 983"/>
                <a:gd name="T19" fmla="*/ 524 h 1595"/>
                <a:gd name="T20" fmla="*/ 365 w 983"/>
                <a:gd name="T21" fmla="*/ 586 h 1595"/>
                <a:gd name="T22" fmla="*/ 356 w 983"/>
                <a:gd name="T23" fmla="*/ 657 h 1595"/>
                <a:gd name="T24" fmla="*/ 393 w 983"/>
                <a:gd name="T25" fmla="*/ 755 h 1595"/>
                <a:gd name="T26" fmla="*/ 442 w 983"/>
                <a:gd name="T27" fmla="*/ 955 h 1595"/>
                <a:gd name="T28" fmla="*/ 420 w 983"/>
                <a:gd name="T29" fmla="*/ 1038 h 1595"/>
                <a:gd name="T30" fmla="*/ 441 w 983"/>
                <a:gd name="T31" fmla="*/ 1104 h 1595"/>
                <a:gd name="T32" fmla="*/ 506 w 983"/>
                <a:gd name="T33" fmla="*/ 1267 h 1595"/>
                <a:gd name="T34" fmla="*/ 888 w 983"/>
                <a:gd name="T35" fmla="*/ 1531 h 1595"/>
                <a:gd name="T36" fmla="*/ 975 w 983"/>
                <a:gd name="T37" fmla="*/ 1595 h 1595"/>
                <a:gd name="T38" fmla="*/ 956 w 983"/>
                <a:gd name="T39" fmla="*/ 1417 h 1595"/>
                <a:gd name="T40" fmla="*/ 904 w 983"/>
                <a:gd name="T41" fmla="*/ 1356 h 1595"/>
                <a:gd name="T42" fmla="*/ 895 w 983"/>
                <a:gd name="T43" fmla="*/ 1337 h 1595"/>
                <a:gd name="T44" fmla="*/ 928 w 983"/>
                <a:gd name="T45" fmla="*/ 1257 h 1595"/>
                <a:gd name="T46" fmla="*/ 887 w 983"/>
                <a:gd name="T47" fmla="*/ 1227 h 1595"/>
                <a:gd name="T48" fmla="*/ 838 w 983"/>
                <a:gd name="T49" fmla="*/ 1109 h 1595"/>
                <a:gd name="T50" fmla="*/ 860 w 983"/>
                <a:gd name="T51" fmla="*/ 1030 h 1595"/>
                <a:gd name="T52" fmla="*/ 761 w 983"/>
                <a:gd name="T53" fmla="*/ 965 h 1595"/>
                <a:gd name="T54" fmla="*/ 738 w 983"/>
                <a:gd name="T55" fmla="*/ 903 h 1595"/>
                <a:gd name="T56" fmla="*/ 777 w 983"/>
                <a:gd name="T57" fmla="*/ 912 h 1595"/>
                <a:gd name="T58" fmla="*/ 749 w 983"/>
                <a:gd name="T59" fmla="*/ 860 h 1595"/>
                <a:gd name="T60" fmla="*/ 724 w 983"/>
                <a:gd name="T61" fmla="*/ 870 h 1595"/>
                <a:gd name="T62" fmla="*/ 660 w 983"/>
                <a:gd name="T63" fmla="*/ 801 h 1595"/>
                <a:gd name="T64" fmla="*/ 610 w 983"/>
                <a:gd name="T65" fmla="*/ 804 h 1595"/>
                <a:gd name="T66" fmla="*/ 590 w 983"/>
                <a:gd name="T67" fmla="*/ 833 h 1595"/>
                <a:gd name="T68" fmla="*/ 515 w 983"/>
                <a:gd name="T69" fmla="*/ 715 h 1595"/>
                <a:gd name="T70" fmla="*/ 466 w 983"/>
                <a:gd name="T71" fmla="*/ 638 h 1595"/>
                <a:gd name="T72" fmla="*/ 484 w 983"/>
                <a:gd name="T73" fmla="*/ 580 h 1595"/>
                <a:gd name="T74" fmla="*/ 497 w 983"/>
                <a:gd name="T75" fmla="*/ 530 h 1595"/>
                <a:gd name="T76" fmla="*/ 527 w 983"/>
                <a:gd name="T77" fmla="*/ 502 h 1595"/>
                <a:gd name="T78" fmla="*/ 550 w 983"/>
                <a:gd name="T79" fmla="*/ 496 h 1595"/>
                <a:gd name="T80" fmla="*/ 534 w 983"/>
                <a:gd name="T81" fmla="*/ 371 h 1595"/>
                <a:gd name="T82" fmla="*/ 626 w 983"/>
                <a:gd name="T83" fmla="*/ 327 h 1595"/>
                <a:gd name="T84" fmla="*/ 623 w 983"/>
                <a:gd name="T85" fmla="*/ 278 h 1595"/>
                <a:gd name="T86" fmla="*/ 601 w 983"/>
                <a:gd name="T87" fmla="*/ 165 h 1595"/>
                <a:gd name="T88" fmla="*/ 574 w 983"/>
                <a:gd name="T89" fmla="*/ 91 h 1595"/>
                <a:gd name="T90" fmla="*/ 568 w 983"/>
                <a:gd name="T91" fmla="*/ 19 h 1595"/>
                <a:gd name="T92" fmla="*/ 512 w 983"/>
                <a:gd name="T93" fmla="*/ 1 h 1595"/>
                <a:gd name="T94" fmla="*/ 496 w 983"/>
                <a:gd name="T95" fmla="*/ 47 h 1595"/>
                <a:gd name="T96" fmla="*/ 469 w 983"/>
                <a:gd name="T97" fmla="*/ 90 h 1595"/>
                <a:gd name="T98" fmla="*/ 441 w 983"/>
                <a:gd name="T99" fmla="*/ 139 h 1595"/>
                <a:gd name="T100" fmla="*/ 405 w 983"/>
                <a:gd name="T101" fmla="*/ 183 h 1595"/>
                <a:gd name="T102" fmla="*/ 346 w 983"/>
                <a:gd name="T103" fmla="*/ 198 h 1595"/>
                <a:gd name="T104" fmla="*/ 297 w 983"/>
                <a:gd name="T105" fmla="*/ 192 h 1595"/>
                <a:gd name="T106" fmla="*/ 232 w 983"/>
                <a:gd name="T107" fmla="*/ 151 h 1595"/>
                <a:gd name="T108" fmla="*/ 161 w 983"/>
                <a:gd name="T109" fmla="*/ 179 h 1595"/>
                <a:gd name="T110" fmla="*/ 119 w 983"/>
                <a:gd name="T111" fmla="*/ 207 h 1595"/>
                <a:gd name="T112" fmla="*/ 72 w 983"/>
                <a:gd name="T113" fmla="*/ 237 h 1595"/>
                <a:gd name="T114" fmla="*/ 53 w 983"/>
                <a:gd name="T115" fmla="*/ 263 h 1595"/>
                <a:gd name="T116" fmla="*/ 14 w 983"/>
                <a:gd name="T117" fmla="*/ 302 h 1595"/>
                <a:gd name="T118" fmla="*/ 28 w 983"/>
                <a:gd name="T119" fmla="*/ 352 h 1595"/>
                <a:gd name="T120" fmla="*/ 63 w 983"/>
                <a:gd name="T121" fmla="*/ 376 h 1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3" h="1595">
                  <a:moveTo>
                    <a:pt x="75" y="400"/>
                  </a:moveTo>
                  <a:lnTo>
                    <a:pt x="75" y="400"/>
                  </a:lnTo>
                  <a:lnTo>
                    <a:pt x="84" y="410"/>
                  </a:lnTo>
                  <a:lnTo>
                    <a:pt x="91" y="414"/>
                  </a:lnTo>
                  <a:lnTo>
                    <a:pt x="94" y="416"/>
                  </a:lnTo>
                  <a:lnTo>
                    <a:pt x="99" y="417"/>
                  </a:lnTo>
                  <a:lnTo>
                    <a:pt x="99" y="417"/>
                  </a:lnTo>
                  <a:lnTo>
                    <a:pt x="114" y="419"/>
                  </a:lnTo>
                  <a:lnTo>
                    <a:pt x="117" y="419"/>
                  </a:lnTo>
                  <a:lnTo>
                    <a:pt x="119" y="420"/>
                  </a:lnTo>
                  <a:lnTo>
                    <a:pt x="119" y="420"/>
                  </a:lnTo>
                  <a:lnTo>
                    <a:pt x="119" y="428"/>
                  </a:lnTo>
                  <a:lnTo>
                    <a:pt x="119" y="432"/>
                  </a:lnTo>
                  <a:lnTo>
                    <a:pt x="122" y="435"/>
                  </a:lnTo>
                  <a:lnTo>
                    <a:pt x="122" y="435"/>
                  </a:lnTo>
                  <a:lnTo>
                    <a:pt x="131" y="444"/>
                  </a:lnTo>
                  <a:lnTo>
                    <a:pt x="134" y="448"/>
                  </a:lnTo>
                  <a:lnTo>
                    <a:pt x="137" y="453"/>
                  </a:lnTo>
                  <a:lnTo>
                    <a:pt x="137" y="453"/>
                  </a:lnTo>
                  <a:lnTo>
                    <a:pt x="139" y="459"/>
                  </a:lnTo>
                  <a:lnTo>
                    <a:pt x="137" y="466"/>
                  </a:lnTo>
                  <a:lnTo>
                    <a:pt x="136" y="474"/>
                  </a:lnTo>
                  <a:lnTo>
                    <a:pt x="137" y="478"/>
                  </a:lnTo>
                  <a:lnTo>
                    <a:pt x="139" y="481"/>
                  </a:lnTo>
                  <a:lnTo>
                    <a:pt x="139" y="481"/>
                  </a:lnTo>
                  <a:lnTo>
                    <a:pt x="143" y="485"/>
                  </a:lnTo>
                  <a:lnTo>
                    <a:pt x="149" y="488"/>
                  </a:lnTo>
                  <a:lnTo>
                    <a:pt x="156" y="490"/>
                  </a:lnTo>
                  <a:lnTo>
                    <a:pt x="162" y="490"/>
                  </a:lnTo>
                  <a:lnTo>
                    <a:pt x="162" y="490"/>
                  </a:lnTo>
                  <a:lnTo>
                    <a:pt x="176" y="488"/>
                  </a:lnTo>
                  <a:lnTo>
                    <a:pt x="182" y="487"/>
                  </a:lnTo>
                  <a:lnTo>
                    <a:pt x="185" y="485"/>
                  </a:lnTo>
                  <a:lnTo>
                    <a:pt x="185" y="485"/>
                  </a:lnTo>
                  <a:lnTo>
                    <a:pt x="188" y="487"/>
                  </a:lnTo>
                  <a:lnTo>
                    <a:pt x="194" y="490"/>
                  </a:lnTo>
                  <a:lnTo>
                    <a:pt x="207" y="502"/>
                  </a:lnTo>
                  <a:lnTo>
                    <a:pt x="226" y="519"/>
                  </a:lnTo>
                  <a:lnTo>
                    <a:pt x="226" y="519"/>
                  </a:lnTo>
                  <a:lnTo>
                    <a:pt x="222" y="524"/>
                  </a:lnTo>
                  <a:lnTo>
                    <a:pt x="220" y="528"/>
                  </a:lnTo>
                  <a:lnTo>
                    <a:pt x="219" y="536"/>
                  </a:lnTo>
                  <a:lnTo>
                    <a:pt x="219" y="536"/>
                  </a:lnTo>
                  <a:lnTo>
                    <a:pt x="219" y="543"/>
                  </a:lnTo>
                  <a:lnTo>
                    <a:pt x="219" y="549"/>
                  </a:lnTo>
                  <a:lnTo>
                    <a:pt x="220" y="551"/>
                  </a:lnTo>
                  <a:lnTo>
                    <a:pt x="223" y="549"/>
                  </a:lnTo>
                  <a:lnTo>
                    <a:pt x="223" y="549"/>
                  </a:lnTo>
                  <a:lnTo>
                    <a:pt x="228" y="545"/>
                  </a:lnTo>
                  <a:lnTo>
                    <a:pt x="233" y="540"/>
                  </a:lnTo>
                  <a:lnTo>
                    <a:pt x="238" y="539"/>
                  </a:lnTo>
                  <a:lnTo>
                    <a:pt x="239" y="539"/>
                  </a:lnTo>
                  <a:lnTo>
                    <a:pt x="241" y="540"/>
                  </a:lnTo>
                  <a:lnTo>
                    <a:pt x="241" y="540"/>
                  </a:lnTo>
                  <a:lnTo>
                    <a:pt x="241" y="545"/>
                  </a:lnTo>
                  <a:lnTo>
                    <a:pt x="239" y="549"/>
                  </a:lnTo>
                  <a:lnTo>
                    <a:pt x="238" y="552"/>
                  </a:lnTo>
                  <a:lnTo>
                    <a:pt x="239" y="554"/>
                  </a:lnTo>
                  <a:lnTo>
                    <a:pt x="241" y="554"/>
                  </a:lnTo>
                  <a:lnTo>
                    <a:pt x="241" y="554"/>
                  </a:lnTo>
                  <a:lnTo>
                    <a:pt x="245" y="555"/>
                  </a:lnTo>
                  <a:lnTo>
                    <a:pt x="250" y="555"/>
                  </a:lnTo>
                  <a:lnTo>
                    <a:pt x="256" y="556"/>
                  </a:lnTo>
                  <a:lnTo>
                    <a:pt x="260" y="559"/>
                  </a:lnTo>
                  <a:lnTo>
                    <a:pt x="260" y="559"/>
                  </a:lnTo>
                  <a:lnTo>
                    <a:pt x="266" y="568"/>
                  </a:lnTo>
                  <a:lnTo>
                    <a:pt x="268" y="570"/>
                  </a:lnTo>
                  <a:lnTo>
                    <a:pt x="272" y="571"/>
                  </a:lnTo>
                  <a:lnTo>
                    <a:pt x="272" y="571"/>
                  </a:lnTo>
                  <a:lnTo>
                    <a:pt x="272" y="567"/>
                  </a:lnTo>
                  <a:lnTo>
                    <a:pt x="275" y="565"/>
                  </a:lnTo>
                  <a:lnTo>
                    <a:pt x="278" y="564"/>
                  </a:lnTo>
                  <a:lnTo>
                    <a:pt x="282" y="564"/>
                  </a:lnTo>
                  <a:lnTo>
                    <a:pt x="282" y="564"/>
                  </a:lnTo>
                  <a:lnTo>
                    <a:pt x="290" y="564"/>
                  </a:lnTo>
                  <a:lnTo>
                    <a:pt x="294" y="562"/>
                  </a:lnTo>
                  <a:lnTo>
                    <a:pt x="297" y="561"/>
                  </a:lnTo>
                  <a:lnTo>
                    <a:pt x="297" y="561"/>
                  </a:lnTo>
                  <a:lnTo>
                    <a:pt x="299" y="558"/>
                  </a:lnTo>
                  <a:lnTo>
                    <a:pt x="300" y="556"/>
                  </a:lnTo>
                  <a:lnTo>
                    <a:pt x="297" y="552"/>
                  </a:lnTo>
                  <a:lnTo>
                    <a:pt x="291" y="543"/>
                  </a:lnTo>
                  <a:lnTo>
                    <a:pt x="291" y="543"/>
                  </a:lnTo>
                  <a:lnTo>
                    <a:pt x="288" y="542"/>
                  </a:lnTo>
                  <a:lnTo>
                    <a:pt x="284" y="543"/>
                  </a:lnTo>
                  <a:lnTo>
                    <a:pt x="275" y="545"/>
                  </a:lnTo>
                  <a:lnTo>
                    <a:pt x="275" y="545"/>
                  </a:lnTo>
                  <a:lnTo>
                    <a:pt x="271" y="543"/>
                  </a:lnTo>
                  <a:lnTo>
                    <a:pt x="268" y="540"/>
                  </a:lnTo>
                  <a:lnTo>
                    <a:pt x="262" y="534"/>
                  </a:lnTo>
                  <a:lnTo>
                    <a:pt x="262" y="534"/>
                  </a:lnTo>
                  <a:lnTo>
                    <a:pt x="256" y="528"/>
                  </a:lnTo>
                  <a:lnTo>
                    <a:pt x="247" y="522"/>
                  </a:lnTo>
                  <a:lnTo>
                    <a:pt x="247" y="522"/>
                  </a:lnTo>
                  <a:lnTo>
                    <a:pt x="244" y="519"/>
                  </a:lnTo>
                  <a:lnTo>
                    <a:pt x="241" y="515"/>
                  </a:lnTo>
                  <a:lnTo>
                    <a:pt x="236" y="508"/>
                  </a:lnTo>
                  <a:lnTo>
                    <a:pt x="236" y="508"/>
                  </a:lnTo>
                  <a:lnTo>
                    <a:pt x="233" y="500"/>
                  </a:lnTo>
                  <a:lnTo>
                    <a:pt x="231" y="497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2" y="491"/>
                  </a:lnTo>
                  <a:lnTo>
                    <a:pt x="219" y="485"/>
                  </a:lnTo>
                  <a:lnTo>
                    <a:pt x="217" y="479"/>
                  </a:lnTo>
                  <a:lnTo>
                    <a:pt x="216" y="474"/>
                  </a:lnTo>
                  <a:lnTo>
                    <a:pt x="216" y="474"/>
                  </a:lnTo>
                  <a:lnTo>
                    <a:pt x="217" y="468"/>
                  </a:lnTo>
                  <a:lnTo>
                    <a:pt x="219" y="460"/>
                  </a:lnTo>
                  <a:lnTo>
                    <a:pt x="225" y="447"/>
                  </a:lnTo>
                  <a:lnTo>
                    <a:pt x="225" y="447"/>
                  </a:lnTo>
                  <a:lnTo>
                    <a:pt x="232" y="435"/>
                  </a:lnTo>
                  <a:lnTo>
                    <a:pt x="241" y="425"/>
                  </a:lnTo>
                  <a:lnTo>
                    <a:pt x="241" y="425"/>
                  </a:lnTo>
                  <a:lnTo>
                    <a:pt x="247" y="420"/>
                  </a:lnTo>
                  <a:lnTo>
                    <a:pt x="254" y="417"/>
                  </a:lnTo>
                  <a:lnTo>
                    <a:pt x="272" y="413"/>
                  </a:lnTo>
                  <a:lnTo>
                    <a:pt x="272" y="413"/>
                  </a:lnTo>
                  <a:lnTo>
                    <a:pt x="278" y="411"/>
                  </a:lnTo>
                  <a:lnTo>
                    <a:pt x="281" y="411"/>
                  </a:lnTo>
                  <a:lnTo>
                    <a:pt x="281" y="413"/>
                  </a:lnTo>
                  <a:lnTo>
                    <a:pt x="278" y="416"/>
                  </a:lnTo>
                  <a:lnTo>
                    <a:pt x="278" y="416"/>
                  </a:lnTo>
                  <a:lnTo>
                    <a:pt x="266" y="426"/>
                  </a:lnTo>
                  <a:lnTo>
                    <a:pt x="257" y="434"/>
                  </a:lnTo>
                  <a:lnTo>
                    <a:pt x="251" y="441"/>
                  </a:lnTo>
                  <a:lnTo>
                    <a:pt x="251" y="441"/>
                  </a:lnTo>
                  <a:lnTo>
                    <a:pt x="250" y="444"/>
                  </a:lnTo>
                  <a:lnTo>
                    <a:pt x="250" y="445"/>
                  </a:lnTo>
                  <a:lnTo>
                    <a:pt x="253" y="451"/>
                  </a:lnTo>
                  <a:lnTo>
                    <a:pt x="257" y="457"/>
                  </a:lnTo>
                  <a:lnTo>
                    <a:pt x="263" y="465"/>
                  </a:lnTo>
                  <a:lnTo>
                    <a:pt x="278" y="477"/>
                  </a:lnTo>
                  <a:lnTo>
                    <a:pt x="287" y="484"/>
                  </a:lnTo>
                  <a:lnTo>
                    <a:pt x="287" y="484"/>
                  </a:lnTo>
                  <a:lnTo>
                    <a:pt x="300" y="493"/>
                  </a:lnTo>
                  <a:lnTo>
                    <a:pt x="306" y="499"/>
                  </a:lnTo>
                  <a:lnTo>
                    <a:pt x="309" y="502"/>
                  </a:lnTo>
                  <a:lnTo>
                    <a:pt x="309" y="502"/>
                  </a:lnTo>
                  <a:lnTo>
                    <a:pt x="310" y="511"/>
                  </a:lnTo>
                  <a:lnTo>
                    <a:pt x="312" y="515"/>
                  </a:lnTo>
                  <a:lnTo>
                    <a:pt x="313" y="518"/>
                  </a:lnTo>
                  <a:lnTo>
                    <a:pt x="313" y="518"/>
                  </a:lnTo>
                  <a:lnTo>
                    <a:pt x="316" y="521"/>
                  </a:lnTo>
                  <a:lnTo>
                    <a:pt x="322" y="521"/>
                  </a:lnTo>
                  <a:lnTo>
                    <a:pt x="333" y="522"/>
                  </a:lnTo>
                  <a:lnTo>
                    <a:pt x="333" y="522"/>
                  </a:lnTo>
                  <a:lnTo>
                    <a:pt x="339" y="522"/>
                  </a:lnTo>
                  <a:lnTo>
                    <a:pt x="343" y="524"/>
                  </a:lnTo>
                  <a:lnTo>
                    <a:pt x="343" y="524"/>
                  </a:lnTo>
                  <a:lnTo>
                    <a:pt x="345" y="528"/>
                  </a:lnTo>
                  <a:lnTo>
                    <a:pt x="346" y="537"/>
                  </a:lnTo>
                  <a:lnTo>
                    <a:pt x="350" y="551"/>
                  </a:lnTo>
                  <a:lnTo>
                    <a:pt x="350" y="551"/>
                  </a:lnTo>
                  <a:lnTo>
                    <a:pt x="355" y="558"/>
                  </a:lnTo>
                  <a:lnTo>
                    <a:pt x="359" y="561"/>
                  </a:lnTo>
                  <a:lnTo>
                    <a:pt x="364" y="564"/>
                  </a:lnTo>
                  <a:lnTo>
                    <a:pt x="364" y="564"/>
                  </a:lnTo>
                  <a:lnTo>
                    <a:pt x="371" y="565"/>
                  </a:lnTo>
                  <a:lnTo>
                    <a:pt x="374" y="567"/>
                  </a:lnTo>
                  <a:lnTo>
                    <a:pt x="376" y="567"/>
                  </a:lnTo>
                  <a:lnTo>
                    <a:pt x="376" y="567"/>
                  </a:lnTo>
                  <a:lnTo>
                    <a:pt x="376" y="570"/>
                  </a:lnTo>
                  <a:lnTo>
                    <a:pt x="373" y="574"/>
                  </a:lnTo>
                  <a:lnTo>
                    <a:pt x="365" y="586"/>
                  </a:lnTo>
                  <a:lnTo>
                    <a:pt x="365" y="586"/>
                  </a:lnTo>
                  <a:lnTo>
                    <a:pt x="362" y="594"/>
                  </a:lnTo>
                  <a:lnTo>
                    <a:pt x="361" y="602"/>
                  </a:lnTo>
                  <a:lnTo>
                    <a:pt x="361" y="613"/>
                  </a:lnTo>
                  <a:lnTo>
                    <a:pt x="361" y="613"/>
                  </a:lnTo>
                  <a:lnTo>
                    <a:pt x="364" y="620"/>
                  </a:lnTo>
                  <a:lnTo>
                    <a:pt x="365" y="626"/>
                  </a:lnTo>
                  <a:lnTo>
                    <a:pt x="365" y="626"/>
                  </a:lnTo>
                  <a:lnTo>
                    <a:pt x="364" y="634"/>
                  </a:lnTo>
                  <a:lnTo>
                    <a:pt x="361" y="638"/>
                  </a:lnTo>
                  <a:lnTo>
                    <a:pt x="358" y="641"/>
                  </a:lnTo>
                  <a:lnTo>
                    <a:pt x="358" y="641"/>
                  </a:lnTo>
                  <a:lnTo>
                    <a:pt x="358" y="642"/>
                  </a:lnTo>
                  <a:lnTo>
                    <a:pt x="356" y="647"/>
                  </a:lnTo>
                  <a:lnTo>
                    <a:pt x="356" y="657"/>
                  </a:lnTo>
                  <a:lnTo>
                    <a:pt x="358" y="668"/>
                  </a:lnTo>
                  <a:lnTo>
                    <a:pt x="359" y="675"/>
                  </a:lnTo>
                  <a:lnTo>
                    <a:pt x="359" y="675"/>
                  </a:lnTo>
                  <a:lnTo>
                    <a:pt x="362" y="681"/>
                  </a:lnTo>
                  <a:lnTo>
                    <a:pt x="368" y="688"/>
                  </a:lnTo>
                  <a:lnTo>
                    <a:pt x="379" y="699"/>
                  </a:lnTo>
                  <a:lnTo>
                    <a:pt x="379" y="699"/>
                  </a:lnTo>
                  <a:lnTo>
                    <a:pt x="380" y="700"/>
                  </a:lnTo>
                  <a:lnTo>
                    <a:pt x="382" y="705"/>
                  </a:lnTo>
                  <a:lnTo>
                    <a:pt x="383" y="713"/>
                  </a:lnTo>
                  <a:lnTo>
                    <a:pt x="383" y="731"/>
                  </a:lnTo>
                  <a:lnTo>
                    <a:pt x="383" y="731"/>
                  </a:lnTo>
                  <a:lnTo>
                    <a:pt x="385" y="737"/>
                  </a:lnTo>
                  <a:lnTo>
                    <a:pt x="387" y="745"/>
                  </a:lnTo>
                  <a:lnTo>
                    <a:pt x="393" y="755"/>
                  </a:lnTo>
                  <a:lnTo>
                    <a:pt x="393" y="755"/>
                  </a:lnTo>
                  <a:lnTo>
                    <a:pt x="395" y="774"/>
                  </a:lnTo>
                  <a:lnTo>
                    <a:pt x="398" y="792"/>
                  </a:lnTo>
                  <a:lnTo>
                    <a:pt x="398" y="792"/>
                  </a:lnTo>
                  <a:lnTo>
                    <a:pt x="402" y="836"/>
                  </a:lnTo>
                  <a:lnTo>
                    <a:pt x="402" y="836"/>
                  </a:lnTo>
                  <a:lnTo>
                    <a:pt x="405" y="847"/>
                  </a:lnTo>
                  <a:lnTo>
                    <a:pt x="411" y="862"/>
                  </a:lnTo>
                  <a:lnTo>
                    <a:pt x="420" y="887"/>
                  </a:lnTo>
                  <a:lnTo>
                    <a:pt x="420" y="887"/>
                  </a:lnTo>
                  <a:lnTo>
                    <a:pt x="430" y="915"/>
                  </a:lnTo>
                  <a:lnTo>
                    <a:pt x="439" y="942"/>
                  </a:lnTo>
                  <a:lnTo>
                    <a:pt x="439" y="942"/>
                  </a:lnTo>
                  <a:lnTo>
                    <a:pt x="441" y="947"/>
                  </a:lnTo>
                  <a:lnTo>
                    <a:pt x="442" y="955"/>
                  </a:lnTo>
                  <a:lnTo>
                    <a:pt x="442" y="970"/>
                  </a:lnTo>
                  <a:lnTo>
                    <a:pt x="442" y="970"/>
                  </a:lnTo>
                  <a:lnTo>
                    <a:pt x="442" y="992"/>
                  </a:lnTo>
                  <a:lnTo>
                    <a:pt x="442" y="1005"/>
                  </a:lnTo>
                  <a:lnTo>
                    <a:pt x="441" y="1013"/>
                  </a:lnTo>
                  <a:lnTo>
                    <a:pt x="441" y="1013"/>
                  </a:lnTo>
                  <a:lnTo>
                    <a:pt x="439" y="1017"/>
                  </a:lnTo>
                  <a:lnTo>
                    <a:pt x="435" y="1020"/>
                  </a:lnTo>
                  <a:lnTo>
                    <a:pt x="427" y="1023"/>
                  </a:lnTo>
                  <a:lnTo>
                    <a:pt x="427" y="1023"/>
                  </a:lnTo>
                  <a:lnTo>
                    <a:pt x="425" y="1026"/>
                  </a:lnTo>
                  <a:lnTo>
                    <a:pt x="423" y="1030"/>
                  </a:lnTo>
                  <a:lnTo>
                    <a:pt x="420" y="1035"/>
                  </a:lnTo>
                  <a:lnTo>
                    <a:pt x="420" y="1038"/>
                  </a:lnTo>
                  <a:lnTo>
                    <a:pt x="420" y="1038"/>
                  </a:lnTo>
                  <a:lnTo>
                    <a:pt x="425" y="1050"/>
                  </a:lnTo>
                  <a:lnTo>
                    <a:pt x="426" y="1056"/>
                  </a:lnTo>
                  <a:lnTo>
                    <a:pt x="427" y="1060"/>
                  </a:lnTo>
                  <a:lnTo>
                    <a:pt x="427" y="1060"/>
                  </a:lnTo>
                  <a:lnTo>
                    <a:pt x="423" y="1067"/>
                  </a:lnTo>
                  <a:lnTo>
                    <a:pt x="416" y="1078"/>
                  </a:lnTo>
                  <a:lnTo>
                    <a:pt x="416" y="1078"/>
                  </a:lnTo>
                  <a:lnTo>
                    <a:pt x="414" y="1081"/>
                  </a:lnTo>
                  <a:lnTo>
                    <a:pt x="413" y="1084"/>
                  </a:lnTo>
                  <a:lnTo>
                    <a:pt x="414" y="1087"/>
                  </a:lnTo>
                  <a:lnTo>
                    <a:pt x="416" y="1088"/>
                  </a:lnTo>
                  <a:lnTo>
                    <a:pt x="416" y="1088"/>
                  </a:lnTo>
                  <a:lnTo>
                    <a:pt x="427" y="1096"/>
                  </a:lnTo>
                  <a:lnTo>
                    <a:pt x="441" y="1104"/>
                  </a:lnTo>
                  <a:lnTo>
                    <a:pt x="441" y="1104"/>
                  </a:lnTo>
                  <a:lnTo>
                    <a:pt x="447" y="1110"/>
                  </a:lnTo>
                  <a:lnTo>
                    <a:pt x="451" y="1118"/>
                  </a:lnTo>
                  <a:lnTo>
                    <a:pt x="457" y="1131"/>
                  </a:lnTo>
                  <a:lnTo>
                    <a:pt x="457" y="1131"/>
                  </a:lnTo>
                  <a:lnTo>
                    <a:pt x="459" y="1139"/>
                  </a:lnTo>
                  <a:lnTo>
                    <a:pt x="460" y="1150"/>
                  </a:lnTo>
                  <a:lnTo>
                    <a:pt x="462" y="1170"/>
                  </a:lnTo>
                  <a:lnTo>
                    <a:pt x="462" y="1170"/>
                  </a:lnTo>
                  <a:lnTo>
                    <a:pt x="462" y="1187"/>
                  </a:lnTo>
                  <a:lnTo>
                    <a:pt x="463" y="1198"/>
                  </a:lnTo>
                  <a:lnTo>
                    <a:pt x="464" y="1205"/>
                  </a:lnTo>
                  <a:lnTo>
                    <a:pt x="464" y="1205"/>
                  </a:lnTo>
                  <a:lnTo>
                    <a:pt x="487" y="1238"/>
                  </a:lnTo>
                  <a:lnTo>
                    <a:pt x="506" y="1267"/>
                  </a:lnTo>
                  <a:lnTo>
                    <a:pt x="506" y="1267"/>
                  </a:lnTo>
                  <a:lnTo>
                    <a:pt x="522" y="1284"/>
                  </a:lnTo>
                  <a:lnTo>
                    <a:pt x="539" y="1304"/>
                  </a:lnTo>
                  <a:lnTo>
                    <a:pt x="539" y="1304"/>
                  </a:lnTo>
                  <a:lnTo>
                    <a:pt x="547" y="1313"/>
                  </a:lnTo>
                  <a:lnTo>
                    <a:pt x="564" y="1328"/>
                  </a:lnTo>
                  <a:lnTo>
                    <a:pt x="589" y="1352"/>
                  </a:lnTo>
                  <a:lnTo>
                    <a:pt x="589" y="1352"/>
                  </a:lnTo>
                  <a:lnTo>
                    <a:pt x="653" y="1393"/>
                  </a:lnTo>
                  <a:lnTo>
                    <a:pt x="715" y="1432"/>
                  </a:lnTo>
                  <a:lnTo>
                    <a:pt x="715" y="1432"/>
                  </a:lnTo>
                  <a:lnTo>
                    <a:pt x="824" y="1497"/>
                  </a:lnTo>
                  <a:lnTo>
                    <a:pt x="824" y="1497"/>
                  </a:lnTo>
                  <a:lnTo>
                    <a:pt x="857" y="1513"/>
                  </a:lnTo>
                  <a:lnTo>
                    <a:pt x="888" y="1531"/>
                  </a:lnTo>
                  <a:lnTo>
                    <a:pt x="888" y="1531"/>
                  </a:lnTo>
                  <a:lnTo>
                    <a:pt x="907" y="1549"/>
                  </a:lnTo>
                  <a:lnTo>
                    <a:pt x="919" y="1559"/>
                  </a:lnTo>
                  <a:lnTo>
                    <a:pt x="926" y="1565"/>
                  </a:lnTo>
                  <a:lnTo>
                    <a:pt x="926" y="1565"/>
                  </a:lnTo>
                  <a:lnTo>
                    <a:pt x="932" y="1567"/>
                  </a:lnTo>
                  <a:lnTo>
                    <a:pt x="940" y="1568"/>
                  </a:lnTo>
                  <a:lnTo>
                    <a:pt x="956" y="1570"/>
                  </a:lnTo>
                  <a:lnTo>
                    <a:pt x="956" y="1570"/>
                  </a:lnTo>
                  <a:lnTo>
                    <a:pt x="959" y="1571"/>
                  </a:lnTo>
                  <a:lnTo>
                    <a:pt x="962" y="1572"/>
                  </a:lnTo>
                  <a:lnTo>
                    <a:pt x="965" y="1578"/>
                  </a:lnTo>
                  <a:lnTo>
                    <a:pt x="971" y="1590"/>
                  </a:lnTo>
                  <a:lnTo>
                    <a:pt x="971" y="1590"/>
                  </a:lnTo>
                  <a:lnTo>
                    <a:pt x="972" y="1593"/>
                  </a:lnTo>
                  <a:lnTo>
                    <a:pt x="975" y="1595"/>
                  </a:lnTo>
                  <a:lnTo>
                    <a:pt x="978" y="1595"/>
                  </a:lnTo>
                  <a:lnTo>
                    <a:pt x="981" y="1595"/>
                  </a:lnTo>
                  <a:lnTo>
                    <a:pt x="981" y="1595"/>
                  </a:lnTo>
                  <a:lnTo>
                    <a:pt x="983" y="1592"/>
                  </a:lnTo>
                  <a:lnTo>
                    <a:pt x="983" y="1589"/>
                  </a:lnTo>
                  <a:lnTo>
                    <a:pt x="983" y="1581"/>
                  </a:lnTo>
                  <a:lnTo>
                    <a:pt x="981" y="1564"/>
                  </a:lnTo>
                  <a:lnTo>
                    <a:pt x="981" y="1564"/>
                  </a:lnTo>
                  <a:lnTo>
                    <a:pt x="975" y="1513"/>
                  </a:lnTo>
                  <a:lnTo>
                    <a:pt x="975" y="1513"/>
                  </a:lnTo>
                  <a:lnTo>
                    <a:pt x="966" y="1447"/>
                  </a:lnTo>
                  <a:lnTo>
                    <a:pt x="966" y="1447"/>
                  </a:lnTo>
                  <a:lnTo>
                    <a:pt x="962" y="1433"/>
                  </a:lnTo>
                  <a:lnTo>
                    <a:pt x="959" y="1424"/>
                  </a:lnTo>
                  <a:lnTo>
                    <a:pt x="956" y="1417"/>
                  </a:lnTo>
                  <a:lnTo>
                    <a:pt x="956" y="1417"/>
                  </a:lnTo>
                  <a:lnTo>
                    <a:pt x="953" y="1414"/>
                  </a:lnTo>
                  <a:lnTo>
                    <a:pt x="950" y="1410"/>
                  </a:lnTo>
                  <a:lnTo>
                    <a:pt x="940" y="1404"/>
                  </a:lnTo>
                  <a:lnTo>
                    <a:pt x="924" y="1393"/>
                  </a:lnTo>
                  <a:lnTo>
                    <a:pt x="924" y="1393"/>
                  </a:lnTo>
                  <a:lnTo>
                    <a:pt x="918" y="1389"/>
                  </a:lnTo>
                  <a:lnTo>
                    <a:pt x="915" y="1387"/>
                  </a:lnTo>
                  <a:lnTo>
                    <a:pt x="913" y="1384"/>
                  </a:lnTo>
                  <a:lnTo>
                    <a:pt x="913" y="1384"/>
                  </a:lnTo>
                  <a:lnTo>
                    <a:pt x="912" y="1373"/>
                  </a:lnTo>
                  <a:lnTo>
                    <a:pt x="910" y="1365"/>
                  </a:lnTo>
                  <a:lnTo>
                    <a:pt x="909" y="1359"/>
                  </a:lnTo>
                  <a:lnTo>
                    <a:pt x="909" y="1359"/>
                  </a:lnTo>
                  <a:lnTo>
                    <a:pt x="904" y="1356"/>
                  </a:lnTo>
                  <a:lnTo>
                    <a:pt x="900" y="1355"/>
                  </a:lnTo>
                  <a:lnTo>
                    <a:pt x="889" y="1353"/>
                  </a:lnTo>
                  <a:lnTo>
                    <a:pt x="889" y="1353"/>
                  </a:lnTo>
                  <a:lnTo>
                    <a:pt x="885" y="1353"/>
                  </a:lnTo>
                  <a:lnTo>
                    <a:pt x="882" y="1352"/>
                  </a:lnTo>
                  <a:lnTo>
                    <a:pt x="881" y="1349"/>
                  </a:lnTo>
                  <a:lnTo>
                    <a:pt x="879" y="1344"/>
                  </a:lnTo>
                  <a:lnTo>
                    <a:pt x="879" y="1344"/>
                  </a:lnTo>
                  <a:lnTo>
                    <a:pt x="879" y="1341"/>
                  </a:lnTo>
                  <a:lnTo>
                    <a:pt x="881" y="1338"/>
                  </a:lnTo>
                  <a:lnTo>
                    <a:pt x="887" y="1336"/>
                  </a:lnTo>
                  <a:lnTo>
                    <a:pt x="887" y="1336"/>
                  </a:lnTo>
                  <a:lnTo>
                    <a:pt x="889" y="1336"/>
                  </a:lnTo>
                  <a:lnTo>
                    <a:pt x="892" y="1336"/>
                  </a:lnTo>
                  <a:lnTo>
                    <a:pt x="895" y="1337"/>
                  </a:lnTo>
                  <a:lnTo>
                    <a:pt x="898" y="1336"/>
                  </a:lnTo>
                  <a:lnTo>
                    <a:pt x="898" y="1336"/>
                  </a:lnTo>
                  <a:lnTo>
                    <a:pt x="901" y="1333"/>
                  </a:lnTo>
                  <a:lnTo>
                    <a:pt x="901" y="1330"/>
                  </a:lnTo>
                  <a:lnTo>
                    <a:pt x="901" y="1321"/>
                  </a:lnTo>
                  <a:lnTo>
                    <a:pt x="901" y="1321"/>
                  </a:lnTo>
                  <a:lnTo>
                    <a:pt x="900" y="1307"/>
                  </a:lnTo>
                  <a:lnTo>
                    <a:pt x="898" y="1294"/>
                  </a:lnTo>
                  <a:lnTo>
                    <a:pt x="898" y="1294"/>
                  </a:lnTo>
                  <a:lnTo>
                    <a:pt x="900" y="1285"/>
                  </a:lnTo>
                  <a:lnTo>
                    <a:pt x="901" y="1276"/>
                  </a:lnTo>
                  <a:lnTo>
                    <a:pt x="901" y="1276"/>
                  </a:lnTo>
                  <a:lnTo>
                    <a:pt x="906" y="1272"/>
                  </a:lnTo>
                  <a:lnTo>
                    <a:pt x="913" y="1266"/>
                  </a:lnTo>
                  <a:lnTo>
                    <a:pt x="928" y="1257"/>
                  </a:lnTo>
                  <a:lnTo>
                    <a:pt x="928" y="1257"/>
                  </a:lnTo>
                  <a:lnTo>
                    <a:pt x="929" y="1254"/>
                  </a:lnTo>
                  <a:lnTo>
                    <a:pt x="929" y="1251"/>
                  </a:lnTo>
                  <a:lnTo>
                    <a:pt x="928" y="1250"/>
                  </a:lnTo>
                  <a:lnTo>
                    <a:pt x="925" y="1248"/>
                  </a:lnTo>
                  <a:lnTo>
                    <a:pt x="925" y="1248"/>
                  </a:lnTo>
                  <a:lnTo>
                    <a:pt x="912" y="1247"/>
                  </a:lnTo>
                  <a:lnTo>
                    <a:pt x="901" y="1247"/>
                  </a:lnTo>
                  <a:lnTo>
                    <a:pt x="895" y="1245"/>
                  </a:lnTo>
                  <a:lnTo>
                    <a:pt x="895" y="1245"/>
                  </a:lnTo>
                  <a:lnTo>
                    <a:pt x="892" y="1242"/>
                  </a:lnTo>
                  <a:lnTo>
                    <a:pt x="889" y="1239"/>
                  </a:lnTo>
                  <a:lnTo>
                    <a:pt x="889" y="1230"/>
                  </a:lnTo>
                  <a:lnTo>
                    <a:pt x="889" y="1230"/>
                  </a:lnTo>
                  <a:lnTo>
                    <a:pt x="887" y="1227"/>
                  </a:lnTo>
                  <a:lnTo>
                    <a:pt x="882" y="1223"/>
                  </a:lnTo>
                  <a:lnTo>
                    <a:pt x="869" y="1217"/>
                  </a:lnTo>
                  <a:lnTo>
                    <a:pt x="869" y="1217"/>
                  </a:lnTo>
                  <a:lnTo>
                    <a:pt x="864" y="1216"/>
                  </a:lnTo>
                  <a:lnTo>
                    <a:pt x="860" y="1211"/>
                  </a:lnTo>
                  <a:lnTo>
                    <a:pt x="852" y="1202"/>
                  </a:lnTo>
                  <a:lnTo>
                    <a:pt x="847" y="1193"/>
                  </a:lnTo>
                  <a:lnTo>
                    <a:pt x="842" y="1187"/>
                  </a:lnTo>
                  <a:lnTo>
                    <a:pt x="842" y="1187"/>
                  </a:lnTo>
                  <a:lnTo>
                    <a:pt x="835" y="1152"/>
                  </a:lnTo>
                  <a:lnTo>
                    <a:pt x="835" y="1152"/>
                  </a:lnTo>
                  <a:lnTo>
                    <a:pt x="835" y="1128"/>
                  </a:lnTo>
                  <a:lnTo>
                    <a:pt x="836" y="1115"/>
                  </a:lnTo>
                  <a:lnTo>
                    <a:pt x="838" y="1109"/>
                  </a:lnTo>
                  <a:lnTo>
                    <a:pt x="838" y="1109"/>
                  </a:lnTo>
                  <a:lnTo>
                    <a:pt x="848" y="1103"/>
                  </a:lnTo>
                  <a:lnTo>
                    <a:pt x="860" y="1097"/>
                  </a:lnTo>
                  <a:lnTo>
                    <a:pt x="860" y="1097"/>
                  </a:lnTo>
                  <a:lnTo>
                    <a:pt x="864" y="1094"/>
                  </a:lnTo>
                  <a:lnTo>
                    <a:pt x="870" y="1087"/>
                  </a:lnTo>
                  <a:lnTo>
                    <a:pt x="875" y="1079"/>
                  </a:lnTo>
                  <a:lnTo>
                    <a:pt x="878" y="1070"/>
                  </a:lnTo>
                  <a:lnTo>
                    <a:pt x="878" y="1070"/>
                  </a:lnTo>
                  <a:lnTo>
                    <a:pt x="878" y="1062"/>
                  </a:lnTo>
                  <a:lnTo>
                    <a:pt x="875" y="1053"/>
                  </a:lnTo>
                  <a:lnTo>
                    <a:pt x="872" y="1039"/>
                  </a:lnTo>
                  <a:lnTo>
                    <a:pt x="872" y="1039"/>
                  </a:lnTo>
                  <a:lnTo>
                    <a:pt x="869" y="1036"/>
                  </a:lnTo>
                  <a:lnTo>
                    <a:pt x="866" y="1033"/>
                  </a:lnTo>
                  <a:lnTo>
                    <a:pt x="860" y="1030"/>
                  </a:lnTo>
                  <a:lnTo>
                    <a:pt x="855" y="1030"/>
                  </a:lnTo>
                  <a:lnTo>
                    <a:pt x="855" y="1030"/>
                  </a:lnTo>
                  <a:lnTo>
                    <a:pt x="841" y="1029"/>
                  </a:lnTo>
                  <a:lnTo>
                    <a:pt x="832" y="1029"/>
                  </a:lnTo>
                  <a:lnTo>
                    <a:pt x="826" y="1029"/>
                  </a:lnTo>
                  <a:lnTo>
                    <a:pt x="826" y="1029"/>
                  </a:lnTo>
                  <a:lnTo>
                    <a:pt x="818" y="1024"/>
                  </a:lnTo>
                  <a:lnTo>
                    <a:pt x="808" y="1016"/>
                  </a:lnTo>
                  <a:lnTo>
                    <a:pt x="799" y="1007"/>
                  </a:lnTo>
                  <a:lnTo>
                    <a:pt x="793" y="1001"/>
                  </a:lnTo>
                  <a:lnTo>
                    <a:pt x="793" y="1001"/>
                  </a:lnTo>
                  <a:lnTo>
                    <a:pt x="784" y="989"/>
                  </a:lnTo>
                  <a:lnTo>
                    <a:pt x="772" y="977"/>
                  </a:lnTo>
                  <a:lnTo>
                    <a:pt x="772" y="977"/>
                  </a:lnTo>
                  <a:lnTo>
                    <a:pt x="761" y="965"/>
                  </a:lnTo>
                  <a:lnTo>
                    <a:pt x="756" y="961"/>
                  </a:lnTo>
                  <a:lnTo>
                    <a:pt x="753" y="955"/>
                  </a:lnTo>
                  <a:lnTo>
                    <a:pt x="753" y="955"/>
                  </a:lnTo>
                  <a:lnTo>
                    <a:pt x="753" y="947"/>
                  </a:lnTo>
                  <a:lnTo>
                    <a:pt x="755" y="940"/>
                  </a:lnTo>
                  <a:lnTo>
                    <a:pt x="756" y="931"/>
                  </a:lnTo>
                  <a:lnTo>
                    <a:pt x="756" y="925"/>
                  </a:lnTo>
                  <a:lnTo>
                    <a:pt x="756" y="925"/>
                  </a:lnTo>
                  <a:lnTo>
                    <a:pt x="755" y="922"/>
                  </a:lnTo>
                  <a:lnTo>
                    <a:pt x="749" y="919"/>
                  </a:lnTo>
                  <a:lnTo>
                    <a:pt x="738" y="913"/>
                  </a:lnTo>
                  <a:lnTo>
                    <a:pt x="738" y="913"/>
                  </a:lnTo>
                  <a:lnTo>
                    <a:pt x="737" y="910"/>
                  </a:lnTo>
                  <a:lnTo>
                    <a:pt x="737" y="909"/>
                  </a:lnTo>
                  <a:lnTo>
                    <a:pt x="738" y="903"/>
                  </a:lnTo>
                  <a:lnTo>
                    <a:pt x="741" y="893"/>
                  </a:lnTo>
                  <a:lnTo>
                    <a:pt x="741" y="893"/>
                  </a:lnTo>
                  <a:lnTo>
                    <a:pt x="749" y="876"/>
                  </a:lnTo>
                  <a:lnTo>
                    <a:pt x="749" y="876"/>
                  </a:lnTo>
                  <a:lnTo>
                    <a:pt x="750" y="876"/>
                  </a:lnTo>
                  <a:lnTo>
                    <a:pt x="752" y="878"/>
                  </a:lnTo>
                  <a:lnTo>
                    <a:pt x="752" y="885"/>
                  </a:lnTo>
                  <a:lnTo>
                    <a:pt x="752" y="885"/>
                  </a:lnTo>
                  <a:lnTo>
                    <a:pt x="752" y="890"/>
                  </a:lnTo>
                  <a:lnTo>
                    <a:pt x="755" y="896"/>
                  </a:lnTo>
                  <a:lnTo>
                    <a:pt x="759" y="907"/>
                  </a:lnTo>
                  <a:lnTo>
                    <a:pt x="759" y="907"/>
                  </a:lnTo>
                  <a:lnTo>
                    <a:pt x="762" y="910"/>
                  </a:lnTo>
                  <a:lnTo>
                    <a:pt x="768" y="912"/>
                  </a:lnTo>
                  <a:lnTo>
                    <a:pt x="777" y="912"/>
                  </a:lnTo>
                  <a:lnTo>
                    <a:pt x="777" y="912"/>
                  </a:lnTo>
                  <a:lnTo>
                    <a:pt x="780" y="909"/>
                  </a:lnTo>
                  <a:lnTo>
                    <a:pt x="784" y="903"/>
                  </a:lnTo>
                  <a:lnTo>
                    <a:pt x="792" y="890"/>
                  </a:lnTo>
                  <a:lnTo>
                    <a:pt x="792" y="890"/>
                  </a:lnTo>
                  <a:lnTo>
                    <a:pt x="792" y="888"/>
                  </a:lnTo>
                  <a:lnTo>
                    <a:pt x="792" y="885"/>
                  </a:lnTo>
                  <a:lnTo>
                    <a:pt x="787" y="879"/>
                  </a:lnTo>
                  <a:lnTo>
                    <a:pt x="783" y="875"/>
                  </a:lnTo>
                  <a:lnTo>
                    <a:pt x="777" y="872"/>
                  </a:lnTo>
                  <a:lnTo>
                    <a:pt x="777" y="872"/>
                  </a:lnTo>
                  <a:lnTo>
                    <a:pt x="765" y="866"/>
                  </a:lnTo>
                  <a:lnTo>
                    <a:pt x="752" y="862"/>
                  </a:lnTo>
                  <a:lnTo>
                    <a:pt x="752" y="862"/>
                  </a:lnTo>
                  <a:lnTo>
                    <a:pt x="749" y="860"/>
                  </a:lnTo>
                  <a:lnTo>
                    <a:pt x="746" y="857"/>
                  </a:lnTo>
                  <a:lnTo>
                    <a:pt x="743" y="853"/>
                  </a:lnTo>
                  <a:lnTo>
                    <a:pt x="740" y="844"/>
                  </a:lnTo>
                  <a:lnTo>
                    <a:pt x="740" y="844"/>
                  </a:lnTo>
                  <a:lnTo>
                    <a:pt x="737" y="842"/>
                  </a:lnTo>
                  <a:lnTo>
                    <a:pt x="735" y="842"/>
                  </a:lnTo>
                  <a:lnTo>
                    <a:pt x="731" y="848"/>
                  </a:lnTo>
                  <a:lnTo>
                    <a:pt x="731" y="848"/>
                  </a:lnTo>
                  <a:lnTo>
                    <a:pt x="730" y="853"/>
                  </a:lnTo>
                  <a:lnTo>
                    <a:pt x="730" y="859"/>
                  </a:lnTo>
                  <a:lnTo>
                    <a:pt x="730" y="863"/>
                  </a:lnTo>
                  <a:lnTo>
                    <a:pt x="728" y="868"/>
                  </a:lnTo>
                  <a:lnTo>
                    <a:pt x="728" y="868"/>
                  </a:lnTo>
                  <a:lnTo>
                    <a:pt x="727" y="870"/>
                  </a:lnTo>
                  <a:lnTo>
                    <a:pt x="724" y="870"/>
                  </a:lnTo>
                  <a:lnTo>
                    <a:pt x="715" y="868"/>
                  </a:lnTo>
                  <a:lnTo>
                    <a:pt x="715" y="868"/>
                  </a:lnTo>
                  <a:lnTo>
                    <a:pt x="704" y="860"/>
                  </a:lnTo>
                  <a:lnTo>
                    <a:pt x="693" y="851"/>
                  </a:lnTo>
                  <a:lnTo>
                    <a:pt x="693" y="851"/>
                  </a:lnTo>
                  <a:lnTo>
                    <a:pt x="682" y="845"/>
                  </a:lnTo>
                  <a:lnTo>
                    <a:pt x="676" y="842"/>
                  </a:lnTo>
                  <a:lnTo>
                    <a:pt x="670" y="838"/>
                  </a:lnTo>
                  <a:lnTo>
                    <a:pt x="670" y="838"/>
                  </a:lnTo>
                  <a:lnTo>
                    <a:pt x="666" y="833"/>
                  </a:lnTo>
                  <a:lnTo>
                    <a:pt x="664" y="830"/>
                  </a:lnTo>
                  <a:lnTo>
                    <a:pt x="664" y="823"/>
                  </a:lnTo>
                  <a:lnTo>
                    <a:pt x="664" y="823"/>
                  </a:lnTo>
                  <a:lnTo>
                    <a:pt x="663" y="810"/>
                  </a:lnTo>
                  <a:lnTo>
                    <a:pt x="660" y="801"/>
                  </a:lnTo>
                  <a:lnTo>
                    <a:pt x="658" y="795"/>
                  </a:lnTo>
                  <a:lnTo>
                    <a:pt x="658" y="795"/>
                  </a:lnTo>
                  <a:lnTo>
                    <a:pt x="654" y="792"/>
                  </a:lnTo>
                  <a:lnTo>
                    <a:pt x="650" y="789"/>
                  </a:lnTo>
                  <a:lnTo>
                    <a:pt x="645" y="789"/>
                  </a:lnTo>
                  <a:lnTo>
                    <a:pt x="642" y="789"/>
                  </a:lnTo>
                  <a:lnTo>
                    <a:pt x="642" y="789"/>
                  </a:lnTo>
                  <a:lnTo>
                    <a:pt x="638" y="790"/>
                  </a:lnTo>
                  <a:lnTo>
                    <a:pt x="633" y="793"/>
                  </a:lnTo>
                  <a:lnTo>
                    <a:pt x="627" y="795"/>
                  </a:lnTo>
                  <a:lnTo>
                    <a:pt x="627" y="795"/>
                  </a:lnTo>
                  <a:lnTo>
                    <a:pt x="620" y="796"/>
                  </a:lnTo>
                  <a:lnTo>
                    <a:pt x="616" y="798"/>
                  </a:lnTo>
                  <a:lnTo>
                    <a:pt x="613" y="801"/>
                  </a:lnTo>
                  <a:lnTo>
                    <a:pt x="610" y="804"/>
                  </a:lnTo>
                  <a:lnTo>
                    <a:pt x="610" y="804"/>
                  </a:lnTo>
                  <a:lnTo>
                    <a:pt x="608" y="808"/>
                  </a:lnTo>
                  <a:lnTo>
                    <a:pt x="610" y="810"/>
                  </a:lnTo>
                  <a:lnTo>
                    <a:pt x="617" y="816"/>
                  </a:lnTo>
                  <a:lnTo>
                    <a:pt x="617" y="816"/>
                  </a:lnTo>
                  <a:lnTo>
                    <a:pt x="621" y="819"/>
                  </a:lnTo>
                  <a:lnTo>
                    <a:pt x="623" y="823"/>
                  </a:lnTo>
                  <a:lnTo>
                    <a:pt x="624" y="828"/>
                  </a:lnTo>
                  <a:lnTo>
                    <a:pt x="626" y="830"/>
                  </a:lnTo>
                  <a:lnTo>
                    <a:pt x="626" y="830"/>
                  </a:lnTo>
                  <a:lnTo>
                    <a:pt x="624" y="832"/>
                  </a:lnTo>
                  <a:lnTo>
                    <a:pt x="621" y="833"/>
                  </a:lnTo>
                  <a:lnTo>
                    <a:pt x="610" y="835"/>
                  </a:lnTo>
                  <a:lnTo>
                    <a:pt x="590" y="833"/>
                  </a:lnTo>
                  <a:lnTo>
                    <a:pt x="590" y="833"/>
                  </a:lnTo>
                  <a:lnTo>
                    <a:pt x="580" y="828"/>
                  </a:lnTo>
                  <a:lnTo>
                    <a:pt x="568" y="822"/>
                  </a:lnTo>
                  <a:lnTo>
                    <a:pt x="568" y="822"/>
                  </a:lnTo>
                  <a:lnTo>
                    <a:pt x="564" y="816"/>
                  </a:lnTo>
                  <a:lnTo>
                    <a:pt x="559" y="808"/>
                  </a:lnTo>
                  <a:lnTo>
                    <a:pt x="550" y="793"/>
                  </a:lnTo>
                  <a:lnTo>
                    <a:pt x="550" y="793"/>
                  </a:lnTo>
                  <a:lnTo>
                    <a:pt x="544" y="776"/>
                  </a:lnTo>
                  <a:lnTo>
                    <a:pt x="539" y="755"/>
                  </a:lnTo>
                  <a:lnTo>
                    <a:pt x="539" y="755"/>
                  </a:lnTo>
                  <a:lnTo>
                    <a:pt x="534" y="746"/>
                  </a:lnTo>
                  <a:lnTo>
                    <a:pt x="527" y="734"/>
                  </a:lnTo>
                  <a:lnTo>
                    <a:pt x="516" y="718"/>
                  </a:lnTo>
                  <a:lnTo>
                    <a:pt x="516" y="718"/>
                  </a:lnTo>
                  <a:lnTo>
                    <a:pt x="515" y="715"/>
                  </a:lnTo>
                  <a:lnTo>
                    <a:pt x="515" y="711"/>
                  </a:lnTo>
                  <a:lnTo>
                    <a:pt x="516" y="708"/>
                  </a:lnTo>
                  <a:lnTo>
                    <a:pt x="519" y="703"/>
                  </a:lnTo>
                  <a:lnTo>
                    <a:pt x="519" y="703"/>
                  </a:lnTo>
                  <a:lnTo>
                    <a:pt x="521" y="700"/>
                  </a:lnTo>
                  <a:lnTo>
                    <a:pt x="519" y="696"/>
                  </a:lnTo>
                  <a:lnTo>
                    <a:pt x="513" y="690"/>
                  </a:lnTo>
                  <a:lnTo>
                    <a:pt x="513" y="690"/>
                  </a:lnTo>
                  <a:lnTo>
                    <a:pt x="503" y="681"/>
                  </a:lnTo>
                  <a:lnTo>
                    <a:pt x="493" y="673"/>
                  </a:lnTo>
                  <a:lnTo>
                    <a:pt x="493" y="673"/>
                  </a:lnTo>
                  <a:lnTo>
                    <a:pt x="482" y="663"/>
                  </a:lnTo>
                  <a:lnTo>
                    <a:pt x="472" y="651"/>
                  </a:lnTo>
                  <a:lnTo>
                    <a:pt x="472" y="651"/>
                  </a:lnTo>
                  <a:lnTo>
                    <a:pt x="466" y="638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0"/>
                  </a:lnTo>
                  <a:lnTo>
                    <a:pt x="462" y="616"/>
                  </a:lnTo>
                  <a:lnTo>
                    <a:pt x="466" y="611"/>
                  </a:lnTo>
                  <a:lnTo>
                    <a:pt x="470" y="608"/>
                  </a:lnTo>
                  <a:lnTo>
                    <a:pt x="470" y="608"/>
                  </a:lnTo>
                  <a:lnTo>
                    <a:pt x="473" y="607"/>
                  </a:lnTo>
                  <a:lnTo>
                    <a:pt x="476" y="604"/>
                  </a:lnTo>
                  <a:lnTo>
                    <a:pt x="479" y="596"/>
                  </a:lnTo>
                  <a:lnTo>
                    <a:pt x="479" y="596"/>
                  </a:lnTo>
                  <a:lnTo>
                    <a:pt x="481" y="589"/>
                  </a:lnTo>
                  <a:lnTo>
                    <a:pt x="482" y="583"/>
                  </a:lnTo>
                  <a:lnTo>
                    <a:pt x="484" y="580"/>
                  </a:lnTo>
                  <a:lnTo>
                    <a:pt x="484" y="580"/>
                  </a:lnTo>
                  <a:lnTo>
                    <a:pt x="487" y="580"/>
                  </a:lnTo>
                  <a:lnTo>
                    <a:pt x="490" y="580"/>
                  </a:lnTo>
                  <a:lnTo>
                    <a:pt x="494" y="580"/>
                  </a:lnTo>
                  <a:lnTo>
                    <a:pt x="500" y="580"/>
                  </a:lnTo>
                  <a:lnTo>
                    <a:pt x="500" y="580"/>
                  </a:lnTo>
                  <a:lnTo>
                    <a:pt x="502" y="579"/>
                  </a:lnTo>
                  <a:lnTo>
                    <a:pt x="504" y="577"/>
                  </a:lnTo>
                  <a:lnTo>
                    <a:pt x="507" y="571"/>
                  </a:lnTo>
                  <a:lnTo>
                    <a:pt x="507" y="564"/>
                  </a:lnTo>
                  <a:lnTo>
                    <a:pt x="509" y="558"/>
                  </a:lnTo>
                  <a:lnTo>
                    <a:pt x="509" y="558"/>
                  </a:lnTo>
                  <a:lnTo>
                    <a:pt x="507" y="552"/>
                  </a:lnTo>
                  <a:lnTo>
                    <a:pt x="503" y="545"/>
                  </a:lnTo>
                  <a:lnTo>
                    <a:pt x="500" y="537"/>
                  </a:lnTo>
                  <a:lnTo>
                    <a:pt x="497" y="530"/>
                  </a:lnTo>
                  <a:lnTo>
                    <a:pt x="497" y="530"/>
                  </a:lnTo>
                  <a:lnTo>
                    <a:pt x="490" y="493"/>
                  </a:lnTo>
                  <a:lnTo>
                    <a:pt x="490" y="493"/>
                  </a:lnTo>
                  <a:lnTo>
                    <a:pt x="490" y="490"/>
                  </a:lnTo>
                  <a:lnTo>
                    <a:pt x="491" y="487"/>
                  </a:lnTo>
                  <a:lnTo>
                    <a:pt x="493" y="484"/>
                  </a:lnTo>
                  <a:lnTo>
                    <a:pt x="496" y="482"/>
                  </a:lnTo>
                  <a:lnTo>
                    <a:pt x="502" y="481"/>
                  </a:lnTo>
                  <a:lnTo>
                    <a:pt x="506" y="479"/>
                  </a:lnTo>
                  <a:lnTo>
                    <a:pt x="506" y="479"/>
                  </a:lnTo>
                  <a:lnTo>
                    <a:pt x="509" y="481"/>
                  </a:lnTo>
                  <a:lnTo>
                    <a:pt x="512" y="482"/>
                  </a:lnTo>
                  <a:lnTo>
                    <a:pt x="518" y="490"/>
                  </a:lnTo>
                  <a:lnTo>
                    <a:pt x="524" y="496"/>
                  </a:lnTo>
                  <a:lnTo>
                    <a:pt x="527" y="502"/>
                  </a:lnTo>
                  <a:lnTo>
                    <a:pt x="527" y="502"/>
                  </a:lnTo>
                  <a:lnTo>
                    <a:pt x="528" y="505"/>
                  </a:lnTo>
                  <a:lnTo>
                    <a:pt x="533" y="512"/>
                  </a:lnTo>
                  <a:lnTo>
                    <a:pt x="537" y="517"/>
                  </a:lnTo>
                  <a:lnTo>
                    <a:pt x="541" y="519"/>
                  </a:lnTo>
                  <a:lnTo>
                    <a:pt x="544" y="519"/>
                  </a:lnTo>
                  <a:lnTo>
                    <a:pt x="544" y="519"/>
                  </a:lnTo>
                  <a:lnTo>
                    <a:pt x="549" y="519"/>
                  </a:lnTo>
                  <a:lnTo>
                    <a:pt x="550" y="519"/>
                  </a:lnTo>
                  <a:lnTo>
                    <a:pt x="552" y="517"/>
                  </a:lnTo>
                  <a:lnTo>
                    <a:pt x="552" y="514"/>
                  </a:lnTo>
                  <a:lnTo>
                    <a:pt x="553" y="508"/>
                  </a:lnTo>
                  <a:lnTo>
                    <a:pt x="552" y="502"/>
                  </a:lnTo>
                  <a:lnTo>
                    <a:pt x="552" y="502"/>
                  </a:lnTo>
                  <a:lnTo>
                    <a:pt x="550" y="496"/>
                  </a:lnTo>
                  <a:lnTo>
                    <a:pt x="547" y="488"/>
                  </a:lnTo>
                  <a:lnTo>
                    <a:pt x="543" y="482"/>
                  </a:lnTo>
                  <a:lnTo>
                    <a:pt x="540" y="475"/>
                  </a:lnTo>
                  <a:lnTo>
                    <a:pt x="540" y="475"/>
                  </a:lnTo>
                  <a:lnTo>
                    <a:pt x="534" y="462"/>
                  </a:lnTo>
                  <a:lnTo>
                    <a:pt x="530" y="453"/>
                  </a:lnTo>
                  <a:lnTo>
                    <a:pt x="528" y="445"/>
                  </a:lnTo>
                  <a:lnTo>
                    <a:pt x="528" y="445"/>
                  </a:lnTo>
                  <a:lnTo>
                    <a:pt x="528" y="435"/>
                  </a:lnTo>
                  <a:lnTo>
                    <a:pt x="528" y="420"/>
                  </a:lnTo>
                  <a:lnTo>
                    <a:pt x="531" y="398"/>
                  </a:lnTo>
                  <a:lnTo>
                    <a:pt x="531" y="398"/>
                  </a:lnTo>
                  <a:lnTo>
                    <a:pt x="533" y="385"/>
                  </a:lnTo>
                  <a:lnTo>
                    <a:pt x="534" y="371"/>
                  </a:lnTo>
                  <a:lnTo>
                    <a:pt x="534" y="371"/>
                  </a:lnTo>
                  <a:lnTo>
                    <a:pt x="537" y="361"/>
                  </a:lnTo>
                  <a:lnTo>
                    <a:pt x="541" y="352"/>
                  </a:lnTo>
                  <a:lnTo>
                    <a:pt x="541" y="352"/>
                  </a:lnTo>
                  <a:lnTo>
                    <a:pt x="546" y="348"/>
                  </a:lnTo>
                  <a:lnTo>
                    <a:pt x="552" y="340"/>
                  </a:lnTo>
                  <a:lnTo>
                    <a:pt x="559" y="334"/>
                  </a:lnTo>
                  <a:lnTo>
                    <a:pt x="565" y="330"/>
                  </a:lnTo>
                  <a:lnTo>
                    <a:pt x="565" y="330"/>
                  </a:lnTo>
                  <a:lnTo>
                    <a:pt x="581" y="324"/>
                  </a:lnTo>
                  <a:lnTo>
                    <a:pt x="590" y="321"/>
                  </a:lnTo>
                  <a:lnTo>
                    <a:pt x="596" y="320"/>
                  </a:lnTo>
                  <a:lnTo>
                    <a:pt x="596" y="320"/>
                  </a:lnTo>
                  <a:lnTo>
                    <a:pt x="604" y="321"/>
                  </a:lnTo>
                  <a:lnTo>
                    <a:pt x="611" y="322"/>
                  </a:lnTo>
                  <a:lnTo>
                    <a:pt x="626" y="327"/>
                  </a:lnTo>
                  <a:lnTo>
                    <a:pt x="626" y="327"/>
                  </a:lnTo>
                  <a:lnTo>
                    <a:pt x="630" y="328"/>
                  </a:lnTo>
                  <a:lnTo>
                    <a:pt x="633" y="328"/>
                  </a:lnTo>
                  <a:lnTo>
                    <a:pt x="638" y="325"/>
                  </a:lnTo>
                  <a:lnTo>
                    <a:pt x="638" y="325"/>
                  </a:lnTo>
                  <a:lnTo>
                    <a:pt x="641" y="322"/>
                  </a:lnTo>
                  <a:lnTo>
                    <a:pt x="644" y="318"/>
                  </a:lnTo>
                  <a:lnTo>
                    <a:pt x="644" y="312"/>
                  </a:lnTo>
                  <a:lnTo>
                    <a:pt x="644" y="306"/>
                  </a:lnTo>
                  <a:lnTo>
                    <a:pt x="644" y="306"/>
                  </a:lnTo>
                  <a:lnTo>
                    <a:pt x="641" y="300"/>
                  </a:lnTo>
                  <a:lnTo>
                    <a:pt x="638" y="294"/>
                  </a:lnTo>
                  <a:lnTo>
                    <a:pt x="626" y="284"/>
                  </a:lnTo>
                  <a:lnTo>
                    <a:pt x="626" y="284"/>
                  </a:lnTo>
                  <a:lnTo>
                    <a:pt x="623" y="278"/>
                  </a:lnTo>
                  <a:lnTo>
                    <a:pt x="620" y="271"/>
                  </a:lnTo>
                  <a:lnTo>
                    <a:pt x="618" y="259"/>
                  </a:lnTo>
                  <a:lnTo>
                    <a:pt x="618" y="259"/>
                  </a:lnTo>
                  <a:lnTo>
                    <a:pt x="617" y="240"/>
                  </a:lnTo>
                  <a:lnTo>
                    <a:pt x="614" y="220"/>
                  </a:lnTo>
                  <a:lnTo>
                    <a:pt x="614" y="220"/>
                  </a:lnTo>
                  <a:lnTo>
                    <a:pt x="613" y="216"/>
                  </a:lnTo>
                  <a:lnTo>
                    <a:pt x="610" y="211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1" y="201"/>
                  </a:lnTo>
                  <a:lnTo>
                    <a:pt x="601" y="198"/>
                  </a:lnTo>
                  <a:lnTo>
                    <a:pt x="601" y="186"/>
                  </a:lnTo>
                  <a:lnTo>
                    <a:pt x="601" y="174"/>
                  </a:lnTo>
                  <a:lnTo>
                    <a:pt x="601" y="165"/>
                  </a:lnTo>
                  <a:lnTo>
                    <a:pt x="601" y="165"/>
                  </a:lnTo>
                  <a:lnTo>
                    <a:pt x="598" y="155"/>
                  </a:lnTo>
                  <a:lnTo>
                    <a:pt x="593" y="142"/>
                  </a:lnTo>
                  <a:lnTo>
                    <a:pt x="586" y="127"/>
                  </a:lnTo>
                  <a:lnTo>
                    <a:pt x="581" y="123"/>
                  </a:lnTo>
                  <a:lnTo>
                    <a:pt x="579" y="118"/>
                  </a:lnTo>
                  <a:lnTo>
                    <a:pt x="579" y="118"/>
                  </a:lnTo>
                  <a:lnTo>
                    <a:pt x="574" y="114"/>
                  </a:lnTo>
                  <a:lnTo>
                    <a:pt x="573" y="111"/>
                  </a:lnTo>
                  <a:lnTo>
                    <a:pt x="574" y="106"/>
                  </a:lnTo>
                  <a:lnTo>
                    <a:pt x="574" y="106"/>
                  </a:lnTo>
                  <a:lnTo>
                    <a:pt x="576" y="99"/>
                  </a:lnTo>
                  <a:lnTo>
                    <a:pt x="576" y="94"/>
                  </a:lnTo>
                  <a:lnTo>
                    <a:pt x="574" y="91"/>
                  </a:lnTo>
                  <a:lnTo>
                    <a:pt x="574" y="91"/>
                  </a:lnTo>
                  <a:lnTo>
                    <a:pt x="571" y="86"/>
                  </a:lnTo>
                  <a:lnTo>
                    <a:pt x="565" y="78"/>
                  </a:lnTo>
                  <a:lnTo>
                    <a:pt x="565" y="78"/>
                  </a:lnTo>
                  <a:lnTo>
                    <a:pt x="562" y="77"/>
                  </a:lnTo>
                  <a:lnTo>
                    <a:pt x="561" y="72"/>
                  </a:lnTo>
                  <a:lnTo>
                    <a:pt x="561" y="65"/>
                  </a:lnTo>
                  <a:lnTo>
                    <a:pt x="561" y="65"/>
                  </a:lnTo>
                  <a:lnTo>
                    <a:pt x="562" y="62"/>
                  </a:lnTo>
                  <a:lnTo>
                    <a:pt x="564" y="59"/>
                  </a:lnTo>
                  <a:lnTo>
                    <a:pt x="568" y="51"/>
                  </a:lnTo>
                  <a:lnTo>
                    <a:pt x="568" y="51"/>
                  </a:lnTo>
                  <a:lnTo>
                    <a:pt x="570" y="48"/>
                  </a:lnTo>
                  <a:lnTo>
                    <a:pt x="570" y="44"/>
                  </a:lnTo>
                  <a:lnTo>
                    <a:pt x="570" y="35"/>
                  </a:lnTo>
                  <a:lnTo>
                    <a:pt x="568" y="19"/>
                  </a:lnTo>
                  <a:lnTo>
                    <a:pt x="568" y="19"/>
                  </a:lnTo>
                  <a:lnTo>
                    <a:pt x="567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56" y="7"/>
                  </a:lnTo>
                  <a:lnTo>
                    <a:pt x="552" y="7"/>
                  </a:lnTo>
                  <a:lnTo>
                    <a:pt x="549" y="7"/>
                  </a:lnTo>
                  <a:lnTo>
                    <a:pt x="549" y="7"/>
                  </a:lnTo>
                  <a:lnTo>
                    <a:pt x="540" y="9"/>
                  </a:lnTo>
                  <a:lnTo>
                    <a:pt x="536" y="10"/>
                  </a:lnTo>
                  <a:lnTo>
                    <a:pt x="528" y="9"/>
                  </a:lnTo>
                  <a:lnTo>
                    <a:pt x="528" y="9"/>
                  </a:lnTo>
                  <a:lnTo>
                    <a:pt x="518" y="7"/>
                  </a:lnTo>
                  <a:lnTo>
                    <a:pt x="515" y="4"/>
                  </a:lnTo>
                  <a:lnTo>
                    <a:pt x="512" y="1"/>
                  </a:lnTo>
                  <a:lnTo>
                    <a:pt x="512" y="1"/>
                  </a:lnTo>
                  <a:lnTo>
                    <a:pt x="510" y="0"/>
                  </a:lnTo>
                  <a:lnTo>
                    <a:pt x="507" y="0"/>
                  </a:lnTo>
                  <a:lnTo>
                    <a:pt x="503" y="1"/>
                  </a:lnTo>
                  <a:lnTo>
                    <a:pt x="497" y="6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88" y="17"/>
                  </a:lnTo>
                  <a:lnTo>
                    <a:pt x="488" y="22"/>
                  </a:lnTo>
                  <a:lnTo>
                    <a:pt x="490" y="28"/>
                  </a:lnTo>
                  <a:lnTo>
                    <a:pt x="493" y="32"/>
                  </a:lnTo>
                  <a:lnTo>
                    <a:pt x="493" y="32"/>
                  </a:lnTo>
                  <a:lnTo>
                    <a:pt x="496" y="37"/>
                  </a:lnTo>
                  <a:lnTo>
                    <a:pt x="496" y="41"/>
                  </a:lnTo>
                  <a:lnTo>
                    <a:pt x="496" y="47"/>
                  </a:lnTo>
                  <a:lnTo>
                    <a:pt x="496" y="51"/>
                  </a:lnTo>
                  <a:lnTo>
                    <a:pt x="496" y="51"/>
                  </a:lnTo>
                  <a:lnTo>
                    <a:pt x="494" y="54"/>
                  </a:lnTo>
                  <a:lnTo>
                    <a:pt x="493" y="56"/>
                  </a:lnTo>
                  <a:lnTo>
                    <a:pt x="490" y="57"/>
                  </a:lnTo>
                  <a:lnTo>
                    <a:pt x="485" y="60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2" y="69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5" y="78"/>
                  </a:lnTo>
                  <a:lnTo>
                    <a:pt x="473" y="81"/>
                  </a:lnTo>
                  <a:lnTo>
                    <a:pt x="472" y="86"/>
                  </a:lnTo>
                  <a:lnTo>
                    <a:pt x="469" y="90"/>
                  </a:lnTo>
                  <a:lnTo>
                    <a:pt x="469" y="90"/>
                  </a:lnTo>
                  <a:lnTo>
                    <a:pt x="466" y="94"/>
                  </a:lnTo>
                  <a:lnTo>
                    <a:pt x="462" y="96"/>
                  </a:lnTo>
                  <a:lnTo>
                    <a:pt x="460" y="99"/>
                  </a:lnTo>
                  <a:lnTo>
                    <a:pt x="459" y="105"/>
                  </a:lnTo>
                  <a:lnTo>
                    <a:pt x="459" y="105"/>
                  </a:lnTo>
                  <a:lnTo>
                    <a:pt x="457" y="111"/>
                  </a:lnTo>
                  <a:lnTo>
                    <a:pt x="456" y="117"/>
                  </a:lnTo>
                  <a:lnTo>
                    <a:pt x="450" y="126"/>
                  </a:lnTo>
                  <a:lnTo>
                    <a:pt x="450" y="126"/>
                  </a:lnTo>
                  <a:lnTo>
                    <a:pt x="448" y="130"/>
                  </a:lnTo>
                  <a:lnTo>
                    <a:pt x="445" y="131"/>
                  </a:lnTo>
                  <a:lnTo>
                    <a:pt x="442" y="134"/>
                  </a:lnTo>
                  <a:lnTo>
                    <a:pt x="441" y="139"/>
                  </a:lnTo>
                  <a:lnTo>
                    <a:pt x="441" y="139"/>
                  </a:lnTo>
                  <a:lnTo>
                    <a:pt x="441" y="151"/>
                  </a:lnTo>
                  <a:lnTo>
                    <a:pt x="439" y="163"/>
                  </a:lnTo>
                  <a:lnTo>
                    <a:pt x="439" y="163"/>
                  </a:lnTo>
                  <a:lnTo>
                    <a:pt x="438" y="167"/>
                  </a:lnTo>
                  <a:lnTo>
                    <a:pt x="435" y="168"/>
                  </a:lnTo>
                  <a:lnTo>
                    <a:pt x="430" y="170"/>
                  </a:lnTo>
                  <a:lnTo>
                    <a:pt x="427" y="173"/>
                  </a:lnTo>
                  <a:lnTo>
                    <a:pt x="427" y="173"/>
                  </a:lnTo>
                  <a:lnTo>
                    <a:pt x="425" y="179"/>
                  </a:lnTo>
                  <a:lnTo>
                    <a:pt x="423" y="182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16" y="186"/>
                  </a:lnTo>
                  <a:lnTo>
                    <a:pt x="411" y="186"/>
                  </a:lnTo>
                  <a:lnTo>
                    <a:pt x="405" y="183"/>
                  </a:lnTo>
                  <a:lnTo>
                    <a:pt x="399" y="179"/>
                  </a:lnTo>
                  <a:lnTo>
                    <a:pt x="399" y="179"/>
                  </a:lnTo>
                  <a:lnTo>
                    <a:pt x="396" y="176"/>
                  </a:lnTo>
                  <a:lnTo>
                    <a:pt x="393" y="174"/>
                  </a:lnTo>
                  <a:lnTo>
                    <a:pt x="387" y="174"/>
                  </a:lnTo>
                  <a:lnTo>
                    <a:pt x="383" y="177"/>
                  </a:lnTo>
                  <a:lnTo>
                    <a:pt x="380" y="180"/>
                  </a:lnTo>
                  <a:lnTo>
                    <a:pt x="380" y="180"/>
                  </a:lnTo>
                  <a:lnTo>
                    <a:pt x="379" y="185"/>
                  </a:lnTo>
                  <a:lnTo>
                    <a:pt x="374" y="189"/>
                  </a:lnTo>
                  <a:lnTo>
                    <a:pt x="370" y="191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53" y="195"/>
                  </a:lnTo>
                  <a:lnTo>
                    <a:pt x="346" y="198"/>
                  </a:lnTo>
                  <a:lnTo>
                    <a:pt x="340" y="203"/>
                  </a:lnTo>
                  <a:lnTo>
                    <a:pt x="336" y="207"/>
                  </a:lnTo>
                  <a:lnTo>
                    <a:pt x="336" y="207"/>
                  </a:lnTo>
                  <a:lnTo>
                    <a:pt x="328" y="219"/>
                  </a:lnTo>
                  <a:lnTo>
                    <a:pt x="322" y="225"/>
                  </a:lnTo>
                  <a:lnTo>
                    <a:pt x="322" y="225"/>
                  </a:lnTo>
                  <a:lnTo>
                    <a:pt x="319" y="225"/>
                  </a:lnTo>
                  <a:lnTo>
                    <a:pt x="316" y="223"/>
                  </a:lnTo>
                  <a:lnTo>
                    <a:pt x="309" y="211"/>
                  </a:lnTo>
                  <a:lnTo>
                    <a:pt x="309" y="211"/>
                  </a:lnTo>
                  <a:lnTo>
                    <a:pt x="305" y="205"/>
                  </a:lnTo>
                  <a:lnTo>
                    <a:pt x="302" y="201"/>
                  </a:lnTo>
                  <a:lnTo>
                    <a:pt x="299" y="198"/>
                  </a:lnTo>
                  <a:lnTo>
                    <a:pt x="297" y="192"/>
                  </a:lnTo>
                  <a:lnTo>
                    <a:pt x="297" y="192"/>
                  </a:lnTo>
                  <a:lnTo>
                    <a:pt x="296" y="188"/>
                  </a:lnTo>
                  <a:lnTo>
                    <a:pt x="293" y="182"/>
                  </a:lnTo>
                  <a:lnTo>
                    <a:pt x="282" y="165"/>
                  </a:lnTo>
                  <a:lnTo>
                    <a:pt x="282" y="165"/>
                  </a:lnTo>
                  <a:lnTo>
                    <a:pt x="279" y="157"/>
                  </a:lnTo>
                  <a:lnTo>
                    <a:pt x="278" y="149"/>
                  </a:lnTo>
                  <a:lnTo>
                    <a:pt x="275" y="142"/>
                  </a:lnTo>
                  <a:lnTo>
                    <a:pt x="273" y="139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66" y="137"/>
                  </a:lnTo>
                  <a:lnTo>
                    <a:pt x="262" y="137"/>
                  </a:lnTo>
                  <a:lnTo>
                    <a:pt x="251" y="140"/>
                  </a:lnTo>
                  <a:lnTo>
                    <a:pt x="241" y="145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26" y="154"/>
                  </a:lnTo>
                  <a:lnTo>
                    <a:pt x="217" y="154"/>
                  </a:lnTo>
                  <a:lnTo>
                    <a:pt x="208" y="152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89" y="148"/>
                  </a:lnTo>
                  <a:lnTo>
                    <a:pt x="185" y="149"/>
                  </a:lnTo>
                  <a:lnTo>
                    <a:pt x="182" y="152"/>
                  </a:lnTo>
                  <a:lnTo>
                    <a:pt x="179" y="160"/>
                  </a:lnTo>
                  <a:lnTo>
                    <a:pt x="179" y="160"/>
                  </a:lnTo>
                  <a:lnTo>
                    <a:pt x="170" y="171"/>
                  </a:lnTo>
                  <a:lnTo>
                    <a:pt x="165" y="176"/>
                  </a:lnTo>
                  <a:lnTo>
                    <a:pt x="161" y="179"/>
                  </a:lnTo>
                  <a:lnTo>
                    <a:pt x="161" y="179"/>
                  </a:lnTo>
                  <a:lnTo>
                    <a:pt x="156" y="179"/>
                  </a:lnTo>
                  <a:lnTo>
                    <a:pt x="152" y="179"/>
                  </a:lnTo>
                  <a:lnTo>
                    <a:pt x="148" y="179"/>
                  </a:lnTo>
                  <a:lnTo>
                    <a:pt x="145" y="179"/>
                  </a:lnTo>
                  <a:lnTo>
                    <a:pt x="145" y="179"/>
                  </a:lnTo>
                  <a:lnTo>
                    <a:pt x="142" y="182"/>
                  </a:lnTo>
                  <a:lnTo>
                    <a:pt x="139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25" y="183"/>
                  </a:lnTo>
                  <a:lnTo>
                    <a:pt x="122" y="186"/>
                  </a:lnTo>
                  <a:lnTo>
                    <a:pt x="121" y="19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7"/>
                  </a:lnTo>
                  <a:lnTo>
                    <a:pt x="118" y="210"/>
                  </a:lnTo>
                  <a:lnTo>
                    <a:pt x="115" y="213"/>
                  </a:lnTo>
                  <a:lnTo>
                    <a:pt x="109" y="217"/>
                  </a:lnTo>
                  <a:lnTo>
                    <a:pt x="109" y="217"/>
                  </a:lnTo>
                  <a:lnTo>
                    <a:pt x="103" y="222"/>
                  </a:lnTo>
                  <a:lnTo>
                    <a:pt x="102" y="226"/>
                  </a:lnTo>
                  <a:lnTo>
                    <a:pt x="100" y="235"/>
                  </a:lnTo>
                  <a:lnTo>
                    <a:pt x="100" y="235"/>
                  </a:lnTo>
                  <a:lnTo>
                    <a:pt x="97" y="240"/>
                  </a:lnTo>
                  <a:lnTo>
                    <a:pt x="93" y="243"/>
                  </a:lnTo>
                  <a:lnTo>
                    <a:pt x="88" y="243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75" y="238"/>
                  </a:lnTo>
                  <a:lnTo>
                    <a:pt x="72" y="237"/>
                  </a:lnTo>
                  <a:lnTo>
                    <a:pt x="69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3" y="240"/>
                  </a:lnTo>
                  <a:lnTo>
                    <a:pt x="62" y="244"/>
                  </a:lnTo>
                  <a:lnTo>
                    <a:pt x="60" y="247"/>
                  </a:lnTo>
                  <a:lnTo>
                    <a:pt x="59" y="248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54" y="250"/>
                  </a:lnTo>
                  <a:lnTo>
                    <a:pt x="51" y="253"/>
                  </a:lnTo>
                  <a:lnTo>
                    <a:pt x="51" y="257"/>
                  </a:lnTo>
                  <a:lnTo>
                    <a:pt x="51" y="260"/>
                  </a:lnTo>
                  <a:lnTo>
                    <a:pt x="51" y="260"/>
                  </a:lnTo>
                  <a:lnTo>
                    <a:pt x="53" y="263"/>
                  </a:lnTo>
                  <a:lnTo>
                    <a:pt x="57" y="268"/>
                  </a:lnTo>
                  <a:lnTo>
                    <a:pt x="62" y="271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3" y="275"/>
                  </a:lnTo>
                  <a:lnTo>
                    <a:pt x="62" y="277"/>
                  </a:lnTo>
                  <a:lnTo>
                    <a:pt x="56" y="278"/>
                  </a:lnTo>
                  <a:lnTo>
                    <a:pt x="40" y="281"/>
                  </a:lnTo>
                  <a:lnTo>
                    <a:pt x="40" y="281"/>
                  </a:lnTo>
                  <a:lnTo>
                    <a:pt x="32" y="284"/>
                  </a:lnTo>
                  <a:lnTo>
                    <a:pt x="26" y="287"/>
                  </a:lnTo>
                  <a:lnTo>
                    <a:pt x="20" y="290"/>
                  </a:lnTo>
                  <a:lnTo>
                    <a:pt x="19" y="294"/>
                  </a:lnTo>
                  <a:lnTo>
                    <a:pt x="19" y="294"/>
                  </a:lnTo>
                  <a:lnTo>
                    <a:pt x="14" y="302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4" y="314"/>
                  </a:lnTo>
                  <a:lnTo>
                    <a:pt x="1" y="321"/>
                  </a:lnTo>
                  <a:lnTo>
                    <a:pt x="0" y="327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4" y="343"/>
                  </a:lnTo>
                  <a:lnTo>
                    <a:pt x="4" y="343"/>
                  </a:lnTo>
                  <a:lnTo>
                    <a:pt x="5" y="343"/>
                  </a:lnTo>
                  <a:lnTo>
                    <a:pt x="8" y="345"/>
                  </a:lnTo>
                  <a:lnTo>
                    <a:pt x="11" y="348"/>
                  </a:lnTo>
                  <a:lnTo>
                    <a:pt x="16" y="349"/>
                  </a:lnTo>
                  <a:lnTo>
                    <a:pt x="16" y="349"/>
                  </a:lnTo>
                  <a:lnTo>
                    <a:pt x="28" y="352"/>
                  </a:lnTo>
                  <a:lnTo>
                    <a:pt x="32" y="351"/>
                  </a:lnTo>
                  <a:lnTo>
                    <a:pt x="35" y="349"/>
                  </a:lnTo>
                  <a:lnTo>
                    <a:pt x="35" y="349"/>
                  </a:lnTo>
                  <a:lnTo>
                    <a:pt x="38" y="346"/>
                  </a:lnTo>
                  <a:lnTo>
                    <a:pt x="42" y="345"/>
                  </a:lnTo>
                  <a:lnTo>
                    <a:pt x="47" y="346"/>
                  </a:lnTo>
                  <a:lnTo>
                    <a:pt x="48" y="349"/>
                  </a:lnTo>
                  <a:lnTo>
                    <a:pt x="50" y="352"/>
                  </a:lnTo>
                  <a:lnTo>
                    <a:pt x="50" y="352"/>
                  </a:lnTo>
                  <a:lnTo>
                    <a:pt x="53" y="360"/>
                  </a:lnTo>
                  <a:lnTo>
                    <a:pt x="59" y="365"/>
                  </a:lnTo>
                  <a:lnTo>
                    <a:pt x="63" y="371"/>
                  </a:lnTo>
                  <a:lnTo>
                    <a:pt x="63" y="373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2" y="379"/>
                  </a:lnTo>
                  <a:lnTo>
                    <a:pt x="57" y="383"/>
                  </a:lnTo>
                  <a:lnTo>
                    <a:pt x="56" y="386"/>
                  </a:lnTo>
                  <a:lnTo>
                    <a:pt x="54" y="388"/>
                  </a:lnTo>
                  <a:lnTo>
                    <a:pt x="56" y="389"/>
                  </a:lnTo>
                  <a:lnTo>
                    <a:pt x="56" y="389"/>
                  </a:lnTo>
                  <a:lnTo>
                    <a:pt x="59" y="392"/>
                  </a:lnTo>
                  <a:lnTo>
                    <a:pt x="65" y="394"/>
                  </a:lnTo>
                  <a:lnTo>
                    <a:pt x="69" y="395"/>
                  </a:lnTo>
                  <a:lnTo>
                    <a:pt x="75" y="400"/>
                  </a:lnTo>
                  <a:lnTo>
                    <a:pt x="75" y="40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6" name="Freeform 75">
              <a:extLst>
                <a:ext uri="{FF2B5EF4-FFF2-40B4-BE49-F238E27FC236}">
                  <a16:creationId xmlns:a16="http://schemas.microsoft.com/office/drawing/2014/main" id="{A592022F-2EBF-7E4D-B170-C835CBC04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9075" y="4443413"/>
              <a:ext cx="396875" cy="300037"/>
            </a:xfrm>
            <a:custGeom>
              <a:avLst/>
              <a:gdLst>
                <a:gd name="T0" fmla="*/ 9 w 250"/>
                <a:gd name="T1" fmla="*/ 140 h 189"/>
                <a:gd name="T2" fmla="*/ 12 w 250"/>
                <a:gd name="T3" fmla="*/ 155 h 189"/>
                <a:gd name="T4" fmla="*/ 6 w 250"/>
                <a:gd name="T5" fmla="*/ 161 h 189"/>
                <a:gd name="T6" fmla="*/ 25 w 250"/>
                <a:gd name="T7" fmla="*/ 170 h 189"/>
                <a:gd name="T8" fmla="*/ 40 w 250"/>
                <a:gd name="T9" fmla="*/ 171 h 189"/>
                <a:gd name="T10" fmla="*/ 54 w 250"/>
                <a:gd name="T11" fmla="*/ 170 h 189"/>
                <a:gd name="T12" fmla="*/ 70 w 250"/>
                <a:gd name="T13" fmla="*/ 182 h 189"/>
                <a:gd name="T14" fmla="*/ 79 w 250"/>
                <a:gd name="T15" fmla="*/ 186 h 189"/>
                <a:gd name="T16" fmla="*/ 85 w 250"/>
                <a:gd name="T17" fmla="*/ 183 h 189"/>
                <a:gd name="T18" fmla="*/ 85 w 250"/>
                <a:gd name="T19" fmla="*/ 170 h 189"/>
                <a:gd name="T20" fmla="*/ 92 w 250"/>
                <a:gd name="T21" fmla="*/ 167 h 189"/>
                <a:gd name="T22" fmla="*/ 104 w 250"/>
                <a:gd name="T23" fmla="*/ 168 h 189"/>
                <a:gd name="T24" fmla="*/ 113 w 250"/>
                <a:gd name="T25" fmla="*/ 167 h 189"/>
                <a:gd name="T26" fmla="*/ 126 w 250"/>
                <a:gd name="T27" fmla="*/ 162 h 189"/>
                <a:gd name="T28" fmla="*/ 139 w 250"/>
                <a:gd name="T29" fmla="*/ 165 h 189"/>
                <a:gd name="T30" fmla="*/ 156 w 250"/>
                <a:gd name="T31" fmla="*/ 170 h 189"/>
                <a:gd name="T32" fmla="*/ 159 w 250"/>
                <a:gd name="T33" fmla="*/ 179 h 189"/>
                <a:gd name="T34" fmla="*/ 171 w 250"/>
                <a:gd name="T35" fmla="*/ 189 h 189"/>
                <a:gd name="T36" fmla="*/ 175 w 250"/>
                <a:gd name="T37" fmla="*/ 185 h 189"/>
                <a:gd name="T38" fmla="*/ 182 w 250"/>
                <a:gd name="T39" fmla="*/ 174 h 189"/>
                <a:gd name="T40" fmla="*/ 188 w 250"/>
                <a:gd name="T41" fmla="*/ 176 h 189"/>
                <a:gd name="T42" fmla="*/ 199 w 250"/>
                <a:gd name="T43" fmla="*/ 182 h 189"/>
                <a:gd name="T44" fmla="*/ 212 w 250"/>
                <a:gd name="T45" fmla="*/ 179 h 189"/>
                <a:gd name="T46" fmla="*/ 230 w 250"/>
                <a:gd name="T47" fmla="*/ 174 h 189"/>
                <a:gd name="T48" fmla="*/ 239 w 250"/>
                <a:gd name="T49" fmla="*/ 165 h 189"/>
                <a:gd name="T50" fmla="*/ 248 w 250"/>
                <a:gd name="T51" fmla="*/ 142 h 189"/>
                <a:gd name="T52" fmla="*/ 249 w 250"/>
                <a:gd name="T53" fmla="*/ 115 h 189"/>
                <a:gd name="T54" fmla="*/ 248 w 250"/>
                <a:gd name="T55" fmla="*/ 106 h 189"/>
                <a:gd name="T56" fmla="*/ 239 w 250"/>
                <a:gd name="T57" fmla="*/ 100 h 189"/>
                <a:gd name="T58" fmla="*/ 225 w 250"/>
                <a:gd name="T59" fmla="*/ 90 h 189"/>
                <a:gd name="T60" fmla="*/ 212 w 250"/>
                <a:gd name="T61" fmla="*/ 87 h 189"/>
                <a:gd name="T62" fmla="*/ 212 w 250"/>
                <a:gd name="T63" fmla="*/ 82 h 189"/>
                <a:gd name="T64" fmla="*/ 213 w 250"/>
                <a:gd name="T65" fmla="*/ 62 h 189"/>
                <a:gd name="T66" fmla="*/ 206 w 250"/>
                <a:gd name="T67" fmla="*/ 54 h 189"/>
                <a:gd name="T68" fmla="*/ 171 w 250"/>
                <a:gd name="T69" fmla="*/ 48 h 189"/>
                <a:gd name="T70" fmla="*/ 138 w 250"/>
                <a:gd name="T71" fmla="*/ 50 h 189"/>
                <a:gd name="T72" fmla="*/ 126 w 250"/>
                <a:gd name="T73" fmla="*/ 56 h 189"/>
                <a:gd name="T74" fmla="*/ 117 w 250"/>
                <a:gd name="T75" fmla="*/ 56 h 189"/>
                <a:gd name="T76" fmla="*/ 113 w 250"/>
                <a:gd name="T77" fmla="*/ 44 h 189"/>
                <a:gd name="T78" fmla="*/ 104 w 250"/>
                <a:gd name="T79" fmla="*/ 44 h 189"/>
                <a:gd name="T80" fmla="*/ 86 w 250"/>
                <a:gd name="T81" fmla="*/ 54 h 189"/>
                <a:gd name="T82" fmla="*/ 82 w 250"/>
                <a:gd name="T83" fmla="*/ 45 h 189"/>
                <a:gd name="T84" fmla="*/ 85 w 250"/>
                <a:gd name="T85" fmla="*/ 23 h 189"/>
                <a:gd name="T86" fmla="*/ 79 w 250"/>
                <a:gd name="T87" fmla="*/ 7 h 189"/>
                <a:gd name="T88" fmla="*/ 71 w 250"/>
                <a:gd name="T89" fmla="*/ 1 h 189"/>
                <a:gd name="T90" fmla="*/ 61 w 250"/>
                <a:gd name="T91" fmla="*/ 1 h 189"/>
                <a:gd name="T92" fmla="*/ 36 w 250"/>
                <a:gd name="T93" fmla="*/ 23 h 189"/>
                <a:gd name="T94" fmla="*/ 30 w 250"/>
                <a:gd name="T95" fmla="*/ 25 h 189"/>
                <a:gd name="T96" fmla="*/ 18 w 250"/>
                <a:gd name="T97" fmla="*/ 48 h 189"/>
                <a:gd name="T98" fmla="*/ 25 w 250"/>
                <a:gd name="T99" fmla="*/ 59 h 189"/>
                <a:gd name="T100" fmla="*/ 27 w 250"/>
                <a:gd name="T101" fmla="*/ 74 h 189"/>
                <a:gd name="T102" fmla="*/ 24 w 250"/>
                <a:gd name="T103" fmla="*/ 87 h 189"/>
                <a:gd name="T104" fmla="*/ 2 w 250"/>
                <a:gd name="T105" fmla="*/ 111 h 189"/>
                <a:gd name="T106" fmla="*/ 0 w 250"/>
                <a:gd name="T107" fmla="*/ 122 h 189"/>
                <a:gd name="T108" fmla="*/ 5 w 250"/>
                <a:gd name="T109" fmla="*/ 13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50" h="189">
                  <a:moveTo>
                    <a:pt x="5" y="134"/>
                  </a:moveTo>
                  <a:lnTo>
                    <a:pt x="5" y="134"/>
                  </a:lnTo>
                  <a:lnTo>
                    <a:pt x="9" y="140"/>
                  </a:lnTo>
                  <a:lnTo>
                    <a:pt x="12" y="145"/>
                  </a:lnTo>
                  <a:lnTo>
                    <a:pt x="12" y="151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9" y="158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17" y="167"/>
                  </a:lnTo>
                  <a:lnTo>
                    <a:pt x="25" y="170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40" y="171"/>
                  </a:lnTo>
                  <a:lnTo>
                    <a:pt x="45" y="170"/>
                  </a:lnTo>
                  <a:lnTo>
                    <a:pt x="49" y="168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62" y="176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4" y="185"/>
                  </a:lnTo>
                  <a:lnTo>
                    <a:pt x="79" y="186"/>
                  </a:lnTo>
                  <a:lnTo>
                    <a:pt x="79" y="186"/>
                  </a:lnTo>
                  <a:lnTo>
                    <a:pt x="83" y="185"/>
                  </a:lnTo>
                  <a:lnTo>
                    <a:pt x="85" y="183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70"/>
                  </a:lnTo>
                  <a:lnTo>
                    <a:pt x="88" y="167"/>
                  </a:lnTo>
                  <a:lnTo>
                    <a:pt x="89" y="165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8" y="168"/>
                  </a:lnTo>
                  <a:lnTo>
                    <a:pt x="104" y="168"/>
                  </a:lnTo>
                  <a:lnTo>
                    <a:pt x="110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6" y="165"/>
                  </a:lnTo>
                  <a:lnTo>
                    <a:pt x="120" y="164"/>
                  </a:lnTo>
                  <a:lnTo>
                    <a:pt x="126" y="162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9" y="165"/>
                  </a:lnTo>
                  <a:lnTo>
                    <a:pt x="147" y="167"/>
                  </a:lnTo>
                  <a:lnTo>
                    <a:pt x="153" y="168"/>
                  </a:lnTo>
                  <a:lnTo>
                    <a:pt x="156" y="170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9" y="179"/>
                  </a:lnTo>
                  <a:lnTo>
                    <a:pt x="163" y="186"/>
                  </a:lnTo>
                  <a:lnTo>
                    <a:pt x="168" y="189"/>
                  </a:lnTo>
                  <a:lnTo>
                    <a:pt x="171" y="189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5" y="185"/>
                  </a:lnTo>
                  <a:lnTo>
                    <a:pt x="178" y="179"/>
                  </a:lnTo>
                  <a:lnTo>
                    <a:pt x="179" y="176"/>
                  </a:lnTo>
                  <a:lnTo>
                    <a:pt x="182" y="174"/>
                  </a:lnTo>
                  <a:lnTo>
                    <a:pt x="185" y="174"/>
                  </a:lnTo>
                  <a:lnTo>
                    <a:pt x="185" y="174"/>
                  </a:lnTo>
                  <a:lnTo>
                    <a:pt x="188" y="176"/>
                  </a:lnTo>
                  <a:lnTo>
                    <a:pt x="191" y="179"/>
                  </a:lnTo>
                  <a:lnTo>
                    <a:pt x="194" y="180"/>
                  </a:lnTo>
                  <a:lnTo>
                    <a:pt x="199" y="182"/>
                  </a:lnTo>
                  <a:lnTo>
                    <a:pt x="199" y="182"/>
                  </a:lnTo>
                  <a:lnTo>
                    <a:pt x="205" y="180"/>
                  </a:lnTo>
                  <a:lnTo>
                    <a:pt x="212" y="179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30" y="174"/>
                  </a:lnTo>
                  <a:lnTo>
                    <a:pt x="234" y="176"/>
                  </a:lnTo>
                  <a:lnTo>
                    <a:pt x="234" y="176"/>
                  </a:lnTo>
                  <a:lnTo>
                    <a:pt x="239" y="165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8" y="142"/>
                  </a:lnTo>
                  <a:lnTo>
                    <a:pt x="249" y="131"/>
                  </a:lnTo>
                  <a:lnTo>
                    <a:pt x="250" y="122"/>
                  </a:lnTo>
                  <a:lnTo>
                    <a:pt x="249" y="115"/>
                  </a:lnTo>
                  <a:lnTo>
                    <a:pt x="249" y="115"/>
                  </a:lnTo>
                  <a:lnTo>
                    <a:pt x="249" y="109"/>
                  </a:lnTo>
                  <a:lnTo>
                    <a:pt x="248" y="106"/>
                  </a:lnTo>
                  <a:lnTo>
                    <a:pt x="245" y="103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0" y="94"/>
                  </a:lnTo>
                  <a:lnTo>
                    <a:pt x="225" y="90"/>
                  </a:lnTo>
                  <a:lnTo>
                    <a:pt x="225" y="90"/>
                  </a:lnTo>
                  <a:lnTo>
                    <a:pt x="221" y="88"/>
                  </a:lnTo>
                  <a:lnTo>
                    <a:pt x="216" y="88"/>
                  </a:lnTo>
                  <a:lnTo>
                    <a:pt x="212" y="87"/>
                  </a:lnTo>
                  <a:lnTo>
                    <a:pt x="212" y="85"/>
                  </a:lnTo>
                  <a:lnTo>
                    <a:pt x="212" y="82"/>
                  </a:lnTo>
                  <a:lnTo>
                    <a:pt x="212" y="82"/>
                  </a:lnTo>
                  <a:lnTo>
                    <a:pt x="213" y="75"/>
                  </a:lnTo>
                  <a:lnTo>
                    <a:pt x="213" y="68"/>
                  </a:lnTo>
                  <a:lnTo>
                    <a:pt x="213" y="62"/>
                  </a:lnTo>
                  <a:lnTo>
                    <a:pt x="212" y="59"/>
                  </a:lnTo>
                  <a:lnTo>
                    <a:pt x="212" y="59"/>
                  </a:lnTo>
                  <a:lnTo>
                    <a:pt x="206" y="54"/>
                  </a:lnTo>
                  <a:lnTo>
                    <a:pt x="200" y="50"/>
                  </a:lnTo>
                  <a:lnTo>
                    <a:pt x="200" y="50"/>
                  </a:lnTo>
                  <a:lnTo>
                    <a:pt x="171" y="48"/>
                  </a:lnTo>
                  <a:lnTo>
                    <a:pt x="150" y="48"/>
                  </a:lnTo>
                  <a:lnTo>
                    <a:pt x="141" y="48"/>
                  </a:lnTo>
                  <a:lnTo>
                    <a:pt x="138" y="50"/>
                  </a:lnTo>
                  <a:lnTo>
                    <a:pt x="138" y="50"/>
                  </a:lnTo>
                  <a:lnTo>
                    <a:pt x="131" y="54"/>
                  </a:lnTo>
                  <a:lnTo>
                    <a:pt x="126" y="56"/>
                  </a:lnTo>
                  <a:lnTo>
                    <a:pt x="122" y="57"/>
                  </a:lnTo>
                  <a:lnTo>
                    <a:pt x="122" y="57"/>
                  </a:lnTo>
                  <a:lnTo>
                    <a:pt x="117" y="56"/>
                  </a:lnTo>
                  <a:lnTo>
                    <a:pt x="116" y="53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3" y="43"/>
                  </a:lnTo>
                  <a:lnTo>
                    <a:pt x="110" y="41"/>
                  </a:lnTo>
                  <a:lnTo>
                    <a:pt x="104" y="44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6" y="54"/>
                  </a:lnTo>
                  <a:lnTo>
                    <a:pt x="85" y="53"/>
                  </a:lnTo>
                  <a:lnTo>
                    <a:pt x="83" y="50"/>
                  </a:lnTo>
                  <a:lnTo>
                    <a:pt x="82" y="45"/>
                  </a:lnTo>
                  <a:lnTo>
                    <a:pt x="82" y="35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16"/>
                  </a:lnTo>
                  <a:lnTo>
                    <a:pt x="86" y="13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6" y="4"/>
                  </a:lnTo>
                  <a:lnTo>
                    <a:pt x="71" y="1"/>
                  </a:lnTo>
                  <a:lnTo>
                    <a:pt x="65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55" y="5"/>
                  </a:lnTo>
                  <a:lnTo>
                    <a:pt x="48" y="11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3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4" y="35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2" y="54"/>
                  </a:lnTo>
                  <a:lnTo>
                    <a:pt x="25" y="59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74"/>
                  </a:lnTo>
                  <a:lnTo>
                    <a:pt x="27" y="81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12" y="99"/>
                  </a:lnTo>
                  <a:lnTo>
                    <a:pt x="6" y="105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0" y="115"/>
                  </a:lnTo>
                  <a:lnTo>
                    <a:pt x="0" y="122"/>
                  </a:lnTo>
                  <a:lnTo>
                    <a:pt x="0" y="128"/>
                  </a:lnTo>
                  <a:lnTo>
                    <a:pt x="2" y="131"/>
                  </a:lnTo>
                  <a:lnTo>
                    <a:pt x="5" y="134"/>
                  </a:lnTo>
                  <a:lnTo>
                    <a:pt x="5" y="13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7" name="Freeform 76">
              <a:extLst>
                <a:ext uri="{FF2B5EF4-FFF2-40B4-BE49-F238E27FC236}">
                  <a16:creationId xmlns:a16="http://schemas.microsoft.com/office/drawing/2014/main" id="{7E050A9A-A831-FF41-8A12-1F49C2D03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325" y="3198813"/>
              <a:ext cx="215900" cy="263525"/>
            </a:xfrm>
            <a:custGeom>
              <a:avLst/>
              <a:gdLst>
                <a:gd name="T0" fmla="*/ 128 w 136"/>
                <a:gd name="T1" fmla="*/ 49 h 166"/>
                <a:gd name="T2" fmla="*/ 128 w 136"/>
                <a:gd name="T3" fmla="*/ 49 h 166"/>
                <a:gd name="T4" fmla="*/ 133 w 136"/>
                <a:gd name="T5" fmla="*/ 55 h 166"/>
                <a:gd name="T6" fmla="*/ 134 w 136"/>
                <a:gd name="T7" fmla="*/ 61 h 166"/>
                <a:gd name="T8" fmla="*/ 136 w 136"/>
                <a:gd name="T9" fmla="*/ 67 h 166"/>
                <a:gd name="T10" fmla="*/ 134 w 136"/>
                <a:gd name="T11" fmla="*/ 73 h 166"/>
                <a:gd name="T12" fmla="*/ 131 w 136"/>
                <a:gd name="T13" fmla="*/ 86 h 166"/>
                <a:gd name="T14" fmla="*/ 127 w 136"/>
                <a:gd name="T15" fmla="*/ 95 h 166"/>
                <a:gd name="T16" fmla="*/ 127 w 136"/>
                <a:gd name="T17" fmla="*/ 95 h 166"/>
                <a:gd name="T18" fmla="*/ 126 w 136"/>
                <a:gd name="T19" fmla="*/ 101 h 166"/>
                <a:gd name="T20" fmla="*/ 126 w 136"/>
                <a:gd name="T21" fmla="*/ 108 h 166"/>
                <a:gd name="T22" fmla="*/ 128 w 136"/>
                <a:gd name="T23" fmla="*/ 116 h 166"/>
                <a:gd name="T24" fmla="*/ 130 w 136"/>
                <a:gd name="T25" fmla="*/ 126 h 166"/>
                <a:gd name="T26" fmla="*/ 130 w 136"/>
                <a:gd name="T27" fmla="*/ 126 h 166"/>
                <a:gd name="T28" fmla="*/ 131 w 136"/>
                <a:gd name="T29" fmla="*/ 136 h 166"/>
                <a:gd name="T30" fmla="*/ 130 w 136"/>
                <a:gd name="T31" fmla="*/ 142 h 166"/>
                <a:gd name="T32" fmla="*/ 127 w 136"/>
                <a:gd name="T33" fmla="*/ 148 h 166"/>
                <a:gd name="T34" fmla="*/ 121 w 136"/>
                <a:gd name="T35" fmla="*/ 154 h 166"/>
                <a:gd name="T36" fmla="*/ 121 w 136"/>
                <a:gd name="T37" fmla="*/ 154 h 166"/>
                <a:gd name="T38" fmla="*/ 118 w 136"/>
                <a:gd name="T39" fmla="*/ 156 h 166"/>
                <a:gd name="T40" fmla="*/ 112 w 136"/>
                <a:gd name="T41" fmla="*/ 159 h 166"/>
                <a:gd name="T42" fmla="*/ 97 w 136"/>
                <a:gd name="T43" fmla="*/ 162 h 166"/>
                <a:gd name="T44" fmla="*/ 80 w 136"/>
                <a:gd name="T45" fmla="*/ 164 h 166"/>
                <a:gd name="T46" fmla="*/ 68 w 136"/>
                <a:gd name="T47" fmla="*/ 166 h 166"/>
                <a:gd name="T48" fmla="*/ 68 w 136"/>
                <a:gd name="T49" fmla="*/ 166 h 166"/>
                <a:gd name="T50" fmla="*/ 66 w 136"/>
                <a:gd name="T51" fmla="*/ 164 h 166"/>
                <a:gd name="T52" fmla="*/ 62 w 136"/>
                <a:gd name="T53" fmla="*/ 160 h 166"/>
                <a:gd name="T54" fmla="*/ 54 w 136"/>
                <a:gd name="T55" fmla="*/ 153 h 166"/>
                <a:gd name="T56" fmla="*/ 47 w 136"/>
                <a:gd name="T57" fmla="*/ 138 h 166"/>
                <a:gd name="T58" fmla="*/ 47 w 136"/>
                <a:gd name="T59" fmla="*/ 138 h 166"/>
                <a:gd name="T60" fmla="*/ 19 w 136"/>
                <a:gd name="T61" fmla="*/ 86 h 166"/>
                <a:gd name="T62" fmla="*/ 19 w 136"/>
                <a:gd name="T63" fmla="*/ 86 h 166"/>
                <a:gd name="T64" fmla="*/ 12 w 136"/>
                <a:gd name="T65" fmla="*/ 70 h 166"/>
                <a:gd name="T66" fmla="*/ 4 w 136"/>
                <a:gd name="T67" fmla="*/ 50 h 166"/>
                <a:gd name="T68" fmla="*/ 1 w 136"/>
                <a:gd name="T69" fmla="*/ 33 h 166"/>
                <a:gd name="T70" fmla="*/ 0 w 136"/>
                <a:gd name="T71" fmla="*/ 25 h 166"/>
                <a:gd name="T72" fmla="*/ 1 w 136"/>
                <a:gd name="T73" fmla="*/ 19 h 166"/>
                <a:gd name="T74" fmla="*/ 25 w 136"/>
                <a:gd name="T75" fmla="*/ 27 h 166"/>
                <a:gd name="T76" fmla="*/ 25 w 136"/>
                <a:gd name="T77" fmla="*/ 10 h 166"/>
                <a:gd name="T78" fmla="*/ 34 w 136"/>
                <a:gd name="T79" fmla="*/ 2 h 166"/>
                <a:gd name="T80" fmla="*/ 47 w 136"/>
                <a:gd name="T81" fmla="*/ 0 h 166"/>
                <a:gd name="T82" fmla="*/ 57 w 136"/>
                <a:gd name="T83" fmla="*/ 3 h 166"/>
                <a:gd name="T84" fmla="*/ 65 w 136"/>
                <a:gd name="T85" fmla="*/ 10 h 166"/>
                <a:gd name="T86" fmla="*/ 69 w 136"/>
                <a:gd name="T87" fmla="*/ 25 h 166"/>
                <a:gd name="T88" fmla="*/ 69 w 136"/>
                <a:gd name="T89" fmla="*/ 25 h 166"/>
                <a:gd name="T90" fmla="*/ 74 w 136"/>
                <a:gd name="T91" fmla="*/ 40 h 166"/>
                <a:gd name="T92" fmla="*/ 74 w 136"/>
                <a:gd name="T93" fmla="*/ 40 h 166"/>
                <a:gd name="T94" fmla="*/ 80 w 136"/>
                <a:gd name="T95" fmla="*/ 52 h 166"/>
                <a:gd name="T96" fmla="*/ 80 w 136"/>
                <a:gd name="T97" fmla="*/ 52 h 166"/>
                <a:gd name="T98" fmla="*/ 80 w 136"/>
                <a:gd name="T99" fmla="*/ 52 h 166"/>
                <a:gd name="T100" fmla="*/ 81 w 136"/>
                <a:gd name="T101" fmla="*/ 55 h 166"/>
                <a:gd name="T102" fmla="*/ 81 w 136"/>
                <a:gd name="T103" fmla="*/ 55 h 166"/>
                <a:gd name="T104" fmla="*/ 81 w 136"/>
                <a:gd name="T105" fmla="*/ 62 h 166"/>
                <a:gd name="T106" fmla="*/ 87 w 136"/>
                <a:gd name="T107" fmla="*/ 64 h 166"/>
                <a:gd name="T108" fmla="*/ 100 w 136"/>
                <a:gd name="T109" fmla="*/ 61 h 166"/>
                <a:gd name="T110" fmla="*/ 117 w 136"/>
                <a:gd name="T111" fmla="*/ 53 h 166"/>
                <a:gd name="T112" fmla="*/ 127 w 136"/>
                <a:gd name="T113" fmla="*/ 50 h 166"/>
                <a:gd name="T114" fmla="*/ 128 w 136"/>
                <a:gd name="T115" fmla="*/ 49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6" h="166">
                  <a:moveTo>
                    <a:pt x="128" y="49"/>
                  </a:moveTo>
                  <a:lnTo>
                    <a:pt x="128" y="49"/>
                  </a:lnTo>
                  <a:lnTo>
                    <a:pt x="133" y="55"/>
                  </a:lnTo>
                  <a:lnTo>
                    <a:pt x="134" y="61"/>
                  </a:lnTo>
                  <a:lnTo>
                    <a:pt x="136" y="67"/>
                  </a:lnTo>
                  <a:lnTo>
                    <a:pt x="134" y="73"/>
                  </a:lnTo>
                  <a:lnTo>
                    <a:pt x="131" y="86"/>
                  </a:lnTo>
                  <a:lnTo>
                    <a:pt x="127" y="95"/>
                  </a:lnTo>
                  <a:lnTo>
                    <a:pt x="127" y="95"/>
                  </a:lnTo>
                  <a:lnTo>
                    <a:pt x="126" y="101"/>
                  </a:lnTo>
                  <a:lnTo>
                    <a:pt x="126" y="108"/>
                  </a:lnTo>
                  <a:lnTo>
                    <a:pt x="128" y="11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1" y="136"/>
                  </a:lnTo>
                  <a:lnTo>
                    <a:pt x="130" y="142"/>
                  </a:lnTo>
                  <a:lnTo>
                    <a:pt x="127" y="148"/>
                  </a:lnTo>
                  <a:lnTo>
                    <a:pt x="121" y="154"/>
                  </a:lnTo>
                  <a:lnTo>
                    <a:pt x="121" y="154"/>
                  </a:lnTo>
                  <a:lnTo>
                    <a:pt x="118" y="156"/>
                  </a:lnTo>
                  <a:lnTo>
                    <a:pt x="112" y="159"/>
                  </a:lnTo>
                  <a:lnTo>
                    <a:pt x="97" y="162"/>
                  </a:lnTo>
                  <a:lnTo>
                    <a:pt x="80" y="164"/>
                  </a:lnTo>
                  <a:lnTo>
                    <a:pt x="68" y="166"/>
                  </a:lnTo>
                  <a:lnTo>
                    <a:pt x="68" y="166"/>
                  </a:lnTo>
                  <a:lnTo>
                    <a:pt x="66" y="164"/>
                  </a:lnTo>
                  <a:lnTo>
                    <a:pt x="62" y="160"/>
                  </a:lnTo>
                  <a:lnTo>
                    <a:pt x="54" y="153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2" y="70"/>
                  </a:lnTo>
                  <a:lnTo>
                    <a:pt x="4" y="50"/>
                  </a:lnTo>
                  <a:lnTo>
                    <a:pt x="1" y="33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5" y="27"/>
                  </a:lnTo>
                  <a:lnTo>
                    <a:pt x="25" y="10"/>
                  </a:lnTo>
                  <a:lnTo>
                    <a:pt x="34" y="2"/>
                  </a:lnTo>
                  <a:lnTo>
                    <a:pt x="47" y="0"/>
                  </a:lnTo>
                  <a:lnTo>
                    <a:pt x="57" y="3"/>
                  </a:lnTo>
                  <a:lnTo>
                    <a:pt x="65" y="10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62"/>
                  </a:lnTo>
                  <a:lnTo>
                    <a:pt x="87" y="64"/>
                  </a:lnTo>
                  <a:lnTo>
                    <a:pt x="100" y="61"/>
                  </a:lnTo>
                  <a:lnTo>
                    <a:pt x="117" y="53"/>
                  </a:lnTo>
                  <a:lnTo>
                    <a:pt x="127" y="50"/>
                  </a:lnTo>
                  <a:lnTo>
                    <a:pt x="128" y="4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8" name="Freeform 77">
              <a:extLst>
                <a:ext uri="{FF2B5EF4-FFF2-40B4-BE49-F238E27FC236}">
                  <a16:creationId xmlns:a16="http://schemas.microsoft.com/office/drawing/2014/main" id="{502A936F-1C21-DB42-A7B2-3DA2F9C65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3250" y="6400800"/>
              <a:ext cx="274638" cy="207962"/>
            </a:xfrm>
            <a:custGeom>
              <a:avLst/>
              <a:gdLst>
                <a:gd name="T0" fmla="*/ 99 w 173"/>
                <a:gd name="T1" fmla="*/ 120 h 131"/>
                <a:gd name="T2" fmla="*/ 110 w 173"/>
                <a:gd name="T3" fmla="*/ 123 h 131"/>
                <a:gd name="T4" fmla="*/ 120 w 173"/>
                <a:gd name="T5" fmla="*/ 126 h 131"/>
                <a:gd name="T6" fmla="*/ 145 w 173"/>
                <a:gd name="T7" fmla="*/ 131 h 131"/>
                <a:gd name="T8" fmla="*/ 153 w 173"/>
                <a:gd name="T9" fmla="*/ 129 h 131"/>
                <a:gd name="T10" fmla="*/ 158 w 173"/>
                <a:gd name="T11" fmla="*/ 119 h 131"/>
                <a:gd name="T12" fmla="*/ 158 w 173"/>
                <a:gd name="T13" fmla="*/ 114 h 131"/>
                <a:gd name="T14" fmla="*/ 160 w 173"/>
                <a:gd name="T15" fmla="*/ 104 h 131"/>
                <a:gd name="T16" fmla="*/ 163 w 173"/>
                <a:gd name="T17" fmla="*/ 99 h 131"/>
                <a:gd name="T18" fmla="*/ 167 w 173"/>
                <a:gd name="T19" fmla="*/ 97 h 131"/>
                <a:gd name="T20" fmla="*/ 173 w 173"/>
                <a:gd name="T21" fmla="*/ 89 h 131"/>
                <a:gd name="T22" fmla="*/ 169 w 173"/>
                <a:gd name="T23" fmla="*/ 83 h 131"/>
                <a:gd name="T24" fmla="*/ 164 w 173"/>
                <a:gd name="T25" fmla="*/ 80 h 131"/>
                <a:gd name="T26" fmla="*/ 148 w 173"/>
                <a:gd name="T27" fmla="*/ 64 h 131"/>
                <a:gd name="T28" fmla="*/ 142 w 173"/>
                <a:gd name="T29" fmla="*/ 59 h 131"/>
                <a:gd name="T30" fmla="*/ 129 w 173"/>
                <a:gd name="T31" fmla="*/ 55 h 131"/>
                <a:gd name="T32" fmla="*/ 123 w 173"/>
                <a:gd name="T33" fmla="*/ 54 h 131"/>
                <a:gd name="T34" fmla="*/ 114 w 173"/>
                <a:gd name="T35" fmla="*/ 46 h 131"/>
                <a:gd name="T36" fmla="*/ 110 w 173"/>
                <a:gd name="T37" fmla="*/ 34 h 131"/>
                <a:gd name="T38" fmla="*/ 111 w 173"/>
                <a:gd name="T39" fmla="*/ 24 h 131"/>
                <a:gd name="T40" fmla="*/ 107 w 173"/>
                <a:gd name="T41" fmla="*/ 17 h 131"/>
                <a:gd name="T42" fmla="*/ 102 w 173"/>
                <a:gd name="T43" fmla="*/ 14 h 131"/>
                <a:gd name="T44" fmla="*/ 93 w 173"/>
                <a:gd name="T45" fmla="*/ 14 h 131"/>
                <a:gd name="T46" fmla="*/ 87 w 173"/>
                <a:gd name="T47" fmla="*/ 17 h 131"/>
                <a:gd name="T48" fmla="*/ 83 w 173"/>
                <a:gd name="T49" fmla="*/ 17 h 131"/>
                <a:gd name="T50" fmla="*/ 80 w 173"/>
                <a:gd name="T51" fmla="*/ 6 h 131"/>
                <a:gd name="T52" fmla="*/ 76 w 173"/>
                <a:gd name="T53" fmla="*/ 6 h 131"/>
                <a:gd name="T54" fmla="*/ 70 w 173"/>
                <a:gd name="T55" fmla="*/ 6 h 131"/>
                <a:gd name="T56" fmla="*/ 41 w 173"/>
                <a:gd name="T57" fmla="*/ 0 h 131"/>
                <a:gd name="T58" fmla="*/ 34 w 173"/>
                <a:gd name="T59" fmla="*/ 3 h 131"/>
                <a:gd name="T60" fmla="*/ 30 w 173"/>
                <a:gd name="T61" fmla="*/ 9 h 131"/>
                <a:gd name="T62" fmla="*/ 24 w 173"/>
                <a:gd name="T63" fmla="*/ 17 h 131"/>
                <a:gd name="T64" fmla="*/ 21 w 173"/>
                <a:gd name="T65" fmla="*/ 19 h 131"/>
                <a:gd name="T66" fmla="*/ 0 w 173"/>
                <a:gd name="T67" fmla="*/ 25 h 131"/>
                <a:gd name="T68" fmla="*/ 7 w 173"/>
                <a:gd name="T69" fmla="*/ 34 h 131"/>
                <a:gd name="T70" fmla="*/ 10 w 173"/>
                <a:gd name="T71" fmla="*/ 39 h 131"/>
                <a:gd name="T72" fmla="*/ 6 w 173"/>
                <a:gd name="T73" fmla="*/ 48 h 131"/>
                <a:gd name="T74" fmla="*/ 6 w 173"/>
                <a:gd name="T75" fmla="*/ 54 h 131"/>
                <a:gd name="T76" fmla="*/ 12 w 173"/>
                <a:gd name="T77" fmla="*/ 61 h 131"/>
                <a:gd name="T78" fmla="*/ 21 w 173"/>
                <a:gd name="T79" fmla="*/ 67 h 131"/>
                <a:gd name="T80" fmla="*/ 28 w 173"/>
                <a:gd name="T81" fmla="*/ 74 h 131"/>
                <a:gd name="T82" fmla="*/ 30 w 173"/>
                <a:gd name="T83" fmla="*/ 85 h 131"/>
                <a:gd name="T84" fmla="*/ 30 w 173"/>
                <a:gd name="T85" fmla="*/ 94 h 131"/>
                <a:gd name="T86" fmla="*/ 28 w 173"/>
                <a:gd name="T87" fmla="*/ 104 h 131"/>
                <a:gd name="T88" fmla="*/ 49 w 173"/>
                <a:gd name="T89" fmla="*/ 114 h 131"/>
                <a:gd name="T90" fmla="*/ 55 w 173"/>
                <a:gd name="T91" fmla="*/ 116 h 131"/>
                <a:gd name="T92" fmla="*/ 71 w 173"/>
                <a:gd name="T93" fmla="*/ 119 h 131"/>
                <a:gd name="T94" fmla="*/ 76 w 173"/>
                <a:gd name="T95" fmla="*/ 120 h 131"/>
                <a:gd name="T96" fmla="*/ 86 w 173"/>
                <a:gd name="T97" fmla="*/ 122 h 131"/>
                <a:gd name="T98" fmla="*/ 99 w 173"/>
                <a:gd name="T99" fmla="*/ 12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3" h="131">
                  <a:moveTo>
                    <a:pt x="99" y="120"/>
                  </a:moveTo>
                  <a:lnTo>
                    <a:pt x="99" y="120"/>
                  </a:lnTo>
                  <a:lnTo>
                    <a:pt x="104" y="120"/>
                  </a:lnTo>
                  <a:lnTo>
                    <a:pt x="110" y="123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45" y="131"/>
                  </a:lnTo>
                  <a:lnTo>
                    <a:pt x="145" y="131"/>
                  </a:lnTo>
                  <a:lnTo>
                    <a:pt x="150" y="129"/>
                  </a:lnTo>
                  <a:lnTo>
                    <a:pt x="153" y="129"/>
                  </a:lnTo>
                  <a:lnTo>
                    <a:pt x="157" y="125"/>
                  </a:lnTo>
                  <a:lnTo>
                    <a:pt x="158" y="119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58" y="108"/>
                  </a:lnTo>
                  <a:lnTo>
                    <a:pt x="160" y="104"/>
                  </a:lnTo>
                  <a:lnTo>
                    <a:pt x="160" y="104"/>
                  </a:lnTo>
                  <a:lnTo>
                    <a:pt x="163" y="99"/>
                  </a:lnTo>
                  <a:lnTo>
                    <a:pt x="167" y="97"/>
                  </a:lnTo>
                  <a:lnTo>
                    <a:pt x="167" y="97"/>
                  </a:lnTo>
                  <a:lnTo>
                    <a:pt x="173" y="92"/>
                  </a:lnTo>
                  <a:lnTo>
                    <a:pt x="173" y="89"/>
                  </a:lnTo>
                  <a:lnTo>
                    <a:pt x="172" y="86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64" y="80"/>
                  </a:lnTo>
                  <a:lnTo>
                    <a:pt x="158" y="76"/>
                  </a:lnTo>
                  <a:lnTo>
                    <a:pt x="148" y="64"/>
                  </a:lnTo>
                  <a:lnTo>
                    <a:pt x="148" y="64"/>
                  </a:lnTo>
                  <a:lnTo>
                    <a:pt x="142" y="59"/>
                  </a:lnTo>
                  <a:lnTo>
                    <a:pt x="135" y="57"/>
                  </a:lnTo>
                  <a:lnTo>
                    <a:pt x="129" y="55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18" y="51"/>
                  </a:lnTo>
                  <a:lnTo>
                    <a:pt x="114" y="46"/>
                  </a:lnTo>
                  <a:lnTo>
                    <a:pt x="111" y="40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1" y="24"/>
                  </a:lnTo>
                  <a:lnTo>
                    <a:pt x="110" y="19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2" y="14"/>
                  </a:lnTo>
                  <a:lnTo>
                    <a:pt x="98" y="14"/>
                  </a:lnTo>
                  <a:lnTo>
                    <a:pt x="93" y="14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4" y="18"/>
                  </a:lnTo>
                  <a:lnTo>
                    <a:pt x="83" y="17"/>
                  </a:lnTo>
                  <a:lnTo>
                    <a:pt x="80" y="14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52" y="2"/>
                  </a:lnTo>
                  <a:lnTo>
                    <a:pt x="41" y="0"/>
                  </a:lnTo>
                  <a:lnTo>
                    <a:pt x="38" y="2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0" y="9"/>
                  </a:lnTo>
                  <a:lnTo>
                    <a:pt x="25" y="14"/>
                  </a:lnTo>
                  <a:lnTo>
                    <a:pt x="24" y="17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10" y="22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7" y="34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9" y="43"/>
                  </a:lnTo>
                  <a:lnTo>
                    <a:pt x="6" y="48"/>
                  </a:lnTo>
                  <a:lnTo>
                    <a:pt x="6" y="51"/>
                  </a:lnTo>
                  <a:lnTo>
                    <a:pt x="6" y="54"/>
                  </a:lnTo>
                  <a:lnTo>
                    <a:pt x="9" y="58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21" y="67"/>
                  </a:lnTo>
                  <a:lnTo>
                    <a:pt x="27" y="71"/>
                  </a:lnTo>
                  <a:lnTo>
                    <a:pt x="28" y="74"/>
                  </a:lnTo>
                  <a:lnTo>
                    <a:pt x="30" y="79"/>
                  </a:lnTo>
                  <a:lnTo>
                    <a:pt x="30" y="85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37" y="107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55" y="116"/>
                  </a:lnTo>
                  <a:lnTo>
                    <a:pt x="62" y="117"/>
                  </a:lnTo>
                  <a:lnTo>
                    <a:pt x="71" y="119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8" y="122"/>
                  </a:lnTo>
                  <a:lnTo>
                    <a:pt x="86" y="122"/>
                  </a:lnTo>
                  <a:lnTo>
                    <a:pt x="99" y="120"/>
                  </a:lnTo>
                  <a:lnTo>
                    <a:pt x="99" y="12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199" name="Freeform 78">
              <a:extLst>
                <a:ext uri="{FF2B5EF4-FFF2-40B4-BE49-F238E27FC236}">
                  <a16:creationId xmlns:a16="http://schemas.microsoft.com/office/drawing/2014/main" id="{9177099F-27C1-FF49-8BB8-48AD352EE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8950" y="5876925"/>
              <a:ext cx="2195513" cy="2355850"/>
            </a:xfrm>
            <a:custGeom>
              <a:avLst/>
              <a:gdLst>
                <a:gd name="T0" fmla="*/ 439 w 1383"/>
                <a:gd name="T1" fmla="*/ 595 h 1484"/>
                <a:gd name="T2" fmla="*/ 378 w 1383"/>
                <a:gd name="T3" fmla="*/ 692 h 1484"/>
                <a:gd name="T4" fmla="*/ 343 w 1383"/>
                <a:gd name="T5" fmla="*/ 751 h 1484"/>
                <a:gd name="T6" fmla="*/ 305 w 1383"/>
                <a:gd name="T7" fmla="*/ 767 h 1484"/>
                <a:gd name="T8" fmla="*/ 252 w 1383"/>
                <a:gd name="T9" fmla="*/ 730 h 1484"/>
                <a:gd name="T10" fmla="*/ 141 w 1383"/>
                <a:gd name="T11" fmla="*/ 752 h 1484"/>
                <a:gd name="T12" fmla="*/ 129 w 1383"/>
                <a:gd name="T13" fmla="*/ 862 h 1484"/>
                <a:gd name="T14" fmla="*/ 132 w 1383"/>
                <a:gd name="T15" fmla="*/ 921 h 1484"/>
                <a:gd name="T16" fmla="*/ 86 w 1383"/>
                <a:gd name="T17" fmla="*/ 957 h 1484"/>
                <a:gd name="T18" fmla="*/ 64 w 1383"/>
                <a:gd name="T19" fmla="*/ 1034 h 1484"/>
                <a:gd name="T20" fmla="*/ 21 w 1383"/>
                <a:gd name="T21" fmla="*/ 1099 h 1484"/>
                <a:gd name="T22" fmla="*/ 48 w 1383"/>
                <a:gd name="T23" fmla="*/ 1204 h 1484"/>
                <a:gd name="T24" fmla="*/ 116 w 1383"/>
                <a:gd name="T25" fmla="*/ 1243 h 1484"/>
                <a:gd name="T26" fmla="*/ 220 w 1383"/>
                <a:gd name="T27" fmla="*/ 1288 h 1484"/>
                <a:gd name="T28" fmla="*/ 322 w 1383"/>
                <a:gd name="T29" fmla="*/ 1259 h 1484"/>
                <a:gd name="T30" fmla="*/ 406 w 1383"/>
                <a:gd name="T31" fmla="*/ 1358 h 1484"/>
                <a:gd name="T32" fmla="*/ 470 w 1383"/>
                <a:gd name="T33" fmla="*/ 1397 h 1484"/>
                <a:gd name="T34" fmla="*/ 526 w 1383"/>
                <a:gd name="T35" fmla="*/ 1457 h 1484"/>
                <a:gd name="T36" fmla="*/ 624 w 1383"/>
                <a:gd name="T37" fmla="*/ 1451 h 1484"/>
                <a:gd name="T38" fmla="*/ 837 w 1383"/>
                <a:gd name="T39" fmla="*/ 1006 h 1484"/>
                <a:gd name="T40" fmla="*/ 849 w 1383"/>
                <a:gd name="T41" fmla="*/ 926 h 1484"/>
                <a:gd name="T42" fmla="*/ 810 w 1383"/>
                <a:gd name="T43" fmla="*/ 862 h 1484"/>
                <a:gd name="T44" fmla="*/ 911 w 1383"/>
                <a:gd name="T45" fmla="*/ 809 h 1484"/>
                <a:gd name="T46" fmla="*/ 982 w 1383"/>
                <a:gd name="T47" fmla="*/ 786 h 1484"/>
                <a:gd name="T48" fmla="*/ 1044 w 1383"/>
                <a:gd name="T49" fmla="*/ 776 h 1484"/>
                <a:gd name="T50" fmla="*/ 1124 w 1383"/>
                <a:gd name="T51" fmla="*/ 804 h 1484"/>
                <a:gd name="T52" fmla="*/ 1203 w 1383"/>
                <a:gd name="T53" fmla="*/ 720 h 1484"/>
                <a:gd name="T54" fmla="*/ 1295 w 1383"/>
                <a:gd name="T55" fmla="*/ 732 h 1484"/>
                <a:gd name="T56" fmla="*/ 1330 w 1383"/>
                <a:gd name="T57" fmla="*/ 668 h 1484"/>
                <a:gd name="T58" fmla="*/ 1304 w 1383"/>
                <a:gd name="T59" fmla="*/ 647 h 1484"/>
                <a:gd name="T60" fmla="*/ 1295 w 1383"/>
                <a:gd name="T61" fmla="*/ 592 h 1484"/>
                <a:gd name="T62" fmla="*/ 1320 w 1383"/>
                <a:gd name="T63" fmla="*/ 533 h 1484"/>
                <a:gd name="T64" fmla="*/ 1370 w 1383"/>
                <a:gd name="T65" fmla="*/ 511 h 1484"/>
                <a:gd name="T66" fmla="*/ 1329 w 1383"/>
                <a:gd name="T67" fmla="*/ 440 h 1484"/>
                <a:gd name="T68" fmla="*/ 1280 w 1383"/>
                <a:gd name="T69" fmla="*/ 422 h 1484"/>
                <a:gd name="T70" fmla="*/ 1225 w 1383"/>
                <a:gd name="T71" fmla="*/ 397 h 1484"/>
                <a:gd name="T72" fmla="*/ 1172 w 1383"/>
                <a:gd name="T73" fmla="*/ 351 h 1484"/>
                <a:gd name="T74" fmla="*/ 1089 w 1383"/>
                <a:gd name="T75" fmla="*/ 394 h 1484"/>
                <a:gd name="T76" fmla="*/ 1036 w 1383"/>
                <a:gd name="T77" fmla="*/ 468 h 1484"/>
                <a:gd name="T78" fmla="*/ 1025 w 1383"/>
                <a:gd name="T79" fmla="*/ 526 h 1484"/>
                <a:gd name="T80" fmla="*/ 963 w 1383"/>
                <a:gd name="T81" fmla="*/ 508 h 1484"/>
                <a:gd name="T82" fmla="*/ 905 w 1383"/>
                <a:gd name="T83" fmla="*/ 542 h 1484"/>
                <a:gd name="T84" fmla="*/ 862 w 1383"/>
                <a:gd name="T85" fmla="*/ 583 h 1484"/>
                <a:gd name="T86" fmla="*/ 810 w 1383"/>
                <a:gd name="T87" fmla="*/ 505 h 1484"/>
                <a:gd name="T88" fmla="*/ 830 w 1383"/>
                <a:gd name="T89" fmla="*/ 404 h 1484"/>
                <a:gd name="T90" fmla="*/ 825 w 1383"/>
                <a:gd name="T91" fmla="*/ 335 h 1484"/>
                <a:gd name="T92" fmla="*/ 769 w 1383"/>
                <a:gd name="T93" fmla="*/ 295 h 1484"/>
                <a:gd name="T94" fmla="*/ 753 w 1383"/>
                <a:gd name="T95" fmla="*/ 201 h 1484"/>
                <a:gd name="T96" fmla="*/ 733 w 1383"/>
                <a:gd name="T97" fmla="*/ 98 h 1484"/>
                <a:gd name="T98" fmla="*/ 685 w 1383"/>
                <a:gd name="T99" fmla="*/ 55 h 1484"/>
                <a:gd name="T100" fmla="*/ 679 w 1383"/>
                <a:gd name="T101" fmla="*/ 0 h 1484"/>
                <a:gd name="T102" fmla="*/ 662 w 1383"/>
                <a:gd name="T103" fmla="*/ 46 h 1484"/>
                <a:gd name="T104" fmla="*/ 593 w 1383"/>
                <a:gd name="T105" fmla="*/ 95 h 1484"/>
                <a:gd name="T106" fmla="*/ 596 w 1383"/>
                <a:gd name="T107" fmla="*/ 135 h 1484"/>
                <a:gd name="T108" fmla="*/ 621 w 1383"/>
                <a:gd name="T109" fmla="*/ 195 h 1484"/>
                <a:gd name="T110" fmla="*/ 602 w 1383"/>
                <a:gd name="T111" fmla="*/ 270 h 1484"/>
                <a:gd name="T112" fmla="*/ 554 w 1383"/>
                <a:gd name="T113" fmla="*/ 338 h 1484"/>
                <a:gd name="T114" fmla="*/ 523 w 1383"/>
                <a:gd name="T115" fmla="*/ 403 h 1484"/>
                <a:gd name="T116" fmla="*/ 579 w 1383"/>
                <a:gd name="T117" fmla="*/ 505 h 1484"/>
                <a:gd name="T118" fmla="*/ 563 w 1383"/>
                <a:gd name="T119" fmla="*/ 560 h 1484"/>
                <a:gd name="T120" fmla="*/ 551 w 1383"/>
                <a:gd name="T121" fmla="*/ 622 h 1484"/>
                <a:gd name="T122" fmla="*/ 519 w 1383"/>
                <a:gd name="T123" fmla="*/ 640 h 1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83" h="1484">
                  <a:moveTo>
                    <a:pt x="501" y="625"/>
                  </a:moveTo>
                  <a:lnTo>
                    <a:pt x="501" y="625"/>
                  </a:lnTo>
                  <a:lnTo>
                    <a:pt x="497" y="623"/>
                  </a:lnTo>
                  <a:lnTo>
                    <a:pt x="489" y="622"/>
                  </a:lnTo>
                  <a:lnTo>
                    <a:pt x="480" y="619"/>
                  </a:lnTo>
                  <a:lnTo>
                    <a:pt x="476" y="618"/>
                  </a:lnTo>
                  <a:lnTo>
                    <a:pt x="474" y="615"/>
                  </a:lnTo>
                  <a:lnTo>
                    <a:pt x="474" y="615"/>
                  </a:lnTo>
                  <a:lnTo>
                    <a:pt x="471" y="603"/>
                  </a:lnTo>
                  <a:lnTo>
                    <a:pt x="468" y="595"/>
                  </a:lnTo>
                  <a:lnTo>
                    <a:pt x="464" y="591"/>
                  </a:lnTo>
                  <a:lnTo>
                    <a:pt x="464" y="591"/>
                  </a:lnTo>
                  <a:lnTo>
                    <a:pt x="457" y="585"/>
                  </a:lnTo>
                  <a:lnTo>
                    <a:pt x="455" y="585"/>
                  </a:lnTo>
                  <a:lnTo>
                    <a:pt x="454" y="588"/>
                  </a:lnTo>
                  <a:lnTo>
                    <a:pt x="454" y="588"/>
                  </a:lnTo>
                  <a:lnTo>
                    <a:pt x="452" y="591"/>
                  </a:lnTo>
                  <a:lnTo>
                    <a:pt x="449" y="594"/>
                  </a:lnTo>
                  <a:lnTo>
                    <a:pt x="445" y="595"/>
                  </a:lnTo>
                  <a:lnTo>
                    <a:pt x="439" y="595"/>
                  </a:lnTo>
                  <a:lnTo>
                    <a:pt x="439" y="595"/>
                  </a:lnTo>
                  <a:lnTo>
                    <a:pt x="428" y="597"/>
                  </a:lnTo>
                  <a:lnTo>
                    <a:pt x="424" y="597"/>
                  </a:lnTo>
                  <a:lnTo>
                    <a:pt x="424" y="597"/>
                  </a:lnTo>
                  <a:lnTo>
                    <a:pt x="418" y="607"/>
                  </a:lnTo>
                  <a:lnTo>
                    <a:pt x="417" y="612"/>
                  </a:lnTo>
                  <a:lnTo>
                    <a:pt x="417" y="615"/>
                  </a:lnTo>
                  <a:lnTo>
                    <a:pt x="417" y="615"/>
                  </a:lnTo>
                  <a:lnTo>
                    <a:pt x="417" y="644"/>
                  </a:lnTo>
                  <a:lnTo>
                    <a:pt x="417" y="652"/>
                  </a:lnTo>
                  <a:lnTo>
                    <a:pt x="415" y="656"/>
                  </a:lnTo>
                  <a:lnTo>
                    <a:pt x="415" y="656"/>
                  </a:lnTo>
                  <a:lnTo>
                    <a:pt x="408" y="665"/>
                  </a:lnTo>
                  <a:lnTo>
                    <a:pt x="397" y="675"/>
                  </a:lnTo>
                  <a:lnTo>
                    <a:pt x="397" y="675"/>
                  </a:lnTo>
                  <a:lnTo>
                    <a:pt x="391" y="681"/>
                  </a:lnTo>
                  <a:lnTo>
                    <a:pt x="388" y="684"/>
                  </a:lnTo>
                  <a:lnTo>
                    <a:pt x="385" y="684"/>
                  </a:lnTo>
                  <a:lnTo>
                    <a:pt x="385" y="684"/>
                  </a:lnTo>
                  <a:lnTo>
                    <a:pt x="381" y="686"/>
                  </a:lnTo>
                  <a:lnTo>
                    <a:pt x="378" y="687"/>
                  </a:lnTo>
                  <a:lnTo>
                    <a:pt x="378" y="692"/>
                  </a:lnTo>
                  <a:lnTo>
                    <a:pt x="378" y="696"/>
                  </a:lnTo>
                  <a:lnTo>
                    <a:pt x="378" y="696"/>
                  </a:lnTo>
                  <a:lnTo>
                    <a:pt x="378" y="702"/>
                  </a:lnTo>
                  <a:lnTo>
                    <a:pt x="375" y="703"/>
                  </a:lnTo>
                  <a:lnTo>
                    <a:pt x="371" y="705"/>
                  </a:lnTo>
                  <a:lnTo>
                    <a:pt x="363" y="706"/>
                  </a:lnTo>
                  <a:lnTo>
                    <a:pt x="363" y="706"/>
                  </a:lnTo>
                  <a:lnTo>
                    <a:pt x="359" y="708"/>
                  </a:lnTo>
                  <a:lnTo>
                    <a:pt x="356" y="709"/>
                  </a:lnTo>
                  <a:lnTo>
                    <a:pt x="348" y="717"/>
                  </a:lnTo>
                  <a:lnTo>
                    <a:pt x="348" y="717"/>
                  </a:lnTo>
                  <a:lnTo>
                    <a:pt x="345" y="723"/>
                  </a:lnTo>
                  <a:lnTo>
                    <a:pt x="344" y="727"/>
                  </a:lnTo>
                  <a:lnTo>
                    <a:pt x="344" y="732"/>
                  </a:lnTo>
                  <a:lnTo>
                    <a:pt x="344" y="732"/>
                  </a:lnTo>
                  <a:lnTo>
                    <a:pt x="344" y="739"/>
                  </a:lnTo>
                  <a:lnTo>
                    <a:pt x="345" y="746"/>
                  </a:lnTo>
                  <a:lnTo>
                    <a:pt x="345" y="746"/>
                  </a:lnTo>
                  <a:lnTo>
                    <a:pt x="344" y="749"/>
                  </a:lnTo>
                  <a:lnTo>
                    <a:pt x="343" y="751"/>
                  </a:lnTo>
                  <a:lnTo>
                    <a:pt x="343" y="751"/>
                  </a:lnTo>
                  <a:lnTo>
                    <a:pt x="340" y="754"/>
                  </a:lnTo>
                  <a:lnTo>
                    <a:pt x="337" y="757"/>
                  </a:lnTo>
                  <a:lnTo>
                    <a:pt x="335" y="760"/>
                  </a:lnTo>
                  <a:lnTo>
                    <a:pt x="335" y="760"/>
                  </a:lnTo>
                  <a:lnTo>
                    <a:pt x="335" y="764"/>
                  </a:lnTo>
                  <a:lnTo>
                    <a:pt x="337" y="772"/>
                  </a:lnTo>
                  <a:lnTo>
                    <a:pt x="338" y="786"/>
                  </a:lnTo>
                  <a:lnTo>
                    <a:pt x="338" y="786"/>
                  </a:lnTo>
                  <a:lnTo>
                    <a:pt x="337" y="791"/>
                  </a:lnTo>
                  <a:lnTo>
                    <a:pt x="334" y="795"/>
                  </a:lnTo>
                  <a:lnTo>
                    <a:pt x="331" y="798"/>
                  </a:lnTo>
                  <a:lnTo>
                    <a:pt x="328" y="800"/>
                  </a:lnTo>
                  <a:lnTo>
                    <a:pt x="328" y="800"/>
                  </a:lnTo>
                  <a:lnTo>
                    <a:pt x="325" y="797"/>
                  </a:lnTo>
                  <a:lnTo>
                    <a:pt x="319" y="791"/>
                  </a:lnTo>
                  <a:lnTo>
                    <a:pt x="319" y="791"/>
                  </a:lnTo>
                  <a:lnTo>
                    <a:pt x="310" y="780"/>
                  </a:lnTo>
                  <a:lnTo>
                    <a:pt x="304" y="772"/>
                  </a:lnTo>
                  <a:lnTo>
                    <a:pt x="304" y="772"/>
                  </a:lnTo>
                  <a:lnTo>
                    <a:pt x="304" y="770"/>
                  </a:lnTo>
                  <a:lnTo>
                    <a:pt x="305" y="767"/>
                  </a:lnTo>
                  <a:lnTo>
                    <a:pt x="307" y="764"/>
                  </a:lnTo>
                  <a:lnTo>
                    <a:pt x="307" y="764"/>
                  </a:lnTo>
                  <a:lnTo>
                    <a:pt x="305" y="760"/>
                  </a:lnTo>
                  <a:lnTo>
                    <a:pt x="303" y="755"/>
                  </a:lnTo>
                  <a:lnTo>
                    <a:pt x="303" y="755"/>
                  </a:lnTo>
                  <a:lnTo>
                    <a:pt x="298" y="749"/>
                  </a:lnTo>
                  <a:lnTo>
                    <a:pt x="291" y="739"/>
                  </a:lnTo>
                  <a:lnTo>
                    <a:pt x="291" y="739"/>
                  </a:lnTo>
                  <a:lnTo>
                    <a:pt x="289" y="735"/>
                  </a:lnTo>
                  <a:lnTo>
                    <a:pt x="289" y="732"/>
                  </a:lnTo>
                  <a:lnTo>
                    <a:pt x="289" y="732"/>
                  </a:lnTo>
                  <a:lnTo>
                    <a:pt x="286" y="727"/>
                  </a:lnTo>
                  <a:lnTo>
                    <a:pt x="283" y="724"/>
                  </a:lnTo>
                  <a:lnTo>
                    <a:pt x="283" y="724"/>
                  </a:lnTo>
                  <a:lnTo>
                    <a:pt x="279" y="721"/>
                  </a:lnTo>
                  <a:lnTo>
                    <a:pt x="273" y="720"/>
                  </a:lnTo>
                  <a:lnTo>
                    <a:pt x="273" y="720"/>
                  </a:lnTo>
                  <a:lnTo>
                    <a:pt x="267" y="721"/>
                  </a:lnTo>
                  <a:lnTo>
                    <a:pt x="263" y="724"/>
                  </a:lnTo>
                  <a:lnTo>
                    <a:pt x="263" y="724"/>
                  </a:lnTo>
                  <a:lnTo>
                    <a:pt x="252" y="730"/>
                  </a:lnTo>
                  <a:lnTo>
                    <a:pt x="246" y="736"/>
                  </a:lnTo>
                  <a:lnTo>
                    <a:pt x="242" y="743"/>
                  </a:lnTo>
                  <a:lnTo>
                    <a:pt x="234" y="751"/>
                  </a:lnTo>
                  <a:lnTo>
                    <a:pt x="234" y="751"/>
                  </a:lnTo>
                  <a:lnTo>
                    <a:pt x="230" y="755"/>
                  </a:lnTo>
                  <a:lnTo>
                    <a:pt x="224" y="758"/>
                  </a:lnTo>
                  <a:lnTo>
                    <a:pt x="224" y="758"/>
                  </a:lnTo>
                  <a:lnTo>
                    <a:pt x="220" y="758"/>
                  </a:lnTo>
                  <a:lnTo>
                    <a:pt x="214" y="757"/>
                  </a:lnTo>
                  <a:lnTo>
                    <a:pt x="214" y="757"/>
                  </a:lnTo>
                  <a:lnTo>
                    <a:pt x="202" y="754"/>
                  </a:lnTo>
                  <a:lnTo>
                    <a:pt x="202" y="754"/>
                  </a:lnTo>
                  <a:lnTo>
                    <a:pt x="187" y="751"/>
                  </a:lnTo>
                  <a:lnTo>
                    <a:pt x="187" y="751"/>
                  </a:lnTo>
                  <a:lnTo>
                    <a:pt x="169" y="748"/>
                  </a:lnTo>
                  <a:lnTo>
                    <a:pt x="159" y="746"/>
                  </a:lnTo>
                  <a:lnTo>
                    <a:pt x="159" y="746"/>
                  </a:lnTo>
                  <a:lnTo>
                    <a:pt x="149" y="748"/>
                  </a:lnTo>
                  <a:lnTo>
                    <a:pt x="143" y="749"/>
                  </a:lnTo>
                  <a:lnTo>
                    <a:pt x="141" y="751"/>
                  </a:lnTo>
                  <a:lnTo>
                    <a:pt x="141" y="752"/>
                  </a:lnTo>
                  <a:lnTo>
                    <a:pt x="141" y="752"/>
                  </a:lnTo>
                  <a:lnTo>
                    <a:pt x="132" y="775"/>
                  </a:lnTo>
                  <a:lnTo>
                    <a:pt x="125" y="792"/>
                  </a:lnTo>
                  <a:lnTo>
                    <a:pt x="125" y="792"/>
                  </a:lnTo>
                  <a:lnTo>
                    <a:pt x="122" y="804"/>
                  </a:lnTo>
                  <a:lnTo>
                    <a:pt x="117" y="822"/>
                  </a:lnTo>
                  <a:lnTo>
                    <a:pt x="117" y="822"/>
                  </a:lnTo>
                  <a:lnTo>
                    <a:pt x="119" y="825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6" y="843"/>
                  </a:lnTo>
                  <a:lnTo>
                    <a:pt x="126" y="843"/>
                  </a:lnTo>
                  <a:lnTo>
                    <a:pt x="128" y="844"/>
                  </a:lnTo>
                  <a:lnTo>
                    <a:pt x="126" y="846"/>
                  </a:lnTo>
                  <a:lnTo>
                    <a:pt x="125" y="850"/>
                  </a:lnTo>
                  <a:lnTo>
                    <a:pt x="122" y="853"/>
                  </a:lnTo>
                  <a:lnTo>
                    <a:pt x="120" y="856"/>
                  </a:lnTo>
                  <a:lnTo>
                    <a:pt x="120" y="856"/>
                  </a:lnTo>
                  <a:lnTo>
                    <a:pt x="120" y="859"/>
                  </a:lnTo>
                  <a:lnTo>
                    <a:pt x="123" y="860"/>
                  </a:lnTo>
                  <a:lnTo>
                    <a:pt x="129" y="862"/>
                  </a:lnTo>
                  <a:lnTo>
                    <a:pt x="137" y="863"/>
                  </a:lnTo>
                  <a:lnTo>
                    <a:pt x="141" y="865"/>
                  </a:lnTo>
                  <a:lnTo>
                    <a:pt x="141" y="865"/>
                  </a:lnTo>
                  <a:lnTo>
                    <a:pt x="143" y="868"/>
                  </a:lnTo>
                  <a:lnTo>
                    <a:pt x="144" y="872"/>
                  </a:lnTo>
                  <a:lnTo>
                    <a:pt x="146" y="884"/>
                  </a:lnTo>
                  <a:lnTo>
                    <a:pt x="146" y="884"/>
                  </a:lnTo>
                  <a:lnTo>
                    <a:pt x="149" y="896"/>
                  </a:lnTo>
                  <a:lnTo>
                    <a:pt x="149" y="900"/>
                  </a:lnTo>
                  <a:lnTo>
                    <a:pt x="147" y="906"/>
                  </a:lnTo>
                  <a:lnTo>
                    <a:pt x="147" y="906"/>
                  </a:lnTo>
                  <a:lnTo>
                    <a:pt x="144" y="909"/>
                  </a:lnTo>
                  <a:lnTo>
                    <a:pt x="141" y="909"/>
                  </a:lnTo>
                  <a:lnTo>
                    <a:pt x="135" y="908"/>
                  </a:lnTo>
                  <a:lnTo>
                    <a:pt x="135" y="908"/>
                  </a:lnTo>
                  <a:lnTo>
                    <a:pt x="131" y="909"/>
                  </a:lnTo>
                  <a:lnTo>
                    <a:pt x="128" y="911"/>
                  </a:lnTo>
                  <a:lnTo>
                    <a:pt x="128" y="911"/>
                  </a:lnTo>
                  <a:lnTo>
                    <a:pt x="126" y="912"/>
                  </a:lnTo>
                  <a:lnTo>
                    <a:pt x="126" y="914"/>
                  </a:lnTo>
                  <a:lnTo>
                    <a:pt x="132" y="921"/>
                  </a:lnTo>
                  <a:lnTo>
                    <a:pt x="132" y="921"/>
                  </a:lnTo>
                  <a:lnTo>
                    <a:pt x="129" y="924"/>
                  </a:lnTo>
                  <a:lnTo>
                    <a:pt x="129" y="924"/>
                  </a:lnTo>
                  <a:lnTo>
                    <a:pt x="128" y="930"/>
                  </a:lnTo>
                  <a:lnTo>
                    <a:pt x="128" y="936"/>
                  </a:lnTo>
                  <a:lnTo>
                    <a:pt x="128" y="936"/>
                  </a:lnTo>
                  <a:lnTo>
                    <a:pt x="128" y="939"/>
                  </a:lnTo>
                  <a:lnTo>
                    <a:pt x="126" y="940"/>
                  </a:lnTo>
                  <a:lnTo>
                    <a:pt x="119" y="942"/>
                  </a:lnTo>
                  <a:lnTo>
                    <a:pt x="119" y="942"/>
                  </a:lnTo>
                  <a:lnTo>
                    <a:pt x="117" y="942"/>
                  </a:lnTo>
                  <a:lnTo>
                    <a:pt x="113" y="940"/>
                  </a:lnTo>
                  <a:lnTo>
                    <a:pt x="110" y="939"/>
                  </a:lnTo>
                  <a:lnTo>
                    <a:pt x="107" y="937"/>
                  </a:lnTo>
                  <a:lnTo>
                    <a:pt x="107" y="937"/>
                  </a:lnTo>
                  <a:lnTo>
                    <a:pt x="103" y="939"/>
                  </a:lnTo>
                  <a:lnTo>
                    <a:pt x="100" y="942"/>
                  </a:lnTo>
                  <a:lnTo>
                    <a:pt x="94" y="946"/>
                  </a:lnTo>
                  <a:lnTo>
                    <a:pt x="94" y="946"/>
                  </a:lnTo>
                  <a:lnTo>
                    <a:pt x="91" y="951"/>
                  </a:lnTo>
                  <a:lnTo>
                    <a:pt x="86" y="957"/>
                  </a:lnTo>
                  <a:lnTo>
                    <a:pt x="85" y="963"/>
                  </a:lnTo>
                  <a:lnTo>
                    <a:pt x="86" y="966"/>
                  </a:lnTo>
                  <a:lnTo>
                    <a:pt x="86" y="966"/>
                  </a:lnTo>
                  <a:lnTo>
                    <a:pt x="86" y="973"/>
                  </a:lnTo>
                  <a:lnTo>
                    <a:pt x="86" y="973"/>
                  </a:lnTo>
                  <a:lnTo>
                    <a:pt x="86" y="979"/>
                  </a:lnTo>
                  <a:lnTo>
                    <a:pt x="86" y="979"/>
                  </a:lnTo>
                  <a:lnTo>
                    <a:pt x="83" y="988"/>
                  </a:lnTo>
                  <a:lnTo>
                    <a:pt x="80" y="997"/>
                  </a:lnTo>
                  <a:lnTo>
                    <a:pt x="80" y="997"/>
                  </a:lnTo>
                  <a:lnTo>
                    <a:pt x="80" y="1007"/>
                  </a:lnTo>
                  <a:lnTo>
                    <a:pt x="80" y="1022"/>
                  </a:lnTo>
                  <a:lnTo>
                    <a:pt x="80" y="1022"/>
                  </a:lnTo>
                  <a:lnTo>
                    <a:pt x="79" y="1028"/>
                  </a:lnTo>
                  <a:lnTo>
                    <a:pt x="77" y="1031"/>
                  </a:lnTo>
                  <a:lnTo>
                    <a:pt x="77" y="1031"/>
                  </a:lnTo>
                  <a:lnTo>
                    <a:pt x="74" y="1029"/>
                  </a:lnTo>
                  <a:lnTo>
                    <a:pt x="70" y="1028"/>
                  </a:lnTo>
                  <a:lnTo>
                    <a:pt x="70" y="1028"/>
                  </a:lnTo>
                  <a:lnTo>
                    <a:pt x="67" y="1029"/>
                  </a:lnTo>
                  <a:lnTo>
                    <a:pt x="64" y="1034"/>
                  </a:lnTo>
                  <a:lnTo>
                    <a:pt x="64" y="1034"/>
                  </a:lnTo>
                  <a:lnTo>
                    <a:pt x="63" y="1038"/>
                  </a:lnTo>
                  <a:lnTo>
                    <a:pt x="63" y="1047"/>
                  </a:lnTo>
                  <a:lnTo>
                    <a:pt x="64" y="1062"/>
                  </a:lnTo>
                  <a:lnTo>
                    <a:pt x="64" y="1062"/>
                  </a:lnTo>
                  <a:lnTo>
                    <a:pt x="66" y="1071"/>
                  </a:lnTo>
                  <a:lnTo>
                    <a:pt x="64" y="1080"/>
                  </a:lnTo>
                  <a:lnTo>
                    <a:pt x="64" y="1086"/>
                  </a:lnTo>
                  <a:lnTo>
                    <a:pt x="61" y="1091"/>
                  </a:lnTo>
                  <a:lnTo>
                    <a:pt x="57" y="1099"/>
                  </a:lnTo>
                  <a:lnTo>
                    <a:pt x="54" y="1100"/>
                  </a:lnTo>
                  <a:lnTo>
                    <a:pt x="54" y="1100"/>
                  </a:lnTo>
                  <a:lnTo>
                    <a:pt x="45" y="1105"/>
                  </a:lnTo>
                  <a:lnTo>
                    <a:pt x="40" y="1106"/>
                  </a:lnTo>
                  <a:lnTo>
                    <a:pt x="40" y="1106"/>
                  </a:lnTo>
                  <a:lnTo>
                    <a:pt x="33" y="1099"/>
                  </a:lnTo>
                  <a:lnTo>
                    <a:pt x="30" y="1097"/>
                  </a:lnTo>
                  <a:lnTo>
                    <a:pt x="27" y="1096"/>
                  </a:lnTo>
                  <a:lnTo>
                    <a:pt x="27" y="1096"/>
                  </a:lnTo>
                  <a:lnTo>
                    <a:pt x="24" y="1096"/>
                  </a:lnTo>
                  <a:lnTo>
                    <a:pt x="21" y="1099"/>
                  </a:lnTo>
                  <a:lnTo>
                    <a:pt x="18" y="1108"/>
                  </a:lnTo>
                  <a:lnTo>
                    <a:pt x="17" y="1118"/>
                  </a:lnTo>
                  <a:lnTo>
                    <a:pt x="14" y="1129"/>
                  </a:lnTo>
                  <a:lnTo>
                    <a:pt x="14" y="1129"/>
                  </a:lnTo>
                  <a:lnTo>
                    <a:pt x="12" y="1130"/>
                  </a:lnTo>
                  <a:lnTo>
                    <a:pt x="9" y="1129"/>
                  </a:lnTo>
                  <a:lnTo>
                    <a:pt x="9" y="1129"/>
                  </a:lnTo>
                  <a:lnTo>
                    <a:pt x="5" y="1133"/>
                  </a:lnTo>
                  <a:lnTo>
                    <a:pt x="2" y="1136"/>
                  </a:lnTo>
                  <a:lnTo>
                    <a:pt x="0" y="1140"/>
                  </a:lnTo>
                  <a:lnTo>
                    <a:pt x="0" y="1140"/>
                  </a:lnTo>
                  <a:lnTo>
                    <a:pt x="0" y="1143"/>
                  </a:lnTo>
                  <a:lnTo>
                    <a:pt x="2" y="1146"/>
                  </a:lnTo>
                  <a:lnTo>
                    <a:pt x="5" y="1151"/>
                  </a:lnTo>
                  <a:lnTo>
                    <a:pt x="9" y="1155"/>
                  </a:lnTo>
                  <a:lnTo>
                    <a:pt x="12" y="1160"/>
                  </a:lnTo>
                  <a:lnTo>
                    <a:pt x="12" y="1160"/>
                  </a:lnTo>
                  <a:lnTo>
                    <a:pt x="21" y="1171"/>
                  </a:lnTo>
                  <a:lnTo>
                    <a:pt x="33" y="1183"/>
                  </a:lnTo>
                  <a:lnTo>
                    <a:pt x="33" y="1183"/>
                  </a:lnTo>
                  <a:lnTo>
                    <a:pt x="48" y="1204"/>
                  </a:lnTo>
                  <a:lnTo>
                    <a:pt x="48" y="1204"/>
                  </a:lnTo>
                  <a:lnTo>
                    <a:pt x="52" y="1208"/>
                  </a:lnTo>
                  <a:lnTo>
                    <a:pt x="57" y="1210"/>
                  </a:lnTo>
                  <a:lnTo>
                    <a:pt x="61" y="1210"/>
                  </a:lnTo>
                  <a:lnTo>
                    <a:pt x="61" y="1210"/>
                  </a:lnTo>
                  <a:lnTo>
                    <a:pt x="64" y="1207"/>
                  </a:lnTo>
                  <a:lnTo>
                    <a:pt x="69" y="1206"/>
                  </a:lnTo>
                  <a:lnTo>
                    <a:pt x="76" y="1206"/>
                  </a:lnTo>
                  <a:lnTo>
                    <a:pt x="79" y="1206"/>
                  </a:lnTo>
                  <a:lnTo>
                    <a:pt x="83" y="1208"/>
                  </a:lnTo>
                  <a:lnTo>
                    <a:pt x="83" y="1208"/>
                  </a:lnTo>
                  <a:lnTo>
                    <a:pt x="100" y="1217"/>
                  </a:lnTo>
                  <a:lnTo>
                    <a:pt x="106" y="1222"/>
                  </a:lnTo>
                  <a:lnTo>
                    <a:pt x="110" y="1225"/>
                  </a:lnTo>
                  <a:lnTo>
                    <a:pt x="110" y="1225"/>
                  </a:lnTo>
                  <a:lnTo>
                    <a:pt x="110" y="1228"/>
                  </a:lnTo>
                  <a:lnTo>
                    <a:pt x="109" y="1231"/>
                  </a:lnTo>
                  <a:lnTo>
                    <a:pt x="110" y="1235"/>
                  </a:lnTo>
                  <a:lnTo>
                    <a:pt x="113" y="1240"/>
                  </a:lnTo>
                  <a:lnTo>
                    <a:pt x="113" y="1240"/>
                  </a:lnTo>
                  <a:lnTo>
                    <a:pt x="116" y="1243"/>
                  </a:lnTo>
                  <a:lnTo>
                    <a:pt x="120" y="1246"/>
                  </a:lnTo>
                  <a:lnTo>
                    <a:pt x="132" y="1250"/>
                  </a:lnTo>
                  <a:lnTo>
                    <a:pt x="132" y="1250"/>
                  </a:lnTo>
                  <a:lnTo>
                    <a:pt x="144" y="1253"/>
                  </a:lnTo>
                  <a:lnTo>
                    <a:pt x="147" y="1254"/>
                  </a:lnTo>
                  <a:lnTo>
                    <a:pt x="150" y="1257"/>
                  </a:lnTo>
                  <a:lnTo>
                    <a:pt x="150" y="1257"/>
                  </a:lnTo>
                  <a:lnTo>
                    <a:pt x="154" y="1262"/>
                  </a:lnTo>
                  <a:lnTo>
                    <a:pt x="159" y="1265"/>
                  </a:lnTo>
                  <a:lnTo>
                    <a:pt x="169" y="1272"/>
                  </a:lnTo>
                  <a:lnTo>
                    <a:pt x="169" y="1272"/>
                  </a:lnTo>
                  <a:lnTo>
                    <a:pt x="175" y="1280"/>
                  </a:lnTo>
                  <a:lnTo>
                    <a:pt x="180" y="1281"/>
                  </a:lnTo>
                  <a:lnTo>
                    <a:pt x="184" y="1280"/>
                  </a:lnTo>
                  <a:lnTo>
                    <a:pt x="184" y="1280"/>
                  </a:lnTo>
                  <a:lnTo>
                    <a:pt x="193" y="1275"/>
                  </a:lnTo>
                  <a:lnTo>
                    <a:pt x="199" y="1274"/>
                  </a:lnTo>
                  <a:lnTo>
                    <a:pt x="205" y="1275"/>
                  </a:lnTo>
                  <a:lnTo>
                    <a:pt x="205" y="1275"/>
                  </a:lnTo>
                  <a:lnTo>
                    <a:pt x="211" y="1280"/>
                  </a:lnTo>
                  <a:lnTo>
                    <a:pt x="220" y="1288"/>
                  </a:lnTo>
                  <a:lnTo>
                    <a:pt x="233" y="1299"/>
                  </a:lnTo>
                  <a:lnTo>
                    <a:pt x="233" y="1299"/>
                  </a:lnTo>
                  <a:lnTo>
                    <a:pt x="234" y="1299"/>
                  </a:lnTo>
                  <a:lnTo>
                    <a:pt x="234" y="1299"/>
                  </a:lnTo>
                  <a:lnTo>
                    <a:pt x="248" y="1287"/>
                  </a:lnTo>
                  <a:lnTo>
                    <a:pt x="261" y="1278"/>
                  </a:lnTo>
                  <a:lnTo>
                    <a:pt x="270" y="1271"/>
                  </a:lnTo>
                  <a:lnTo>
                    <a:pt x="276" y="1263"/>
                  </a:lnTo>
                  <a:lnTo>
                    <a:pt x="276" y="1263"/>
                  </a:lnTo>
                  <a:lnTo>
                    <a:pt x="280" y="1257"/>
                  </a:lnTo>
                  <a:lnTo>
                    <a:pt x="286" y="1254"/>
                  </a:lnTo>
                  <a:lnTo>
                    <a:pt x="286" y="1254"/>
                  </a:lnTo>
                  <a:lnTo>
                    <a:pt x="289" y="1250"/>
                  </a:lnTo>
                  <a:lnTo>
                    <a:pt x="294" y="1246"/>
                  </a:lnTo>
                  <a:lnTo>
                    <a:pt x="298" y="1243"/>
                  </a:lnTo>
                  <a:lnTo>
                    <a:pt x="300" y="1241"/>
                  </a:lnTo>
                  <a:lnTo>
                    <a:pt x="303" y="1243"/>
                  </a:lnTo>
                  <a:lnTo>
                    <a:pt x="303" y="1243"/>
                  </a:lnTo>
                  <a:lnTo>
                    <a:pt x="314" y="1250"/>
                  </a:lnTo>
                  <a:lnTo>
                    <a:pt x="320" y="1256"/>
                  </a:lnTo>
                  <a:lnTo>
                    <a:pt x="322" y="1259"/>
                  </a:lnTo>
                  <a:lnTo>
                    <a:pt x="322" y="1262"/>
                  </a:lnTo>
                  <a:lnTo>
                    <a:pt x="322" y="1262"/>
                  </a:lnTo>
                  <a:lnTo>
                    <a:pt x="320" y="1263"/>
                  </a:lnTo>
                  <a:lnTo>
                    <a:pt x="319" y="1266"/>
                  </a:lnTo>
                  <a:lnTo>
                    <a:pt x="313" y="1269"/>
                  </a:lnTo>
                  <a:lnTo>
                    <a:pt x="308" y="1272"/>
                  </a:lnTo>
                  <a:lnTo>
                    <a:pt x="307" y="1275"/>
                  </a:lnTo>
                  <a:lnTo>
                    <a:pt x="308" y="1277"/>
                  </a:lnTo>
                  <a:lnTo>
                    <a:pt x="308" y="1277"/>
                  </a:lnTo>
                  <a:lnTo>
                    <a:pt x="317" y="1284"/>
                  </a:lnTo>
                  <a:lnTo>
                    <a:pt x="322" y="1288"/>
                  </a:lnTo>
                  <a:lnTo>
                    <a:pt x="326" y="1296"/>
                  </a:lnTo>
                  <a:lnTo>
                    <a:pt x="326" y="1296"/>
                  </a:lnTo>
                  <a:lnTo>
                    <a:pt x="329" y="1300"/>
                  </a:lnTo>
                  <a:lnTo>
                    <a:pt x="334" y="1305"/>
                  </a:lnTo>
                  <a:lnTo>
                    <a:pt x="345" y="1315"/>
                  </a:lnTo>
                  <a:lnTo>
                    <a:pt x="368" y="1333"/>
                  </a:lnTo>
                  <a:lnTo>
                    <a:pt x="368" y="1333"/>
                  </a:lnTo>
                  <a:lnTo>
                    <a:pt x="399" y="1354"/>
                  </a:lnTo>
                  <a:lnTo>
                    <a:pt x="399" y="1354"/>
                  </a:lnTo>
                  <a:lnTo>
                    <a:pt x="406" y="1358"/>
                  </a:lnTo>
                  <a:lnTo>
                    <a:pt x="409" y="1360"/>
                  </a:lnTo>
                  <a:lnTo>
                    <a:pt x="411" y="1364"/>
                  </a:lnTo>
                  <a:lnTo>
                    <a:pt x="411" y="1364"/>
                  </a:lnTo>
                  <a:lnTo>
                    <a:pt x="412" y="1371"/>
                  </a:lnTo>
                  <a:lnTo>
                    <a:pt x="414" y="1373"/>
                  </a:lnTo>
                  <a:lnTo>
                    <a:pt x="417" y="1373"/>
                  </a:lnTo>
                  <a:lnTo>
                    <a:pt x="417" y="1373"/>
                  </a:lnTo>
                  <a:lnTo>
                    <a:pt x="420" y="1371"/>
                  </a:lnTo>
                  <a:lnTo>
                    <a:pt x="420" y="1368"/>
                  </a:lnTo>
                  <a:lnTo>
                    <a:pt x="422" y="1367"/>
                  </a:lnTo>
                  <a:lnTo>
                    <a:pt x="430" y="1368"/>
                  </a:lnTo>
                  <a:lnTo>
                    <a:pt x="430" y="1368"/>
                  </a:lnTo>
                  <a:lnTo>
                    <a:pt x="446" y="1370"/>
                  </a:lnTo>
                  <a:lnTo>
                    <a:pt x="452" y="1371"/>
                  </a:lnTo>
                  <a:lnTo>
                    <a:pt x="457" y="1376"/>
                  </a:lnTo>
                  <a:lnTo>
                    <a:pt x="457" y="1376"/>
                  </a:lnTo>
                  <a:lnTo>
                    <a:pt x="461" y="1385"/>
                  </a:lnTo>
                  <a:lnTo>
                    <a:pt x="462" y="1388"/>
                  </a:lnTo>
                  <a:lnTo>
                    <a:pt x="465" y="1391"/>
                  </a:lnTo>
                  <a:lnTo>
                    <a:pt x="465" y="1391"/>
                  </a:lnTo>
                  <a:lnTo>
                    <a:pt x="470" y="1397"/>
                  </a:lnTo>
                  <a:lnTo>
                    <a:pt x="476" y="1403"/>
                  </a:lnTo>
                  <a:lnTo>
                    <a:pt x="476" y="1403"/>
                  </a:lnTo>
                  <a:lnTo>
                    <a:pt x="480" y="1407"/>
                  </a:lnTo>
                  <a:lnTo>
                    <a:pt x="485" y="1410"/>
                  </a:lnTo>
                  <a:lnTo>
                    <a:pt x="495" y="1413"/>
                  </a:lnTo>
                  <a:lnTo>
                    <a:pt x="495" y="1413"/>
                  </a:lnTo>
                  <a:lnTo>
                    <a:pt x="501" y="1414"/>
                  </a:lnTo>
                  <a:lnTo>
                    <a:pt x="505" y="1414"/>
                  </a:lnTo>
                  <a:lnTo>
                    <a:pt x="507" y="1416"/>
                  </a:lnTo>
                  <a:lnTo>
                    <a:pt x="507" y="1420"/>
                  </a:lnTo>
                  <a:lnTo>
                    <a:pt x="507" y="1420"/>
                  </a:lnTo>
                  <a:lnTo>
                    <a:pt x="504" y="1434"/>
                  </a:lnTo>
                  <a:lnTo>
                    <a:pt x="504" y="1440"/>
                  </a:lnTo>
                  <a:lnTo>
                    <a:pt x="507" y="1444"/>
                  </a:lnTo>
                  <a:lnTo>
                    <a:pt x="507" y="1444"/>
                  </a:lnTo>
                  <a:lnTo>
                    <a:pt x="508" y="1448"/>
                  </a:lnTo>
                  <a:lnTo>
                    <a:pt x="510" y="1453"/>
                  </a:lnTo>
                  <a:lnTo>
                    <a:pt x="513" y="1456"/>
                  </a:lnTo>
                  <a:lnTo>
                    <a:pt x="519" y="1456"/>
                  </a:lnTo>
                  <a:lnTo>
                    <a:pt x="519" y="1456"/>
                  </a:lnTo>
                  <a:lnTo>
                    <a:pt x="526" y="1457"/>
                  </a:lnTo>
                  <a:lnTo>
                    <a:pt x="534" y="1459"/>
                  </a:lnTo>
                  <a:lnTo>
                    <a:pt x="538" y="1463"/>
                  </a:lnTo>
                  <a:lnTo>
                    <a:pt x="541" y="1469"/>
                  </a:lnTo>
                  <a:lnTo>
                    <a:pt x="541" y="1469"/>
                  </a:lnTo>
                  <a:lnTo>
                    <a:pt x="542" y="1477"/>
                  </a:lnTo>
                  <a:lnTo>
                    <a:pt x="544" y="1481"/>
                  </a:lnTo>
                  <a:lnTo>
                    <a:pt x="545" y="1484"/>
                  </a:lnTo>
                  <a:lnTo>
                    <a:pt x="547" y="1484"/>
                  </a:lnTo>
                  <a:lnTo>
                    <a:pt x="548" y="1484"/>
                  </a:lnTo>
                  <a:lnTo>
                    <a:pt x="551" y="1484"/>
                  </a:lnTo>
                  <a:lnTo>
                    <a:pt x="551" y="1484"/>
                  </a:lnTo>
                  <a:lnTo>
                    <a:pt x="566" y="1477"/>
                  </a:lnTo>
                  <a:lnTo>
                    <a:pt x="574" y="1474"/>
                  </a:lnTo>
                  <a:lnTo>
                    <a:pt x="582" y="1472"/>
                  </a:lnTo>
                  <a:lnTo>
                    <a:pt x="582" y="1472"/>
                  </a:lnTo>
                  <a:lnTo>
                    <a:pt x="602" y="1472"/>
                  </a:lnTo>
                  <a:lnTo>
                    <a:pt x="611" y="1471"/>
                  </a:lnTo>
                  <a:lnTo>
                    <a:pt x="613" y="1469"/>
                  </a:lnTo>
                  <a:lnTo>
                    <a:pt x="615" y="1466"/>
                  </a:lnTo>
                  <a:lnTo>
                    <a:pt x="615" y="1466"/>
                  </a:lnTo>
                  <a:lnTo>
                    <a:pt x="624" y="1451"/>
                  </a:lnTo>
                  <a:lnTo>
                    <a:pt x="702" y="1339"/>
                  </a:lnTo>
                  <a:lnTo>
                    <a:pt x="775" y="1274"/>
                  </a:lnTo>
                  <a:lnTo>
                    <a:pt x="839" y="1167"/>
                  </a:lnTo>
                  <a:lnTo>
                    <a:pt x="846" y="1083"/>
                  </a:lnTo>
                  <a:lnTo>
                    <a:pt x="846" y="1083"/>
                  </a:lnTo>
                  <a:lnTo>
                    <a:pt x="844" y="1081"/>
                  </a:lnTo>
                  <a:lnTo>
                    <a:pt x="844" y="1081"/>
                  </a:lnTo>
                  <a:lnTo>
                    <a:pt x="837" y="1080"/>
                  </a:lnTo>
                  <a:lnTo>
                    <a:pt x="831" y="1077"/>
                  </a:lnTo>
                  <a:lnTo>
                    <a:pt x="831" y="1077"/>
                  </a:lnTo>
                  <a:lnTo>
                    <a:pt x="831" y="1074"/>
                  </a:lnTo>
                  <a:lnTo>
                    <a:pt x="833" y="1068"/>
                  </a:lnTo>
                  <a:lnTo>
                    <a:pt x="833" y="1059"/>
                  </a:lnTo>
                  <a:lnTo>
                    <a:pt x="834" y="1047"/>
                  </a:lnTo>
                  <a:lnTo>
                    <a:pt x="834" y="1047"/>
                  </a:lnTo>
                  <a:lnTo>
                    <a:pt x="833" y="1031"/>
                  </a:lnTo>
                  <a:lnTo>
                    <a:pt x="834" y="1023"/>
                  </a:lnTo>
                  <a:lnTo>
                    <a:pt x="837" y="1014"/>
                  </a:lnTo>
                  <a:lnTo>
                    <a:pt x="837" y="1014"/>
                  </a:lnTo>
                  <a:lnTo>
                    <a:pt x="839" y="1009"/>
                  </a:lnTo>
                  <a:lnTo>
                    <a:pt x="837" y="1006"/>
                  </a:lnTo>
                  <a:lnTo>
                    <a:pt x="836" y="1003"/>
                  </a:lnTo>
                  <a:lnTo>
                    <a:pt x="833" y="1001"/>
                  </a:lnTo>
                  <a:lnTo>
                    <a:pt x="833" y="1001"/>
                  </a:lnTo>
                  <a:lnTo>
                    <a:pt x="831" y="995"/>
                  </a:lnTo>
                  <a:lnTo>
                    <a:pt x="831" y="989"/>
                  </a:lnTo>
                  <a:lnTo>
                    <a:pt x="830" y="982"/>
                  </a:lnTo>
                  <a:lnTo>
                    <a:pt x="824" y="974"/>
                  </a:lnTo>
                  <a:lnTo>
                    <a:pt x="824" y="974"/>
                  </a:lnTo>
                  <a:lnTo>
                    <a:pt x="822" y="970"/>
                  </a:lnTo>
                  <a:lnTo>
                    <a:pt x="821" y="966"/>
                  </a:lnTo>
                  <a:lnTo>
                    <a:pt x="821" y="961"/>
                  </a:lnTo>
                  <a:lnTo>
                    <a:pt x="822" y="955"/>
                  </a:lnTo>
                  <a:lnTo>
                    <a:pt x="827" y="945"/>
                  </a:lnTo>
                  <a:lnTo>
                    <a:pt x="828" y="935"/>
                  </a:lnTo>
                  <a:lnTo>
                    <a:pt x="828" y="935"/>
                  </a:lnTo>
                  <a:lnTo>
                    <a:pt x="830" y="930"/>
                  </a:lnTo>
                  <a:lnTo>
                    <a:pt x="830" y="927"/>
                  </a:lnTo>
                  <a:lnTo>
                    <a:pt x="831" y="926"/>
                  </a:lnTo>
                  <a:lnTo>
                    <a:pt x="834" y="926"/>
                  </a:lnTo>
                  <a:lnTo>
                    <a:pt x="840" y="926"/>
                  </a:lnTo>
                  <a:lnTo>
                    <a:pt x="849" y="926"/>
                  </a:lnTo>
                  <a:lnTo>
                    <a:pt x="849" y="926"/>
                  </a:lnTo>
                  <a:lnTo>
                    <a:pt x="855" y="924"/>
                  </a:lnTo>
                  <a:lnTo>
                    <a:pt x="855" y="923"/>
                  </a:lnTo>
                  <a:lnTo>
                    <a:pt x="853" y="921"/>
                  </a:lnTo>
                  <a:lnTo>
                    <a:pt x="840" y="917"/>
                  </a:lnTo>
                  <a:lnTo>
                    <a:pt x="840" y="917"/>
                  </a:lnTo>
                  <a:lnTo>
                    <a:pt x="833" y="914"/>
                  </a:lnTo>
                  <a:lnTo>
                    <a:pt x="825" y="905"/>
                  </a:lnTo>
                  <a:lnTo>
                    <a:pt x="825" y="905"/>
                  </a:lnTo>
                  <a:lnTo>
                    <a:pt x="819" y="899"/>
                  </a:lnTo>
                  <a:lnTo>
                    <a:pt x="816" y="896"/>
                  </a:lnTo>
                  <a:lnTo>
                    <a:pt x="810" y="897"/>
                  </a:lnTo>
                  <a:lnTo>
                    <a:pt x="810" y="897"/>
                  </a:lnTo>
                  <a:lnTo>
                    <a:pt x="806" y="895"/>
                  </a:lnTo>
                  <a:lnTo>
                    <a:pt x="803" y="892"/>
                  </a:lnTo>
                  <a:lnTo>
                    <a:pt x="803" y="886"/>
                  </a:lnTo>
                  <a:lnTo>
                    <a:pt x="803" y="878"/>
                  </a:lnTo>
                  <a:lnTo>
                    <a:pt x="803" y="878"/>
                  </a:lnTo>
                  <a:lnTo>
                    <a:pt x="806" y="866"/>
                  </a:lnTo>
                  <a:lnTo>
                    <a:pt x="807" y="863"/>
                  </a:lnTo>
                  <a:lnTo>
                    <a:pt x="810" y="862"/>
                  </a:lnTo>
                  <a:lnTo>
                    <a:pt x="810" y="862"/>
                  </a:lnTo>
                  <a:lnTo>
                    <a:pt x="816" y="857"/>
                  </a:lnTo>
                  <a:lnTo>
                    <a:pt x="828" y="849"/>
                  </a:lnTo>
                  <a:lnTo>
                    <a:pt x="840" y="838"/>
                  </a:lnTo>
                  <a:lnTo>
                    <a:pt x="849" y="832"/>
                  </a:lnTo>
                  <a:lnTo>
                    <a:pt x="849" y="832"/>
                  </a:lnTo>
                  <a:lnTo>
                    <a:pt x="858" y="829"/>
                  </a:lnTo>
                  <a:lnTo>
                    <a:pt x="868" y="829"/>
                  </a:lnTo>
                  <a:lnTo>
                    <a:pt x="879" y="831"/>
                  </a:lnTo>
                  <a:lnTo>
                    <a:pt x="879" y="831"/>
                  </a:lnTo>
                  <a:lnTo>
                    <a:pt x="876" y="819"/>
                  </a:lnTo>
                  <a:lnTo>
                    <a:pt x="874" y="809"/>
                  </a:lnTo>
                  <a:lnTo>
                    <a:pt x="874" y="801"/>
                  </a:lnTo>
                  <a:lnTo>
                    <a:pt x="874" y="801"/>
                  </a:lnTo>
                  <a:lnTo>
                    <a:pt x="876" y="800"/>
                  </a:lnTo>
                  <a:lnTo>
                    <a:pt x="879" y="798"/>
                  </a:lnTo>
                  <a:lnTo>
                    <a:pt x="887" y="798"/>
                  </a:lnTo>
                  <a:lnTo>
                    <a:pt x="898" y="801"/>
                  </a:lnTo>
                  <a:lnTo>
                    <a:pt x="905" y="806"/>
                  </a:lnTo>
                  <a:lnTo>
                    <a:pt x="905" y="806"/>
                  </a:lnTo>
                  <a:lnTo>
                    <a:pt x="911" y="809"/>
                  </a:lnTo>
                  <a:lnTo>
                    <a:pt x="914" y="809"/>
                  </a:lnTo>
                  <a:lnTo>
                    <a:pt x="920" y="807"/>
                  </a:lnTo>
                  <a:lnTo>
                    <a:pt x="929" y="807"/>
                  </a:lnTo>
                  <a:lnTo>
                    <a:pt x="929" y="807"/>
                  </a:lnTo>
                  <a:lnTo>
                    <a:pt x="939" y="807"/>
                  </a:lnTo>
                  <a:lnTo>
                    <a:pt x="947" y="807"/>
                  </a:lnTo>
                  <a:lnTo>
                    <a:pt x="953" y="804"/>
                  </a:lnTo>
                  <a:lnTo>
                    <a:pt x="959" y="798"/>
                  </a:lnTo>
                  <a:lnTo>
                    <a:pt x="959" y="798"/>
                  </a:lnTo>
                  <a:lnTo>
                    <a:pt x="964" y="791"/>
                  </a:lnTo>
                  <a:lnTo>
                    <a:pt x="967" y="783"/>
                  </a:lnTo>
                  <a:lnTo>
                    <a:pt x="972" y="778"/>
                  </a:lnTo>
                  <a:lnTo>
                    <a:pt x="975" y="773"/>
                  </a:lnTo>
                  <a:lnTo>
                    <a:pt x="975" y="773"/>
                  </a:lnTo>
                  <a:lnTo>
                    <a:pt x="976" y="770"/>
                  </a:lnTo>
                  <a:lnTo>
                    <a:pt x="978" y="770"/>
                  </a:lnTo>
                  <a:lnTo>
                    <a:pt x="981" y="773"/>
                  </a:lnTo>
                  <a:lnTo>
                    <a:pt x="981" y="778"/>
                  </a:lnTo>
                  <a:lnTo>
                    <a:pt x="981" y="782"/>
                  </a:lnTo>
                  <a:lnTo>
                    <a:pt x="981" y="782"/>
                  </a:lnTo>
                  <a:lnTo>
                    <a:pt x="982" y="786"/>
                  </a:lnTo>
                  <a:lnTo>
                    <a:pt x="984" y="788"/>
                  </a:lnTo>
                  <a:lnTo>
                    <a:pt x="993" y="791"/>
                  </a:lnTo>
                  <a:lnTo>
                    <a:pt x="993" y="791"/>
                  </a:lnTo>
                  <a:lnTo>
                    <a:pt x="996" y="792"/>
                  </a:lnTo>
                  <a:lnTo>
                    <a:pt x="997" y="791"/>
                  </a:lnTo>
                  <a:lnTo>
                    <a:pt x="1000" y="789"/>
                  </a:lnTo>
                  <a:lnTo>
                    <a:pt x="1004" y="786"/>
                  </a:lnTo>
                  <a:lnTo>
                    <a:pt x="1007" y="786"/>
                  </a:lnTo>
                  <a:lnTo>
                    <a:pt x="1007" y="786"/>
                  </a:lnTo>
                  <a:lnTo>
                    <a:pt x="1016" y="788"/>
                  </a:lnTo>
                  <a:lnTo>
                    <a:pt x="1022" y="789"/>
                  </a:lnTo>
                  <a:lnTo>
                    <a:pt x="1030" y="789"/>
                  </a:lnTo>
                  <a:lnTo>
                    <a:pt x="1030" y="789"/>
                  </a:lnTo>
                  <a:lnTo>
                    <a:pt x="1034" y="788"/>
                  </a:lnTo>
                  <a:lnTo>
                    <a:pt x="1037" y="786"/>
                  </a:lnTo>
                  <a:lnTo>
                    <a:pt x="1040" y="783"/>
                  </a:lnTo>
                  <a:lnTo>
                    <a:pt x="1040" y="779"/>
                  </a:lnTo>
                  <a:lnTo>
                    <a:pt x="1041" y="778"/>
                  </a:lnTo>
                  <a:lnTo>
                    <a:pt x="1043" y="776"/>
                  </a:lnTo>
                  <a:lnTo>
                    <a:pt x="1043" y="776"/>
                  </a:lnTo>
                  <a:lnTo>
                    <a:pt x="1044" y="776"/>
                  </a:lnTo>
                  <a:lnTo>
                    <a:pt x="1046" y="778"/>
                  </a:lnTo>
                  <a:lnTo>
                    <a:pt x="1049" y="782"/>
                  </a:lnTo>
                  <a:lnTo>
                    <a:pt x="1050" y="788"/>
                  </a:lnTo>
                  <a:lnTo>
                    <a:pt x="1053" y="795"/>
                  </a:lnTo>
                  <a:lnTo>
                    <a:pt x="1053" y="795"/>
                  </a:lnTo>
                  <a:lnTo>
                    <a:pt x="1056" y="798"/>
                  </a:lnTo>
                  <a:lnTo>
                    <a:pt x="1059" y="800"/>
                  </a:lnTo>
                  <a:lnTo>
                    <a:pt x="1064" y="801"/>
                  </a:lnTo>
                  <a:lnTo>
                    <a:pt x="1070" y="801"/>
                  </a:lnTo>
                  <a:lnTo>
                    <a:pt x="1080" y="798"/>
                  </a:lnTo>
                  <a:lnTo>
                    <a:pt x="1086" y="797"/>
                  </a:lnTo>
                  <a:lnTo>
                    <a:pt x="1086" y="797"/>
                  </a:lnTo>
                  <a:lnTo>
                    <a:pt x="1090" y="795"/>
                  </a:lnTo>
                  <a:lnTo>
                    <a:pt x="1096" y="794"/>
                  </a:lnTo>
                  <a:lnTo>
                    <a:pt x="1104" y="794"/>
                  </a:lnTo>
                  <a:lnTo>
                    <a:pt x="1111" y="794"/>
                  </a:lnTo>
                  <a:lnTo>
                    <a:pt x="1111" y="794"/>
                  </a:lnTo>
                  <a:lnTo>
                    <a:pt x="1117" y="795"/>
                  </a:lnTo>
                  <a:lnTo>
                    <a:pt x="1118" y="798"/>
                  </a:lnTo>
                  <a:lnTo>
                    <a:pt x="1121" y="801"/>
                  </a:lnTo>
                  <a:lnTo>
                    <a:pt x="1124" y="804"/>
                  </a:lnTo>
                  <a:lnTo>
                    <a:pt x="1124" y="804"/>
                  </a:lnTo>
                  <a:lnTo>
                    <a:pt x="1127" y="804"/>
                  </a:lnTo>
                  <a:lnTo>
                    <a:pt x="1129" y="804"/>
                  </a:lnTo>
                  <a:lnTo>
                    <a:pt x="1135" y="798"/>
                  </a:lnTo>
                  <a:lnTo>
                    <a:pt x="1142" y="785"/>
                  </a:lnTo>
                  <a:lnTo>
                    <a:pt x="1142" y="785"/>
                  </a:lnTo>
                  <a:lnTo>
                    <a:pt x="1147" y="782"/>
                  </a:lnTo>
                  <a:lnTo>
                    <a:pt x="1154" y="779"/>
                  </a:lnTo>
                  <a:lnTo>
                    <a:pt x="1172" y="776"/>
                  </a:lnTo>
                  <a:lnTo>
                    <a:pt x="1172" y="776"/>
                  </a:lnTo>
                  <a:lnTo>
                    <a:pt x="1173" y="776"/>
                  </a:lnTo>
                  <a:lnTo>
                    <a:pt x="1175" y="775"/>
                  </a:lnTo>
                  <a:lnTo>
                    <a:pt x="1176" y="770"/>
                  </a:lnTo>
                  <a:lnTo>
                    <a:pt x="1176" y="763"/>
                  </a:lnTo>
                  <a:lnTo>
                    <a:pt x="1176" y="754"/>
                  </a:lnTo>
                  <a:lnTo>
                    <a:pt x="1173" y="729"/>
                  </a:lnTo>
                  <a:lnTo>
                    <a:pt x="1173" y="729"/>
                  </a:lnTo>
                  <a:lnTo>
                    <a:pt x="1173" y="726"/>
                  </a:lnTo>
                  <a:lnTo>
                    <a:pt x="1176" y="724"/>
                  </a:lnTo>
                  <a:lnTo>
                    <a:pt x="1184" y="721"/>
                  </a:lnTo>
                  <a:lnTo>
                    <a:pt x="1203" y="720"/>
                  </a:lnTo>
                  <a:lnTo>
                    <a:pt x="1203" y="720"/>
                  </a:lnTo>
                  <a:lnTo>
                    <a:pt x="1210" y="717"/>
                  </a:lnTo>
                  <a:lnTo>
                    <a:pt x="1218" y="711"/>
                  </a:lnTo>
                  <a:lnTo>
                    <a:pt x="1234" y="698"/>
                  </a:lnTo>
                  <a:lnTo>
                    <a:pt x="1234" y="698"/>
                  </a:lnTo>
                  <a:lnTo>
                    <a:pt x="1238" y="696"/>
                  </a:lnTo>
                  <a:lnTo>
                    <a:pt x="1241" y="696"/>
                  </a:lnTo>
                  <a:lnTo>
                    <a:pt x="1243" y="696"/>
                  </a:lnTo>
                  <a:lnTo>
                    <a:pt x="1244" y="698"/>
                  </a:lnTo>
                  <a:lnTo>
                    <a:pt x="1246" y="702"/>
                  </a:lnTo>
                  <a:lnTo>
                    <a:pt x="1243" y="706"/>
                  </a:lnTo>
                  <a:lnTo>
                    <a:pt x="1243" y="706"/>
                  </a:lnTo>
                  <a:lnTo>
                    <a:pt x="1232" y="724"/>
                  </a:lnTo>
                  <a:lnTo>
                    <a:pt x="1229" y="730"/>
                  </a:lnTo>
                  <a:lnTo>
                    <a:pt x="1229" y="730"/>
                  </a:lnTo>
                  <a:lnTo>
                    <a:pt x="1255" y="733"/>
                  </a:lnTo>
                  <a:lnTo>
                    <a:pt x="1255" y="733"/>
                  </a:lnTo>
                  <a:lnTo>
                    <a:pt x="1272" y="735"/>
                  </a:lnTo>
                  <a:lnTo>
                    <a:pt x="1289" y="733"/>
                  </a:lnTo>
                  <a:lnTo>
                    <a:pt x="1289" y="733"/>
                  </a:lnTo>
                  <a:lnTo>
                    <a:pt x="1295" y="732"/>
                  </a:lnTo>
                  <a:lnTo>
                    <a:pt x="1302" y="727"/>
                  </a:lnTo>
                  <a:lnTo>
                    <a:pt x="1306" y="723"/>
                  </a:lnTo>
                  <a:lnTo>
                    <a:pt x="1311" y="718"/>
                  </a:lnTo>
                  <a:lnTo>
                    <a:pt x="1311" y="718"/>
                  </a:lnTo>
                  <a:lnTo>
                    <a:pt x="1312" y="714"/>
                  </a:lnTo>
                  <a:lnTo>
                    <a:pt x="1315" y="712"/>
                  </a:lnTo>
                  <a:lnTo>
                    <a:pt x="1318" y="712"/>
                  </a:lnTo>
                  <a:lnTo>
                    <a:pt x="1323" y="714"/>
                  </a:lnTo>
                  <a:lnTo>
                    <a:pt x="1323" y="714"/>
                  </a:lnTo>
                  <a:lnTo>
                    <a:pt x="1329" y="714"/>
                  </a:lnTo>
                  <a:lnTo>
                    <a:pt x="1332" y="714"/>
                  </a:lnTo>
                  <a:lnTo>
                    <a:pt x="1336" y="711"/>
                  </a:lnTo>
                  <a:lnTo>
                    <a:pt x="1338" y="708"/>
                  </a:lnTo>
                  <a:lnTo>
                    <a:pt x="1338" y="708"/>
                  </a:lnTo>
                  <a:lnTo>
                    <a:pt x="1339" y="702"/>
                  </a:lnTo>
                  <a:lnTo>
                    <a:pt x="1338" y="695"/>
                  </a:lnTo>
                  <a:lnTo>
                    <a:pt x="1333" y="681"/>
                  </a:lnTo>
                  <a:lnTo>
                    <a:pt x="1333" y="681"/>
                  </a:lnTo>
                  <a:lnTo>
                    <a:pt x="1330" y="675"/>
                  </a:lnTo>
                  <a:lnTo>
                    <a:pt x="1330" y="672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3" y="662"/>
                  </a:lnTo>
                  <a:lnTo>
                    <a:pt x="1333" y="659"/>
                  </a:lnTo>
                  <a:lnTo>
                    <a:pt x="1333" y="656"/>
                  </a:lnTo>
                  <a:lnTo>
                    <a:pt x="1333" y="656"/>
                  </a:lnTo>
                  <a:lnTo>
                    <a:pt x="1330" y="655"/>
                  </a:lnTo>
                  <a:lnTo>
                    <a:pt x="1327" y="655"/>
                  </a:lnTo>
                  <a:lnTo>
                    <a:pt x="1324" y="658"/>
                  </a:lnTo>
                  <a:lnTo>
                    <a:pt x="1321" y="659"/>
                  </a:lnTo>
                  <a:lnTo>
                    <a:pt x="1321" y="659"/>
                  </a:lnTo>
                  <a:lnTo>
                    <a:pt x="1320" y="662"/>
                  </a:lnTo>
                  <a:lnTo>
                    <a:pt x="1318" y="663"/>
                  </a:lnTo>
                  <a:lnTo>
                    <a:pt x="1315" y="663"/>
                  </a:lnTo>
                  <a:lnTo>
                    <a:pt x="1314" y="662"/>
                  </a:lnTo>
                  <a:lnTo>
                    <a:pt x="1314" y="662"/>
                  </a:lnTo>
                  <a:lnTo>
                    <a:pt x="1311" y="659"/>
                  </a:lnTo>
                  <a:lnTo>
                    <a:pt x="1309" y="656"/>
                  </a:lnTo>
                  <a:lnTo>
                    <a:pt x="1308" y="653"/>
                  </a:lnTo>
                  <a:lnTo>
                    <a:pt x="1306" y="650"/>
                  </a:lnTo>
                  <a:lnTo>
                    <a:pt x="1306" y="650"/>
                  </a:lnTo>
                  <a:lnTo>
                    <a:pt x="1304" y="647"/>
                  </a:lnTo>
                  <a:lnTo>
                    <a:pt x="1304" y="644"/>
                  </a:lnTo>
                  <a:lnTo>
                    <a:pt x="1302" y="640"/>
                  </a:lnTo>
                  <a:lnTo>
                    <a:pt x="1301" y="635"/>
                  </a:lnTo>
                  <a:lnTo>
                    <a:pt x="1301" y="635"/>
                  </a:lnTo>
                  <a:lnTo>
                    <a:pt x="1298" y="634"/>
                  </a:lnTo>
                  <a:lnTo>
                    <a:pt x="1295" y="634"/>
                  </a:lnTo>
                  <a:lnTo>
                    <a:pt x="1292" y="634"/>
                  </a:lnTo>
                  <a:lnTo>
                    <a:pt x="1289" y="632"/>
                  </a:lnTo>
                  <a:lnTo>
                    <a:pt x="1289" y="632"/>
                  </a:lnTo>
                  <a:lnTo>
                    <a:pt x="1286" y="628"/>
                  </a:lnTo>
                  <a:lnTo>
                    <a:pt x="1286" y="623"/>
                  </a:lnTo>
                  <a:lnTo>
                    <a:pt x="1286" y="613"/>
                  </a:lnTo>
                  <a:lnTo>
                    <a:pt x="1286" y="613"/>
                  </a:lnTo>
                  <a:lnTo>
                    <a:pt x="1287" y="610"/>
                  </a:lnTo>
                  <a:lnTo>
                    <a:pt x="1290" y="609"/>
                  </a:lnTo>
                  <a:lnTo>
                    <a:pt x="1295" y="607"/>
                  </a:lnTo>
                  <a:lnTo>
                    <a:pt x="1298" y="606"/>
                  </a:lnTo>
                  <a:lnTo>
                    <a:pt x="1298" y="606"/>
                  </a:lnTo>
                  <a:lnTo>
                    <a:pt x="1299" y="603"/>
                  </a:lnTo>
                  <a:lnTo>
                    <a:pt x="1299" y="600"/>
                  </a:lnTo>
                  <a:lnTo>
                    <a:pt x="1295" y="592"/>
                  </a:lnTo>
                  <a:lnTo>
                    <a:pt x="1295" y="592"/>
                  </a:lnTo>
                  <a:lnTo>
                    <a:pt x="1290" y="582"/>
                  </a:lnTo>
                  <a:lnTo>
                    <a:pt x="1292" y="572"/>
                  </a:lnTo>
                  <a:lnTo>
                    <a:pt x="1292" y="572"/>
                  </a:lnTo>
                  <a:lnTo>
                    <a:pt x="1293" y="567"/>
                  </a:lnTo>
                  <a:lnTo>
                    <a:pt x="1295" y="567"/>
                  </a:lnTo>
                  <a:lnTo>
                    <a:pt x="1298" y="566"/>
                  </a:lnTo>
                  <a:lnTo>
                    <a:pt x="1298" y="564"/>
                  </a:lnTo>
                  <a:lnTo>
                    <a:pt x="1298" y="564"/>
                  </a:lnTo>
                  <a:lnTo>
                    <a:pt x="1298" y="561"/>
                  </a:lnTo>
                  <a:lnTo>
                    <a:pt x="1295" y="558"/>
                  </a:lnTo>
                  <a:lnTo>
                    <a:pt x="1287" y="555"/>
                  </a:lnTo>
                  <a:lnTo>
                    <a:pt x="1287" y="555"/>
                  </a:lnTo>
                  <a:lnTo>
                    <a:pt x="1286" y="554"/>
                  </a:lnTo>
                  <a:lnTo>
                    <a:pt x="1287" y="552"/>
                  </a:lnTo>
                  <a:lnTo>
                    <a:pt x="1295" y="546"/>
                  </a:lnTo>
                  <a:lnTo>
                    <a:pt x="1295" y="546"/>
                  </a:lnTo>
                  <a:lnTo>
                    <a:pt x="1306" y="541"/>
                  </a:lnTo>
                  <a:lnTo>
                    <a:pt x="1314" y="538"/>
                  </a:lnTo>
                  <a:lnTo>
                    <a:pt x="1320" y="533"/>
                  </a:lnTo>
                  <a:lnTo>
                    <a:pt x="1320" y="533"/>
                  </a:lnTo>
                  <a:lnTo>
                    <a:pt x="1324" y="530"/>
                  </a:lnTo>
                  <a:lnTo>
                    <a:pt x="1327" y="532"/>
                  </a:lnTo>
                  <a:lnTo>
                    <a:pt x="1329" y="533"/>
                  </a:lnTo>
                  <a:lnTo>
                    <a:pt x="1332" y="538"/>
                  </a:lnTo>
                  <a:lnTo>
                    <a:pt x="1332" y="538"/>
                  </a:lnTo>
                  <a:lnTo>
                    <a:pt x="1339" y="544"/>
                  </a:lnTo>
                  <a:lnTo>
                    <a:pt x="1342" y="545"/>
                  </a:lnTo>
                  <a:lnTo>
                    <a:pt x="1346" y="545"/>
                  </a:lnTo>
                  <a:lnTo>
                    <a:pt x="1346" y="545"/>
                  </a:lnTo>
                  <a:lnTo>
                    <a:pt x="1361" y="545"/>
                  </a:lnTo>
                  <a:lnTo>
                    <a:pt x="1376" y="542"/>
                  </a:lnTo>
                  <a:lnTo>
                    <a:pt x="1376" y="542"/>
                  </a:lnTo>
                  <a:lnTo>
                    <a:pt x="1383" y="539"/>
                  </a:lnTo>
                  <a:lnTo>
                    <a:pt x="1383" y="539"/>
                  </a:lnTo>
                  <a:lnTo>
                    <a:pt x="1383" y="536"/>
                  </a:lnTo>
                  <a:lnTo>
                    <a:pt x="1383" y="532"/>
                  </a:lnTo>
                  <a:lnTo>
                    <a:pt x="1383" y="532"/>
                  </a:lnTo>
                  <a:lnTo>
                    <a:pt x="1382" y="527"/>
                  </a:lnTo>
                  <a:lnTo>
                    <a:pt x="1381" y="523"/>
                  </a:lnTo>
                  <a:lnTo>
                    <a:pt x="1370" y="511"/>
                  </a:lnTo>
                  <a:lnTo>
                    <a:pt x="1370" y="511"/>
                  </a:lnTo>
                  <a:lnTo>
                    <a:pt x="1364" y="505"/>
                  </a:lnTo>
                  <a:lnTo>
                    <a:pt x="1361" y="504"/>
                  </a:lnTo>
                  <a:lnTo>
                    <a:pt x="1360" y="505"/>
                  </a:lnTo>
                  <a:lnTo>
                    <a:pt x="1357" y="506"/>
                  </a:lnTo>
                  <a:lnTo>
                    <a:pt x="1355" y="505"/>
                  </a:lnTo>
                  <a:lnTo>
                    <a:pt x="1352" y="505"/>
                  </a:lnTo>
                  <a:lnTo>
                    <a:pt x="1352" y="505"/>
                  </a:lnTo>
                  <a:lnTo>
                    <a:pt x="1349" y="502"/>
                  </a:lnTo>
                  <a:lnTo>
                    <a:pt x="1348" y="501"/>
                  </a:lnTo>
                  <a:lnTo>
                    <a:pt x="1348" y="496"/>
                  </a:lnTo>
                  <a:lnTo>
                    <a:pt x="1348" y="492"/>
                  </a:lnTo>
                  <a:lnTo>
                    <a:pt x="1346" y="487"/>
                  </a:lnTo>
                  <a:lnTo>
                    <a:pt x="1346" y="487"/>
                  </a:lnTo>
                  <a:lnTo>
                    <a:pt x="1342" y="483"/>
                  </a:lnTo>
                  <a:lnTo>
                    <a:pt x="1339" y="475"/>
                  </a:lnTo>
                  <a:lnTo>
                    <a:pt x="1339" y="475"/>
                  </a:lnTo>
                  <a:lnTo>
                    <a:pt x="1335" y="466"/>
                  </a:lnTo>
                  <a:lnTo>
                    <a:pt x="1330" y="458"/>
                  </a:lnTo>
                  <a:lnTo>
                    <a:pt x="1330" y="458"/>
                  </a:lnTo>
                  <a:lnTo>
                    <a:pt x="1330" y="450"/>
                  </a:lnTo>
                  <a:lnTo>
                    <a:pt x="1329" y="440"/>
                  </a:lnTo>
                  <a:lnTo>
                    <a:pt x="1329" y="431"/>
                  </a:lnTo>
                  <a:lnTo>
                    <a:pt x="1329" y="425"/>
                  </a:lnTo>
                  <a:lnTo>
                    <a:pt x="1329" y="425"/>
                  </a:lnTo>
                  <a:lnTo>
                    <a:pt x="1326" y="422"/>
                  </a:lnTo>
                  <a:lnTo>
                    <a:pt x="1321" y="419"/>
                  </a:lnTo>
                  <a:lnTo>
                    <a:pt x="1315" y="418"/>
                  </a:lnTo>
                  <a:lnTo>
                    <a:pt x="1308" y="416"/>
                  </a:lnTo>
                  <a:lnTo>
                    <a:pt x="1308" y="416"/>
                  </a:lnTo>
                  <a:lnTo>
                    <a:pt x="1304" y="416"/>
                  </a:lnTo>
                  <a:lnTo>
                    <a:pt x="1302" y="413"/>
                  </a:lnTo>
                  <a:lnTo>
                    <a:pt x="1301" y="410"/>
                  </a:lnTo>
                  <a:lnTo>
                    <a:pt x="1298" y="407"/>
                  </a:lnTo>
                  <a:lnTo>
                    <a:pt x="1298" y="407"/>
                  </a:lnTo>
                  <a:lnTo>
                    <a:pt x="1295" y="407"/>
                  </a:lnTo>
                  <a:lnTo>
                    <a:pt x="1289" y="407"/>
                  </a:lnTo>
                  <a:lnTo>
                    <a:pt x="1284" y="410"/>
                  </a:lnTo>
                  <a:lnTo>
                    <a:pt x="1283" y="412"/>
                  </a:lnTo>
                  <a:lnTo>
                    <a:pt x="1283" y="413"/>
                  </a:lnTo>
                  <a:lnTo>
                    <a:pt x="1283" y="413"/>
                  </a:lnTo>
                  <a:lnTo>
                    <a:pt x="1281" y="418"/>
                  </a:lnTo>
                  <a:lnTo>
                    <a:pt x="1280" y="422"/>
                  </a:lnTo>
                  <a:lnTo>
                    <a:pt x="1277" y="425"/>
                  </a:lnTo>
                  <a:lnTo>
                    <a:pt x="1275" y="427"/>
                  </a:lnTo>
                  <a:lnTo>
                    <a:pt x="1275" y="427"/>
                  </a:lnTo>
                  <a:lnTo>
                    <a:pt x="1272" y="427"/>
                  </a:lnTo>
                  <a:lnTo>
                    <a:pt x="1269" y="425"/>
                  </a:lnTo>
                  <a:lnTo>
                    <a:pt x="1266" y="424"/>
                  </a:lnTo>
                  <a:lnTo>
                    <a:pt x="1261" y="424"/>
                  </a:lnTo>
                  <a:lnTo>
                    <a:pt x="1261" y="424"/>
                  </a:lnTo>
                  <a:lnTo>
                    <a:pt x="1255" y="425"/>
                  </a:lnTo>
                  <a:lnTo>
                    <a:pt x="1252" y="427"/>
                  </a:lnTo>
                  <a:lnTo>
                    <a:pt x="1247" y="429"/>
                  </a:lnTo>
                  <a:lnTo>
                    <a:pt x="1244" y="431"/>
                  </a:lnTo>
                  <a:lnTo>
                    <a:pt x="1244" y="431"/>
                  </a:lnTo>
                  <a:lnTo>
                    <a:pt x="1240" y="431"/>
                  </a:lnTo>
                  <a:lnTo>
                    <a:pt x="1234" y="428"/>
                  </a:lnTo>
                  <a:lnTo>
                    <a:pt x="1231" y="424"/>
                  </a:lnTo>
                  <a:lnTo>
                    <a:pt x="1229" y="418"/>
                  </a:lnTo>
                  <a:lnTo>
                    <a:pt x="1229" y="418"/>
                  </a:lnTo>
                  <a:lnTo>
                    <a:pt x="1228" y="410"/>
                  </a:lnTo>
                  <a:lnTo>
                    <a:pt x="1227" y="403"/>
                  </a:lnTo>
                  <a:lnTo>
                    <a:pt x="1225" y="397"/>
                  </a:lnTo>
                  <a:lnTo>
                    <a:pt x="1221" y="394"/>
                  </a:lnTo>
                  <a:lnTo>
                    <a:pt x="1221" y="394"/>
                  </a:lnTo>
                  <a:lnTo>
                    <a:pt x="1219" y="391"/>
                  </a:lnTo>
                  <a:lnTo>
                    <a:pt x="1221" y="389"/>
                  </a:lnTo>
                  <a:lnTo>
                    <a:pt x="1224" y="387"/>
                  </a:lnTo>
                  <a:lnTo>
                    <a:pt x="1227" y="384"/>
                  </a:lnTo>
                  <a:lnTo>
                    <a:pt x="1227" y="384"/>
                  </a:lnTo>
                  <a:lnTo>
                    <a:pt x="1227" y="382"/>
                  </a:lnTo>
                  <a:lnTo>
                    <a:pt x="1227" y="379"/>
                  </a:lnTo>
                  <a:lnTo>
                    <a:pt x="1224" y="375"/>
                  </a:lnTo>
                  <a:lnTo>
                    <a:pt x="1219" y="370"/>
                  </a:lnTo>
                  <a:lnTo>
                    <a:pt x="1213" y="369"/>
                  </a:lnTo>
                  <a:lnTo>
                    <a:pt x="1213" y="369"/>
                  </a:lnTo>
                  <a:lnTo>
                    <a:pt x="1201" y="366"/>
                  </a:lnTo>
                  <a:lnTo>
                    <a:pt x="1194" y="363"/>
                  </a:lnTo>
                  <a:lnTo>
                    <a:pt x="1188" y="358"/>
                  </a:lnTo>
                  <a:lnTo>
                    <a:pt x="1188" y="358"/>
                  </a:lnTo>
                  <a:lnTo>
                    <a:pt x="1179" y="352"/>
                  </a:lnTo>
                  <a:lnTo>
                    <a:pt x="1176" y="351"/>
                  </a:lnTo>
                  <a:lnTo>
                    <a:pt x="1172" y="351"/>
                  </a:lnTo>
                  <a:lnTo>
                    <a:pt x="1172" y="351"/>
                  </a:lnTo>
                  <a:lnTo>
                    <a:pt x="1157" y="351"/>
                  </a:lnTo>
                  <a:lnTo>
                    <a:pt x="1136" y="349"/>
                  </a:lnTo>
                  <a:lnTo>
                    <a:pt x="1136" y="349"/>
                  </a:lnTo>
                  <a:lnTo>
                    <a:pt x="1129" y="347"/>
                  </a:lnTo>
                  <a:lnTo>
                    <a:pt x="1126" y="345"/>
                  </a:lnTo>
                  <a:lnTo>
                    <a:pt x="1123" y="344"/>
                  </a:lnTo>
                  <a:lnTo>
                    <a:pt x="1118" y="344"/>
                  </a:lnTo>
                  <a:lnTo>
                    <a:pt x="1118" y="344"/>
                  </a:lnTo>
                  <a:lnTo>
                    <a:pt x="1111" y="347"/>
                  </a:lnTo>
                  <a:lnTo>
                    <a:pt x="1104" y="351"/>
                  </a:lnTo>
                  <a:lnTo>
                    <a:pt x="1098" y="357"/>
                  </a:lnTo>
                  <a:lnTo>
                    <a:pt x="1096" y="361"/>
                  </a:lnTo>
                  <a:lnTo>
                    <a:pt x="1096" y="361"/>
                  </a:lnTo>
                  <a:lnTo>
                    <a:pt x="1096" y="364"/>
                  </a:lnTo>
                  <a:lnTo>
                    <a:pt x="1096" y="370"/>
                  </a:lnTo>
                  <a:lnTo>
                    <a:pt x="1098" y="375"/>
                  </a:lnTo>
                  <a:lnTo>
                    <a:pt x="1098" y="381"/>
                  </a:lnTo>
                  <a:lnTo>
                    <a:pt x="1098" y="381"/>
                  </a:lnTo>
                  <a:lnTo>
                    <a:pt x="1096" y="389"/>
                  </a:lnTo>
                  <a:lnTo>
                    <a:pt x="1093" y="392"/>
                  </a:lnTo>
                  <a:lnTo>
                    <a:pt x="1089" y="394"/>
                  </a:lnTo>
                  <a:lnTo>
                    <a:pt x="1089" y="394"/>
                  </a:lnTo>
                  <a:lnTo>
                    <a:pt x="1083" y="394"/>
                  </a:lnTo>
                  <a:lnTo>
                    <a:pt x="1080" y="397"/>
                  </a:lnTo>
                  <a:lnTo>
                    <a:pt x="1074" y="403"/>
                  </a:lnTo>
                  <a:lnTo>
                    <a:pt x="1074" y="403"/>
                  </a:lnTo>
                  <a:lnTo>
                    <a:pt x="1073" y="407"/>
                  </a:lnTo>
                  <a:lnTo>
                    <a:pt x="1070" y="413"/>
                  </a:lnTo>
                  <a:lnTo>
                    <a:pt x="1065" y="431"/>
                  </a:lnTo>
                  <a:lnTo>
                    <a:pt x="1065" y="431"/>
                  </a:lnTo>
                  <a:lnTo>
                    <a:pt x="1064" y="438"/>
                  </a:lnTo>
                  <a:lnTo>
                    <a:pt x="1062" y="441"/>
                  </a:lnTo>
                  <a:lnTo>
                    <a:pt x="1059" y="443"/>
                  </a:lnTo>
                  <a:lnTo>
                    <a:pt x="1058" y="443"/>
                  </a:lnTo>
                  <a:lnTo>
                    <a:pt x="1058" y="443"/>
                  </a:lnTo>
                  <a:lnTo>
                    <a:pt x="1055" y="444"/>
                  </a:lnTo>
                  <a:lnTo>
                    <a:pt x="1053" y="447"/>
                  </a:lnTo>
                  <a:lnTo>
                    <a:pt x="1047" y="458"/>
                  </a:lnTo>
                  <a:lnTo>
                    <a:pt x="1047" y="458"/>
                  </a:lnTo>
                  <a:lnTo>
                    <a:pt x="1044" y="464"/>
                  </a:lnTo>
                  <a:lnTo>
                    <a:pt x="1043" y="466"/>
                  </a:lnTo>
                  <a:lnTo>
                    <a:pt x="1036" y="468"/>
                  </a:lnTo>
                  <a:lnTo>
                    <a:pt x="1036" y="468"/>
                  </a:lnTo>
                  <a:lnTo>
                    <a:pt x="1033" y="468"/>
                  </a:lnTo>
                  <a:lnTo>
                    <a:pt x="1031" y="469"/>
                  </a:lnTo>
                  <a:lnTo>
                    <a:pt x="1031" y="474"/>
                  </a:lnTo>
                  <a:lnTo>
                    <a:pt x="1034" y="483"/>
                  </a:lnTo>
                  <a:lnTo>
                    <a:pt x="1034" y="483"/>
                  </a:lnTo>
                  <a:lnTo>
                    <a:pt x="1034" y="486"/>
                  </a:lnTo>
                  <a:lnTo>
                    <a:pt x="1033" y="490"/>
                  </a:lnTo>
                  <a:lnTo>
                    <a:pt x="1031" y="496"/>
                  </a:lnTo>
                  <a:lnTo>
                    <a:pt x="1031" y="496"/>
                  </a:lnTo>
                  <a:lnTo>
                    <a:pt x="1030" y="499"/>
                  </a:lnTo>
                  <a:lnTo>
                    <a:pt x="1031" y="501"/>
                  </a:lnTo>
                  <a:lnTo>
                    <a:pt x="1036" y="506"/>
                  </a:lnTo>
                  <a:lnTo>
                    <a:pt x="1036" y="506"/>
                  </a:lnTo>
                  <a:lnTo>
                    <a:pt x="1037" y="509"/>
                  </a:lnTo>
                  <a:lnTo>
                    <a:pt x="1036" y="514"/>
                  </a:lnTo>
                  <a:lnTo>
                    <a:pt x="1033" y="521"/>
                  </a:lnTo>
                  <a:lnTo>
                    <a:pt x="1033" y="521"/>
                  </a:lnTo>
                  <a:lnTo>
                    <a:pt x="1033" y="523"/>
                  </a:lnTo>
                  <a:lnTo>
                    <a:pt x="1030" y="524"/>
                  </a:lnTo>
                  <a:lnTo>
                    <a:pt x="1025" y="526"/>
                  </a:lnTo>
                  <a:lnTo>
                    <a:pt x="1021" y="529"/>
                  </a:lnTo>
                  <a:lnTo>
                    <a:pt x="1021" y="529"/>
                  </a:lnTo>
                  <a:lnTo>
                    <a:pt x="1012" y="536"/>
                  </a:lnTo>
                  <a:lnTo>
                    <a:pt x="1009" y="538"/>
                  </a:lnTo>
                  <a:lnTo>
                    <a:pt x="1003" y="536"/>
                  </a:lnTo>
                  <a:lnTo>
                    <a:pt x="1003" y="536"/>
                  </a:lnTo>
                  <a:lnTo>
                    <a:pt x="997" y="536"/>
                  </a:lnTo>
                  <a:lnTo>
                    <a:pt x="994" y="535"/>
                  </a:lnTo>
                  <a:lnTo>
                    <a:pt x="991" y="532"/>
                  </a:lnTo>
                  <a:lnTo>
                    <a:pt x="987" y="527"/>
                  </a:lnTo>
                  <a:lnTo>
                    <a:pt x="987" y="527"/>
                  </a:lnTo>
                  <a:lnTo>
                    <a:pt x="985" y="524"/>
                  </a:lnTo>
                  <a:lnTo>
                    <a:pt x="982" y="523"/>
                  </a:lnTo>
                  <a:lnTo>
                    <a:pt x="978" y="521"/>
                  </a:lnTo>
                  <a:lnTo>
                    <a:pt x="973" y="520"/>
                  </a:lnTo>
                  <a:lnTo>
                    <a:pt x="970" y="518"/>
                  </a:lnTo>
                  <a:lnTo>
                    <a:pt x="969" y="515"/>
                  </a:lnTo>
                  <a:lnTo>
                    <a:pt x="969" y="515"/>
                  </a:lnTo>
                  <a:lnTo>
                    <a:pt x="966" y="509"/>
                  </a:lnTo>
                  <a:lnTo>
                    <a:pt x="963" y="508"/>
                  </a:lnTo>
                  <a:lnTo>
                    <a:pt x="963" y="508"/>
                  </a:lnTo>
                  <a:lnTo>
                    <a:pt x="960" y="508"/>
                  </a:lnTo>
                  <a:lnTo>
                    <a:pt x="957" y="511"/>
                  </a:lnTo>
                  <a:lnTo>
                    <a:pt x="953" y="520"/>
                  </a:lnTo>
                  <a:lnTo>
                    <a:pt x="953" y="520"/>
                  </a:lnTo>
                  <a:lnTo>
                    <a:pt x="951" y="523"/>
                  </a:lnTo>
                  <a:lnTo>
                    <a:pt x="948" y="523"/>
                  </a:lnTo>
                  <a:lnTo>
                    <a:pt x="944" y="524"/>
                  </a:lnTo>
                  <a:lnTo>
                    <a:pt x="942" y="526"/>
                  </a:lnTo>
                  <a:lnTo>
                    <a:pt x="942" y="526"/>
                  </a:lnTo>
                  <a:lnTo>
                    <a:pt x="941" y="527"/>
                  </a:lnTo>
                  <a:lnTo>
                    <a:pt x="936" y="529"/>
                  </a:lnTo>
                  <a:lnTo>
                    <a:pt x="932" y="530"/>
                  </a:lnTo>
                  <a:lnTo>
                    <a:pt x="927" y="529"/>
                  </a:lnTo>
                  <a:lnTo>
                    <a:pt x="927" y="529"/>
                  </a:lnTo>
                  <a:lnTo>
                    <a:pt x="923" y="529"/>
                  </a:lnTo>
                  <a:lnTo>
                    <a:pt x="921" y="530"/>
                  </a:lnTo>
                  <a:lnTo>
                    <a:pt x="920" y="533"/>
                  </a:lnTo>
                  <a:lnTo>
                    <a:pt x="919" y="535"/>
                  </a:lnTo>
                  <a:lnTo>
                    <a:pt x="919" y="535"/>
                  </a:lnTo>
                  <a:lnTo>
                    <a:pt x="914" y="536"/>
                  </a:lnTo>
                  <a:lnTo>
                    <a:pt x="905" y="542"/>
                  </a:lnTo>
                  <a:lnTo>
                    <a:pt x="905" y="542"/>
                  </a:lnTo>
                  <a:lnTo>
                    <a:pt x="901" y="544"/>
                  </a:lnTo>
                  <a:lnTo>
                    <a:pt x="895" y="545"/>
                  </a:lnTo>
                  <a:lnTo>
                    <a:pt x="882" y="544"/>
                  </a:lnTo>
                  <a:lnTo>
                    <a:pt x="882" y="544"/>
                  </a:lnTo>
                  <a:lnTo>
                    <a:pt x="879" y="545"/>
                  </a:lnTo>
                  <a:lnTo>
                    <a:pt x="877" y="545"/>
                  </a:lnTo>
                  <a:lnTo>
                    <a:pt x="877" y="551"/>
                  </a:lnTo>
                  <a:lnTo>
                    <a:pt x="879" y="557"/>
                  </a:lnTo>
                  <a:lnTo>
                    <a:pt x="879" y="563"/>
                  </a:lnTo>
                  <a:lnTo>
                    <a:pt x="879" y="563"/>
                  </a:lnTo>
                  <a:lnTo>
                    <a:pt x="877" y="567"/>
                  </a:lnTo>
                  <a:lnTo>
                    <a:pt x="876" y="570"/>
                  </a:lnTo>
                  <a:lnTo>
                    <a:pt x="874" y="573"/>
                  </a:lnTo>
                  <a:lnTo>
                    <a:pt x="870" y="573"/>
                  </a:lnTo>
                  <a:lnTo>
                    <a:pt x="870" y="573"/>
                  </a:lnTo>
                  <a:lnTo>
                    <a:pt x="867" y="576"/>
                  </a:lnTo>
                  <a:lnTo>
                    <a:pt x="865" y="579"/>
                  </a:lnTo>
                  <a:lnTo>
                    <a:pt x="864" y="582"/>
                  </a:lnTo>
                  <a:lnTo>
                    <a:pt x="862" y="583"/>
                  </a:lnTo>
                  <a:lnTo>
                    <a:pt x="862" y="583"/>
                  </a:lnTo>
                  <a:lnTo>
                    <a:pt x="853" y="585"/>
                  </a:lnTo>
                  <a:lnTo>
                    <a:pt x="844" y="585"/>
                  </a:lnTo>
                  <a:lnTo>
                    <a:pt x="834" y="582"/>
                  </a:lnTo>
                  <a:lnTo>
                    <a:pt x="834" y="582"/>
                  </a:lnTo>
                  <a:lnTo>
                    <a:pt x="830" y="579"/>
                  </a:lnTo>
                  <a:lnTo>
                    <a:pt x="827" y="578"/>
                  </a:lnTo>
                  <a:lnTo>
                    <a:pt x="824" y="573"/>
                  </a:lnTo>
                  <a:lnTo>
                    <a:pt x="822" y="567"/>
                  </a:lnTo>
                  <a:lnTo>
                    <a:pt x="818" y="561"/>
                  </a:lnTo>
                  <a:lnTo>
                    <a:pt x="818" y="561"/>
                  </a:lnTo>
                  <a:lnTo>
                    <a:pt x="812" y="555"/>
                  </a:lnTo>
                  <a:lnTo>
                    <a:pt x="805" y="552"/>
                  </a:lnTo>
                  <a:lnTo>
                    <a:pt x="799" y="552"/>
                  </a:lnTo>
                  <a:lnTo>
                    <a:pt x="799" y="552"/>
                  </a:lnTo>
                  <a:lnTo>
                    <a:pt x="800" y="542"/>
                  </a:lnTo>
                  <a:lnTo>
                    <a:pt x="802" y="533"/>
                  </a:lnTo>
                  <a:lnTo>
                    <a:pt x="806" y="526"/>
                  </a:lnTo>
                  <a:lnTo>
                    <a:pt x="806" y="526"/>
                  </a:lnTo>
                  <a:lnTo>
                    <a:pt x="810" y="518"/>
                  </a:lnTo>
                  <a:lnTo>
                    <a:pt x="812" y="514"/>
                  </a:lnTo>
                  <a:lnTo>
                    <a:pt x="810" y="505"/>
                  </a:lnTo>
                  <a:lnTo>
                    <a:pt x="810" y="505"/>
                  </a:lnTo>
                  <a:lnTo>
                    <a:pt x="810" y="499"/>
                  </a:lnTo>
                  <a:lnTo>
                    <a:pt x="810" y="496"/>
                  </a:lnTo>
                  <a:lnTo>
                    <a:pt x="815" y="489"/>
                  </a:lnTo>
                  <a:lnTo>
                    <a:pt x="815" y="489"/>
                  </a:lnTo>
                  <a:lnTo>
                    <a:pt x="815" y="483"/>
                  </a:lnTo>
                  <a:lnTo>
                    <a:pt x="816" y="477"/>
                  </a:lnTo>
                  <a:lnTo>
                    <a:pt x="815" y="471"/>
                  </a:lnTo>
                  <a:lnTo>
                    <a:pt x="813" y="468"/>
                  </a:lnTo>
                  <a:lnTo>
                    <a:pt x="813" y="468"/>
                  </a:lnTo>
                  <a:lnTo>
                    <a:pt x="810" y="464"/>
                  </a:lnTo>
                  <a:lnTo>
                    <a:pt x="809" y="459"/>
                  </a:lnTo>
                  <a:lnTo>
                    <a:pt x="809" y="455"/>
                  </a:lnTo>
                  <a:lnTo>
                    <a:pt x="809" y="455"/>
                  </a:lnTo>
                  <a:lnTo>
                    <a:pt x="812" y="447"/>
                  </a:lnTo>
                  <a:lnTo>
                    <a:pt x="815" y="437"/>
                  </a:lnTo>
                  <a:lnTo>
                    <a:pt x="818" y="427"/>
                  </a:lnTo>
                  <a:lnTo>
                    <a:pt x="822" y="419"/>
                  </a:lnTo>
                  <a:lnTo>
                    <a:pt x="822" y="419"/>
                  </a:lnTo>
                  <a:lnTo>
                    <a:pt x="828" y="410"/>
                  </a:lnTo>
                  <a:lnTo>
                    <a:pt x="830" y="404"/>
                  </a:lnTo>
                  <a:lnTo>
                    <a:pt x="830" y="404"/>
                  </a:lnTo>
                  <a:lnTo>
                    <a:pt x="833" y="398"/>
                  </a:lnTo>
                  <a:lnTo>
                    <a:pt x="837" y="392"/>
                  </a:lnTo>
                  <a:lnTo>
                    <a:pt x="837" y="392"/>
                  </a:lnTo>
                  <a:lnTo>
                    <a:pt x="839" y="389"/>
                  </a:lnTo>
                  <a:lnTo>
                    <a:pt x="840" y="385"/>
                  </a:lnTo>
                  <a:lnTo>
                    <a:pt x="839" y="381"/>
                  </a:lnTo>
                  <a:lnTo>
                    <a:pt x="837" y="376"/>
                  </a:lnTo>
                  <a:lnTo>
                    <a:pt x="837" y="376"/>
                  </a:lnTo>
                  <a:lnTo>
                    <a:pt x="834" y="372"/>
                  </a:lnTo>
                  <a:lnTo>
                    <a:pt x="834" y="367"/>
                  </a:lnTo>
                  <a:lnTo>
                    <a:pt x="837" y="360"/>
                  </a:lnTo>
                  <a:lnTo>
                    <a:pt x="837" y="360"/>
                  </a:lnTo>
                  <a:lnTo>
                    <a:pt x="840" y="347"/>
                  </a:lnTo>
                  <a:lnTo>
                    <a:pt x="840" y="339"/>
                  </a:lnTo>
                  <a:lnTo>
                    <a:pt x="839" y="333"/>
                  </a:lnTo>
                  <a:lnTo>
                    <a:pt x="839" y="333"/>
                  </a:lnTo>
                  <a:lnTo>
                    <a:pt x="837" y="332"/>
                  </a:lnTo>
                  <a:lnTo>
                    <a:pt x="836" y="332"/>
                  </a:lnTo>
                  <a:lnTo>
                    <a:pt x="830" y="332"/>
                  </a:lnTo>
                  <a:lnTo>
                    <a:pt x="825" y="335"/>
                  </a:lnTo>
                  <a:lnTo>
                    <a:pt x="822" y="336"/>
                  </a:lnTo>
                  <a:lnTo>
                    <a:pt x="822" y="336"/>
                  </a:lnTo>
                  <a:lnTo>
                    <a:pt x="821" y="336"/>
                  </a:lnTo>
                  <a:lnTo>
                    <a:pt x="819" y="336"/>
                  </a:lnTo>
                  <a:lnTo>
                    <a:pt x="812" y="329"/>
                  </a:lnTo>
                  <a:lnTo>
                    <a:pt x="812" y="329"/>
                  </a:lnTo>
                  <a:lnTo>
                    <a:pt x="807" y="326"/>
                  </a:lnTo>
                  <a:lnTo>
                    <a:pt x="803" y="326"/>
                  </a:lnTo>
                  <a:lnTo>
                    <a:pt x="799" y="324"/>
                  </a:lnTo>
                  <a:lnTo>
                    <a:pt x="794" y="323"/>
                  </a:lnTo>
                  <a:lnTo>
                    <a:pt x="794" y="323"/>
                  </a:lnTo>
                  <a:lnTo>
                    <a:pt x="791" y="321"/>
                  </a:lnTo>
                  <a:lnTo>
                    <a:pt x="790" y="318"/>
                  </a:lnTo>
                  <a:lnTo>
                    <a:pt x="790" y="312"/>
                  </a:lnTo>
                  <a:lnTo>
                    <a:pt x="788" y="307"/>
                  </a:lnTo>
                  <a:lnTo>
                    <a:pt x="787" y="299"/>
                  </a:lnTo>
                  <a:lnTo>
                    <a:pt x="787" y="299"/>
                  </a:lnTo>
                  <a:lnTo>
                    <a:pt x="784" y="296"/>
                  </a:lnTo>
                  <a:lnTo>
                    <a:pt x="781" y="295"/>
                  </a:lnTo>
                  <a:lnTo>
                    <a:pt x="776" y="295"/>
                  </a:lnTo>
                  <a:lnTo>
                    <a:pt x="769" y="295"/>
                  </a:lnTo>
                  <a:lnTo>
                    <a:pt x="769" y="295"/>
                  </a:lnTo>
                  <a:lnTo>
                    <a:pt x="767" y="290"/>
                  </a:lnTo>
                  <a:lnTo>
                    <a:pt x="767" y="281"/>
                  </a:lnTo>
                  <a:lnTo>
                    <a:pt x="770" y="27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6" y="256"/>
                  </a:lnTo>
                  <a:lnTo>
                    <a:pt x="781" y="252"/>
                  </a:lnTo>
                  <a:lnTo>
                    <a:pt x="785" y="249"/>
                  </a:lnTo>
                  <a:lnTo>
                    <a:pt x="788" y="244"/>
                  </a:lnTo>
                  <a:lnTo>
                    <a:pt x="788" y="244"/>
                  </a:lnTo>
                  <a:lnTo>
                    <a:pt x="788" y="237"/>
                  </a:lnTo>
                  <a:lnTo>
                    <a:pt x="787" y="225"/>
                  </a:lnTo>
                  <a:lnTo>
                    <a:pt x="782" y="213"/>
                  </a:lnTo>
                  <a:lnTo>
                    <a:pt x="779" y="206"/>
                  </a:lnTo>
                  <a:lnTo>
                    <a:pt x="779" y="206"/>
                  </a:lnTo>
                  <a:lnTo>
                    <a:pt x="776" y="204"/>
                  </a:lnTo>
                  <a:lnTo>
                    <a:pt x="769" y="204"/>
                  </a:lnTo>
                  <a:lnTo>
                    <a:pt x="762" y="203"/>
                  </a:lnTo>
                  <a:lnTo>
                    <a:pt x="753" y="201"/>
                  </a:lnTo>
                  <a:lnTo>
                    <a:pt x="753" y="201"/>
                  </a:lnTo>
                  <a:lnTo>
                    <a:pt x="750" y="200"/>
                  </a:lnTo>
                  <a:lnTo>
                    <a:pt x="748" y="197"/>
                  </a:lnTo>
                  <a:lnTo>
                    <a:pt x="747" y="193"/>
                  </a:lnTo>
                  <a:lnTo>
                    <a:pt x="748" y="190"/>
                  </a:lnTo>
                  <a:lnTo>
                    <a:pt x="751" y="181"/>
                  </a:lnTo>
                  <a:lnTo>
                    <a:pt x="753" y="173"/>
                  </a:lnTo>
                  <a:lnTo>
                    <a:pt x="753" y="173"/>
                  </a:lnTo>
                  <a:lnTo>
                    <a:pt x="754" y="166"/>
                  </a:lnTo>
                  <a:lnTo>
                    <a:pt x="757" y="158"/>
                  </a:lnTo>
                  <a:lnTo>
                    <a:pt x="760" y="153"/>
                  </a:lnTo>
                  <a:lnTo>
                    <a:pt x="760" y="148"/>
                  </a:lnTo>
                  <a:lnTo>
                    <a:pt x="760" y="148"/>
                  </a:lnTo>
                  <a:lnTo>
                    <a:pt x="753" y="138"/>
                  </a:lnTo>
                  <a:lnTo>
                    <a:pt x="750" y="130"/>
                  </a:lnTo>
                  <a:lnTo>
                    <a:pt x="748" y="124"/>
                  </a:lnTo>
                  <a:lnTo>
                    <a:pt x="748" y="124"/>
                  </a:lnTo>
                  <a:lnTo>
                    <a:pt x="745" y="113"/>
                  </a:lnTo>
                  <a:lnTo>
                    <a:pt x="744" y="108"/>
                  </a:lnTo>
                  <a:lnTo>
                    <a:pt x="741" y="105"/>
                  </a:lnTo>
                  <a:lnTo>
                    <a:pt x="741" y="105"/>
                  </a:lnTo>
                  <a:lnTo>
                    <a:pt x="733" y="98"/>
                  </a:lnTo>
                  <a:lnTo>
                    <a:pt x="728" y="93"/>
                  </a:lnTo>
                  <a:lnTo>
                    <a:pt x="720" y="89"/>
                  </a:lnTo>
                  <a:lnTo>
                    <a:pt x="720" y="89"/>
                  </a:lnTo>
                  <a:lnTo>
                    <a:pt x="710" y="84"/>
                  </a:lnTo>
                  <a:lnTo>
                    <a:pt x="699" y="81"/>
                  </a:lnTo>
                  <a:lnTo>
                    <a:pt x="699" y="81"/>
                  </a:lnTo>
                  <a:lnTo>
                    <a:pt x="692" y="80"/>
                  </a:lnTo>
                  <a:lnTo>
                    <a:pt x="686" y="80"/>
                  </a:lnTo>
                  <a:lnTo>
                    <a:pt x="682" y="78"/>
                  </a:lnTo>
                  <a:lnTo>
                    <a:pt x="679" y="77"/>
                  </a:lnTo>
                  <a:lnTo>
                    <a:pt x="679" y="77"/>
                  </a:lnTo>
                  <a:lnTo>
                    <a:pt x="677" y="77"/>
                  </a:lnTo>
                  <a:lnTo>
                    <a:pt x="676" y="76"/>
                  </a:lnTo>
                  <a:lnTo>
                    <a:pt x="677" y="73"/>
                  </a:lnTo>
                  <a:lnTo>
                    <a:pt x="683" y="68"/>
                  </a:lnTo>
                  <a:lnTo>
                    <a:pt x="683" y="68"/>
                  </a:lnTo>
                  <a:lnTo>
                    <a:pt x="683" y="65"/>
                  </a:lnTo>
                  <a:lnTo>
                    <a:pt x="683" y="61"/>
                  </a:lnTo>
                  <a:lnTo>
                    <a:pt x="683" y="58"/>
                  </a:lnTo>
                  <a:lnTo>
                    <a:pt x="685" y="55"/>
                  </a:lnTo>
                  <a:lnTo>
                    <a:pt x="685" y="55"/>
                  </a:lnTo>
                  <a:lnTo>
                    <a:pt x="688" y="53"/>
                  </a:lnTo>
                  <a:lnTo>
                    <a:pt x="693" y="52"/>
                  </a:lnTo>
                  <a:lnTo>
                    <a:pt x="698" y="50"/>
                  </a:lnTo>
                  <a:lnTo>
                    <a:pt x="701" y="49"/>
                  </a:lnTo>
                  <a:lnTo>
                    <a:pt x="701" y="49"/>
                  </a:lnTo>
                  <a:lnTo>
                    <a:pt x="701" y="47"/>
                  </a:lnTo>
                  <a:lnTo>
                    <a:pt x="698" y="44"/>
                  </a:lnTo>
                  <a:lnTo>
                    <a:pt x="696" y="40"/>
                  </a:lnTo>
                  <a:lnTo>
                    <a:pt x="693" y="36"/>
                  </a:lnTo>
                  <a:lnTo>
                    <a:pt x="693" y="36"/>
                  </a:lnTo>
                  <a:lnTo>
                    <a:pt x="690" y="30"/>
                  </a:lnTo>
                  <a:lnTo>
                    <a:pt x="688" y="25"/>
                  </a:lnTo>
                  <a:lnTo>
                    <a:pt x="685" y="18"/>
                  </a:lnTo>
                  <a:lnTo>
                    <a:pt x="685" y="18"/>
                  </a:lnTo>
                  <a:lnTo>
                    <a:pt x="685" y="15"/>
                  </a:lnTo>
                  <a:lnTo>
                    <a:pt x="685" y="10"/>
                  </a:lnTo>
                  <a:lnTo>
                    <a:pt x="686" y="6"/>
                  </a:lnTo>
                  <a:lnTo>
                    <a:pt x="686" y="3"/>
                  </a:lnTo>
                  <a:lnTo>
                    <a:pt x="686" y="3"/>
                  </a:lnTo>
                  <a:lnTo>
                    <a:pt x="683" y="1"/>
                  </a:lnTo>
                  <a:lnTo>
                    <a:pt x="679" y="0"/>
                  </a:lnTo>
                  <a:lnTo>
                    <a:pt x="674" y="0"/>
                  </a:lnTo>
                  <a:lnTo>
                    <a:pt x="671" y="1"/>
                  </a:lnTo>
                  <a:lnTo>
                    <a:pt x="671" y="1"/>
                  </a:lnTo>
                  <a:lnTo>
                    <a:pt x="670" y="4"/>
                  </a:lnTo>
                  <a:lnTo>
                    <a:pt x="668" y="9"/>
                  </a:lnTo>
                  <a:lnTo>
                    <a:pt x="667" y="15"/>
                  </a:lnTo>
                  <a:lnTo>
                    <a:pt x="667" y="15"/>
                  </a:lnTo>
                  <a:lnTo>
                    <a:pt x="670" y="15"/>
                  </a:lnTo>
                  <a:lnTo>
                    <a:pt x="674" y="18"/>
                  </a:lnTo>
                  <a:lnTo>
                    <a:pt x="679" y="22"/>
                  </a:lnTo>
                  <a:lnTo>
                    <a:pt x="680" y="25"/>
                  </a:lnTo>
                  <a:lnTo>
                    <a:pt x="680" y="28"/>
                  </a:lnTo>
                  <a:lnTo>
                    <a:pt x="680" y="28"/>
                  </a:lnTo>
                  <a:lnTo>
                    <a:pt x="680" y="34"/>
                  </a:lnTo>
                  <a:lnTo>
                    <a:pt x="680" y="38"/>
                  </a:lnTo>
                  <a:lnTo>
                    <a:pt x="679" y="41"/>
                  </a:lnTo>
                  <a:lnTo>
                    <a:pt x="677" y="43"/>
                  </a:lnTo>
                  <a:lnTo>
                    <a:pt x="674" y="44"/>
                  </a:lnTo>
                  <a:lnTo>
                    <a:pt x="670" y="44"/>
                  </a:lnTo>
                  <a:lnTo>
                    <a:pt x="670" y="44"/>
                  </a:lnTo>
                  <a:lnTo>
                    <a:pt x="662" y="46"/>
                  </a:lnTo>
                  <a:lnTo>
                    <a:pt x="656" y="47"/>
                  </a:lnTo>
                  <a:lnTo>
                    <a:pt x="653" y="49"/>
                  </a:lnTo>
                  <a:lnTo>
                    <a:pt x="651" y="53"/>
                  </a:lnTo>
                  <a:lnTo>
                    <a:pt x="651" y="53"/>
                  </a:lnTo>
                  <a:lnTo>
                    <a:pt x="646" y="58"/>
                  </a:lnTo>
                  <a:lnTo>
                    <a:pt x="642" y="61"/>
                  </a:lnTo>
                  <a:lnTo>
                    <a:pt x="637" y="62"/>
                  </a:lnTo>
                  <a:lnTo>
                    <a:pt x="631" y="61"/>
                  </a:lnTo>
                  <a:lnTo>
                    <a:pt x="631" y="61"/>
                  </a:lnTo>
                  <a:lnTo>
                    <a:pt x="618" y="52"/>
                  </a:lnTo>
                  <a:lnTo>
                    <a:pt x="613" y="50"/>
                  </a:lnTo>
                  <a:lnTo>
                    <a:pt x="611" y="50"/>
                  </a:lnTo>
                  <a:lnTo>
                    <a:pt x="608" y="52"/>
                  </a:lnTo>
                  <a:lnTo>
                    <a:pt x="605" y="53"/>
                  </a:lnTo>
                  <a:lnTo>
                    <a:pt x="605" y="53"/>
                  </a:lnTo>
                  <a:lnTo>
                    <a:pt x="600" y="61"/>
                  </a:lnTo>
                  <a:lnTo>
                    <a:pt x="599" y="67"/>
                  </a:lnTo>
                  <a:lnTo>
                    <a:pt x="597" y="81"/>
                  </a:lnTo>
                  <a:lnTo>
                    <a:pt x="597" y="81"/>
                  </a:lnTo>
                  <a:lnTo>
                    <a:pt x="596" y="89"/>
                  </a:lnTo>
                  <a:lnTo>
                    <a:pt x="593" y="95"/>
                  </a:lnTo>
                  <a:lnTo>
                    <a:pt x="593" y="99"/>
                  </a:lnTo>
                  <a:lnTo>
                    <a:pt x="593" y="101"/>
                  </a:lnTo>
                  <a:lnTo>
                    <a:pt x="594" y="102"/>
                  </a:lnTo>
                  <a:lnTo>
                    <a:pt x="594" y="102"/>
                  </a:lnTo>
                  <a:lnTo>
                    <a:pt x="599" y="105"/>
                  </a:lnTo>
                  <a:lnTo>
                    <a:pt x="603" y="105"/>
                  </a:lnTo>
                  <a:lnTo>
                    <a:pt x="606" y="108"/>
                  </a:lnTo>
                  <a:lnTo>
                    <a:pt x="606" y="110"/>
                  </a:lnTo>
                  <a:lnTo>
                    <a:pt x="605" y="111"/>
                  </a:lnTo>
                  <a:lnTo>
                    <a:pt x="605" y="111"/>
                  </a:lnTo>
                  <a:lnTo>
                    <a:pt x="602" y="115"/>
                  </a:lnTo>
                  <a:lnTo>
                    <a:pt x="597" y="117"/>
                  </a:lnTo>
                  <a:lnTo>
                    <a:pt x="593" y="118"/>
                  </a:lnTo>
                  <a:lnTo>
                    <a:pt x="591" y="120"/>
                  </a:lnTo>
                  <a:lnTo>
                    <a:pt x="591" y="121"/>
                  </a:lnTo>
                  <a:lnTo>
                    <a:pt x="591" y="121"/>
                  </a:lnTo>
                  <a:lnTo>
                    <a:pt x="591" y="126"/>
                  </a:lnTo>
                  <a:lnTo>
                    <a:pt x="593" y="129"/>
                  </a:lnTo>
                  <a:lnTo>
                    <a:pt x="596" y="133"/>
                  </a:lnTo>
                  <a:lnTo>
                    <a:pt x="596" y="133"/>
                  </a:lnTo>
                  <a:lnTo>
                    <a:pt x="596" y="135"/>
                  </a:lnTo>
                  <a:lnTo>
                    <a:pt x="593" y="136"/>
                  </a:lnTo>
                  <a:lnTo>
                    <a:pt x="588" y="139"/>
                  </a:lnTo>
                  <a:lnTo>
                    <a:pt x="587" y="142"/>
                  </a:lnTo>
                  <a:lnTo>
                    <a:pt x="587" y="142"/>
                  </a:lnTo>
                  <a:lnTo>
                    <a:pt x="584" y="151"/>
                  </a:lnTo>
                  <a:lnTo>
                    <a:pt x="585" y="155"/>
                  </a:lnTo>
                  <a:lnTo>
                    <a:pt x="587" y="161"/>
                  </a:lnTo>
                  <a:lnTo>
                    <a:pt x="587" y="161"/>
                  </a:lnTo>
                  <a:lnTo>
                    <a:pt x="590" y="167"/>
                  </a:lnTo>
                  <a:lnTo>
                    <a:pt x="593" y="172"/>
                  </a:lnTo>
                  <a:lnTo>
                    <a:pt x="596" y="176"/>
                  </a:lnTo>
                  <a:lnTo>
                    <a:pt x="597" y="178"/>
                  </a:lnTo>
                  <a:lnTo>
                    <a:pt x="597" y="178"/>
                  </a:lnTo>
                  <a:lnTo>
                    <a:pt x="597" y="185"/>
                  </a:lnTo>
                  <a:lnTo>
                    <a:pt x="600" y="188"/>
                  </a:lnTo>
                  <a:lnTo>
                    <a:pt x="603" y="190"/>
                  </a:lnTo>
                  <a:lnTo>
                    <a:pt x="603" y="190"/>
                  </a:lnTo>
                  <a:lnTo>
                    <a:pt x="613" y="193"/>
                  </a:lnTo>
                  <a:lnTo>
                    <a:pt x="618" y="194"/>
                  </a:lnTo>
                  <a:lnTo>
                    <a:pt x="619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19" y="198"/>
                  </a:lnTo>
                  <a:lnTo>
                    <a:pt x="616" y="201"/>
                  </a:lnTo>
                  <a:lnTo>
                    <a:pt x="615" y="206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5" y="216"/>
                  </a:lnTo>
                  <a:lnTo>
                    <a:pt x="615" y="219"/>
                  </a:lnTo>
                  <a:lnTo>
                    <a:pt x="613" y="221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06" y="224"/>
                  </a:lnTo>
                  <a:lnTo>
                    <a:pt x="603" y="228"/>
                  </a:lnTo>
                  <a:lnTo>
                    <a:pt x="602" y="232"/>
                  </a:lnTo>
                  <a:lnTo>
                    <a:pt x="602" y="237"/>
                  </a:lnTo>
                  <a:lnTo>
                    <a:pt x="602" y="237"/>
                  </a:lnTo>
                  <a:lnTo>
                    <a:pt x="603" y="243"/>
                  </a:lnTo>
                  <a:lnTo>
                    <a:pt x="603" y="252"/>
                  </a:lnTo>
                  <a:lnTo>
                    <a:pt x="603" y="268"/>
                  </a:lnTo>
                  <a:lnTo>
                    <a:pt x="603" y="268"/>
                  </a:lnTo>
                  <a:lnTo>
                    <a:pt x="602" y="270"/>
                  </a:lnTo>
                  <a:lnTo>
                    <a:pt x="600" y="272"/>
                  </a:lnTo>
                  <a:lnTo>
                    <a:pt x="594" y="275"/>
                  </a:lnTo>
                  <a:lnTo>
                    <a:pt x="587" y="281"/>
                  </a:lnTo>
                  <a:lnTo>
                    <a:pt x="585" y="283"/>
                  </a:lnTo>
                  <a:lnTo>
                    <a:pt x="584" y="286"/>
                  </a:lnTo>
                  <a:lnTo>
                    <a:pt x="584" y="286"/>
                  </a:lnTo>
                  <a:lnTo>
                    <a:pt x="585" y="292"/>
                  </a:lnTo>
                  <a:lnTo>
                    <a:pt x="588" y="296"/>
                  </a:lnTo>
                  <a:lnTo>
                    <a:pt x="590" y="301"/>
                  </a:lnTo>
                  <a:lnTo>
                    <a:pt x="590" y="304"/>
                  </a:lnTo>
                  <a:lnTo>
                    <a:pt x="590" y="304"/>
                  </a:lnTo>
                  <a:lnTo>
                    <a:pt x="585" y="310"/>
                  </a:lnTo>
                  <a:lnTo>
                    <a:pt x="581" y="314"/>
                  </a:lnTo>
                  <a:lnTo>
                    <a:pt x="575" y="318"/>
                  </a:lnTo>
                  <a:lnTo>
                    <a:pt x="569" y="321"/>
                  </a:lnTo>
                  <a:lnTo>
                    <a:pt x="569" y="321"/>
                  </a:lnTo>
                  <a:lnTo>
                    <a:pt x="560" y="326"/>
                  </a:lnTo>
                  <a:lnTo>
                    <a:pt x="556" y="330"/>
                  </a:lnTo>
                  <a:lnTo>
                    <a:pt x="554" y="333"/>
                  </a:lnTo>
                  <a:lnTo>
                    <a:pt x="554" y="333"/>
                  </a:lnTo>
                  <a:lnTo>
                    <a:pt x="554" y="338"/>
                  </a:lnTo>
                  <a:lnTo>
                    <a:pt x="551" y="341"/>
                  </a:lnTo>
                  <a:lnTo>
                    <a:pt x="548" y="344"/>
                  </a:lnTo>
                  <a:lnTo>
                    <a:pt x="544" y="345"/>
                  </a:lnTo>
                  <a:lnTo>
                    <a:pt x="544" y="345"/>
                  </a:lnTo>
                  <a:lnTo>
                    <a:pt x="535" y="348"/>
                  </a:lnTo>
                  <a:lnTo>
                    <a:pt x="532" y="351"/>
                  </a:lnTo>
                  <a:lnTo>
                    <a:pt x="535" y="354"/>
                  </a:lnTo>
                  <a:lnTo>
                    <a:pt x="535" y="354"/>
                  </a:lnTo>
                  <a:lnTo>
                    <a:pt x="544" y="360"/>
                  </a:lnTo>
                  <a:lnTo>
                    <a:pt x="547" y="364"/>
                  </a:lnTo>
                  <a:lnTo>
                    <a:pt x="547" y="366"/>
                  </a:lnTo>
                  <a:lnTo>
                    <a:pt x="545" y="367"/>
                  </a:lnTo>
                  <a:lnTo>
                    <a:pt x="545" y="367"/>
                  </a:lnTo>
                  <a:lnTo>
                    <a:pt x="541" y="369"/>
                  </a:lnTo>
                  <a:lnTo>
                    <a:pt x="536" y="372"/>
                  </a:lnTo>
                  <a:lnTo>
                    <a:pt x="532" y="373"/>
                  </a:lnTo>
                  <a:lnTo>
                    <a:pt x="529" y="376"/>
                  </a:lnTo>
                  <a:lnTo>
                    <a:pt x="529" y="376"/>
                  </a:lnTo>
                  <a:lnTo>
                    <a:pt x="526" y="387"/>
                  </a:lnTo>
                  <a:lnTo>
                    <a:pt x="525" y="394"/>
                  </a:lnTo>
                  <a:lnTo>
                    <a:pt x="523" y="403"/>
                  </a:lnTo>
                  <a:lnTo>
                    <a:pt x="523" y="403"/>
                  </a:lnTo>
                  <a:lnTo>
                    <a:pt x="523" y="425"/>
                  </a:lnTo>
                  <a:lnTo>
                    <a:pt x="525" y="437"/>
                  </a:lnTo>
                  <a:lnTo>
                    <a:pt x="528" y="443"/>
                  </a:lnTo>
                  <a:lnTo>
                    <a:pt x="529" y="447"/>
                  </a:lnTo>
                  <a:lnTo>
                    <a:pt x="529" y="447"/>
                  </a:lnTo>
                  <a:lnTo>
                    <a:pt x="536" y="455"/>
                  </a:lnTo>
                  <a:lnTo>
                    <a:pt x="545" y="459"/>
                  </a:lnTo>
                  <a:lnTo>
                    <a:pt x="554" y="462"/>
                  </a:lnTo>
                  <a:lnTo>
                    <a:pt x="562" y="465"/>
                  </a:lnTo>
                  <a:lnTo>
                    <a:pt x="562" y="465"/>
                  </a:lnTo>
                  <a:lnTo>
                    <a:pt x="566" y="466"/>
                  </a:lnTo>
                  <a:lnTo>
                    <a:pt x="571" y="472"/>
                  </a:lnTo>
                  <a:lnTo>
                    <a:pt x="572" y="478"/>
                  </a:lnTo>
                  <a:lnTo>
                    <a:pt x="574" y="484"/>
                  </a:lnTo>
                  <a:lnTo>
                    <a:pt x="574" y="484"/>
                  </a:lnTo>
                  <a:lnTo>
                    <a:pt x="575" y="490"/>
                  </a:lnTo>
                  <a:lnTo>
                    <a:pt x="578" y="496"/>
                  </a:lnTo>
                  <a:lnTo>
                    <a:pt x="579" y="501"/>
                  </a:lnTo>
                  <a:lnTo>
                    <a:pt x="579" y="505"/>
                  </a:lnTo>
                  <a:lnTo>
                    <a:pt x="579" y="505"/>
                  </a:lnTo>
                  <a:lnTo>
                    <a:pt x="576" y="515"/>
                  </a:lnTo>
                  <a:lnTo>
                    <a:pt x="575" y="517"/>
                  </a:lnTo>
                  <a:lnTo>
                    <a:pt x="574" y="518"/>
                  </a:lnTo>
                  <a:lnTo>
                    <a:pt x="574" y="518"/>
                  </a:lnTo>
                  <a:lnTo>
                    <a:pt x="568" y="514"/>
                  </a:lnTo>
                  <a:lnTo>
                    <a:pt x="563" y="512"/>
                  </a:lnTo>
                  <a:lnTo>
                    <a:pt x="559" y="514"/>
                  </a:lnTo>
                  <a:lnTo>
                    <a:pt x="559" y="514"/>
                  </a:lnTo>
                  <a:lnTo>
                    <a:pt x="556" y="517"/>
                  </a:lnTo>
                  <a:lnTo>
                    <a:pt x="553" y="520"/>
                  </a:lnTo>
                  <a:lnTo>
                    <a:pt x="550" y="527"/>
                  </a:lnTo>
                  <a:lnTo>
                    <a:pt x="550" y="527"/>
                  </a:lnTo>
                  <a:lnTo>
                    <a:pt x="545" y="535"/>
                  </a:lnTo>
                  <a:lnTo>
                    <a:pt x="544" y="539"/>
                  </a:lnTo>
                  <a:lnTo>
                    <a:pt x="545" y="545"/>
                  </a:lnTo>
                  <a:lnTo>
                    <a:pt x="545" y="545"/>
                  </a:lnTo>
                  <a:lnTo>
                    <a:pt x="548" y="549"/>
                  </a:lnTo>
                  <a:lnTo>
                    <a:pt x="554" y="554"/>
                  </a:lnTo>
                  <a:lnTo>
                    <a:pt x="559" y="558"/>
                  </a:lnTo>
                  <a:lnTo>
                    <a:pt x="563" y="560"/>
                  </a:lnTo>
                  <a:lnTo>
                    <a:pt x="563" y="560"/>
                  </a:lnTo>
                  <a:lnTo>
                    <a:pt x="571" y="561"/>
                  </a:lnTo>
                  <a:lnTo>
                    <a:pt x="574" y="563"/>
                  </a:lnTo>
                  <a:lnTo>
                    <a:pt x="574" y="567"/>
                  </a:lnTo>
                  <a:lnTo>
                    <a:pt x="574" y="567"/>
                  </a:lnTo>
                  <a:lnTo>
                    <a:pt x="572" y="576"/>
                  </a:lnTo>
                  <a:lnTo>
                    <a:pt x="572" y="581"/>
                  </a:lnTo>
                  <a:lnTo>
                    <a:pt x="574" y="585"/>
                  </a:lnTo>
                  <a:lnTo>
                    <a:pt x="574" y="585"/>
                  </a:lnTo>
                  <a:lnTo>
                    <a:pt x="578" y="588"/>
                  </a:lnTo>
                  <a:lnTo>
                    <a:pt x="581" y="592"/>
                  </a:lnTo>
                  <a:lnTo>
                    <a:pt x="582" y="597"/>
                  </a:lnTo>
                  <a:lnTo>
                    <a:pt x="582" y="598"/>
                  </a:lnTo>
                  <a:lnTo>
                    <a:pt x="581" y="600"/>
                  </a:lnTo>
                  <a:lnTo>
                    <a:pt x="581" y="600"/>
                  </a:lnTo>
                  <a:lnTo>
                    <a:pt x="574" y="603"/>
                  </a:lnTo>
                  <a:lnTo>
                    <a:pt x="566" y="607"/>
                  </a:lnTo>
                  <a:lnTo>
                    <a:pt x="559" y="610"/>
                  </a:lnTo>
                  <a:lnTo>
                    <a:pt x="556" y="613"/>
                  </a:lnTo>
                  <a:lnTo>
                    <a:pt x="554" y="616"/>
                  </a:lnTo>
                  <a:lnTo>
                    <a:pt x="554" y="616"/>
                  </a:lnTo>
                  <a:lnTo>
                    <a:pt x="551" y="622"/>
                  </a:lnTo>
                  <a:lnTo>
                    <a:pt x="550" y="628"/>
                  </a:lnTo>
                  <a:lnTo>
                    <a:pt x="551" y="631"/>
                  </a:lnTo>
                  <a:lnTo>
                    <a:pt x="553" y="635"/>
                  </a:lnTo>
                  <a:lnTo>
                    <a:pt x="553" y="635"/>
                  </a:lnTo>
                  <a:lnTo>
                    <a:pt x="553" y="640"/>
                  </a:lnTo>
                  <a:lnTo>
                    <a:pt x="551" y="643"/>
                  </a:lnTo>
                  <a:lnTo>
                    <a:pt x="545" y="649"/>
                  </a:lnTo>
                  <a:lnTo>
                    <a:pt x="545" y="649"/>
                  </a:lnTo>
                  <a:lnTo>
                    <a:pt x="541" y="653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2" y="656"/>
                  </a:lnTo>
                  <a:lnTo>
                    <a:pt x="531" y="655"/>
                  </a:lnTo>
                  <a:lnTo>
                    <a:pt x="531" y="655"/>
                  </a:lnTo>
                  <a:lnTo>
                    <a:pt x="531" y="650"/>
                  </a:lnTo>
                  <a:lnTo>
                    <a:pt x="529" y="644"/>
                  </a:lnTo>
                  <a:lnTo>
                    <a:pt x="528" y="641"/>
                  </a:lnTo>
                  <a:lnTo>
                    <a:pt x="525" y="640"/>
                  </a:lnTo>
                  <a:lnTo>
                    <a:pt x="522" y="638"/>
                  </a:lnTo>
                  <a:lnTo>
                    <a:pt x="519" y="640"/>
                  </a:lnTo>
                  <a:lnTo>
                    <a:pt x="519" y="640"/>
                  </a:lnTo>
                  <a:lnTo>
                    <a:pt x="511" y="641"/>
                  </a:lnTo>
                  <a:lnTo>
                    <a:pt x="507" y="646"/>
                  </a:lnTo>
                  <a:lnTo>
                    <a:pt x="504" y="647"/>
                  </a:lnTo>
                  <a:lnTo>
                    <a:pt x="502" y="646"/>
                  </a:lnTo>
                  <a:lnTo>
                    <a:pt x="502" y="644"/>
                  </a:lnTo>
                  <a:lnTo>
                    <a:pt x="502" y="644"/>
                  </a:lnTo>
                  <a:lnTo>
                    <a:pt x="501" y="638"/>
                  </a:lnTo>
                  <a:lnTo>
                    <a:pt x="501" y="632"/>
                  </a:lnTo>
                  <a:lnTo>
                    <a:pt x="501" y="625"/>
                  </a:lnTo>
                  <a:lnTo>
                    <a:pt x="501" y="62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0" name="Freeform 79">
              <a:extLst>
                <a:ext uri="{FF2B5EF4-FFF2-40B4-BE49-F238E27FC236}">
                  <a16:creationId xmlns:a16="http://schemas.microsoft.com/office/drawing/2014/main" id="{696FA537-F7EF-924F-947E-68E25BA82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425" y="4660900"/>
              <a:ext cx="339725" cy="315912"/>
            </a:xfrm>
            <a:custGeom>
              <a:avLst/>
              <a:gdLst>
                <a:gd name="T0" fmla="*/ 5 w 214"/>
                <a:gd name="T1" fmla="*/ 46 h 199"/>
                <a:gd name="T2" fmla="*/ 3 w 214"/>
                <a:gd name="T3" fmla="*/ 67 h 199"/>
                <a:gd name="T4" fmla="*/ 8 w 214"/>
                <a:gd name="T5" fmla="*/ 74 h 199"/>
                <a:gd name="T6" fmla="*/ 24 w 214"/>
                <a:gd name="T7" fmla="*/ 77 h 199"/>
                <a:gd name="T8" fmla="*/ 32 w 214"/>
                <a:gd name="T9" fmla="*/ 88 h 199"/>
                <a:gd name="T10" fmla="*/ 45 w 214"/>
                <a:gd name="T11" fmla="*/ 108 h 199"/>
                <a:gd name="T12" fmla="*/ 57 w 214"/>
                <a:gd name="T13" fmla="*/ 126 h 199"/>
                <a:gd name="T14" fmla="*/ 58 w 214"/>
                <a:gd name="T15" fmla="*/ 147 h 199"/>
                <a:gd name="T16" fmla="*/ 64 w 214"/>
                <a:gd name="T17" fmla="*/ 159 h 199"/>
                <a:gd name="T18" fmla="*/ 79 w 214"/>
                <a:gd name="T19" fmla="*/ 177 h 199"/>
                <a:gd name="T20" fmla="*/ 88 w 214"/>
                <a:gd name="T21" fmla="*/ 190 h 199"/>
                <a:gd name="T22" fmla="*/ 97 w 214"/>
                <a:gd name="T23" fmla="*/ 194 h 199"/>
                <a:gd name="T24" fmla="*/ 110 w 214"/>
                <a:gd name="T25" fmla="*/ 199 h 199"/>
                <a:gd name="T26" fmla="*/ 119 w 214"/>
                <a:gd name="T27" fmla="*/ 194 h 199"/>
                <a:gd name="T28" fmla="*/ 140 w 214"/>
                <a:gd name="T29" fmla="*/ 178 h 199"/>
                <a:gd name="T30" fmla="*/ 147 w 214"/>
                <a:gd name="T31" fmla="*/ 181 h 199"/>
                <a:gd name="T32" fmla="*/ 151 w 214"/>
                <a:gd name="T33" fmla="*/ 182 h 199"/>
                <a:gd name="T34" fmla="*/ 169 w 214"/>
                <a:gd name="T35" fmla="*/ 159 h 199"/>
                <a:gd name="T36" fmla="*/ 177 w 214"/>
                <a:gd name="T37" fmla="*/ 154 h 199"/>
                <a:gd name="T38" fmla="*/ 186 w 214"/>
                <a:gd name="T39" fmla="*/ 145 h 199"/>
                <a:gd name="T40" fmla="*/ 199 w 214"/>
                <a:gd name="T41" fmla="*/ 138 h 199"/>
                <a:gd name="T42" fmla="*/ 190 w 214"/>
                <a:gd name="T43" fmla="*/ 126 h 199"/>
                <a:gd name="T44" fmla="*/ 208 w 214"/>
                <a:gd name="T45" fmla="*/ 116 h 199"/>
                <a:gd name="T46" fmla="*/ 214 w 214"/>
                <a:gd name="T47" fmla="*/ 111 h 199"/>
                <a:gd name="T48" fmla="*/ 208 w 214"/>
                <a:gd name="T49" fmla="*/ 105 h 199"/>
                <a:gd name="T50" fmla="*/ 175 w 214"/>
                <a:gd name="T51" fmla="*/ 97 h 199"/>
                <a:gd name="T52" fmla="*/ 172 w 214"/>
                <a:gd name="T53" fmla="*/ 91 h 199"/>
                <a:gd name="T54" fmla="*/ 175 w 214"/>
                <a:gd name="T55" fmla="*/ 46 h 199"/>
                <a:gd name="T56" fmla="*/ 174 w 214"/>
                <a:gd name="T57" fmla="*/ 39 h 199"/>
                <a:gd name="T58" fmla="*/ 162 w 214"/>
                <a:gd name="T59" fmla="*/ 52 h 199"/>
                <a:gd name="T60" fmla="*/ 151 w 214"/>
                <a:gd name="T61" fmla="*/ 65 h 199"/>
                <a:gd name="T62" fmla="*/ 141 w 214"/>
                <a:gd name="T63" fmla="*/ 68 h 199"/>
                <a:gd name="T64" fmla="*/ 125 w 214"/>
                <a:gd name="T65" fmla="*/ 62 h 199"/>
                <a:gd name="T66" fmla="*/ 101 w 214"/>
                <a:gd name="T67" fmla="*/ 42 h 199"/>
                <a:gd name="T68" fmla="*/ 88 w 214"/>
                <a:gd name="T69" fmla="*/ 21 h 199"/>
                <a:gd name="T70" fmla="*/ 66 w 214"/>
                <a:gd name="T71" fmla="*/ 18 h 199"/>
                <a:gd name="T72" fmla="*/ 42 w 214"/>
                <a:gd name="T73" fmla="*/ 2 h 199"/>
                <a:gd name="T74" fmla="*/ 29 w 214"/>
                <a:gd name="T75" fmla="*/ 0 h 199"/>
                <a:gd name="T76" fmla="*/ 21 w 214"/>
                <a:gd name="T77" fmla="*/ 8 h 199"/>
                <a:gd name="T78" fmla="*/ 12 w 214"/>
                <a:gd name="T79" fmla="*/ 11 h 199"/>
                <a:gd name="T80" fmla="*/ 0 w 214"/>
                <a:gd name="T81" fmla="*/ 11 h 199"/>
                <a:gd name="T82" fmla="*/ 17 w 214"/>
                <a:gd name="T83" fmla="*/ 27 h 199"/>
                <a:gd name="T84" fmla="*/ 12 w 214"/>
                <a:gd name="T85" fmla="*/ 33 h 199"/>
                <a:gd name="T86" fmla="*/ 8 w 214"/>
                <a:gd name="T87" fmla="*/ 3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4" h="199">
                  <a:moveTo>
                    <a:pt x="8" y="39"/>
                  </a:moveTo>
                  <a:lnTo>
                    <a:pt x="8" y="39"/>
                  </a:lnTo>
                  <a:lnTo>
                    <a:pt x="5" y="46"/>
                  </a:lnTo>
                  <a:lnTo>
                    <a:pt x="3" y="57"/>
                  </a:lnTo>
                  <a:lnTo>
                    <a:pt x="3" y="62"/>
                  </a:lnTo>
                  <a:lnTo>
                    <a:pt x="3" y="67"/>
                  </a:lnTo>
                  <a:lnTo>
                    <a:pt x="5" y="71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15" y="76"/>
                  </a:lnTo>
                  <a:lnTo>
                    <a:pt x="21" y="76"/>
                  </a:lnTo>
                  <a:lnTo>
                    <a:pt x="24" y="77"/>
                  </a:lnTo>
                  <a:lnTo>
                    <a:pt x="26" y="79"/>
                  </a:lnTo>
                  <a:lnTo>
                    <a:pt x="29" y="8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7" y="98"/>
                  </a:lnTo>
                  <a:lnTo>
                    <a:pt x="45" y="108"/>
                  </a:lnTo>
                  <a:lnTo>
                    <a:pt x="52" y="119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8" y="134"/>
                  </a:lnTo>
                  <a:lnTo>
                    <a:pt x="58" y="141"/>
                  </a:lnTo>
                  <a:lnTo>
                    <a:pt x="58" y="147"/>
                  </a:lnTo>
                  <a:lnTo>
                    <a:pt x="60" y="153"/>
                  </a:lnTo>
                  <a:lnTo>
                    <a:pt x="60" y="153"/>
                  </a:lnTo>
                  <a:lnTo>
                    <a:pt x="64" y="159"/>
                  </a:lnTo>
                  <a:lnTo>
                    <a:pt x="69" y="166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2" y="181"/>
                  </a:lnTo>
                  <a:lnTo>
                    <a:pt x="85" y="185"/>
                  </a:lnTo>
                  <a:lnTo>
                    <a:pt x="88" y="190"/>
                  </a:lnTo>
                  <a:lnTo>
                    <a:pt x="94" y="193"/>
                  </a:lnTo>
                  <a:lnTo>
                    <a:pt x="94" y="193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104" y="197"/>
                  </a:lnTo>
                  <a:lnTo>
                    <a:pt x="110" y="199"/>
                  </a:lnTo>
                  <a:lnTo>
                    <a:pt x="114" y="197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29" y="182"/>
                  </a:lnTo>
                  <a:lnTo>
                    <a:pt x="137" y="178"/>
                  </a:lnTo>
                  <a:lnTo>
                    <a:pt x="140" y="178"/>
                  </a:lnTo>
                  <a:lnTo>
                    <a:pt x="143" y="178"/>
                  </a:lnTo>
                  <a:lnTo>
                    <a:pt x="143" y="178"/>
                  </a:lnTo>
                  <a:lnTo>
                    <a:pt x="147" y="181"/>
                  </a:lnTo>
                  <a:lnTo>
                    <a:pt x="149" y="184"/>
                  </a:lnTo>
                  <a:lnTo>
                    <a:pt x="150" y="185"/>
                  </a:lnTo>
                  <a:lnTo>
                    <a:pt x="151" y="182"/>
                  </a:lnTo>
                  <a:lnTo>
                    <a:pt x="151" y="182"/>
                  </a:lnTo>
                  <a:lnTo>
                    <a:pt x="162" y="166"/>
                  </a:lnTo>
                  <a:lnTo>
                    <a:pt x="169" y="159"/>
                  </a:lnTo>
                  <a:lnTo>
                    <a:pt x="174" y="156"/>
                  </a:lnTo>
                  <a:lnTo>
                    <a:pt x="174" y="156"/>
                  </a:lnTo>
                  <a:lnTo>
                    <a:pt x="177" y="154"/>
                  </a:lnTo>
                  <a:lnTo>
                    <a:pt x="181" y="151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93" y="141"/>
                  </a:lnTo>
                  <a:lnTo>
                    <a:pt x="199" y="138"/>
                  </a:lnTo>
                  <a:lnTo>
                    <a:pt x="199" y="13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0" y="126"/>
                  </a:lnTo>
                  <a:lnTo>
                    <a:pt x="191" y="125"/>
                  </a:lnTo>
                  <a:lnTo>
                    <a:pt x="194" y="122"/>
                  </a:lnTo>
                  <a:lnTo>
                    <a:pt x="208" y="116"/>
                  </a:lnTo>
                  <a:lnTo>
                    <a:pt x="208" y="116"/>
                  </a:lnTo>
                  <a:lnTo>
                    <a:pt x="212" y="113"/>
                  </a:lnTo>
                  <a:lnTo>
                    <a:pt x="214" y="111"/>
                  </a:lnTo>
                  <a:lnTo>
                    <a:pt x="214" y="110"/>
                  </a:lnTo>
                  <a:lnTo>
                    <a:pt x="212" y="108"/>
                  </a:lnTo>
                  <a:lnTo>
                    <a:pt x="208" y="105"/>
                  </a:lnTo>
                  <a:lnTo>
                    <a:pt x="203" y="104"/>
                  </a:lnTo>
                  <a:lnTo>
                    <a:pt x="203" y="104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2" y="95"/>
                  </a:lnTo>
                  <a:lnTo>
                    <a:pt x="172" y="91"/>
                  </a:lnTo>
                  <a:lnTo>
                    <a:pt x="172" y="79"/>
                  </a:lnTo>
                  <a:lnTo>
                    <a:pt x="175" y="46"/>
                  </a:lnTo>
                  <a:lnTo>
                    <a:pt x="175" y="46"/>
                  </a:lnTo>
                  <a:lnTo>
                    <a:pt x="175" y="40"/>
                  </a:lnTo>
                  <a:lnTo>
                    <a:pt x="175" y="39"/>
                  </a:lnTo>
                  <a:lnTo>
                    <a:pt x="174" y="39"/>
                  </a:lnTo>
                  <a:lnTo>
                    <a:pt x="172" y="40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59" y="57"/>
                  </a:lnTo>
                  <a:lnTo>
                    <a:pt x="154" y="64"/>
                  </a:lnTo>
                  <a:lnTo>
                    <a:pt x="151" y="65"/>
                  </a:lnTo>
                  <a:lnTo>
                    <a:pt x="149" y="68"/>
                  </a:lnTo>
                  <a:lnTo>
                    <a:pt x="146" y="70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32" y="67"/>
                  </a:lnTo>
                  <a:lnTo>
                    <a:pt x="125" y="62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01" y="42"/>
                  </a:lnTo>
                  <a:lnTo>
                    <a:pt x="95" y="33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79" y="21"/>
                  </a:lnTo>
                  <a:lnTo>
                    <a:pt x="72" y="20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54" y="9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4" y="3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9"/>
                  </a:lnTo>
                  <a:lnTo>
                    <a:pt x="18" y="11"/>
                  </a:lnTo>
                  <a:lnTo>
                    <a:pt x="12" y="11"/>
                  </a:lnTo>
                  <a:lnTo>
                    <a:pt x="5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9" y="18"/>
                  </a:lnTo>
                  <a:lnTo>
                    <a:pt x="14" y="23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5" y="30"/>
                  </a:lnTo>
                  <a:lnTo>
                    <a:pt x="12" y="33"/>
                  </a:lnTo>
                  <a:lnTo>
                    <a:pt x="9" y="34"/>
                  </a:lnTo>
                  <a:lnTo>
                    <a:pt x="8" y="39"/>
                  </a:lnTo>
                  <a:lnTo>
                    <a:pt x="8" y="3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1" name="Freeform 80">
              <a:extLst>
                <a:ext uri="{FF2B5EF4-FFF2-40B4-BE49-F238E27FC236}">
                  <a16:creationId xmlns:a16="http://schemas.microsoft.com/office/drawing/2014/main" id="{93EC724C-66E5-E24E-8A2E-B0CD9F593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2450" y="6718300"/>
              <a:ext cx="1419225" cy="1801812"/>
            </a:xfrm>
            <a:custGeom>
              <a:avLst/>
              <a:gdLst>
                <a:gd name="T0" fmla="*/ 506 w 894"/>
                <a:gd name="T1" fmla="*/ 15 h 1135"/>
                <a:gd name="T2" fmla="*/ 455 w 894"/>
                <a:gd name="T3" fmla="*/ 16 h 1135"/>
                <a:gd name="T4" fmla="*/ 453 w 894"/>
                <a:gd name="T5" fmla="*/ 37 h 1135"/>
                <a:gd name="T6" fmla="*/ 447 w 894"/>
                <a:gd name="T7" fmla="*/ 80 h 1135"/>
                <a:gd name="T8" fmla="*/ 462 w 894"/>
                <a:gd name="T9" fmla="*/ 110 h 1135"/>
                <a:gd name="T10" fmla="*/ 480 w 894"/>
                <a:gd name="T11" fmla="*/ 132 h 1135"/>
                <a:gd name="T12" fmla="*/ 490 w 894"/>
                <a:gd name="T13" fmla="*/ 142 h 1135"/>
                <a:gd name="T14" fmla="*/ 483 w 894"/>
                <a:gd name="T15" fmla="*/ 184 h 1135"/>
                <a:gd name="T16" fmla="*/ 415 w 894"/>
                <a:gd name="T17" fmla="*/ 205 h 1135"/>
                <a:gd name="T18" fmla="*/ 382 w 894"/>
                <a:gd name="T19" fmla="*/ 222 h 1135"/>
                <a:gd name="T20" fmla="*/ 404 w 894"/>
                <a:gd name="T21" fmla="*/ 253 h 1135"/>
                <a:gd name="T22" fmla="*/ 413 w 894"/>
                <a:gd name="T23" fmla="*/ 289 h 1135"/>
                <a:gd name="T24" fmla="*/ 424 w 894"/>
                <a:gd name="T25" fmla="*/ 327 h 1135"/>
                <a:gd name="T26" fmla="*/ 462 w 894"/>
                <a:gd name="T27" fmla="*/ 362 h 1135"/>
                <a:gd name="T28" fmla="*/ 495 w 894"/>
                <a:gd name="T29" fmla="*/ 375 h 1135"/>
                <a:gd name="T30" fmla="*/ 502 w 894"/>
                <a:gd name="T31" fmla="*/ 461 h 1135"/>
                <a:gd name="T32" fmla="*/ 432 w 894"/>
                <a:gd name="T33" fmla="*/ 513 h 1135"/>
                <a:gd name="T34" fmla="*/ 373 w 894"/>
                <a:gd name="T35" fmla="*/ 575 h 1135"/>
                <a:gd name="T36" fmla="*/ 348 w 894"/>
                <a:gd name="T37" fmla="*/ 599 h 1135"/>
                <a:gd name="T38" fmla="*/ 379 w 894"/>
                <a:gd name="T39" fmla="*/ 627 h 1135"/>
                <a:gd name="T40" fmla="*/ 397 w 894"/>
                <a:gd name="T41" fmla="*/ 671 h 1135"/>
                <a:gd name="T42" fmla="*/ 357 w 894"/>
                <a:gd name="T43" fmla="*/ 721 h 1135"/>
                <a:gd name="T44" fmla="*/ 312 w 894"/>
                <a:gd name="T45" fmla="*/ 742 h 1135"/>
                <a:gd name="T46" fmla="*/ 270 w 894"/>
                <a:gd name="T47" fmla="*/ 760 h 1135"/>
                <a:gd name="T48" fmla="*/ 247 w 894"/>
                <a:gd name="T49" fmla="*/ 800 h 1135"/>
                <a:gd name="T50" fmla="*/ 194 w 894"/>
                <a:gd name="T51" fmla="*/ 856 h 1135"/>
                <a:gd name="T52" fmla="*/ 114 w 894"/>
                <a:gd name="T53" fmla="*/ 878 h 1135"/>
                <a:gd name="T54" fmla="*/ 39 w 894"/>
                <a:gd name="T55" fmla="*/ 889 h 1135"/>
                <a:gd name="T56" fmla="*/ 34 w 894"/>
                <a:gd name="T57" fmla="*/ 929 h 1135"/>
                <a:gd name="T58" fmla="*/ 27 w 894"/>
                <a:gd name="T59" fmla="*/ 981 h 1135"/>
                <a:gd name="T60" fmla="*/ 25 w 894"/>
                <a:gd name="T61" fmla="*/ 1012 h 1135"/>
                <a:gd name="T62" fmla="*/ 2 w 894"/>
                <a:gd name="T63" fmla="*/ 1075 h 1135"/>
                <a:gd name="T64" fmla="*/ 56 w 894"/>
                <a:gd name="T65" fmla="*/ 1114 h 1135"/>
                <a:gd name="T66" fmla="*/ 90 w 894"/>
                <a:gd name="T67" fmla="*/ 1132 h 1135"/>
                <a:gd name="T68" fmla="*/ 191 w 894"/>
                <a:gd name="T69" fmla="*/ 1132 h 1135"/>
                <a:gd name="T70" fmla="*/ 243 w 894"/>
                <a:gd name="T71" fmla="*/ 1124 h 1135"/>
                <a:gd name="T72" fmla="*/ 327 w 894"/>
                <a:gd name="T73" fmla="*/ 1078 h 1135"/>
                <a:gd name="T74" fmla="*/ 409 w 894"/>
                <a:gd name="T75" fmla="*/ 1034 h 1135"/>
                <a:gd name="T76" fmla="*/ 501 w 894"/>
                <a:gd name="T77" fmla="*/ 954 h 1135"/>
                <a:gd name="T78" fmla="*/ 588 w 894"/>
                <a:gd name="T79" fmla="*/ 964 h 1135"/>
                <a:gd name="T80" fmla="*/ 693 w 894"/>
                <a:gd name="T81" fmla="*/ 972 h 1135"/>
                <a:gd name="T82" fmla="*/ 774 w 894"/>
                <a:gd name="T83" fmla="*/ 941 h 1135"/>
                <a:gd name="T84" fmla="*/ 835 w 894"/>
                <a:gd name="T85" fmla="*/ 859 h 1135"/>
                <a:gd name="T86" fmla="*/ 844 w 894"/>
                <a:gd name="T87" fmla="*/ 671 h 1135"/>
                <a:gd name="T88" fmla="*/ 860 w 894"/>
                <a:gd name="T89" fmla="*/ 615 h 1135"/>
                <a:gd name="T90" fmla="*/ 822 w 894"/>
                <a:gd name="T91" fmla="*/ 567 h 1135"/>
                <a:gd name="T92" fmla="*/ 828 w 894"/>
                <a:gd name="T93" fmla="*/ 502 h 1135"/>
                <a:gd name="T94" fmla="*/ 868 w 894"/>
                <a:gd name="T95" fmla="*/ 439 h 1135"/>
                <a:gd name="T96" fmla="*/ 837 w 894"/>
                <a:gd name="T97" fmla="*/ 407 h 1135"/>
                <a:gd name="T98" fmla="*/ 829 w 894"/>
                <a:gd name="T99" fmla="*/ 363 h 1135"/>
                <a:gd name="T100" fmla="*/ 832 w 894"/>
                <a:gd name="T101" fmla="*/ 338 h 1135"/>
                <a:gd name="T102" fmla="*/ 810 w 894"/>
                <a:gd name="T103" fmla="*/ 320 h 1135"/>
                <a:gd name="T104" fmla="*/ 801 w 894"/>
                <a:gd name="T105" fmla="*/ 243 h 1135"/>
                <a:gd name="T106" fmla="*/ 774 w 894"/>
                <a:gd name="T107" fmla="*/ 250 h 1135"/>
                <a:gd name="T108" fmla="*/ 748 w 894"/>
                <a:gd name="T109" fmla="*/ 208 h 1135"/>
                <a:gd name="T110" fmla="*/ 717 w 894"/>
                <a:gd name="T111" fmla="*/ 216 h 1135"/>
                <a:gd name="T112" fmla="*/ 678 w 894"/>
                <a:gd name="T113" fmla="*/ 224 h 1135"/>
                <a:gd name="T114" fmla="*/ 687 w 894"/>
                <a:gd name="T115" fmla="*/ 191 h 1135"/>
                <a:gd name="T116" fmla="*/ 646 w 894"/>
                <a:gd name="T117" fmla="*/ 176 h 1135"/>
                <a:gd name="T118" fmla="*/ 620 w 894"/>
                <a:gd name="T119" fmla="*/ 154 h 1135"/>
                <a:gd name="T120" fmla="*/ 613 w 894"/>
                <a:gd name="T121" fmla="*/ 126 h 1135"/>
                <a:gd name="T122" fmla="*/ 582 w 894"/>
                <a:gd name="T123" fmla="*/ 71 h 1135"/>
                <a:gd name="T124" fmla="*/ 566 w 894"/>
                <a:gd name="T125" fmla="*/ 71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4" h="1135">
                  <a:moveTo>
                    <a:pt x="554" y="40"/>
                  </a:moveTo>
                  <a:lnTo>
                    <a:pt x="554" y="40"/>
                  </a:lnTo>
                  <a:lnTo>
                    <a:pt x="554" y="33"/>
                  </a:lnTo>
                  <a:lnTo>
                    <a:pt x="552" y="27"/>
                  </a:lnTo>
                  <a:lnTo>
                    <a:pt x="549" y="18"/>
                  </a:lnTo>
                  <a:lnTo>
                    <a:pt x="543" y="9"/>
                  </a:lnTo>
                  <a:lnTo>
                    <a:pt x="543" y="9"/>
                  </a:lnTo>
                  <a:lnTo>
                    <a:pt x="536" y="12"/>
                  </a:lnTo>
                  <a:lnTo>
                    <a:pt x="536" y="12"/>
                  </a:lnTo>
                  <a:lnTo>
                    <a:pt x="521" y="15"/>
                  </a:lnTo>
                  <a:lnTo>
                    <a:pt x="506" y="15"/>
                  </a:lnTo>
                  <a:lnTo>
                    <a:pt x="506" y="15"/>
                  </a:lnTo>
                  <a:lnTo>
                    <a:pt x="502" y="15"/>
                  </a:lnTo>
                  <a:lnTo>
                    <a:pt x="499" y="14"/>
                  </a:lnTo>
                  <a:lnTo>
                    <a:pt x="492" y="8"/>
                  </a:lnTo>
                  <a:lnTo>
                    <a:pt x="492" y="8"/>
                  </a:lnTo>
                  <a:lnTo>
                    <a:pt x="489" y="3"/>
                  </a:lnTo>
                  <a:lnTo>
                    <a:pt x="487" y="2"/>
                  </a:lnTo>
                  <a:lnTo>
                    <a:pt x="484" y="0"/>
                  </a:lnTo>
                  <a:lnTo>
                    <a:pt x="480" y="3"/>
                  </a:lnTo>
                  <a:lnTo>
                    <a:pt x="480" y="3"/>
                  </a:lnTo>
                  <a:lnTo>
                    <a:pt x="474" y="8"/>
                  </a:lnTo>
                  <a:lnTo>
                    <a:pt x="466" y="11"/>
                  </a:lnTo>
                  <a:lnTo>
                    <a:pt x="455" y="16"/>
                  </a:lnTo>
                  <a:lnTo>
                    <a:pt x="455" y="16"/>
                  </a:lnTo>
                  <a:lnTo>
                    <a:pt x="447" y="22"/>
                  </a:lnTo>
                  <a:lnTo>
                    <a:pt x="446" y="24"/>
                  </a:lnTo>
                  <a:lnTo>
                    <a:pt x="447" y="25"/>
                  </a:lnTo>
                  <a:lnTo>
                    <a:pt x="447" y="25"/>
                  </a:lnTo>
                  <a:lnTo>
                    <a:pt x="455" y="28"/>
                  </a:lnTo>
                  <a:lnTo>
                    <a:pt x="458" y="31"/>
                  </a:lnTo>
                  <a:lnTo>
                    <a:pt x="458" y="34"/>
                  </a:lnTo>
                  <a:lnTo>
                    <a:pt x="458" y="34"/>
                  </a:lnTo>
                  <a:lnTo>
                    <a:pt x="458" y="36"/>
                  </a:lnTo>
                  <a:lnTo>
                    <a:pt x="455" y="37"/>
                  </a:lnTo>
                  <a:lnTo>
                    <a:pt x="453" y="37"/>
                  </a:lnTo>
                  <a:lnTo>
                    <a:pt x="452" y="42"/>
                  </a:lnTo>
                  <a:lnTo>
                    <a:pt x="452" y="42"/>
                  </a:lnTo>
                  <a:lnTo>
                    <a:pt x="450" y="52"/>
                  </a:lnTo>
                  <a:lnTo>
                    <a:pt x="455" y="62"/>
                  </a:lnTo>
                  <a:lnTo>
                    <a:pt x="455" y="62"/>
                  </a:lnTo>
                  <a:lnTo>
                    <a:pt x="459" y="70"/>
                  </a:lnTo>
                  <a:lnTo>
                    <a:pt x="459" y="73"/>
                  </a:lnTo>
                  <a:lnTo>
                    <a:pt x="458" y="76"/>
                  </a:lnTo>
                  <a:lnTo>
                    <a:pt x="458" y="76"/>
                  </a:lnTo>
                  <a:lnTo>
                    <a:pt x="455" y="77"/>
                  </a:lnTo>
                  <a:lnTo>
                    <a:pt x="450" y="79"/>
                  </a:lnTo>
                  <a:lnTo>
                    <a:pt x="447" y="80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93"/>
                  </a:lnTo>
                  <a:lnTo>
                    <a:pt x="446" y="98"/>
                  </a:lnTo>
                  <a:lnTo>
                    <a:pt x="449" y="102"/>
                  </a:lnTo>
                  <a:lnTo>
                    <a:pt x="449" y="102"/>
                  </a:lnTo>
                  <a:lnTo>
                    <a:pt x="452" y="104"/>
                  </a:lnTo>
                  <a:lnTo>
                    <a:pt x="455" y="104"/>
                  </a:lnTo>
                  <a:lnTo>
                    <a:pt x="458" y="104"/>
                  </a:lnTo>
                  <a:lnTo>
                    <a:pt x="461" y="105"/>
                  </a:lnTo>
                  <a:lnTo>
                    <a:pt x="461" y="105"/>
                  </a:lnTo>
                  <a:lnTo>
                    <a:pt x="462" y="110"/>
                  </a:lnTo>
                  <a:lnTo>
                    <a:pt x="464" y="114"/>
                  </a:lnTo>
                  <a:lnTo>
                    <a:pt x="464" y="117"/>
                  </a:lnTo>
                  <a:lnTo>
                    <a:pt x="466" y="120"/>
                  </a:lnTo>
                  <a:lnTo>
                    <a:pt x="466" y="120"/>
                  </a:lnTo>
                  <a:lnTo>
                    <a:pt x="468" y="123"/>
                  </a:lnTo>
                  <a:lnTo>
                    <a:pt x="469" y="126"/>
                  </a:lnTo>
                  <a:lnTo>
                    <a:pt x="471" y="129"/>
                  </a:lnTo>
                  <a:lnTo>
                    <a:pt x="474" y="132"/>
                  </a:lnTo>
                  <a:lnTo>
                    <a:pt x="474" y="132"/>
                  </a:lnTo>
                  <a:lnTo>
                    <a:pt x="475" y="133"/>
                  </a:lnTo>
                  <a:lnTo>
                    <a:pt x="478" y="133"/>
                  </a:lnTo>
                  <a:lnTo>
                    <a:pt x="480" y="132"/>
                  </a:lnTo>
                  <a:lnTo>
                    <a:pt x="481" y="129"/>
                  </a:lnTo>
                  <a:lnTo>
                    <a:pt x="481" y="129"/>
                  </a:lnTo>
                  <a:lnTo>
                    <a:pt x="484" y="128"/>
                  </a:lnTo>
                  <a:lnTo>
                    <a:pt x="487" y="125"/>
                  </a:lnTo>
                  <a:lnTo>
                    <a:pt x="490" y="125"/>
                  </a:lnTo>
                  <a:lnTo>
                    <a:pt x="493" y="126"/>
                  </a:lnTo>
                  <a:lnTo>
                    <a:pt x="493" y="126"/>
                  </a:lnTo>
                  <a:lnTo>
                    <a:pt x="493" y="129"/>
                  </a:lnTo>
                  <a:lnTo>
                    <a:pt x="493" y="132"/>
                  </a:lnTo>
                  <a:lnTo>
                    <a:pt x="490" y="138"/>
                  </a:lnTo>
                  <a:lnTo>
                    <a:pt x="490" y="138"/>
                  </a:lnTo>
                  <a:lnTo>
                    <a:pt x="490" y="142"/>
                  </a:lnTo>
                  <a:lnTo>
                    <a:pt x="490" y="145"/>
                  </a:lnTo>
                  <a:lnTo>
                    <a:pt x="493" y="151"/>
                  </a:lnTo>
                  <a:lnTo>
                    <a:pt x="493" y="151"/>
                  </a:lnTo>
                  <a:lnTo>
                    <a:pt x="498" y="165"/>
                  </a:lnTo>
                  <a:lnTo>
                    <a:pt x="499" y="172"/>
                  </a:lnTo>
                  <a:lnTo>
                    <a:pt x="498" y="178"/>
                  </a:lnTo>
                  <a:lnTo>
                    <a:pt x="498" y="178"/>
                  </a:lnTo>
                  <a:lnTo>
                    <a:pt x="496" y="181"/>
                  </a:lnTo>
                  <a:lnTo>
                    <a:pt x="492" y="184"/>
                  </a:lnTo>
                  <a:lnTo>
                    <a:pt x="489" y="184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78" y="182"/>
                  </a:lnTo>
                  <a:lnTo>
                    <a:pt x="475" y="182"/>
                  </a:lnTo>
                  <a:lnTo>
                    <a:pt x="472" y="184"/>
                  </a:lnTo>
                  <a:lnTo>
                    <a:pt x="471" y="188"/>
                  </a:lnTo>
                  <a:lnTo>
                    <a:pt x="471" y="188"/>
                  </a:lnTo>
                  <a:lnTo>
                    <a:pt x="466" y="193"/>
                  </a:lnTo>
                  <a:lnTo>
                    <a:pt x="462" y="197"/>
                  </a:lnTo>
                  <a:lnTo>
                    <a:pt x="455" y="202"/>
                  </a:lnTo>
                  <a:lnTo>
                    <a:pt x="449" y="203"/>
                  </a:lnTo>
                  <a:lnTo>
                    <a:pt x="449" y="203"/>
                  </a:lnTo>
                  <a:lnTo>
                    <a:pt x="432" y="205"/>
                  </a:lnTo>
                  <a:lnTo>
                    <a:pt x="415" y="205"/>
                  </a:lnTo>
                  <a:lnTo>
                    <a:pt x="415" y="205"/>
                  </a:lnTo>
                  <a:lnTo>
                    <a:pt x="389" y="200"/>
                  </a:lnTo>
                  <a:lnTo>
                    <a:pt x="389" y="200"/>
                  </a:lnTo>
                  <a:lnTo>
                    <a:pt x="388" y="202"/>
                  </a:lnTo>
                  <a:lnTo>
                    <a:pt x="385" y="202"/>
                  </a:lnTo>
                  <a:lnTo>
                    <a:pt x="384" y="203"/>
                  </a:lnTo>
                  <a:lnTo>
                    <a:pt x="384" y="206"/>
                  </a:lnTo>
                  <a:lnTo>
                    <a:pt x="384" y="206"/>
                  </a:lnTo>
                  <a:lnTo>
                    <a:pt x="384" y="215"/>
                  </a:lnTo>
                  <a:lnTo>
                    <a:pt x="384" y="218"/>
                  </a:lnTo>
                  <a:lnTo>
                    <a:pt x="382" y="222"/>
                  </a:lnTo>
                  <a:lnTo>
                    <a:pt x="382" y="222"/>
                  </a:lnTo>
                  <a:lnTo>
                    <a:pt x="378" y="227"/>
                  </a:lnTo>
                  <a:lnTo>
                    <a:pt x="375" y="230"/>
                  </a:lnTo>
                  <a:lnTo>
                    <a:pt x="373" y="233"/>
                  </a:lnTo>
                  <a:lnTo>
                    <a:pt x="375" y="236"/>
                  </a:lnTo>
                  <a:lnTo>
                    <a:pt x="375" y="236"/>
                  </a:lnTo>
                  <a:lnTo>
                    <a:pt x="378" y="240"/>
                  </a:lnTo>
                  <a:lnTo>
                    <a:pt x="384" y="242"/>
                  </a:lnTo>
                  <a:lnTo>
                    <a:pt x="395" y="245"/>
                  </a:lnTo>
                  <a:lnTo>
                    <a:pt x="395" y="245"/>
                  </a:lnTo>
                  <a:lnTo>
                    <a:pt x="401" y="248"/>
                  </a:lnTo>
                  <a:lnTo>
                    <a:pt x="403" y="249"/>
                  </a:lnTo>
                  <a:lnTo>
                    <a:pt x="404" y="253"/>
                  </a:lnTo>
                  <a:lnTo>
                    <a:pt x="404" y="253"/>
                  </a:lnTo>
                  <a:lnTo>
                    <a:pt x="400" y="261"/>
                  </a:lnTo>
                  <a:lnTo>
                    <a:pt x="398" y="265"/>
                  </a:lnTo>
                  <a:lnTo>
                    <a:pt x="398" y="270"/>
                  </a:lnTo>
                  <a:lnTo>
                    <a:pt x="398" y="270"/>
                  </a:lnTo>
                  <a:lnTo>
                    <a:pt x="401" y="274"/>
                  </a:lnTo>
                  <a:lnTo>
                    <a:pt x="404" y="277"/>
                  </a:lnTo>
                  <a:lnTo>
                    <a:pt x="409" y="279"/>
                  </a:lnTo>
                  <a:lnTo>
                    <a:pt x="409" y="279"/>
                  </a:lnTo>
                  <a:lnTo>
                    <a:pt x="413" y="285"/>
                  </a:lnTo>
                  <a:lnTo>
                    <a:pt x="413" y="286"/>
                  </a:lnTo>
                  <a:lnTo>
                    <a:pt x="413" y="289"/>
                  </a:lnTo>
                  <a:lnTo>
                    <a:pt x="413" y="289"/>
                  </a:lnTo>
                  <a:lnTo>
                    <a:pt x="407" y="290"/>
                  </a:lnTo>
                  <a:lnTo>
                    <a:pt x="407" y="292"/>
                  </a:lnTo>
                  <a:lnTo>
                    <a:pt x="409" y="295"/>
                  </a:lnTo>
                  <a:lnTo>
                    <a:pt x="409" y="295"/>
                  </a:lnTo>
                  <a:lnTo>
                    <a:pt x="413" y="298"/>
                  </a:lnTo>
                  <a:lnTo>
                    <a:pt x="418" y="301"/>
                  </a:lnTo>
                  <a:lnTo>
                    <a:pt x="419" y="304"/>
                  </a:lnTo>
                  <a:lnTo>
                    <a:pt x="421" y="308"/>
                  </a:lnTo>
                  <a:lnTo>
                    <a:pt x="421" y="308"/>
                  </a:lnTo>
                  <a:lnTo>
                    <a:pt x="421" y="320"/>
                  </a:lnTo>
                  <a:lnTo>
                    <a:pt x="424" y="327"/>
                  </a:lnTo>
                  <a:lnTo>
                    <a:pt x="426" y="335"/>
                  </a:lnTo>
                  <a:lnTo>
                    <a:pt x="426" y="335"/>
                  </a:lnTo>
                  <a:lnTo>
                    <a:pt x="429" y="342"/>
                  </a:lnTo>
                  <a:lnTo>
                    <a:pt x="431" y="348"/>
                  </a:lnTo>
                  <a:lnTo>
                    <a:pt x="432" y="351"/>
                  </a:lnTo>
                  <a:lnTo>
                    <a:pt x="434" y="354"/>
                  </a:lnTo>
                  <a:lnTo>
                    <a:pt x="437" y="356"/>
                  </a:lnTo>
                  <a:lnTo>
                    <a:pt x="443" y="359"/>
                  </a:lnTo>
                  <a:lnTo>
                    <a:pt x="443" y="359"/>
                  </a:lnTo>
                  <a:lnTo>
                    <a:pt x="452" y="362"/>
                  </a:lnTo>
                  <a:lnTo>
                    <a:pt x="458" y="363"/>
                  </a:lnTo>
                  <a:lnTo>
                    <a:pt x="462" y="362"/>
                  </a:lnTo>
                  <a:lnTo>
                    <a:pt x="465" y="362"/>
                  </a:lnTo>
                  <a:lnTo>
                    <a:pt x="465" y="362"/>
                  </a:lnTo>
                  <a:lnTo>
                    <a:pt x="472" y="359"/>
                  </a:lnTo>
                  <a:lnTo>
                    <a:pt x="477" y="359"/>
                  </a:lnTo>
                  <a:lnTo>
                    <a:pt x="480" y="362"/>
                  </a:lnTo>
                  <a:lnTo>
                    <a:pt x="480" y="362"/>
                  </a:lnTo>
                  <a:lnTo>
                    <a:pt x="481" y="365"/>
                  </a:lnTo>
                  <a:lnTo>
                    <a:pt x="481" y="367"/>
                  </a:lnTo>
                  <a:lnTo>
                    <a:pt x="483" y="369"/>
                  </a:lnTo>
                  <a:lnTo>
                    <a:pt x="487" y="372"/>
                  </a:lnTo>
                  <a:lnTo>
                    <a:pt x="487" y="372"/>
                  </a:lnTo>
                  <a:lnTo>
                    <a:pt x="495" y="375"/>
                  </a:lnTo>
                  <a:lnTo>
                    <a:pt x="502" y="376"/>
                  </a:lnTo>
                  <a:lnTo>
                    <a:pt x="502" y="376"/>
                  </a:lnTo>
                  <a:lnTo>
                    <a:pt x="505" y="378"/>
                  </a:lnTo>
                  <a:lnTo>
                    <a:pt x="508" y="381"/>
                  </a:lnTo>
                  <a:lnTo>
                    <a:pt x="514" y="388"/>
                  </a:lnTo>
                  <a:lnTo>
                    <a:pt x="523" y="402"/>
                  </a:lnTo>
                  <a:lnTo>
                    <a:pt x="523" y="402"/>
                  </a:lnTo>
                  <a:lnTo>
                    <a:pt x="521" y="406"/>
                  </a:lnTo>
                  <a:lnTo>
                    <a:pt x="520" y="413"/>
                  </a:lnTo>
                  <a:lnTo>
                    <a:pt x="512" y="433"/>
                  </a:lnTo>
                  <a:lnTo>
                    <a:pt x="502" y="461"/>
                  </a:lnTo>
                  <a:lnTo>
                    <a:pt x="502" y="461"/>
                  </a:lnTo>
                  <a:lnTo>
                    <a:pt x="501" y="462"/>
                  </a:lnTo>
                  <a:lnTo>
                    <a:pt x="496" y="462"/>
                  </a:lnTo>
                  <a:lnTo>
                    <a:pt x="483" y="464"/>
                  </a:lnTo>
                  <a:lnTo>
                    <a:pt x="483" y="464"/>
                  </a:lnTo>
                  <a:lnTo>
                    <a:pt x="478" y="464"/>
                  </a:lnTo>
                  <a:lnTo>
                    <a:pt x="474" y="465"/>
                  </a:lnTo>
                  <a:lnTo>
                    <a:pt x="461" y="473"/>
                  </a:lnTo>
                  <a:lnTo>
                    <a:pt x="449" y="480"/>
                  </a:lnTo>
                  <a:lnTo>
                    <a:pt x="441" y="487"/>
                  </a:lnTo>
                  <a:lnTo>
                    <a:pt x="441" y="487"/>
                  </a:lnTo>
                  <a:lnTo>
                    <a:pt x="437" y="498"/>
                  </a:lnTo>
                  <a:lnTo>
                    <a:pt x="432" y="513"/>
                  </a:lnTo>
                  <a:lnTo>
                    <a:pt x="428" y="526"/>
                  </a:lnTo>
                  <a:lnTo>
                    <a:pt x="426" y="532"/>
                  </a:lnTo>
                  <a:lnTo>
                    <a:pt x="424" y="535"/>
                  </a:lnTo>
                  <a:lnTo>
                    <a:pt x="424" y="535"/>
                  </a:lnTo>
                  <a:lnTo>
                    <a:pt x="415" y="545"/>
                  </a:lnTo>
                  <a:lnTo>
                    <a:pt x="404" y="557"/>
                  </a:lnTo>
                  <a:lnTo>
                    <a:pt x="404" y="557"/>
                  </a:lnTo>
                  <a:lnTo>
                    <a:pt x="397" y="561"/>
                  </a:lnTo>
                  <a:lnTo>
                    <a:pt x="389" y="566"/>
                  </a:lnTo>
                  <a:lnTo>
                    <a:pt x="376" y="572"/>
                  </a:lnTo>
                  <a:lnTo>
                    <a:pt x="376" y="572"/>
                  </a:lnTo>
                  <a:lnTo>
                    <a:pt x="373" y="575"/>
                  </a:lnTo>
                  <a:lnTo>
                    <a:pt x="370" y="579"/>
                  </a:lnTo>
                  <a:lnTo>
                    <a:pt x="366" y="584"/>
                  </a:lnTo>
                  <a:lnTo>
                    <a:pt x="363" y="585"/>
                  </a:lnTo>
                  <a:lnTo>
                    <a:pt x="360" y="585"/>
                  </a:lnTo>
                  <a:lnTo>
                    <a:pt x="360" y="585"/>
                  </a:lnTo>
                  <a:lnTo>
                    <a:pt x="351" y="588"/>
                  </a:lnTo>
                  <a:lnTo>
                    <a:pt x="347" y="591"/>
                  </a:lnTo>
                  <a:lnTo>
                    <a:pt x="345" y="593"/>
                  </a:lnTo>
                  <a:lnTo>
                    <a:pt x="344" y="594"/>
                  </a:lnTo>
                  <a:lnTo>
                    <a:pt x="345" y="597"/>
                  </a:lnTo>
                  <a:lnTo>
                    <a:pt x="348" y="599"/>
                  </a:lnTo>
                  <a:lnTo>
                    <a:pt x="348" y="599"/>
                  </a:lnTo>
                  <a:lnTo>
                    <a:pt x="352" y="601"/>
                  </a:lnTo>
                  <a:lnTo>
                    <a:pt x="357" y="604"/>
                  </a:lnTo>
                  <a:lnTo>
                    <a:pt x="358" y="607"/>
                  </a:lnTo>
                  <a:lnTo>
                    <a:pt x="358" y="612"/>
                  </a:lnTo>
                  <a:lnTo>
                    <a:pt x="358" y="612"/>
                  </a:lnTo>
                  <a:lnTo>
                    <a:pt x="358" y="618"/>
                  </a:lnTo>
                  <a:lnTo>
                    <a:pt x="361" y="622"/>
                  </a:lnTo>
                  <a:lnTo>
                    <a:pt x="366" y="625"/>
                  </a:lnTo>
                  <a:lnTo>
                    <a:pt x="370" y="627"/>
                  </a:lnTo>
                  <a:lnTo>
                    <a:pt x="370" y="627"/>
                  </a:lnTo>
                  <a:lnTo>
                    <a:pt x="375" y="627"/>
                  </a:lnTo>
                  <a:lnTo>
                    <a:pt x="379" y="627"/>
                  </a:lnTo>
                  <a:lnTo>
                    <a:pt x="381" y="628"/>
                  </a:lnTo>
                  <a:lnTo>
                    <a:pt x="382" y="630"/>
                  </a:lnTo>
                  <a:lnTo>
                    <a:pt x="387" y="640"/>
                  </a:lnTo>
                  <a:lnTo>
                    <a:pt x="387" y="640"/>
                  </a:lnTo>
                  <a:lnTo>
                    <a:pt x="389" y="646"/>
                  </a:lnTo>
                  <a:lnTo>
                    <a:pt x="391" y="649"/>
                  </a:lnTo>
                  <a:lnTo>
                    <a:pt x="394" y="650"/>
                  </a:lnTo>
                  <a:lnTo>
                    <a:pt x="395" y="650"/>
                  </a:lnTo>
                  <a:lnTo>
                    <a:pt x="397" y="652"/>
                  </a:lnTo>
                  <a:lnTo>
                    <a:pt x="397" y="655"/>
                  </a:lnTo>
                  <a:lnTo>
                    <a:pt x="397" y="655"/>
                  </a:lnTo>
                  <a:lnTo>
                    <a:pt x="397" y="671"/>
                  </a:lnTo>
                  <a:lnTo>
                    <a:pt x="395" y="686"/>
                  </a:lnTo>
                  <a:lnTo>
                    <a:pt x="395" y="686"/>
                  </a:lnTo>
                  <a:lnTo>
                    <a:pt x="392" y="689"/>
                  </a:lnTo>
                  <a:lnTo>
                    <a:pt x="389" y="690"/>
                  </a:lnTo>
                  <a:lnTo>
                    <a:pt x="387" y="693"/>
                  </a:lnTo>
                  <a:lnTo>
                    <a:pt x="384" y="696"/>
                  </a:lnTo>
                  <a:lnTo>
                    <a:pt x="384" y="696"/>
                  </a:lnTo>
                  <a:lnTo>
                    <a:pt x="375" y="708"/>
                  </a:lnTo>
                  <a:lnTo>
                    <a:pt x="370" y="714"/>
                  </a:lnTo>
                  <a:lnTo>
                    <a:pt x="366" y="717"/>
                  </a:lnTo>
                  <a:lnTo>
                    <a:pt x="366" y="717"/>
                  </a:lnTo>
                  <a:lnTo>
                    <a:pt x="357" y="721"/>
                  </a:lnTo>
                  <a:lnTo>
                    <a:pt x="347" y="723"/>
                  </a:lnTo>
                  <a:lnTo>
                    <a:pt x="347" y="723"/>
                  </a:lnTo>
                  <a:lnTo>
                    <a:pt x="342" y="723"/>
                  </a:lnTo>
                  <a:lnTo>
                    <a:pt x="338" y="726"/>
                  </a:lnTo>
                  <a:lnTo>
                    <a:pt x="333" y="729"/>
                  </a:lnTo>
                  <a:lnTo>
                    <a:pt x="332" y="732"/>
                  </a:lnTo>
                  <a:lnTo>
                    <a:pt x="332" y="732"/>
                  </a:lnTo>
                  <a:lnTo>
                    <a:pt x="330" y="735"/>
                  </a:lnTo>
                  <a:lnTo>
                    <a:pt x="326" y="738"/>
                  </a:lnTo>
                  <a:lnTo>
                    <a:pt x="320" y="741"/>
                  </a:lnTo>
                  <a:lnTo>
                    <a:pt x="312" y="742"/>
                  </a:lnTo>
                  <a:lnTo>
                    <a:pt x="312" y="742"/>
                  </a:lnTo>
                  <a:lnTo>
                    <a:pt x="308" y="744"/>
                  </a:lnTo>
                  <a:lnTo>
                    <a:pt x="304" y="747"/>
                  </a:lnTo>
                  <a:lnTo>
                    <a:pt x="296" y="756"/>
                  </a:lnTo>
                  <a:lnTo>
                    <a:pt x="296" y="756"/>
                  </a:lnTo>
                  <a:lnTo>
                    <a:pt x="293" y="760"/>
                  </a:lnTo>
                  <a:lnTo>
                    <a:pt x="290" y="763"/>
                  </a:lnTo>
                  <a:lnTo>
                    <a:pt x="287" y="764"/>
                  </a:lnTo>
                  <a:lnTo>
                    <a:pt x="284" y="763"/>
                  </a:lnTo>
                  <a:lnTo>
                    <a:pt x="284" y="763"/>
                  </a:lnTo>
                  <a:lnTo>
                    <a:pt x="280" y="761"/>
                  </a:lnTo>
                  <a:lnTo>
                    <a:pt x="275" y="760"/>
                  </a:lnTo>
                  <a:lnTo>
                    <a:pt x="270" y="760"/>
                  </a:lnTo>
                  <a:lnTo>
                    <a:pt x="268" y="760"/>
                  </a:lnTo>
                  <a:lnTo>
                    <a:pt x="268" y="761"/>
                  </a:lnTo>
                  <a:lnTo>
                    <a:pt x="268" y="761"/>
                  </a:lnTo>
                  <a:lnTo>
                    <a:pt x="262" y="775"/>
                  </a:lnTo>
                  <a:lnTo>
                    <a:pt x="262" y="775"/>
                  </a:lnTo>
                  <a:lnTo>
                    <a:pt x="258" y="778"/>
                  </a:lnTo>
                  <a:lnTo>
                    <a:pt x="253" y="781"/>
                  </a:lnTo>
                  <a:lnTo>
                    <a:pt x="252" y="782"/>
                  </a:lnTo>
                  <a:lnTo>
                    <a:pt x="252" y="782"/>
                  </a:lnTo>
                  <a:lnTo>
                    <a:pt x="250" y="791"/>
                  </a:lnTo>
                  <a:lnTo>
                    <a:pt x="250" y="795"/>
                  </a:lnTo>
                  <a:lnTo>
                    <a:pt x="247" y="800"/>
                  </a:lnTo>
                  <a:lnTo>
                    <a:pt x="247" y="800"/>
                  </a:lnTo>
                  <a:lnTo>
                    <a:pt x="237" y="810"/>
                  </a:lnTo>
                  <a:lnTo>
                    <a:pt x="224" y="819"/>
                  </a:lnTo>
                  <a:lnTo>
                    <a:pt x="224" y="819"/>
                  </a:lnTo>
                  <a:lnTo>
                    <a:pt x="212" y="828"/>
                  </a:lnTo>
                  <a:lnTo>
                    <a:pt x="203" y="837"/>
                  </a:lnTo>
                  <a:lnTo>
                    <a:pt x="203" y="837"/>
                  </a:lnTo>
                  <a:lnTo>
                    <a:pt x="200" y="847"/>
                  </a:lnTo>
                  <a:lnTo>
                    <a:pt x="197" y="852"/>
                  </a:lnTo>
                  <a:lnTo>
                    <a:pt x="196" y="855"/>
                  </a:lnTo>
                  <a:lnTo>
                    <a:pt x="194" y="856"/>
                  </a:lnTo>
                  <a:lnTo>
                    <a:pt x="194" y="856"/>
                  </a:lnTo>
                  <a:lnTo>
                    <a:pt x="187" y="858"/>
                  </a:lnTo>
                  <a:lnTo>
                    <a:pt x="181" y="859"/>
                  </a:lnTo>
                  <a:lnTo>
                    <a:pt x="173" y="858"/>
                  </a:lnTo>
                  <a:lnTo>
                    <a:pt x="173" y="858"/>
                  </a:lnTo>
                  <a:lnTo>
                    <a:pt x="156" y="856"/>
                  </a:lnTo>
                  <a:lnTo>
                    <a:pt x="144" y="856"/>
                  </a:lnTo>
                  <a:lnTo>
                    <a:pt x="144" y="856"/>
                  </a:lnTo>
                  <a:lnTo>
                    <a:pt x="136" y="864"/>
                  </a:lnTo>
                  <a:lnTo>
                    <a:pt x="130" y="868"/>
                  </a:lnTo>
                  <a:lnTo>
                    <a:pt x="121" y="874"/>
                  </a:lnTo>
                  <a:lnTo>
                    <a:pt x="121" y="874"/>
                  </a:lnTo>
                  <a:lnTo>
                    <a:pt x="114" y="878"/>
                  </a:lnTo>
                  <a:lnTo>
                    <a:pt x="105" y="884"/>
                  </a:lnTo>
                  <a:lnTo>
                    <a:pt x="98" y="889"/>
                  </a:lnTo>
                  <a:lnTo>
                    <a:pt x="95" y="890"/>
                  </a:lnTo>
                  <a:lnTo>
                    <a:pt x="92" y="890"/>
                  </a:lnTo>
                  <a:lnTo>
                    <a:pt x="92" y="890"/>
                  </a:lnTo>
                  <a:lnTo>
                    <a:pt x="84" y="889"/>
                  </a:lnTo>
                  <a:lnTo>
                    <a:pt x="76" y="886"/>
                  </a:lnTo>
                  <a:lnTo>
                    <a:pt x="67" y="884"/>
                  </a:lnTo>
                  <a:lnTo>
                    <a:pt x="59" y="883"/>
                  </a:lnTo>
                  <a:lnTo>
                    <a:pt x="59" y="883"/>
                  </a:lnTo>
                  <a:lnTo>
                    <a:pt x="46" y="886"/>
                  </a:lnTo>
                  <a:lnTo>
                    <a:pt x="39" y="889"/>
                  </a:lnTo>
                  <a:lnTo>
                    <a:pt x="37" y="890"/>
                  </a:lnTo>
                  <a:lnTo>
                    <a:pt x="36" y="893"/>
                  </a:lnTo>
                  <a:lnTo>
                    <a:pt x="36" y="893"/>
                  </a:lnTo>
                  <a:lnTo>
                    <a:pt x="34" y="902"/>
                  </a:lnTo>
                  <a:lnTo>
                    <a:pt x="34" y="907"/>
                  </a:lnTo>
                  <a:lnTo>
                    <a:pt x="36" y="911"/>
                  </a:lnTo>
                  <a:lnTo>
                    <a:pt x="36" y="911"/>
                  </a:lnTo>
                  <a:lnTo>
                    <a:pt x="40" y="917"/>
                  </a:lnTo>
                  <a:lnTo>
                    <a:pt x="42" y="918"/>
                  </a:lnTo>
                  <a:lnTo>
                    <a:pt x="40" y="920"/>
                  </a:lnTo>
                  <a:lnTo>
                    <a:pt x="40" y="920"/>
                  </a:lnTo>
                  <a:lnTo>
                    <a:pt x="34" y="929"/>
                  </a:lnTo>
                  <a:lnTo>
                    <a:pt x="27" y="938"/>
                  </a:lnTo>
                  <a:lnTo>
                    <a:pt x="27" y="938"/>
                  </a:lnTo>
                  <a:lnTo>
                    <a:pt x="24" y="948"/>
                  </a:lnTo>
                  <a:lnTo>
                    <a:pt x="22" y="954"/>
                  </a:lnTo>
                  <a:lnTo>
                    <a:pt x="24" y="958"/>
                  </a:lnTo>
                  <a:lnTo>
                    <a:pt x="24" y="958"/>
                  </a:lnTo>
                  <a:lnTo>
                    <a:pt x="24" y="963"/>
                  </a:lnTo>
                  <a:lnTo>
                    <a:pt x="24" y="969"/>
                  </a:lnTo>
                  <a:lnTo>
                    <a:pt x="24" y="976"/>
                  </a:lnTo>
                  <a:lnTo>
                    <a:pt x="24" y="976"/>
                  </a:lnTo>
                  <a:lnTo>
                    <a:pt x="24" y="979"/>
                  </a:lnTo>
                  <a:lnTo>
                    <a:pt x="27" y="981"/>
                  </a:lnTo>
                  <a:lnTo>
                    <a:pt x="34" y="985"/>
                  </a:lnTo>
                  <a:lnTo>
                    <a:pt x="34" y="985"/>
                  </a:lnTo>
                  <a:lnTo>
                    <a:pt x="46" y="988"/>
                  </a:lnTo>
                  <a:lnTo>
                    <a:pt x="50" y="991"/>
                  </a:lnTo>
                  <a:lnTo>
                    <a:pt x="50" y="992"/>
                  </a:lnTo>
                  <a:lnTo>
                    <a:pt x="50" y="995"/>
                  </a:lnTo>
                  <a:lnTo>
                    <a:pt x="50" y="995"/>
                  </a:lnTo>
                  <a:lnTo>
                    <a:pt x="47" y="1000"/>
                  </a:lnTo>
                  <a:lnTo>
                    <a:pt x="43" y="1004"/>
                  </a:lnTo>
                  <a:lnTo>
                    <a:pt x="33" y="1009"/>
                  </a:lnTo>
                  <a:lnTo>
                    <a:pt x="33" y="1009"/>
                  </a:lnTo>
                  <a:lnTo>
                    <a:pt x="25" y="1012"/>
                  </a:lnTo>
                  <a:lnTo>
                    <a:pt x="18" y="1015"/>
                  </a:lnTo>
                  <a:lnTo>
                    <a:pt x="18" y="1015"/>
                  </a:lnTo>
                  <a:lnTo>
                    <a:pt x="16" y="1019"/>
                  </a:lnTo>
                  <a:lnTo>
                    <a:pt x="13" y="1024"/>
                  </a:lnTo>
                  <a:lnTo>
                    <a:pt x="10" y="1027"/>
                  </a:lnTo>
                  <a:lnTo>
                    <a:pt x="10" y="1027"/>
                  </a:lnTo>
                  <a:lnTo>
                    <a:pt x="3" y="1032"/>
                  </a:lnTo>
                  <a:lnTo>
                    <a:pt x="0" y="1037"/>
                  </a:lnTo>
                  <a:lnTo>
                    <a:pt x="0" y="1044"/>
                  </a:lnTo>
                  <a:lnTo>
                    <a:pt x="0" y="1044"/>
                  </a:lnTo>
                  <a:lnTo>
                    <a:pt x="2" y="1075"/>
                  </a:lnTo>
                  <a:lnTo>
                    <a:pt x="2" y="1075"/>
                  </a:lnTo>
                  <a:lnTo>
                    <a:pt x="9" y="1077"/>
                  </a:lnTo>
                  <a:lnTo>
                    <a:pt x="9" y="1077"/>
                  </a:lnTo>
                  <a:lnTo>
                    <a:pt x="12" y="1078"/>
                  </a:lnTo>
                  <a:lnTo>
                    <a:pt x="13" y="1081"/>
                  </a:lnTo>
                  <a:lnTo>
                    <a:pt x="16" y="1089"/>
                  </a:lnTo>
                  <a:lnTo>
                    <a:pt x="21" y="1096"/>
                  </a:lnTo>
                  <a:lnTo>
                    <a:pt x="24" y="1101"/>
                  </a:lnTo>
                  <a:lnTo>
                    <a:pt x="27" y="1104"/>
                  </a:lnTo>
                  <a:lnTo>
                    <a:pt x="27" y="1104"/>
                  </a:lnTo>
                  <a:lnTo>
                    <a:pt x="37" y="1108"/>
                  </a:lnTo>
                  <a:lnTo>
                    <a:pt x="46" y="1112"/>
                  </a:lnTo>
                  <a:lnTo>
                    <a:pt x="56" y="1114"/>
                  </a:lnTo>
                  <a:lnTo>
                    <a:pt x="64" y="1115"/>
                  </a:lnTo>
                  <a:lnTo>
                    <a:pt x="64" y="1115"/>
                  </a:lnTo>
                  <a:lnTo>
                    <a:pt x="65" y="1115"/>
                  </a:lnTo>
                  <a:lnTo>
                    <a:pt x="67" y="1117"/>
                  </a:lnTo>
                  <a:lnTo>
                    <a:pt x="67" y="1120"/>
                  </a:lnTo>
                  <a:lnTo>
                    <a:pt x="67" y="1123"/>
                  </a:lnTo>
                  <a:lnTo>
                    <a:pt x="67" y="1126"/>
                  </a:lnTo>
                  <a:lnTo>
                    <a:pt x="70" y="1127"/>
                  </a:lnTo>
                  <a:lnTo>
                    <a:pt x="76" y="1130"/>
                  </a:lnTo>
                  <a:lnTo>
                    <a:pt x="76" y="1130"/>
                  </a:lnTo>
                  <a:lnTo>
                    <a:pt x="81" y="1132"/>
                  </a:lnTo>
                  <a:lnTo>
                    <a:pt x="90" y="1132"/>
                  </a:lnTo>
                  <a:lnTo>
                    <a:pt x="108" y="1130"/>
                  </a:lnTo>
                  <a:lnTo>
                    <a:pt x="136" y="1124"/>
                  </a:lnTo>
                  <a:lnTo>
                    <a:pt x="136" y="1124"/>
                  </a:lnTo>
                  <a:lnTo>
                    <a:pt x="141" y="1124"/>
                  </a:lnTo>
                  <a:lnTo>
                    <a:pt x="145" y="1126"/>
                  </a:lnTo>
                  <a:lnTo>
                    <a:pt x="157" y="1129"/>
                  </a:lnTo>
                  <a:lnTo>
                    <a:pt x="169" y="1133"/>
                  </a:lnTo>
                  <a:lnTo>
                    <a:pt x="175" y="1135"/>
                  </a:lnTo>
                  <a:lnTo>
                    <a:pt x="181" y="1135"/>
                  </a:lnTo>
                  <a:lnTo>
                    <a:pt x="181" y="1135"/>
                  </a:lnTo>
                  <a:lnTo>
                    <a:pt x="187" y="1133"/>
                  </a:lnTo>
                  <a:lnTo>
                    <a:pt x="191" y="1132"/>
                  </a:lnTo>
                  <a:lnTo>
                    <a:pt x="200" y="1126"/>
                  </a:lnTo>
                  <a:lnTo>
                    <a:pt x="209" y="1120"/>
                  </a:lnTo>
                  <a:lnTo>
                    <a:pt x="213" y="1118"/>
                  </a:lnTo>
                  <a:lnTo>
                    <a:pt x="218" y="1117"/>
                  </a:lnTo>
                  <a:lnTo>
                    <a:pt x="218" y="1117"/>
                  </a:lnTo>
                  <a:lnTo>
                    <a:pt x="222" y="1117"/>
                  </a:lnTo>
                  <a:lnTo>
                    <a:pt x="225" y="1117"/>
                  </a:lnTo>
                  <a:lnTo>
                    <a:pt x="231" y="1121"/>
                  </a:lnTo>
                  <a:lnTo>
                    <a:pt x="237" y="1124"/>
                  </a:lnTo>
                  <a:lnTo>
                    <a:pt x="240" y="1124"/>
                  </a:lnTo>
                  <a:lnTo>
                    <a:pt x="243" y="1124"/>
                  </a:lnTo>
                  <a:lnTo>
                    <a:pt x="243" y="1124"/>
                  </a:lnTo>
                  <a:lnTo>
                    <a:pt x="247" y="1123"/>
                  </a:lnTo>
                  <a:lnTo>
                    <a:pt x="252" y="1118"/>
                  </a:lnTo>
                  <a:lnTo>
                    <a:pt x="264" y="1107"/>
                  </a:lnTo>
                  <a:lnTo>
                    <a:pt x="277" y="1095"/>
                  </a:lnTo>
                  <a:lnTo>
                    <a:pt x="281" y="1092"/>
                  </a:lnTo>
                  <a:lnTo>
                    <a:pt x="287" y="1090"/>
                  </a:lnTo>
                  <a:lnTo>
                    <a:pt x="287" y="1090"/>
                  </a:lnTo>
                  <a:lnTo>
                    <a:pt x="296" y="1089"/>
                  </a:lnTo>
                  <a:lnTo>
                    <a:pt x="307" y="1087"/>
                  </a:lnTo>
                  <a:lnTo>
                    <a:pt x="317" y="1084"/>
                  </a:lnTo>
                  <a:lnTo>
                    <a:pt x="327" y="1078"/>
                  </a:lnTo>
                  <a:lnTo>
                    <a:pt x="327" y="1078"/>
                  </a:lnTo>
                  <a:lnTo>
                    <a:pt x="338" y="1071"/>
                  </a:lnTo>
                  <a:lnTo>
                    <a:pt x="348" y="1065"/>
                  </a:lnTo>
                  <a:lnTo>
                    <a:pt x="358" y="1062"/>
                  </a:lnTo>
                  <a:lnTo>
                    <a:pt x="372" y="1061"/>
                  </a:lnTo>
                  <a:lnTo>
                    <a:pt x="372" y="1061"/>
                  </a:lnTo>
                  <a:lnTo>
                    <a:pt x="379" y="1059"/>
                  </a:lnTo>
                  <a:lnTo>
                    <a:pt x="385" y="1058"/>
                  </a:lnTo>
                  <a:lnTo>
                    <a:pt x="392" y="1055"/>
                  </a:lnTo>
                  <a:lnTo>
                    <a:pt x="397" y="1050"/>
                  </a:lnTo>
                  <a:lnTo>
                    <a:pt x="401" y="1046"/>
                  </a:lnTo>
                  <a:lnTo>
                    <a:pt x="406" y="1041"/>
                  </a:lnTo>
                  <a:lnTo>
                    <a:pt x="409" y="1034"/>
                  </a:lnTo>
                  <a:lnTo>
                    <a:pt x="410" y="1028"/>
                  </a:lnTo>
                  <a:lnTo>
                    <a:pt x="410" y="1028"/>
                  </a:lnTo>
                  <a:lnTo>
                    <a:pt x="415" y="1019"/>
                  </a:lnTo>
                  <a:lnTo>
                    <a:pt x="421" y="1009"/>
                  </a:lnTo>
                  <a:lnTo>
                    <a:pt x="431" y="997"/>
                  </a:lnTo>
                  <a:lnTo>
                    <a:pt x="441" y="985"/>
                  </a:lnTo>
                  <a:lnTo>
                    <a:pt x="464" y="964"/>
                  </a:lnTo>
                  <a:lnTo>
                    <a:pt x="472" y="958"/>
                  </a:lnTo>
                  <a:lnTo>
                    <a:pt x="480" y="954"/>
                  </a:lnTo>
                  <a:lnTo>
                    <a:pt x="480" y="954"/>
                  </a:lnTo>
                  <a:lnTo>
                    <a:pt x="490" y="952"/>
                  </a:lnTo>
                  <a:lnTo>
                    <a:pt x="501" y="954"/>
                  </a:lnTo>
                  <a:lnTo>
                    <a:pt x="511" y="958"/>
                  </a:lnTo>
                  <a:lnTo>
                    <a:pt x="520" y="966"/>
                  </a:lnTo>
                  <a:lnTo>
                    <a:pt x="520" y="966"/>
                  </a:lnTo>
                  <a:lnTo>
                    <a:pt x="524" y="969"/>
                  </a:lnTo>
                  <a:lnTo>
                    <a:pt x="530" y="972"/>
                  </a:lnTo>
                  <a:lnTo>
                    <a:pt x="545" y="976"/>
                  </a:lnTo>
                  <a:lnTo>
                    <a:pt x="558" y="978"/>
                  </a:lnTo>
                  <a:lnTo>
                    <a:pt x="569" y="978"/>
                  </a:lnTo>
                  <a:lnTo>
                    <a:pt x="569" y="978"/>
                  </a:lnTo>
                  <a:lnTo>
                    <a:pt x="572" y="976"/>
                  </a:lnTo>
                  <a:lnTo>
                    <a:pt x="578" y="973"/>
                  </a:lnTo>
                  <a:lnTo>
                    <a:pt x="588" y="964"/>
                  </a:lnTo>
                  <a:lnTo>
                    <a:pt x="600" y="955"/>
                  </a:lnTo>
                  <a:lnTo>
                    <a:pt x="609" y="950"/>
                  </a:lnTo>
                  <a:lnTo>
                    <a:pt x="609" y="950"/>
                  </a:lnTo>
                  <a:lnTo>
                    <a:pt x="618" y="948"/>
                  </a:lnTo>
                  <a:lnTo>
                    <a:pt x="628" y="948"/>
                  </a:lnTo>
                  <a:lnTo>
                    <a:pt x="637" y="951"/>
                  </a:lnTo>
                  <a:lnTo>
                    <a:pt x="647" y="957"/>
                  </a:lnTo>
                  <a:lnTo>
                    <a:pt x="647" y="957"/>
                  </a:lnTo>
                  <a:lnTo>
                    <a:pt x="652" y="961"/>
                  </a:lnTo>
                  <a:lnTo>
                    <a:pt x="659" y="964"/>
                  </a:lnTo>
                  <a:lnTo>
                    <a:pt x="675" y="969"/>
                  </a:lnTo>
                  <a:lnTo>
                    <a:pt x="693" y="972"/>
                  </a:lnTo>
                  <a:lnTo>
                    <a:pt x="709" y="972"/>
                  </a:lnTo>
                  <a:lnTo>
                    <a:pt x="709" y="972"/>
                  </a:lnTo>
                  <a:lnTo>
                    <a:pt x="723" y="972"/>
                  </a:lnTo>
                  <a:lnTo>
                    <a:pt x="734" y="972"/>
                  </a:lnTo>
                  <a:lnTo>
                    <a:pt x="751" y="976"/>
                  </a:lnTo>
                  <a:lnTo>
                    <a:pt x="751" y="976"/>
                  </a:lnTo>
                  <a:lnTo>
                    <a:pt x="754" y="976"/>
                  </a:lnTo>
                  <a:lnTo>
                    <a:pt x="757" y="973"/>
                  </a:lnTo>
                  <a:lnTo>
                    <a:pt x="761" y="964"/>
                  </a:lnTo>
                  <a:lnTo>
                    <a:pt x="767" y="952"/>
                  </a:lnTo>
                  <a:lnTo>
                    <a:pt x="774" y="941"/>
                  </a:lnTo>
                  <a:lnTo>
                    <a:pt x="774" y="941"/>
                  </a:lnTo>
                  <a:lnTo>
                    <a:pt x="782" y="930"/>
                  </a:lnTo>
                  <a:lnTo>
                    <a:pt x="789" y="918"/>
                  </a:lnTo>
                  <a:lnTo>
                    <a:pt x="800" y="910"/>
                  </a:lnTo>
                  <a:lnTo>
                    <a:pt x="811" y="901"/>
                  </a:lnTo>
                  <a:lnTo>
                    <a:pt x="811" y="901"/>
                  </a:lnTo>
                  <a:lnTo>
                    <a:pt x="816" y="896"/>
                  </a:lnTo>
                  <a:lnTo>
                    <a:pt x="822" y="892"/>
                  </a:lnTo>
                  <a:lnTo>
                    <a:pt x="825" y="886"/>
                  </a:lnTo>
                  <a:lnTo>
                    <a:pt x="829" y="880"/>
                  </a:lnTo>
                  <a:lnTo>
                    <a:pt x="834" y="868"/>
                  </a:lnTo>
                  <a:lnTo>
                    <a:pt x="835" y="859"/>
                  </a:lnTo>
                  <a:lnTo>
                    <a:pt x="835" y="859"/>
                  </a:lnTo>
                  <a:lnTo>
                    <a:pt x="834" y="849"/>
                  </a:lnTo>
                  <a:lnTo>
                    <a:pt x="831" y="831"/>
                  </a:lnTo>
                  <a:lnTo>
                    <a:pt x="828" y="813"/>
                  </a:lnTo>
                  <a:lnTo>
                    <a:pt x="826" y="798"/>
                  </a:lnTo>
                  <a:lnTo>
                    <a:pt x="826" y="798"/>
                  </a:lnTo>
                  <a:lnTo>
                    <a:pt x="834" y="726"/>
                  </a:lnTo>
                  <a:lnTo>
                    <a:pt x="834" y="726"/>
                  </a:lnTo>
                  <a:lnTo>
                    <a:pt x="835" y="702"/>
                  </a:lnTo>
                  <a:lnTo>
                    <a:pt x="838" y="689"/>
                  </a:lnTo>
                  <a:lnTo>
                    <a:pt x="841" y="678"/>
                  </a:lnTo>
                  <a:lnTo>
                    <a:pt x="841" y="678"/>
                  </a:lnTo>
                  <a:lnTo>
                    <a:pt x="844" y="671"/>
                  </a:lnTo>
                  <a:lnTo>
                    <a:pt x="846" y="665"/>
                  </a:lnTo>
                  <a:lnTo>
                    <a:pt x="849" y="655"/>
                  </a:lnTo>
                  <a:lnTo>
                    <a:pt x="849" y="655"/>
                  </a:lnTo>
                  <a:lnTo>
                    <a:pt x="851" y="650"/>
                  </a:lnTo>
                  <a:lnTo>
                    <a:pt x="853" y="649"/>
                  </a:lnTo>
                  <a:lnTo>
                    <a:pt x="854" y="646"/>
                  </a:lnTo>
                  <a:lnTo>
                    <a:pt x="856" y="641"/>
                  </a:lnTo>
                  <a:lnTo>
                    <a:pt x="856" y="641"/>
                  </a:lnTo>
                  <a:lnTo>
                    <a:pt x="862" y="628"/>
                  </a:lnTo>
                  <a:lnTo>
                    <a:pt x="862" y="624"/>
                  </a:lnTo>
                  <a:lnTo>
                    <a:pt x="862" y="619"/>
                  </a:lnTo>
                  <a:lnTo>
                    <a:pt x="860" y="615"/>
                  </a:lnTo>
                  <a:lnTo>
                    <a:pt x="857" y="612"/>
                  </a:lnTo>
                  <a:lnTo>
                    <a:pt x="857" y="612"/>
                  </a:lnTo>
                  <a:lnTo>
                    <a:pt x="850" y="604"/>
                  </a:lnTo>
                  <a:lnTo>
                    <a:pt x="846" y="597"/>
                  </a:lnTo>
                  <a:lnTo>
                    <a:pt x="844" y="591"/>
                  </a:lnTo>
                  <a:lnTo>
                    <a:pt x="843" y="585"/>
                  </a:lnTo>
                  <a:lnTo>
                    <a:pt x="843" y="585"/>
                  </a:lnTo>
                  <a:lnTo>
                    <a:pt x="843" y="581"/>
                  </a:lnTo>
                  <a:lnTo>
                    <a:pt x="841" y="578"/>
                  </a:lnTo>
                  <a:lnTo>
                    <a:pt x="837" y="573"/>
                  </a:lnTo>
                  <a:lnTo>
                    <a:pt x="829" y="569"/>
                  </a:lnTo>
                  <a:lnTo>
                    <a:pt x="822" y="567"/>
                  </a:lnTo>
                  <a:lnTo>
                    <a:pt x="822" y="567"/>
                  </a:lnTo>
                  <a:lnTo>
                    <a:pt x="798" y="569"/>
                  </a:lnTo>
                  <a:lnTo>
                    <a:pt x="798" y="569"/>
                  </a:lnTo>
                  <a:lnTo>
                    <a:pt x="800" y="560"/>
                  </a:lnTo>
                  <a:lnTo>
                    <a:pt x="803" y="550"/>
                  </a:lnTo>
                  <a:lnTo>
                    <a:pt x="810" y="539"/>
                  </a:lnTo>
                  <a:lnTo>
                    <a:pt x="810" y="539"/>
                  </a:lnTo>
                  <a:lnTo>
                    <a:pt x="813" y="533"/>
                  </a:lnTo>
                  <a:lnTo>
                    <a:pt x="816" y="527"/>
                  </a:lnTo>
                  <a:lnTo>
                    <a:pt x="820" y="516"/>
                  </a:lnTo>
                  <a:lnTo>
                    <a:pt x="825" y="505"/>
                  </a:lnTo>
                  <a:lnTo>
                    <a:pt x="828" y="502"/>
                  </a:lnTo>
                  <a:lnTo>
                    <a:pt x="831" y="501"/>
                  </a:lnTo>
                  <a:lnTo>
                    <a:pt x="831" y="501"/>
                  </a:lnTo>
                  <a:lnTo>
                    <a:pt x="843" y="496"/>
                  </a:lnTo>
                  <a:lnTo>
                    <a:pt x="851" y="493"/>
                  </a:lnTo>
                  <a:lnTo>
                    <a:pt x="860" y="486"/>
                  </a:lnTo>
                  <a:lnTo>
                    <a:pt x="860" y="486"/>
                  </a:lnTo>
                  <a:lnTo>
                    <a:pt x="894" y="465"/>
                  </a:lnTo>
                  <a:lnTo>
                    <a:pt x="894" y="465"/>
                  </a:lnTo>
                  <a:lnTo>
                    <a:pt x="881" y="453"/>
                  </a:lnTo>
                  <a:lnTo>
                    <a:pt x="871" y="443"/>
                  </a:lnTo>
                  <a:lnTo>
                    <a:pt x="871" y="443"/>
                  </a:lnTo>
                  <a:lnTo>
                    <a:pt x="868" y="439"/>
                  </a:lnTo>
                  <a:lnTo>
                    <a:pt x="866" y="436"/>
                  </a:lnTo>
                  <a:lnTo>
                    <a:pt x="866" y="428"/>
                  </a:lnTo>
                  <a:lnTo>
                    <a:pt x="866" y="428"/>
                  </a:lnTo>
                  <a:lnTo>
                    <a:pt x="866" y="424"/>
                  </a:lnTo>
                  <a:lnTo>
                    <a:pt x="865" y="421"/>
                  </a:lnTo>
                  <a:lnTo>
                    <a:pt x="856" y="413"/>
                  </a:lnTo>
                  <a:lnTo>
                    <a:pt x="856" y="413"/>
                  </a:lnTo>
                  <a:lnTo>
                    <a:pt x="850" y="410"/>
                  </a:lnTo>
                  <a:lnTo>
                    <a:pt x="846" y="410"/>
                  </a:lnTo>
                  <a:lnTo>
                    <a:pt x="841" y="409"/>
                  </a:lnTo>
                  <a:lnTo>
                    <a:pt x="837" y="407"/>
                  </a:lnTo>
                  <a:lnTo>
                    <a:pt x="837" y="407"/>
                  </a:lnTo>
                  <a:lnTo>
                    <a:pt x="835" y="405"/>
                  </a:lnTo>
                  <a:lnTo>
                    <a:pt x="834" y="403"/>
                  </a:lnTo>
                  <a:lnTo>
                    <a:pt x="834" y="397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7" y="375"/>
                  </a:lnTo>
                  <a:lnTo>
                    <a:pt x="834" y="372"/>
                  </a:lnTo>
                  <a:lnTo>
                    <a:pt x="832" y="370"/>
                  </a:lnTo>
                  <a:lnTo>
                    <a:pt x="829" y="367"/>
                  </a:lnTo>
                  <a:lnTo>
                    <a:pt x="829" y="367"/>
                  </a:lnTo>
                  <a:lnTo>
                    <a:pt x="829" y="366"/>
                  </a:lnTo>
                  <a:lnTo>
                    <a:pt x="829" y="363"/>
                  </a:lnTo>
                  <a:lnTo>
                    <a:pt x="832" y="362"/>
                  </a:lnTo>
                  <a:lnTo>
                    <a:pt x="837" y="360"/>
                  </a:lnTo>
                  <a:lnTo>
                    <a:pt x="840" y="359"/>
                  </a:lnTo>
                  <a:lnTo>
                    <a:pt x="840" y="359"/>
                  </a:lnTo>
                  <a:lnTo>
                    <a:pt x="844" y="357"/>
                  </a:lnTo>
                  <a:lnTo>
                    <a:pt x="846" y="356"/>
                  </a:lnTo>
                  <a:lnTo>
                    <a:pt x="847" y="353"/>
                  </a:lnTo>
                  <a:lnTo>
                    <a:pt x="847" y="350"/>
                  </a:lnTo>
                  <a:lnTo>
                    <a:pt x="847" y="350"/>
                  </a:lnTo>
                  <a:lnTo>
                    <a:pt x="841" y="345"/>
                  </a:lnTo>
                  <a:lnTo>
                    <a:pt x="832" y="338"/>
                  </a:lnTo>
                  <a:lnTo>
                    <a:pt x="832" y="338"/>
                  </a:lnTo>
                  <a:lnTo>
                    <a:pt x="829" y="333"/>
                  </a:lnTo>
                  <a:lnTo>
                    <a:pt x="828" y="329"/>
                  </a:lnTo>
                  <a:lnTo>
                    <a:pt x="828" y="325"/>
                  </a:lnTo>
                  <a:lnTo>
                    <a:pt x="826" y="322"/>
                  </a:lnTo>
                  <a:lnTo>
                    <a:pt x="826" y="322"/>
                  </a:lnTo>
                  <a:lnTo>
                    <a:pt x="825" y="320"/>
                  </a:lnTo>
                  <a:lnTo>
                    <a:pt x="822" y="320"/>
                  </a:lnTo>
                  <a:lnTo>
                    <a:pt x="817" y="320"/>
                  </a:lnTo>
                  <a:lnTo>
                    <a:pt x="813" y="322"/>
                  </a:lnTo>
                  <a:lnTo>
                    <a:pt x="811" y="322"/>
                  </a:lnTo>
                  <a:lnTo>
                    <a:pt x="810" y="320"/>
                  </a:lnTo>
                  <a:lnTo>
                    <a:pt x="810" y="320"/>
                  </a:lnTo>
                  <a:lnTo>
                    <a:pt x="809" y="317"/>
                  </a:lnTo>
                  <a:lnTo>
                    <a:pt x="810" y="313"/>
                  </a:lnTo>
                  <a:lnTo>
                    <a:pt x="813" y="299"/>
                  </a:lnTo>
                  <a:lnTo>
                    <a:pt x="813" y="299"/>
                  </a:lnTo>
                  <a:lnTo>
                    <a:pt x="813" y="292"/>
                  </a:lnTo>
                  <a:lnTo>
                    <a:pt x="813" y="288"/>
                  </a:lnTo>
                  <a:lnTo>
                    <a:pt x="810" y="282"/>
                  </a:lnTo>
                  <a:lnTo>
                    <a:pt x="809" y="279"/>
                  </a:lnTo>
                  <a:lnTo>
                    <a:pt x="809" y="279"/>
                  </a:lnTo>
                  <a:lnTo>
                    <a:pt x="806" y="271"/>
                  </a:lnTo>
                  <a:lnTo>
                    <a:pt x="804" y="262"/>
                  </a:lnTo>
                  <a:lnTo>
                    <a:pt x="801" y="243"/>
                  </a:lnTo>
                  <a:lnTo>
                    <a:pt x="801" y="243"/>
                  </a:lnTo>
                  <a:lnTo>
                    <a:pt x="798" y="237"/>
                  </a:lnTo>
                  <a:lnTo>
                    <a:pt x="794" y="231"/>
                  </a:lnTo>
                  <a:lnTo>
                    <a:pt x="788" y="228"/>
                  </a:lnTo>
                  <a:lnTo>
                    <a:pt x="782" y="228"/>
                  </a:lnTo>
                  <a:lnTo>
                    <a:pt x="782" y="228"/>
                  </a:lnTo>
                  <a:lnTo>
                    <a:pt x="779" y="230"/>
                  </a:lnTo>
                  <a:lnTo>
                    <a:pt x="779" y="231"/>
                  </a:lnTo>
                  <a:lnTo>
                    <a:pt x="777" y="237"/>
                  </a:lnTo>
                  <a:lnTo>
                    <a:pt x="776" y="248"/>
                  </a:lnTo>
                  <a:lnTo>
                    <a:pt x="776" y="248"/>
                  </a:lnTo>
                  <a:lnTo>
                    <a:pt x="774" y="250"/>
                  </a:lnTo>
                  <a:lnTo>
                    <a:pt x="773" y="250"/>
                  </a:lnTo>
                  <a:lnTo>
                    <a:pt x="766" y="249"/>
                  </a:lnTo>
                  <a:lnTo>
                    <a:pt x="766" y="249"/>
                  </a:lnTo>
                  <a:lnTo>
                    <a:pt x="761" y="246"/>
                  </a:lnTo>
                  <a:lnTo>
                    <a:pt x="760" y="242"/>
                  </a:lnTo>
                  <a:lnTo>
                    <a:pt x="757" y="236"/>
                  </a:lnTo>
                  <a:lnTo>
                    <a:pt x="754" y="231"/>
                  </a:lnTo>
                  <a:lnTo>
                    <a:pt x="754" y="231"/>
                  </a:lnTo>
                  <a:lnTo>
                    <a:pt x="751" y="227"/>
                  </a:lnTo>
                  <a:lnTo>
                    <a:pt x="748" y="222"/>
                  </a:lnTo>
                  <a:lnTo>
                    <a:pt x="748" y="216"/>
                  </a:lnTo>
                  <a:lnTo>
                    <a:pt x="748" y="208"/>
                  </a:lnTo>
                  <a:lnTo>
                    <a:pt x="748" y="208"/>
                  </a:lnTo>
                  <a:lnTo>
                    <a:pt x="746" y="202"/>
                  </a:lnTo>
                  <a:lnTo>
                    <a:pt x="745" y="202"/>
                  </a:lnTo>
                  <a:lnTo>
                    <a:pt x="743" y="202"/>
                  </a:lnTo>
                  <a:lnTo>
                    <a:pt x="739" y="202"/>
                  </a:lnTo>
                  <a:lnTo>
                    <a:pt x="732" y="203"/>
                  </a:lnTo>
                  <a:lnTo>
                    <a:pt x="732" y="203"/>
                  </a:lnTo>
                  <a:lnTo>
                    <a:pt x="729" y="203"/>
                  </a:lnTo>
                  <a:lnTo>
                    <a:pt x="726" y="203"/>
                  </a:lnTo>
                  <a:lnTo>
                    <a:pt x="723" y="208"/>
                  </a:lnTo>
                  <a:lnTo>
                    <a:pt x="717" y="216"/>
                  </a:lnTo>
                  <a:lnTo>
                    <a:pt x="717" y="216"/>
                  </a:lnTo>
                  <a:lnTo>
                    <a:pt x="714" y="221"/>
                  </a:lnTo>
                  <a:lnTo>
                    <a:pt x="708" y="225"/>
                  </a:lnTo>
                  <a:lnTo>
                    <a:pt x="703" y="227"/>
                  </a:lnTo>
                  <a:lnTo>
                    <a:pt x="699" y="228"/>
                  </a:lnTo>
                  <a:lnTo>
                    <a:pt x="699" y="228"/>
                  </a:lnTo>
                  <a:lnTo>
                    <a:pt x="695" y="228"/>
                  </a:lnTo>
                  <a:lnTo>
                    <a:pt x="689" y="233"/>
                  </a:lnTo>
                  <a:lnTo>
                    <a:pt x="689" y="233"/>
                  </a:lnTo>
                  <a:lnTo>
                    <a:pt x="687" y="234"/>
                  </a:lnTo>
                  <a:lnTo>
                    <a:pt x="684" y="233"/>
                  </a:lnTo>
                  <a:lnTo>
                    <a:pt x="681" y="230"/>
                  </a:lnTo>
                  <a:lnTo>
                    <a:pt x="678" y="224"/>
                  </a:lnTo>
                  <a:lnTo>
                    <a:pt x="678" y="224"/>
                  </a:lnTo>
                  <a:lnTo>
                    <a:pt x="675" y="219"/>
                  </a:lnTo>
                  <a:lnTo>
                    <a:pt x="671" y="216"/>
                  </a:lnTo>
                  <a:lnTo>
                    <a:pt x="668" y="213"/>
                  </a:lnTo>
                  <a:lnTo>
                    <a:pt x="665" y="210"/>
                  </a:lnTo>
                  <a:lnTo>
                    <a:pt x="665" y="210"/>
                  </a:lnTo>
                  <a:lnTo>
                    <a:pt x="665" y="209"/>
                  </a:lnTo>
                  <a:lnTo>
                    <a:pt x="668" y="206"/>
                  </a:lnTo>
                  <a:lnTo>
                    <a:pt x="675" y="202"/>
                  </a:lnTo>
                  <a:lnTo>
                    <a:pt x="683" y="197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9" y="190"/>
                  </a:lnTo>
                  <a:lnTo>
                    <a:pt x="689" y="188"/>
                  </a:lnTo>
                  <a:lnTo>
                    <a:pt x="686" y="185"/>
                  </a:lnTo>
                  <a:lnTo>
                    <a:pt x="681" y="182"/>
                  </a:lnTo>
                  <a:lnTo>
                    <a:pt x="677" y="182"/>
                  </a:lnTo>
                  <a:lnTo>
                    <a:pt x="677" y="182"/>
                  </a:lnTo>
                  <a:lnTo>
                    <a:pt x="669" y="181"/>
                  </a:lnTo>
                  <a:lnTo>
                    <a:pt x="656" y="176"/>
                  </a:lnTo>
                  <a:lnTo>
                    <a:pt x="656" y="176"/>
                  </a:lnTo>
                  <a:lnTo>
                    <a:pt x="650" y="173"/>
                  </a:lnTo>
                  <a:lnTo>
                    <a:pt x="647" y="175"/>
                  </a:lnTo>
                  <a:lnTo>
                    <a:pt x="646" y="176"/>
                  </a:lnTo>
                  <a:lnTo>
                    <a:pt x="644" y="178"/>
                  </a:lnTo>
                  <a:lnTo>
                    <a:pt x="644" y="178"/>
                  </a:lnTo>
                  <a:lnTo>
                    <a:pt x="641" y="178"/>
                  </a:lnTo>
                  <a:lnTo>
                    <a:pt x="638" y="175"/>
                  </a:lnTo>
                  <a:lnTo>
                    <a:pt x="635" y="170"/>
                  </a:lnTo>
                  <a:lnTo>
                    <a:pt x="634" y="166"/>
                  </a:lnTo>
                  <a:lnTo>
                    <a:pt x="634" y="166"/>
                  </a:lnTo>
                  <a:lnTo>
                    <a:pt x="632" y="163"/>
                  </a:lnTo>
                  <a:lnTo>
                    <a:pt x="629" y="160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0" y="154"/>
                  </a:lnTo>
                  <a:lnTo>
                    <a:pt x="620" y="151"/>
                  </a:lnTo>
                  <a:lnTo>
                    <a:pt x="622" y="147"/>
                  </a:lnTo>
                  <a:lnTo>
                    <a:pt x="623" y="142"/>
                  </a:lnTo>
                  <a:lnTo>
                    <a:pt x="623" y="142"/>
                  </a:lnTo>
                  <a:lnTo>
                    <a:pt x="626" y="138"/>
                  </a:lnTo>
                  <a:lnTo>
                    <a:pt x="626" y="136"/>
                  </a:lnTo>
                  <a:lnTo>
                    <a:pt x="626" y="135"/>
                  </a:lnTo>
                  <a:lnTo>
                    <a:pt x="626" y="135"/>
                  </a:lnTo>
                  <a:lnTo>
                    <a:pt x="623" y="132"/>
                  </a:lnTo>
                  <a:lnTo>
                    <a:pt x="620" y="131"/>
                  </a:lnTo>
                  <a:lnTo>
                    <a:pt x="616" y="129"/>
                  </a:lnTo>
                  <a:lnTo>
                    <a:pt x="613" y="126"/>
                  </a:lnTo>
                  <a:lnTo>
                    <a:pt x="613" y="126"/>
                  </a:lnTo>
                  <a:lnTo>
                    <a:pt x="612" y="123"/>
                  </a:lnTo>
                  <a:lnTo>
                    <a:pt x="610" y="120"/>
                  </a:lnTo>
                  <a:lnTo>
                    <a:pt x="607" y="116"/>
                  </a:lnTo>
                  <a:lnTo>
                    <a:pt x="601" y="107"/>
                  </a:lnTo>
                  <a:lnTo>
                    <a:pt x="601" y="107"/>
                  </a:lnTo>
                  <a:lnTo>
                    <a:pt x="592" y="98"/>
                  </a:lnTo>
                  <a:lnTo>
                    <a:pt x="588" y="88"/>
                  </a:lnTo>
                  <a:lnTo>
                    <a:pt x="588" y="88"/>
                  </a:lnTo>
                  <a:lnTo>
                    <a:pt x="585" y="80"/>
                  </a:lnTo>
                  <a:lnTo>
                    <a:pt x="583" y="74"/>
                  </a:lnTo>
                  <a:lnTo>
                    <a:pt x="582" y="71"/>
                  </a:lnTo>
                  <a:lnTo>
                    <a:pt x="579" y="70"/>
                  </a:lnTo>
                  <a:lnTo>
                    <a:pt x="579" y="70"/>
                  </a:lnTo>
                  <a:lnTo>
                    <a:pt x="578" y="68"/>
                  </a:lnTo>
                  <a:lnTo>
                    <a:pt x="576" y="70"/>
                  </a:lnTo>
                  <a:lnTo>
                    <a:pt x="576" y="73"/>
                  </a:lnTo>
                  <a:lnTo>
                    <a:pt x="575" y="77"/>
                  </a:lnTo>
                  <a:lnTo>
                    <a:pt x="575" y="82"/>
                  </a:lnTo>
                  <a:lnTo>
                    <a:pt x="575" y="82"/>
                  </a:lnTo>
                  <a:lnTo>
                    <a:pt x="573" y="83"/>
                  </a:lnTo>
                  <a:lnTo>
                    <a:pt x="572" y="82"/>
                  </a:lnTo>
                  <a:lnTo>
                    <a:pt x="566" y="71"/>
                  </a:lnTo>
                  <a:lnTo>
                    <a:pt x="566" y="71"/>
                  </a:lnTo>
                  <a:lnTo>
                    <a:pt x="558" y="58"/>
                  </a:lnTo>
                  <a:lnTo>
                    <a:pt x="555" y="51"/>
                  </a:lnTo>
                  <a:lnTo>
                    <a:pt x="554" y="40"/>
                  </a:lnTo>
                  <a:lnTo>
                    <a:pt x="554" y="4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2" name="Freeform 81">
              <a:extLst>
                <a:ext uri="{FF2B5EF4-FFF2-40B4-BE49-F238E27FC236}">
                  <a16:creationId xmlns:a16="http://schemas.microsoft.com/office/drawing/2014/main" id="{1FCC7813-4433-2540-BAFE-965715BBC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50" y="7559675"/>
              <a:ext cx="514350" cy="395287"/>
            </a:xfrm>
            <a:custGeom>
              <a:avLst/>
              <a:gdLst>
                <a:gd name="T0" fmla="*/ 34 w 324"/>
                <a:gd name="T1" fmla="*/ 79 h 249"/>
                <a:gd name="T2" fmla="*/ 26 w 324"/>
                <a:gd name="T3" fmla="*/ 94 h 249"/>
                <a:gd name="T4" fmla="*/ 25 w 324"/>
                <a:gd name="T5" fmla="*/ 103 h 249"/>
                <a:gd name="T6" fmla="*/ 26 w 324"/>
                <a:gd name="T7" fmla="*/ 123 h 249"/>
                <a:gd name="T8" fmla="*/ 18 w 324"/>
                <a:gd name="T9" fmla="*/ 140 h 249"/>
                <a:gd name="T10" fmla="*/ 10 w 324"/>
                <a:gd name="T11" fmla="*/ 147 h 249"/>
                <a:gd name="T12" fmla="*/ 0 w 324"/>
                <a:gd name="T13" fmla="*/ 159 h 249"/>
                <a:gd name="T14" fmla="*/ 3 w 324"/>
                <a:gd name="T15" fmla="*/ 168 h 249"/>
                <a:gd name="T16" fmla="*/ 9 w 324"/>
                <a:gd name="T17" fmla="*/ 178 h 249"/>
                <a:gd name="T18" fmla="*/ 25 w 324"/>
                <a:gd name="T19" fmla="*/ 184 h 249"/>
                <a:gd name="T20" fmla="*/ 40 w 324"/>
                <a:gd name="T21" fmla="*/ 190 h 249"/>
                <a:gd name="T22" fmla="*/ 40 w 324"/>
                <a:gd name="T23" fmla="*/ 197 h 249"/>
                <a:gd name="T24" fmla="*/ 40 w 324"/>
                <a:gd name="T25" fmla="*/ 220 h 249"/>
                <a:gd name="T26" fmla="*/ 50 w 324"/>
                <a:gd name="T27" fmla="*/ 228 h 249"/>
                <a:gd name="T28" fmla="*/ 71 w 324"/>
                <a:gd name="T29" fmla="*/ 237 h 249"/>
                <a:gd name="T30" fmla="*/ 95 w 324"/>
                <a:gd name="T31" fmla="*/ 248 h 249"/>
                <a:gd name="T32" fmla="*/ 121 w 324"/>
                <a:gd name="T33" fmla="*/ 243 h 249"/>
                <a:gd name="T34" fmla="*/ 133 w 324"/>
                <a:gd name="T35" fmla="*/ 234 h 249"/>
                <a:gd name="T36" fmla="*/ 152 w 324"/>
                <a:gd name="T37" fmla="*/ 227 h 249"/>
                <a:gd name="T38" fmla="*/ 178 w 324"/>
                <a:gd name="T39" fmla="*/ 205 h 249"/>
                <a:gd name="T40" fmla="*/ 186 w 324"/>
                <a:gd name="T41" fmla="*/ 200 h 249"/>
                <a:gd name="T42" fmla="*/ 206 w 324"/>
                <a:gd name="T43" fmla="*/ 193 h 249"/>
                <a:gd name="T44" fmla="*/ 213 w 324"/>
                <a:gd name="T45" fmla="*/ 181 h 249"/>
                <a:gd name="T46" fmla="*/ 226 w 324"/>
                <a:gd name="T47" fmla="*/ 143 h 249"/>
                <a:gd name="T48" fmla="*/ 234 w 324"/>
                <a:gd name="T49" fmla="*/ 131 h 249"/>
                <a:gd name="T50" fmla="*/ 249 w 324"/>
                <a:gd name="T51" fmla="*/ 117 h 249"/>
                <a:gd name="T52" fmla="*/ 268 w 324"/>
                <a:gd name="T53" fmla="*/ 86 h 249"/>
                <a:gd name="T54" fmla="*/ 280 w 324"/>
                <a:gd name="T55" fmla="*/ 69 h 249"/>
                <a:gd name="T56" fmla="*/ 295 w 324"/>
                <a:gd name="T57" fmla="*/ 60 h 249"/>
                <a:gd name="T58" fmla="*/ 300 w 324"/>
                <a:gd name="T59" fmla="*/ 63 h 249"/>
                <a:gd name="T60" fmla="*/ 308 w 324"/>
                <a:gd name="T61" fmla="*/ 51 h 249"/>
                <a:gd name="T62" fmla="*/ 324 w 324"/>
                <a:gd name="T63" fmla="*/ 27 h 249"/>
                <a:gd name="T64" fmla="*/ 321 w 324"/>
                <a:gd name="T65" fmla="*/ 11 h 249"/>
                <a:gd name="T66" fmla="*/ 311 w 324"/>
                <a:gd name="T67" fmla="*/ 2 h 249"/>
                <a:gd name="T68" fmla="*/ 303 w 324"/>
                <a:gd name="T69" fmla="*/ 2 h 249"/>
                <a:gd name="T70" fmla="*/ 296 w 324"/>
                <a:gd name="T71" fmla="*/ 9 h 249"/>
                <a:gd name="T72" fmla="*/ 289 w 324"/>
                <a:gd name="T73" fmla="*/ 21 h 249"/>
                <a:gd name="T74" fmla="*/ 277 w 324"/>
                <a:gd name="T75" fmla="*/ 21 h 249"/>
                <a:gd name="T76" fmla="*/ 269 w 324"/>
                <a:gd name="T77" fmla="*/ 18 h 249"/>
                <a:gd name="T78" fmla="*/ 256 w 324"/>
                <a:gd name="T79" fmla="*/ 24 h 249"/>
                <a:gd name="T80" fmla="*/ 244 w 324"/>
                <a:gd name="T81" fmla="*/ 36 h 249"/>
                <a:gd name="T82" fmla="*/ 229 w 324"/>
                <a:gd name="T83" fmla="*/ 46 h 249"/>
                <a:gd name="T84" fmla="*/ 204 w 324"/>
                <a:gd name="T85" fmla="*/ 48 h 249"/>
                <a:gd name="T86" fmla="*/ 192 w 324"/>
                <a:gd name="T87" fmla="*/ 49 h 249"/>
                <a:gd name="T88" fmla="*/ 180 w 324"/>
                <a:gd name="T89" fmla="*/ 40 h 249"/>
                <a:gd name="T90" fmla="*/ 173 w 324"/>
                <a:gd name="T91" fmla="*/ 24 h 249"/>
                <a:gd name="T92" fmla="*/ 166 w 324"/>
                <a:gd name="T93" fmla="*/ 17 h 249"/>
                <a:gd name="T94" fmla="*/ 155 w 324"/>
                <a:gd name="T95" fmla="*/ 17 h 249"/>
                <a:gd name="T96" fmla="*/ 132 w 324"/>
                <a:gd name="T97" fmla="*/ 24 h 249"/>
                <a:gd name="T98" fmla="*/ 124 w 324"/>
                <a:gd name="T99" fmla="*/ 24 h 249"/>
                <a:gd name="T100" fmla="*/ 118 w 324"/>
                <a:gd name="T101" fmla="*/ 31 h 249"/>
                <a:gd name="T102" fmla="*/ 106 w 324"/>
                <a:gd name="T103" fmla="*/ 36 h 249"/>
                <a:gd name="T104" fmla="*/ 96 w 324"/>
                <a:gd name="T105" fmla="*/ 33 h 249"/>
                <a:gd name="T106" fmla="*/ 77 w 324"/>
                <a:gd name="T107" fmla="*/ 26 h 249"/>
                <a:gd name="T108" fmla="*/ 74 w 324"/>
                <a:gd name="T109" fmla="*/ 29 h 249"/>
                <a:gd name="T110" fmla="*/ 75 w 324"/>
                <a:gd name="T111" fmla="*/ 45 h 249"/>
                <a:gd name="T112" fmla="*/ 69 w 324"/>
                <a:gd name="T113" fmla="*/ 52 h 249"/>
                <a:gd name="T114" fmla="*/ 62 w 324"/>
                <a:gd name="T115" fmla="*/ 55 h 249"/>
                <a:gd name="T116" fmla="*/ 59 w 324"/>
                <a:gd name="T117" fmla="*/ 64 h 249"/>
                <a:gd name="T118" fmla="*/ 44 w 324"/>
                <a:gd name="T119" fmla="*/ 7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4" h="249">
                  <a:moveTo>
                    <a:pt x="40" y="70"/>
                  </a:moveTo>
                  <a:lnTo>
                    <a:pt x="40" y="70"/>
                  </a:lnTo>
                  <a:lnTo>
                    <a:pt x="34" y="79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6" y="94"/>
                  </a:lnTo>
                  <a:lnTo>
                    <a:pt x="25" y="98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8" y="111"/>
                  </a:lnTo>
                  <a:lnTo>
                    <a:pt x="28" y="117"/>
                  </a:lnTo>
                  <a:lnTo>
                    <a:pt x="26" y="123"/>
                  </a:lnTo>
                  <a:lnTo>
                    <a:pt x="26" y="123"/>
                  </a:lnTo>
                  <a:lnTo>
                    <a:pt x="21" y="135"/>
                  </a:lnTo>
                  <a:lnTo>
                    <a:pt x="18" y="140"/>
                  </a:lnTo>
                  <a:lnTo>
                    <a:pt x="15" y="143"/>
                  </a:lnTo>
                  <a:lnTo>
                    <a:pt x="15" y="143"/>
                  </a:lnTo>
                  <a:lnTo>
                    <a:pt x="10" y="147"/>
                  </a:lnTo>
                  <a:lnTo>
                    <a:pt x="6" y="151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1" y="160"/>
                  </a:lnTo>
                  <a:lnTo>
                    <a:pt x="3" y="162"/>
                  </a:lnTo>
                  <a:lnTo>
                    <a:pt x="3" y="168"/>
                  </a:lnTo>
                  <a:lnTo>
                    <a:pt x="4" y="171"/>
                  </a:lnTo>
                  <a:lnTo>
                    <a:pt x="6" y="174"/>
                  </a:lnTo>
                  <a:lnTo>
                    <a:pt x="9" y="178"/>
                  </a:lnTo>
                  <a:lnTo>
                    <a:pt x="13" y="181"/>
                  </a:lnTo>
                  <a:lnTo>
                    <a:pt x="13" y="181"/>
                  </a:lnTo>
                  <a:lnTo>
                    <a:pt x="25" y="184"/>
                  </a:lnTo>
                  <a:lnTo>
                    <a:pt x="34" y="187"/>
                  </a:lnTo>
                  <a:lnTo>
                    <a:pt x="37" y="188"/>
                  </a:lnTo>
                  <a:lnTo>
                    <a:pt x="40" y="190"/>
                  </a:lnTo>
                  <a:lnTo>
                    <a:pt x="40" y="193"/>
                  </a:lnTo>
                  <a:lnTo>
                    <a:pt x="40" y="197"/>
                  </a:lnTo>
                  <a:lnTo>
                    <a:pt x="40" y="197"/>
                  </a:lnTo>
                  <a:lnTo>
                    <a:pt x="38" y="208"/>
                  </a:lnTo>
                  <a:lnTo>
                    <a:pt x="38" y="217"/>
                  </a:lnTo>
                  <a:lnTo>
                    <a:pt x="40" y="220"/>
                  </a:lnTo>
                  <a:lnTo>
                    <a:pt x="41" y="224"/>
                  </a:lnTo>
                  <a:lnTo>
                    <a:pt x="46" y="226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62" y="231"/>
                  </a:lnTo>
                  <a:lnTo>
                    <a:pt x="71" y="237"/>
                  </a:lnTo>
                  <a:lnTo>
                    <a:pt x="86" y="246"/>
                  </a:lnTo>
                  <a:lnTo>
                    <a:pt x="86" y="246"/>
                  </a:lnTo>
                  <a:lnTo>
                    <a:pt x="95" y="248"/>
                  </a:lnTo>
                  <a:lnTo>
                    <a:pt x="106" y="249"/>
                  </a:lnTo>
                  <a:lnTo>
                    <a:pt x="117" y="246"/>
                  </a:lnTo>
                  <a:lnTo>
                    <a:pt x="121" y="243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33" y="234"/>
                  </a:lnTo>
                  <a:lnTo>
                    <a:pt x="139" y="231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61" y="221"/>
                  </a:lnTo>
                  <a:lnTo>
                    <a:pt x="170" y="212"/>
                  </a:lnTo>
                  <a:lnTo>
                    <a:pt x="178" y="205"/>
                  </a:lnTo>
                  <a:lnTo>
                    <a:pt x="182" y="202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94" y="199"/>
                  </a:lnTo>
                  <a:lnTo>
                    <a:pt x="201" y="196"/>
                  </a:lnTo>
                  <a:lnTo>
                    <a:pt x="206" y="193"/>
                  </a:lnTo>
                  <a:lnTo>
                    <a:pt x="209" y="190"/>
                  </a:lnTo>
                  <a:lnTo>
                    <a:pt x="212" y="187"/>
                  </a:lnTo>
                  <a:lnTo>
                    <a:pt x="213" y="181"/>
                  </a:lnTo>
                  <a:lnTo>
                    <a:pt x="213" y="181"/>
                  </a:lnTo>
                  <a:lnTo>
                    <a:pt x="220" y="160"/>
                  </a:lnTo>
                  <a:lnTo>
                    <a:pt x="226" y="143"/>
                  </a:lnTo>
                  <a:lnTo>
                    <a:pt x="226" y="143"/>
                  </a:lnTo>
                  <a:lnTo>
                    <a:pt x="229" y="137"/>
                  </a:lnTo>
                  <a:lnTo>
                    <a:pt x="234" y="131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49" y="117"/>
                  </a:lnTo>
                  <a:lnTo>
                    <a:pt x="256" y="109"/>
                  </a:lnTo>
                  <a:lnTo>
                    <a:pt x="262" y="97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74" y="76"/>
                  </a:lnTo>
                  <a:lnTo>
                    <a:pt x="280" y="69"/>
                  </a:lnTo>
                  <a:lnTo>
                    <a:pt x="287" y="63"/>
                  </a:lnTo>
                  <a:lnTo>
                    <a:pt x="290" y="61"/>
                  </a:lnTo>
                  <a:lnTo>
                    <a:pt x="295" y="60"/>
                  </a:lnTo>
                  <a:lnTo>
                    <a:pt x="295" y="60"/>
                  </a:lnTo>
                  <a:lnTo>
                    <a:pt x="297" y="61"/>
                  </a:lnTo>
                  <a:lnTo>
                    <a:pt x="300" y="63"/>
                  </a:lnTo>
                  <a:lnTo>
                    <a:pt x="300" y="63"/>
                  </a:lnTo>
                  <a:lnTo>
                    <a:pt x="308" y="51"/>
                  </a:lnTo>
                  <a:lnTo>
                    <a:pt x="308" y="51"/>
                  </a:lnTo>
                  <a:lnTo>
                    <a:pt x="317" y="39"/>
                  </a:lnTo>
                  <a:lnTo>
                    <a:pt x="324" y="27"/>
                  </a:lnTo>
                  <a:lnTo>
                    <a:pt x="324" y="27"/>
                  </a:lnTo>
                  <a:lnTo>
                    <a:pt x="324" y="23"/>
                  </a:lnTo>
                  <a:lnTo>
                    <a:pt x="323" y="17"/>
                  </a:lnTo>
                  <a:lnTo>
                    <a:pt x="321" y="11"/>
                  </a:lnTo>
                  <a:lnTo>
                    <a:pt x="317" y="6"/>
                  </a:lnTo>
                  <a:lnTo>
                    <a:pt x="317" y="6"/>
                  </a:lnTo>
                  <a:lnTo>
                    <a:pt x="311" y="2"/>
                  </a:lnTo>
                  <a:lnTo>
                    <a:pt x="308" y="0"/>
                  </a:lnTo>
                  <a:lnTo>
                    <a:pt x="303" y="2"/>
                  </a:lnTo>
                  <a:lnTo>
                    <a:pt x="303" y="2"/>
                  </a:lnTo>
                  <a:lnTo>
                    <a:pt x="300" y="2"/>
                  </a:lnTo>
                  <a:lnTo>
                    <a:pt x="299" y="3"/>
                  </a:lnTo>
                  <a:lnTo>
                    <a:pt x="296" y="9"/>
                  </a:lnTo>
                  <a:lnTo>
                    <a:pt x="290" y="20"/>
                  </a:lnTo>
                  <a:lnTo>
                    <a:pt x="290" y="20"/>
                  </a:lnTo>
                  <a:lnTo>
                    <a:pt x="289" y="21"/>
                  </a:lnTo>
                  <a:lnTo>
                    <a:pt x="287" y="23"/>
                  </a:lnTo>
                  <a:lnTo>
                    <a:pt x="281" y="23"/>
                  </a:lnTo>
                  <a:lnTo>
                    <a:pt x="277" y="21"/>
                  </a:lnTo>
                  <a:lnTo>
                    <a:pt x="272" y="20"/>
                  </a:lnTo>
                  <a:lnTo>
                    <a:pt x="272" y="20"/>
                  </a:lnTo>
                  <a:lnTo>
                    <a:pt x="269" y="18"/>
                  </a:lnTo>
                  <a:lnTo>
                    <a:pt x="263" y="20"/>
                  </a:lnTo>
                  <a:lnTo>
                    <a:pt x="259" y="21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2" y="30"/>
                  </a:lnTo>
                  <a:lnTo>
                    <a:pt x="244" y="36"/>
                  </a:lnTo>
                  <a:lnTo>
                    <a:pt x="237" y="42"/>
                  </a:lnTo>
                  <a:lnTo>
                    <a:pt x="229" y="46"/>
                  </a:lnTo>
                  <a:lnTo>
                    <a:pt x="229" y="46"/>
                  </a:lnTo>
                  <a:lnTo>
                    <a:pt x="222" y="48"/>
                  </a:lnTo>
                  <a:lnTo>
                    <a:pt x="213" y="48"/>
                  </a:lnTo>
                  <a:lnTo>
                    <a:pt x="204" y="48"/>
                  </a:lnTo>
                  <a:lnTo>
                    <a:pt x="195" y="49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8" y="48"/>
                  </a:lnTo>
                  <a:lnTo>
                    <a:pt x="185" y="45"/>
                  </a:lnTo>
                  <a:lnTo>
                    <a:pt x="180" y="40"/>
                  </a:lnTo>
                  <a:lnTo>
                    <a:pt x="176" y="31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2" y="20"/>
                  </a:lnTo>
                  <a:lnTo>
                    <a:pt x="170" y="18"/>
                  </a:lnTo>
                  <a:lnTo>
                    <a:pt x="166" y="17"/>
                  </a:lnTo>
                  <a:lnTo>
                    <a:pt x="160" y="17"/>
                  </a:lnTo>
                  <a:lnTo>
                    <a:pt x="155" y="17"/>
                  </a:lnTo>
                  <a:lnTo>
                    <a:pt x="155" y="17"/>
                  </a:lnTo>
                  <a:lnTo>
                    <a:pt x="143" y="21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24"/>
                  </a:lnTo>
                  <a:lnTo>
                    <a:pt x="127" y="23"/>
                  </a:lnTo>
                  <a:lnTo>
                    <a:pt x="124" y="24"/>
                  </a:lnTo>
                  <a:lnTo>
                    <a:pt x="120" y="26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7" y="33"/>
                  </a:lnTo>
                  <a:lnTo>
                    <a:pt x="114" y="34"/>
                  </a:lnTo>
                  <a:lnTo>
                    <a:pt x="106" y="36"/>
                  </a:lnTo>
                  <a:lnTo>
                    <a:pt x="101" y="34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89" y="29"/>
                  </a:lnTo>
                  <a:lnTo>
                    <a:pt x="83" y="27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5" y="27"/>
                  </a:lnTo>
                  <a:lnTo>
                    <a:pt x="74" y="29"/>
                  </a:lnTo>
                  <a:lnTo>
                    <a:pt x="72" y="33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9"/>
                  </a:lnTo>
                  <a:lnTo>
                    <a:pt x="72" y="51"/>
                  </a:lnTo>
                  <a:lnTo>
                    <a:pt x="69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2" y="55"/>
                  </a:lnTo>
                  <a:lnTo>
                    <a:pt x="61" y="58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6" y="67"/>
                  </a:lnTo>
                  <a:lnTo>
                    <a:pt x="50" y="70"/>
                  </a:lnTo>
                  <a:lnTo>
                    <a:pt x="44" y="70"/>
                  </a:lnTo>
                  <a:lnTo>
                    <a:pt x="40" y="70"/>
                  </a:lnTo>
                  <a:lnTo>
                    <a:pt x="40" y="7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3" name="Freeform 82">
              <a:extLst>
                <a:ext uri="{FF2B5EF4-FFF2-40B4-BE49-F238E27FC236}">
                  <a16:creationId xmlns:a16="http://schemas.microsoft.com/office/drawing/2014/main" id="{80A2213C-ED34-DE4B-BCF7-03E5118B0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300" y="5362575"/>
              <a:ext cx="84138" cy="84137"/>
            </a:xfrm>
            <a:custGeom>
              <a:avLst/>
              <a:gdLst>
                <a:gd name="T0" fmla="*/ 53 w 53"/>
                <a:gd name="T1" fmla="*/ 26 h 53"/>
                <a:gd name="T2" fmla="*/ 53 w 53"/>
                <a:gd name="T3" fmla="*/ 26 h 53"/>
                <a:gd name="T4" fmla="*/ 53 w 53"/>
                <a:gd name="T5" fmla="*/ 32 h 53"/>
                <a:gd name="T6" fmla="*/ 52 w 53"/>
                <a:gd name="T7" fmla="*/ 37 h 53"/>
                <a:gd name="T8" fmla="*/ 49 w 53"/>
                <a:gd name="T9" fmla="*/ 41 h 53"/>
                <a:gd name="T10" fmla="*/ 46 w 53"/>
                <a:gd name="T11" fmla="*/ 46 h 53"/>
                <a:gd name="T12" fmla="*/ 41 w 53"/>
                <a:gd name="T13" fmla="*/ 49 h 53"/>
                <a:gd name="T14" fmla="*/ 37 w 53"/>
                <a:gd name="T15" fmla="*/ 51 h 53"/>
                <a:gd name="T16" fmla="*/ 33 w 53"/>
                <a:gd name="T17" fmla="*/ 53 h 53"/>
                <a:gd name="T18" fmla="*/ 27 w 53"/>
                <a:gd name="T19" fmla="*/ 53 h 53"/>
                <a:gd name="T20" fmla="*/ 27 w 53"/>
                <a:gd name="T21" fmla="*/ 53 h 53"/>
                <a:gd name="T22" fmla="*/ 22 w 53"/>
                <a:gd name="T23" fmla="*/ 53 h 53"/>
                <a:gd name="T24" fmla="*/ 16 w 53"/>
                <a:gd name="T25" fmla="*/ 51 h 53"/>
                <a:gd name="T26" fmla="*/ 12 w 53"/>
                <a:gd name="T27" fmla="*/ 49 h 53"/>
                <a:gd name="T28" fmla="*/ 7 w 53"/>
                <a:gd name="T29" fmla="*/ 46 h 53"/>
                <a:gd name="T30" fmla="*/ 4 w 53"/>
                <a:gd name="T31" fmla="*/ 41 h 53"/>
                <a:gd name="T32" fmla="*/ 3 w 53"/>
                <a:gd name="T33" fmla="*/ 37 h 53"/>
                <a:gd name="T34" fmla="*/ 0 w 53"/>
                <a:gd name="T35" fmla="*/ 32 h 53"/>
                <a:gd name="T36" fmla="*/ 0 w 53"/>
                <a:gd name="T37" fmla="*/ 26 h 53"/>
                <a:gd name="T38" fmla="*/ 0 w 53"/>
                <a:gd name="T39" fmla="*/ 26 h 53"/>
                <a:gd name="T40" fmla="*/ 0 w 53"/>
                <a:gd name="T41" fmla="*/ 22 h 53"/>
                <a:gd name="T42" fmla="*/ 3 w 53"/>
                <a:gd name="T43" fmla="*/ 16 h 53"/>
                <a:gd name="T44" fmla="*/ 4 w 53"/>
                <a:gd name="T45" fmla="*/ 11 h 53"/>
                <a:gd name="T46" fmla="*/ 7 w 53"/>
                <a:gd name="T47" fmla="*/ 7 h 53"/>
                <a:gd name="T48" fmla="*/ 12 w 53"/>
                <a:gd name="T49" fmla="*/ 4 h 53"/>
                <a:gd name="T50" fmla="*/ 16 w 53"/>
                <a:gd name="T51" fmla="*/ 3 h 53"/>
                <a:gd name="T52" fmla="*/ 22 w 53"/>
                <a:gd name="T53" fmla="*/ 1 h 53"/>
                <a:gd name="T54" fmla="*/ 27 w 53"/>
                <a:gd name="T55" fmla="*/ 0 h 53"/>
                <a:gd name="T56" fmla="*/ 27 w 53"/>
                <a:gd name="T57" fmla="*/ 0 h 53"/>
                <a:gd name="T58" fmla="*/ 33 w 53"/>
                <a:gd name="T59" fmla="*/ 1 h 53"/>
                <a:gd name="T60" fmla="*/ 37 w 53"/>
                <a:gd name="T61" fmla="*/ 3 h 53"/>
                <a:gd name="T62" fmla="*/ 41 w 53"/>
                <a:gd name="T63" fmla="*/ 4 h 53"/>
                <a:gd name="T64" fmla="*/ 46 w 53"/>
                <a:gd name="T65" fmla="*/ 7 h 53"/>
                <a:gd name="T66" fmla="*/ 49 w 53"/>
                <a:gd name="T67" fmla="*/ 11 h 53"/>
                <a:gd name="T68" fmla="*/ 52 w 53"/>
                <a:gd name="T69" fmla="*/ 16 h 53"/>
                <a:gd name="T70" fmla="*/ 53 w 53"/>
                <a:gd name="T71" fmla="*/ 22 h 53"/>
                <a:gd name="T72" fmla="*/ 53 w 53"/>
                <a:gd name="T73" fmla="*/ 26 h 53"/>
                <a:gd name="T74" fmla="*/ 53 w 53"/>
                <a:gd name="T75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53">
                  <a:moveTo>
                    <a:pt x="53" y="26"/>
                  </a:moveTo>
                  <a:lnTo>
                    <a:pt x="53" y="26"/>
                  </a:lnTo>
                  <a:lnTo>
                    <a:pt x="53" y="32"/>
                  </a:lnTo>
                  <a:lnTo>
                    <a:pt x="52" y="37"/>
                  </a:lnTo>
                  <a:lnTo>
                    <a:pt x="49" y="41"/>
                  </a:lnTo>
                  <a:lnTo>
                    <a:pt x="46" y="46"/>
                  </a:lnTo>
                  <a:lnTo>
                    <a:pt x="41" y="49"/>
                  </a:lnTo>
                  <a:lnTo>
                    <a:pt x="37" y="51"/>
                  </a:lnTo>
                  <a:lnTo>
                    <a:pt x="33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2" y="53"/>
                  </a:lnTo>
                  <a:lnTo>
                    <a:pt x="16" y="51"/>
                  </a:lnTo>
                  <a:lnTo>
                    <a:pt x="12" y="49"/>
                  </a:lnTo>
                  <a:lnTo>
                    <a:pt x="7" y="46"/>
                  </a:lnTo>
                  <a:lnTo>
                    <a:pt x="4" y="41"/>
                  </a:lnTo>
                  <a:lnTo>
                    <a:pt x="3" y="37"/>
                  </a:lnTo>
                  <a:lnTo>
                    <a:pt x="0" y="32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2" y="4"/>
                  </a:lnTo>
                  <a:lnTo>
                    <a:pt x="16" y="3"/>
                  </a:lnTo>
                  <a:lnTo>
                    <a:pt x="22" y="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3" y="1"/>
                  </a:lnTo>
                  <a:lnTo>
                    <a:pt x="37" y="3"/>
                  </a:lnTo>
                  <a:lnTo>
                    <a:pt x="41" y="4"/>
                  </a:lnTo>
                  <a:lnTo>
                    <a:pt x="46" y="7"/>
                  </a:lnTo>
                  <a:lnTo>
                    <a:pt x="49" y="11"/>
                  </a:lnTo>
                  <a:lnTo>
                    <a:pt x="52" y="16"/>
                  </a:lnTo>
                  <a:lnTo>
                    <a:pt x="53" y="22"/>
                  </a:lnTo>
                  <a:lnTo>
                    <a:pt x="53" y="26"/>
                  </a:lnTo>
                  <a:lnTo>
                    <a:pt x="53" y="2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4" name="Freeform 83">
              <a:extLst>
                <a:ext uri="{FF2B5EF4-FFF2-40B4-BE49-F238E27FC236}">
                  <a16:creationId xmlns:a16="http://schemas.microsoft.com/office/drawing/2014/main" id="{809D3C33-7C5D-7C47-AD35-E8705099E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6825" y="5100638"/>
              <a:ext cx="490538" cy="496887"/>
            </a:xfrm>
            <a:custGeom>
              <a:avLst/>
              <a:gdLst>
                <a:gd name="T0" fmla="*/ 108 w 309"/>
                <a:gd name="T1" fmla="*/ 298 h 313"/>
                <a:gd name="T2" fmla="*/ 122 w 309"/>
                <a:gd name="T3" fmla="*/ 295 h 313"/>
                <a:gd name="T4" fmla="*/ 137 w 309"/>
                <a:gd name="T5" fmla="*/ 292 h 313"/>
                <a:gd name="T6" fmla="*/ 155 w 309"/>
                <a:gd name="T7" fmla="*/ 283 h 313"/>
                <a:gd name="T8" fmla="*/ 161 w 309"/>
                <a:gd name="T9" fmla="*/ 276 h 313"/>
                <a:gd name="T10" fmla="*/ 170 w 309"/>
                <a:gd name="T11" fmla="*/ 264 h 313"/>
                <a:gd name="T12" fmla="*/ 171 w 309"/>
                <a:gd name="T13" fmla="*/ 249 h 313"/>
                <a:gd name="T14" fmla="*/ 198 w 309"/>
                <a:gd name="T15" fmla="*/ 251 h 313"/>
                <a:gd name="T16" fmla="*/ 220 w 309"/>
                <a:gd name="T17" fmla="*/ 256 h 313"/>
                <a:gd name="T18" fmla="*/ 242 w 309"/>
                <a:gd name="T19" fmla="*/ 264 h 313"/>
                <a:gd name="T20" fmla="*/ 262 w 309"/>
                <a:gd name="T21" fmla="*/ 286 h 313"/>
                <a:gd name="T22" fmla="*/ 281 w 309"/>
                <a:gd name="T23" fmla="*/ 305 h 313"/>
                <a:gd name="T24" fmla="*/ 299 w 309"/>
                <a:gd name="T25" fmla="*/ 311 h 313"/>
                <a:gd name="T26" fmla="*/ 309 w 309"/>
                <a:gd name="T27" fmla="*/ 289 h 313"/>
                <a:gd name="T28" fmla="*/ 309 w 309"/>
                <a:gd name="T29" fmla="*/ 271 h 313"/>
                <a:gd name="T30" fmla="*/ 305 w 309"/>
                <a:gd name="T31" fmla="*/ 255 h 313"/>
                <a:gd name="T32" fmla="*/ 296 w 309"/>
                <a:gd name="T33" fmla="*/ 245 h 313"/>
                <a:gd name="T34" fmla="*/ 299 w 309"/>
                <a:gd name="T35" fmla="*/ 236 h 313"/>
                <a:gd name="T36" fmla="*/ 284 w 309"/>
                <a:gd name="T37" fmla="*/ 221 h 313"/>
                <a:gd name="T38" fmla="*/ 276 w 309"/>
                <a:gd name="T39" fmla="*/ 202 h 313"/>
                <a:gd name="T40" fmla="*/ 271 w 309"/>
                <a:gd name="T41" fmla="*/ 188 h 313"/>
                <a:gd name="T42" fmla="*/ 266 w 309"/>
                <a:gd name="T43" fmla="*/ 178 h 313"/>
                <a:gd name="T44" fmla="*/ 248 w 309"/>
                <a:gd name="T45" fmla="*/ 162 h 313"/>
                <a:gd name="T46" fmla="*/ 259 w 309"/>
                <a:gd name="T47" fmla="*/ 150 h 313"/>
                <a:gd name="T48" fmla="*/ 260 w 309"/>
                <a:gd name="T49" fmla="*/ 134 h 313"/>
                <a:gd name="T50" fmla="*/ 247 w 309"/>
                <a:gd name="T51" fmla="*/ 123 h 313"/>
                <a:gd name="T52" fmla="*/ 234 w 309"/>
                <a:gd name="T53" fmla="*/ 111 h 313"/>
                <a:gd name="T54" fmla="*/ 228 w 309"/>
                <a:gd name="T55" fmla="*/ 97 h 313"/>
                <a:gd name="T56" fmla="*/ 216 w 309"/>
                <a:gd name="T57" fmla="*/ 83 h 313"/>
                <a:gd name="T58" fmla="*/ 205 w 309"/>
                <a:gd name="T59" fmla="*/ 68 h 313"/>
                <a:gd name="T60" fmla="*/ 211 w 309"/>
                <a:gd name="T61" fmla="*/ 54 h 313"/>
                <a:gd name="T62" fmla="*/ 202 w 309"/>
                <a:gd name="T63" fmla="*/ 40 h 313"/>
                <a:gd name="T64" fmla="*/ 191 w 309"/>
                <a:gd name="T65" fmla="*/ 45 h 313"/>
                <a:gd name="T66" fmla="*/ 182 w 309"/>
                <a:gd name="T67" fmla="*/ 39 h 313"/>
                <a:gd name="T68" fmla="*/ 182 w 309"/>
                <a:gd name="T69" fmla="*/ 9 h 313"/>
                <a:gd name="T70" fmla="*/ 171 w 309"/>
                <a:gd name="T71" fmla="*/ 0 h 313"/>
                <a:gd name="T72" fmla="*/ 148 w 309"/>
                <a:gd name="T73" fmla="*/ 11 h 313"/>
                <a:gd name="T74" fmla="*/ 118 w 309"/>
                <a:gd name="T75" fmla="*/ 22 h 313"/>
                <a:gd name="T76" fmla="*/ 103 w 309"/>
                <a:gd name="T77" fmla="*/ 28 h 313"/>
                <a:gd name="T78" fmla="*/ 99 w 309"/>
                <a:gd name="T79" fmla="*/ 52 h 313"/>
                <a:gd name="T80" fmla="*/ 87 w 309"/>
                <a:gd name="T81" fmla="*/ 62 h 313"/>
                <a:gd name="T82" fmla="*/ 78 w 309"/>
                <a:gd name="T83" fmla="*/ 67 h 313"/>
                <a:gd name="T84" fmla="*/ 93 w 309"/>
                <a:gd name="T85" fmla="*/ 86 h 313"/>
                <a:gd name="T86" fmla="*/ 88 w 309"/>
                <a:gd name="T87" fmla="*/ 97 h 313"/>
                <a:gd name="T88" fmla="*/ 75 w 309"/>
                <a:gd name="T89" fmla="*/ 99 h 313"/>
                <a:gd name="T90" fmla="*/ 71 w 309"/>
                <a:gd name="T91" fmla="*/ 97 h 313"/>
                <a:gd name="T92" fmla="*/ 60 w 309"/>
                <a:gd name="T93" fmla="*/ 116 h 313"/>
                <a:gd name="T94" fmla="*/ 53 w 309"/>
                <a:gd name="T95" fmla="*/ 135 h 313"/>
                <a:gd name="T96" fmla="*/ 43 w 309"/>
                <a:gd name="T97" fmla="*/ 141 h 313"/>
                <a:gd name="T98" fmla="*/ 40 w 309"/>
                <a:gd name="T99" fmla="*/ 154 h 313"/>
                <a:gd name="T100" fmla="*/ 35 w 309"/>
                <a:gd name="T101" fmla="*/ 163 h 313"/>
                <a:gd name="T102" fmla="*/ 20 w 309"/>
                <a:gd name="T103" fmla="*/ 174 h 313"/>
                <a:gd name="T104" fmla="*/ 13 w 309"/>
                <a:gd name="T105" fmla="*/ 191 h 313"/>
                <a:gd name="T106" fmla="*/ 1 w 309"/>
                <a:gd name="T107" fmla="*/ 211 h 313"/>
                <a:gd name="T108" fmla="*/ 11 w 309"/>
                <a:gd name="T109" fmla="*/ 251 h 313"/>
                <a:gd name="T110" fmla="*/ 35 w 309"/>
                <a:gd name="T111" fmla="*/ 276 h 313"/>
                <a:gd name="T112" fmla="*/ 53 w 309"/>
                <a:gd name="T113" fmla="*/ 299 h 313"/>
                <a:gd name="T114" fmla="*/ 85 w 309"/>
                <a:gd name="T115" fmla="*/ 310 h 313"/>
                <a:gd name="T116" fmla="*/ 91 w 309"/>
                <a:gd name="T117" fmla="*/ 301 h 313"/>
                <a:gd name="T118" fmla="*/ 97 w 309"/>
                <a:gd name="T119" fmla="*/ 29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9" h="313">
                  <a:moveTo>
                    <a:pt x="97" y="295"/>
                  </a:moveTo>
                  <a:lnTo>
                    <a:pt x="97" y="295"/>
                  </a:lnTo>
                  <a:lnTo>
                    <a:pt x="103" y="296"/>
                  </a:lnTo>
                  <a:lnTo>
                    <a:pt x="108" y="298"/>
                  </a:lnTo>
                  <a:lnTo>
                    <a:pt x="114" y="298"/>
                  </a:lnTo>
                  <a:lnTo>
                    <a:pt x="117" y="298"/>
                  </a:lnTo>
                  <a:lnTo>
                    <a:pt x="117" y="298"/>
                  </a:lnTo>
                  <a:lnTo>
                    <a:pt x="122" y="295"/>
                  </a:lnTo>
                  <a:lnTo>
                    <a:pt x="127" y="293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37" y="292"/>
                  </a:lnTo>
                  <a:lnTo>
                    <a:pt x="137" y="292"/>
                  </a:lnTo>
                  <a:lnTo>
                    <a:pt x="146" y="291"/>
                  </a:lnTo>
                  <a:lnTo>
                    <a:pt x="152" y="286"/>
                  </a:lnTo>
                  <a:lnTo>
                    <a:pt x="155" y="283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8" y="277"/>
                  </a:lnTo>
                  <a:lnTo>
                    <a:pt x="161" y="276"/>
                  </a:lnTo>
                  <a:lnTo>
                    <a:pt x="167" y="273"/>
                  </a:lnTo>
                  <a:lnTo>
                    <a:pt x="167" y="273"/>
                  </a:lnTo>
                  <a:lnTo>
                    <a:pt x="168" y="270"/>
                  </a:lnTo>
                  <a:lnTo>
                    <a:pt x="170" y="264"/>
                  </a:lnTo>
                  <a:lnTo>
                    <a:pt x="170" y="252"/>
                  </a:lnTo>
                  <a:lnTo>
                    <a:pt x="170" y="252"/>
                  </a:lnTo>
                  <a:lnTo>
                    <a:pt x="170" y="251"/>
                  </a:lnTo>
                  <a:lnTo>
                    <a:pt x="171" y="249"/>
                  </a:lnTo>
                  <a:lnTo>
                    <a:pt x="176" y="249"/>
                  </a:lnTo>
                  <a:lnTo>
                    <a:pt x="186" y="249"/>
                  </a:lnTo>
                  <a:lnTo>
                    <a:pt x="186" y="249"/>
                  </a:lnTo>
                  <a:lnTo>
                    <a:pt x="198" y="251"/>
                  </a:lnTo>
                  <a:lnTo>
                    <a:pt x="205" y="252"/>
                  </a:lnTo>
                  <a:lnTo>
                    <a:pt x="213" y="255"/>
                  </a:lnTo>
                  <a:lnTo>
                    <a:pt x="213" y="255"/>
                  </a:lnTo>
                  <a:lnTo>
                    <a:pt x="220" y="256"/>
                  </a:lnTo>
                  <a:lnTo>
                    <a:pt x="228" y="258"/>
                  </a:lnTo>
                  <a:lnTo>
                    <a:pt x="238" y="259"/>
                  </a:lnTo>
                  <a:lnTo>
                    <a:pt x="238" y="259"/>
                  </a:lnTo>
                  <a:lnTo>
                    <a:pt x="242" y="264"/>
                  </a:lnTo>
                  <a:lnTo>
                    <a:pt x="253" y="276"/>
                  </a:lnTo>
                  <a:lnTo>
                    <a:pt x="253" y="276"/>
                  </a:lnTo>
                  <a:lnTo>
                    <a:pt x="257" y="282"/>
                  </a:lnTo>
                  <a:lnTo>
                    <a:pt x="262" y="286"/>
                  </a:lnTo>
                  <a:lnTo>
                    <a:pt x="265" y="292"/>
                  </a:lnTo>
                  <a:lnTo>
                    <a:pt x="272" y="296"/>
                  </a:lnTo>
                  <a:lnTo>
                    <a:pt x="272" y="296"/>
                  </a:lnTo>
                  <a:lnTo>
                    <a:pt x="281" y="305"/>
                  </a:lnTo>
                  <a:lnTo>
                    <a:pt x="290" y="311"/>
                  </a:lnTo>
                  <a:lnTo>
                    <a:pt x="290" y="311"/>
                  </a:lnTo>
                  <a:lnTo>
                    <a:pt x="296" y="313"/>
                  </a:lnTo>
                  <a:lnTo>
                    <a:pt x="299" y="311"/>
                  </a:lnTo>
                  <a:lnTo>
                    <a:pt x="299" y="311"/>
                  </a:lnTo>
                  <a:lnTo>
                    <a:pt x="303" y="305"/>
                  </a:lnTo>
                  <a:lnTo>
                    <a:pt x="308" y="298"/>
                  </a:lnTo>
                  <a:lnTo>
                    <a:pt x="309" y="289"/>
                  </a:lnTo>
                  <a:lnTo>
                    <a:pt x="309" y="282"/>
                  </a:lnTo>
                  <a:lnTo>
                    <a:pt x="309" y="282"/>
                  </a:lnTo>
                  <a:lnTo>
                    <a:pt x="308" y="276"/>
                  </a:lnTo>
                  <a:lnTo>
                    <a:pt x="309" y="271"/>
                  </a:lnTo>
                  <a:lnTo>
                    <a:pt x="309" y="265"/>
                  </a:lnTo>
                  <a:lnTo>
                    <a:pt x="308" y="259"/>
                  </a:lnTo>
                  <a:lnTo>
                    <a:pt x="308" y="259"/>
                  </a:lnTo>
                  <a:lnTo>
                    <a:pt x="305" y="255"/>
                  </a:lnTo>
                  <a:lnTo>
                    <a:pt x="302" y="251"/>
                  </a:lnTo>
                  <a:lnTo>
                    <a:pt x="299" y="248"/>
                  </a:lnTo>
                  <a:lnTo>
                    <a:pt x="296" y="245"/>
                  </a:lnTo>
                  <a:lnTo>
                    <a:pt x="296" y="245"/>
                  </a:lnTo>
                  <a:lnTo>
                    <a:pt x="296" y="242"/>
                  </a:lnTo>
                  <a:lnTo>
                    <a:pt x="296" y="242"/>
                  </a:lnTo>
                  <a:lnTo>
                    <a:pt x="297" y="239"/>
                  </a:lnTo>
                  <a:lnTo>
                    <a:pt x="299" y="236"/>
                  </a:lnTo>
                  <a:lnTo>
                    <a:pt x="296" y="233"/>
                  </a:lnTo>
                  <a:lnTo>
                    <a:pt x="296" y="233"/>
                  </a:lnTo>
                  <a:lnTo>
                    <a:pt x="290" y="228"/>
                  </a:lnTo>
                  <a:lnTo>
                    <a:pt x="284" y="221"/>
                  </a:lnTo>
                  <a:lnTo>
                    <a:pt x="279" y="214"/>
                  </a:lnTo>
                  <a:lnTo>
                    <a:pt x="278" y="209"/>
                  </a:lnTo>
                  <a:lnTo>
                    <a:pt x="278" y="209"/>
                  </a:lnTo>
                  <a:lnTo>
                    <a:pt x="276" y="202"/>
                  </a:lnTo>
                  <a:lnTo>
                    <a:pt x="275" y="196"/>
                  </a:lnTo>
                  <a:lnTo>
                    <a:pt x="272" y="191"/>
                  </a:lnTo>
                  <a:lnTo>
                    <a:pt x="272" y="191"/>
                  </a:lnTo>
                  <a:lnTo>
                    <a:pt x="271" y="188"/>
                  </a:lnTo>
                  <a:lnTo>
                    <a:pt x="271" y="184"/>
                  </a:lnTo>
                  <a:lnTo>
                    <a:pt x="271" y="181"/>
                  </a:lnTo>
                  <a:lnTo>
                    <a:pt x="266" y="178"/>
                  </a:lnTo>
                  <a:lnTo>
                    <a:pt x="266" y="178"/>
                  </a:lnTo>
                  <a:lnTo>
                    <a:pt x="254" y="169"/>
                  </a:lnTo>
                  <a:lnTo>
                    <a:pt x="250" y="165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50" y="159"/>
                  </a:lnTo>
                  <a:lnTo>
                    <a:pt x="253" y="157"/>
                  </a:lnTo>
                  <a:lnTo>
                    <a:pt x="257" y="153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62" y="139"/>
                  </a:lnTo>
                  <a:lnTo>
                    <a:pt x="262" y="136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56" y="125"/>
                  </a:lnTo>
                  <a:lnTo>
                    <a:pt x="256" y="125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2" y="120"/>
                  </a:lnTo>
                  <a:lnTo>
                    <a:pt x="238" y="117"/>
                  </a:lnTo>
                  <a:lnTo>
                    <a:pt x="234" y="111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1"/>
                  </a:lnTo>
                  <a:lnTo>
                    <a:pt x="228" y="97"/>
                  </a:lnTo>
                  <a:lnTo>
                    <a:pt x="223" y="89"/>
                  </a:lnTo>
                  <a:lnTo>
                    <a:pt x="223" y="89"/>
                  </a:lnTo>
                  <a:lnTo>
                    <a:pt x="220" y="86"/>
                  </a:lnTo>
                  <a:lnTo>
                    <a:pt x="216" y="83"/>
                  </a:lnTo>
                  <a:lnTo>
                    <a:pt x="210" y="79"/>
                  </a:lnTo>
                  <a:lnTo>
                    <a:pt x="207" y="73"/>
                  </a:lnTo>
                  <a:lnTo>
                    <a:pt x="207" y="73"/>
                  </a:lnTo>
                  <a:lnTo>
                    <a:pt x="205" y="68"/>
                  </a:lnTo>
                  <a:lnTo>
                    <a:pt x="205" y="64"/>
                  </a:lnTo>
                  <a:lnTo>
                    <a:pt x="211" y="57"/>
                  </a:lnTo>
                  <a:lnTo>
                    <a:pt x="211" y="57"/>
                  </a:lnTo>
                  <a:lnTo>
                    <a:pt x="211" y="54"/>
                  </a:lnTo>
                  <a:lnTo>
                    <a:pt x="211" y="52"/>
                  </a:lnTo>
                  <a:lnTo>
                    <a:pt x="210" y="46"/>
                  </a:lnTo>
                  <a:lnTo>
                    <a:pt x="207" y="43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199" y="42"/>
                  </a:lnTo>
                  <a:lnTo>
                    <a:pt x="197" y="43"/>
                  </a:lnTo>
                  <a:lnTo>
                    <a:pt x="191" y="45"/>
                  </a:lnTo>
                  <a:lnTo>
                    <a:pt x="186" y="43"/>
                  </a:lnTo>
                  <a:lnTo>
                    <a:pt x="186" y="43"/>
                  </a:lnTo>
                  <a:lnTo>
                    <a:pt x="183" y="42"/>
                  </a:lnTo>
                  <a:lnTo>
                    <a:pt x="182" y="39"/>
                  </a:lnTo>
                  <a:lnTo>
                    <a:pt x="182" y="33"/>
                  </a:lnTo>
                  <a:lnTo>
                    <a:pt x="183" y="17"/>
                  </a:lnTo>
                  <a:lnTo>
                    <a:pt x="183" y="17"/>
                  </a:lnTo>
                  <a:lnTo>
                    <a:pt x="182" y="9"/>
                  </a:lnTo>
                  <a:lnTo>
                    <a:pt x="180" y="5"/>
                  </a:lnTo>
                  <a:lnTo>
                    <a:pt x="176" y="2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65" y="2"/>
                  </a:lnTo>
                  <a:lnTo>
                    <a:pt x="158" y="5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3" y="14"/>
                  </a:lnTo>
                  <a:lnTo>
                    <a:pt x="134" y="18"/>
                  </a:lnTo>
                  <a:lnTo>
                    <a:pt x="125" y="21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3" y="28"/>
                  </a:lnTo>
                  <a:lnTo>
                    <a:pt x="103" y="36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99" y="52"/>
                  </a:lnTo>
                  <a:lnTo>
                    <a:pt x="96" y="58"/>
                  </a:lnTo>
                  <a:lnTo>
                    <a:pt x="91" y="61"/>
                  </a:lnTo>
                  <a:lnTo>
                    <a:pt x="91" y="61"/>
                  </a:lnTo>
                  <a:lnTo>
                    <a:pt x="87" y="62"/>
                  </a:lnTo>
                  <a:lnTo>
                    <a:pt x="81" y="64"/>
                  </a:lnTo>
                  <a:lnTo>
                    <a:pt x="78" y="64"/>
                  </a:lnTo>
                  <a:lnTo>
                    <a:pt x="78" y="65"/>
                  </a:lnTo>
                  <a:lnTo>
                    <a:pt x="78" y="67"/>
                  </a:lnTo>
                  <a:lnTo>
                    <a:pt x="78" y="67"/>
                  </a:lnTo>
                  <a:lnTo>
                    <a:pt x="80" y="71"/>
                  </a:lnTo>
                  <a:lnTo>
                    <a:pt x="84" y="76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4" y="88"/>
                  </a:lnTo>
                  <a:lnTo>
                    <a:pt x="93" y="91"/>
                  </a:lnTo>
                  <a:lnTo>
                    <a:pt x="88" y="97"/>
                  </a:lnTo>
                  <a:lnTo>
                    <a:pt x="82" y="99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5" y="99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68" y="99"/>
                  </a:lnTo>
                  <a:lnTo>
                    <a:pt x="65" y="102"/>
                  </a:lnTo>
                  <a:lnTo>
                    <a:pt x="62" y="108"/>
                  </a:lnTo>
                  <a:lnTo>
                    <a:pt x="60" y="116"/>
                  </a:lnTo>
                  <a:lnTo>
                    <a:pt x="60" y="116"/>
                  </a:lnTo>
                  <a:lnTo>
                    <a:pt x="59" y="125"/>
                  </a:lnTo>
                  <a:lnTo>
                    <a:pt x="56" y="131"/>
                  </a:lnTo>
                  <a:lnTo>
                    <a:pt x="53" y="135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1" y="142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4"/>
                  </a:lnTo>
                  <a:lnTo>
                    <a:pt x="40" y="159"/>
                  </a:lnTo>
                  <a:lnTo>
                    <a:pt x="38" y="162"/>
                  </a:lnTo>
                  <a:lnTo>
                    <a:pt x="35" y="163"/>
                  </a:lnTo>
                  <a:lnTo>
                    <a:pt x="35" y="163"/>
                  </a:lnTo>
                  <a:lnTo>
                    <a:pt x="29" y="165"/>
                  </a:lnTo>
                  <a:lnTo>
                    <a:pt x="25" y="166"/>
                  </a:lnTo>
                  <a:lnTo>
                    <a:pt x="22" y="169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9"/>
                  </a:lnTo>
                  <a:lnTo>
                    <a:pt x="19" y="184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1" y="211"/>
                  </a:lnTo>
                  <a:lnTo>
                    <a:pt x="1" y="219"/>
                  </a:lnTo>
                  <a:lnTo>
                    <a:pt x="1" y="243"/>
                  </a:lnTo>
                  <a:lnTo>
                    <a:pt x="1" y="243"/>
                  </a:lnTo>
                  <a:lnTo>
                    <a:pt x="11" y="251"/>
                  </a:lnTo>
                  <a:lnTo>
                    <a:pt x="20" y="258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35" y="276"/>
                  </a:lnTo>
                  <a:lnTo>
                    <a:pt x="41" y="285"/>
                  </a:lnTo>
                  <a:lnTo>
                    <a:pt x="47" y="293"/>
                  </a:lnTo>
                  <a:lnTo>
                    <a:pt x="53" y="299"/>
                  </a:lnTo>
                  <a:lnTo>
                    <a:pt x="53" y="299"/>
                  </a:lnTo>
                  <a:lnTo>
                    <a:pt x="63" y="305"/>
                  </a:lnTo>
                  <a:lnTo>
                    <a:pt x="74" y="308"/>
                  </a:lnTo>
                  <a:lnTo>
                    <a:pt x="82" y="310"/>
                  </a:lnTo>
                  <a:lnTo>
                    <a:pt x="85" y="310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90" y="305"/>
                  </a:lnTo>
                  <a:lnTo>
                    <a:pt x="91" y="301"/>
                  </a:lnTo>
                  <a:lnTo>
                    <a:pt x="94" y="296"/>
                  </a:lnTo>
                  <a:lnTo>
                    <a:pt x="96" y="296"/>
                  </a:lnTo>
                  <a:lnTo>
                    <a:pt x="97" y="295"/>
                  </a:lnTo>
                  <a:lnTo>
                    <a:pt x="97" y="29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5" name="Freeform 84">
              <a:extLst>
                <a:ext uri="{FF2B5EF4-FFF2-40B4-BE49-F238E27FC236}">
                  <a16:creationId xmlns:a16="http://schemas.microsoft.com/office/drawing/2014/main" id="{48B24116-147B-C246-8AC1-25E73A356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3951288"/>
              <a:ext cx="931863" cy="952500"/>
            </a:xfrm>
            <a:custGeom>
              <a:avLst/>
              <a:gdLst>
                <a:gd name="T0" fmla="*/ 147 w 587"/>
                <a:gd name="T1" fmla="*/ 326 h 600"/>
                <a:gd name="T2" fmla="*/ 160 w 587"/>
                <a:gd name="T3" fmla="*/ 391 h 600"/>
                <a:gd name="T4" fmla="*/ 183 w 587"/>
                <a:gd name="T5" fmla="*/ 413 h 600"/>
                <a:gd name="T6" fmla="*/ 209 w 587"/>
                <a:gd name="T7" fmla="*/ 400 h 600"/>
                <a:gd name="T8" fmla="*/ 248 w 587"/>
                <a:gd name="T9" fmla="*/ 410 h 600"/>
                <a:gd name="T10" fmla="*/ 283 w 587"/>
                <a:gd name="T11" fmla="*/ 400 h 600"/>
                <a:gd name="T12" fmla="*/ 283 w 587"/>
                <a:gd name="T13" fmla="*/ 422 h 600"/>
                <a:gd name="T14" fmla="*/ 286 w 587"/>
                <a:gd name="T15" fmla="*/ 447 h 600"/>
                <a:gd name="T16" fmla="*/ 310 w 587"/>
                <a:gd name="T17" fmla="*/ 459 h 600"/>
                <a:gd name="T18" fmla="*/ 314 w 587"/>
                <a:gd name="T19" fmla="*/ 478 h 600"/>
                <a:gd name="T20" fmla="*/ 338 w 587"/>
                <a:gd name="T21" fmla="*/ 520 h 600"/>
                <a:gd name="T22" fmla="*/ 377 w 587"/>
                <a:gd name="T23" fmla="*/ 558 h 600"/>
                <a:gd name="T24" fmla="*/ 406 w 587"/>
                <a:gd name="T25" fmla="*/ 585 h 600"/>
                <a:gd name="T26" fmla="*/ 437 w 587"/>
                <a:gd name="T27" fmla="*/ 591 h 600"/>
                <a:gd name="T28" fmla="*/ 456 w 587"/>
                <a:gd name="T29" fmla="*/ 575 h 600"/>
                <a:gd name="T30" fmla="*/ 486 w 587"/>
                <a:gd name="T31" fmla="*/ 600 h 600"/>
                <a:gd name="T32" fmla="*/ 495 w 587"/>
                <a:gd name="T33" fmla="*/ 584 h 600"/>
                <a:gd name="T34" fmla="*/ 513 w 587"/>
                <a:gd name="T35" fmla="*/ 570 h 600"/>
                <a:gd name="T36" fmla="*/ 502 w 587"/>
                <a:gd name="T37" fmla="*/ 526 h 600"/>
                <a:gd name="T38" fmla="*/ 526 w 587"/>
                <a:gd name="T39" fmla="*/ 533 h 600"/>
                <a:gd name="T40" fmla="*/ 544 w 587"/>
                <a:gd name="T41" fmla="*/ 526 h 600"/>
                <a:gd name="T42" fmla="*/ 573 w 587"/>
                <a:gd name="T43" fmla="*/ 512 h 600"/>
                <a:gd name="T44" fmla="*/ 578 w 587"/>
                <a:gd name="T45" fmla="*/ 502 h 600"/>
                <a:gd name="T46" fmla="*/ 581 w 587"/>
                <a:gd name="T47" fmla="*/ 486 h 600"/>
                <a:gd name="T48" fmla="*/ 569 w 587"/>
                <a:gd name="T49" fmla="*/ 465 h 600"/>
                <a:gd name="T50" fmla="*/ 550 w 587"/>
                <a:gd name="T51" fmla="*/ 443 h 600"/>
                <a:gd name="T52" fmla="*/ 563 w 587"/>
                <a:gd name="T53" fmla="*/ 430 h 600"/>
                <a:gd name="T54" fmla="*/ 538 w 587"/>
                <a:gd name="T55" fmla="*/ 424 h 600"/>
                <a:gd name="T56" fmla="*/ 505 w 587"/>
                <a:gd name="T57" fmla="*/ 416 h 600"/>
                <a:gd name="T58" fmla="*/ 489 w 587"/>
                <a:gd name="T59" fmla="*/ 375 h 600"/>
                <a:gd name="T60" fmla="*/ 467 w 587"/>
                <a:gd name="T61" fmla="*/ 366 h 600"/>
                <a:gd name="T62" fmla="*/ 428 w 587"/>
                <a:gd name="T63" fmla="*/ 354 h 600"/>
                <a:gd name="T64" fmla="*/ 422 w 587"/>
                <a:gd name="T65" fmla="*/ 326 h 600"/>
                <a:gd name="T66" fmla="*/ 399 w 587"/>
                <a:gd name="T67" fmla="*/ 318 h 600"/>
                <a:gd name="T68" fmla="*/ 400 w 587"/>
                <a:gd name="T69" fmla="*/ 292 h 600"/>
                <a:gd name="T70" fmla="*/ 387 w 587"/>
                <a:gd name="T71" fmla="*/ 277 h 600"/>
                <a:gd name="T72" fmla="*/ 360 w 587"/>
                <a:gd name="T73" fmla="*/ 273 h 600"/>
                <a:gd name="T74" fmla="*/ 350 w 587"/>
                <a:gd name="T75" fmla="*/ 246 h 600"/>
                <a:gd name="T76" fmla="*/ 325 w 587"/>
                <a:gd name="T77" fmla="*/ 231 h 600"/>
                <a:gd name="T78" fmla="*/ 304 w 587"/>
                <a:gd name="T79" fmla="*/ 191 h 600"/>
                <a:gd name="T80" fmla="*/ 280 w 587"/>
                <a:gd name="T81" fmla="*/ 176 h 600"/>
                <a:gd name="T82" fmla="*/ 283 w 587"/>
                <a:gd name="T83" fmla="*/ 136 h 600"/>
                <a:gd name="T84" fmla="*/ 301 w 587"/>
                <a:gd name="T85" fmla="*/ 113 h 600"/>
                <a:gd name="T86" fmla="*/ 314 w 587"/>
                <a:gd name="T87" fmla="*/ 71 h 600"/>
                <a:gd name="T88" fmla="*/ 297 w 587"/>
                <a:gd name="T89" fmla="*/ 22 h 600"/>
                <a:gd name="T90" fmla="*/ 218 w 587"/>
                <a:gd name="T91" fmla="*/ 7 h 600"/>
                <a:gd name="T92" fmla="*/ 202 w 587"/>
                <a:gd name="T93" fmla="*/ 4 h 600"/>
                <a:gd name="T94" fmla="*/ 175 w 587"/>
                <a:gd name="T95" fmla="*/ 4 h 600"/>
                <a:gd name="T96" fmla="*/ 151 w 587"/>
                <a:gd name="T97" fmla="*/ 24 h 600"/>
                <a:gd name="T98" fmla="*/ 108 w 587"/>
                <a:gd name="T99" fmla="*/ 52 h 600"/>
                <a:gd name="T100" fmla="*/ 79 w 587"/>
                <a:gd name="T101" fmla="*/ 83 h 600"/>
                <a:gd name="T102" fmla="*/ 58 w 587"/>
                <a:gd name="T103" fmla="*/ 98 h 600"/>
                <a:gd name="T104" fmla="*/ 27 w 587"/>
                <a:gd name="T105" fmla="*/ 83 h 600"/>
                <a:gd name="T106" fmla="*/ 6 w 587"/>
                <a:gd name="T107" fmla="*/ 113 h 600"/>
                <a:gd name="T108" fmla="*/ 14 w 587"/>
                <a:gd name="T109" fmla="*/ 150 h 600"/>
                <a:gd name="T110" fmla="*/ 0 w 587"/>
                <a:gd name="T111" fmla="*/ 181 h 600"/>
                <a:gd name="T112" fmla="*/ 24 w 587"/>
                <a:gd name="T113" fmla="*/ 196 h 600"/>
                <a:gd name="T114" fmla="*/ 52 w 587"/>
                <a:gd name="T115" fmla="*/ 222 h 600"/>
                <a:gd name="T116" fmla="*/ 45 w 587"/>
                <a:gd name="T117" fmla="*/ 256 h 600"/>
                <a:gd name="T118" fmla="*/ 88 w 587"/>
                <a:gd name="T119" fmla="*/ 268 h 600"/>
                <a:gd name="T120" fmla="*/ 111 w 587"/>
                <a:gd name="T121" fmla="*/ 307 h 600"/>
                <a:gd name="T122" fmla="*/ 129 w 587"/>
                <a:gd name="T123" fmla="*/ 296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7" h="600">
                  <a:moveTo>
                    <a:pt x="129" y="296"/>
                  </a:moveTo>
                  <a:lnTo>
                    <a:pt x="129" y="296"/>
                  </a:lnTo>
                  <a:lnTo>
                    <a:pt x="131" y="296"/>
                  </a:lnTo>
                  <a:lnTo>
                    <a:pt x="134" y="299"/>
                  </a:lnTo>
                  <a:lnTo>
                    <a:pt x="140" y="308"/>
                  </a:lnTo>
                  <a:lnTo>
                    <a:pt x="146" y="320"/>
                  </a:lnTo>
                  <a:lnTo>
                    <a:pt x="147" y="326"/>
                  </a:lnTo>
                  <a:lnTo>
                    <a:pt x="148" y="333"/>
                  </a:lnTo>
                  <a:lnTo>
                    <a:pt x="148" y="333"/>
                  </a:lnTo>
                  <a:lnTo>
                    <a:pt x="148" y="358"/>
                  </a:lnTo>
                  <a:lnTo>
                    <a:pt x="150" y="369"/>
                  </a:lnTo>
                  <a:lnTo>
                    <a:pt x="153" y="378"/>
                  </a:lnTo>
                  <a:lnTo>
                    <a:pt x="153" y="378"/>
                  </a:lnTo>
                  <a:lnTo>
                    <a:pt x="160" y="391"/>
                  </a:lnTo>
                  <a:lnTo>
                    <a:pt x="166" y="401"/>
                  </a:lnTo>
                  <a:lnTo>
                    <a:pt x="166" y="401"/>
                  </a:lnTo>
                  <a:lnTo>
                    <a:pt x="169" y="406"/>
                  </a:lnTo>
                  <a:lnTo>
                    <a:pt x="174" y="409"/>
                  </a:lnTo>
                  <a:lnTo>
                    <a:pt x="174" y="409"/>
                  </a:lnTo>
                  <a:lnTo>
                    <a:pt x="177" y="412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5" y="413"/>
                  </a:lnTo>
                  <a:lnTo>
                    <a:pt x="190" y="413"/>
                  </a:lnTo>
                  <a:lnTo>
                    <a:pt x="196" y="410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9" y="400"/>
                  </a:lnTo>
                  <a:lnTo>
                    <a:pt x="214" y="398"/>
                  </a:lnTo>
                  <a:lnTo>
                    <a:pt x="220" y="401"/>
                  </a:lnTo>
                  <a:lnTo>
                    <a:pt x="220" y="401"/>
                  </a:lnTo>
                  <a:lnTo>
                    <a:pt x="234" y="407"/>
                  </a:lnTo>
                  <a:lnTo>
                    <a:pt x="243" y="412"/>
                  </a:lnTo>
                  <a:lnTo>
                    <a:pt x="243" y="412"/>
                  </a:lnTo>
                  <a:lnTo>
                    <a:pt x="248" y="410"/>
                  </a:lnTo>
                  <a:lnTo>
                    <a:pt x="254" y="407"/>
                  </a:lnTo>
                  <a:lnTo>
                    <a:pt x="267" y="400"/>
                  </a:lnTo>
                  <a:lnTo>
                    <a:pt x="267" y="400"/>
                  </a:lnTo>
                  <a:lnTo>
                    <a:pt x="274" y="398"/>
                  </a:lnTo>
                  <a:lnTo>
                    <a:pt x="279" y="397"/>
                  </a:lnTo>
                  <a:lnTo>
                    <a:pt x="283" y="398"/>
                  </a:lnTo>
                  <a:lnTo>
                    <a:pt x="283" y="400"/>
                  </a:lnTo>
                  <a:lnTo>
                    <a:pt x="283" y="400"/>
                  </a:lnTo>
                  <a:lnTo>
                    <a:pt x="279" y="409"/>
                  </a:lnTo>
                  <a:lnTo>
                    <a:pt x="277" y="415"/>
                  </a:lnTo>
                  <a:lnTo>
                    <a:pt x="277" y="419"/>
                  </a:lnTo>
                  <a:lnTo>
                    <a:pt x="277" y="419"/>
                  </a:lnTo>
                  <a:lnTo>
                    <a:pt x="280" y="421"/>
                  </a:lnTo>
                  <a:lnTo>
                    <a:pt x="283" y="422"/>
                  </a:lnTo>
                  <a:lnTo>
                    <a:pt x="286" y="424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34"/>
                  </a:lnTo>
                  <a:lnTo>
                    <a:pt x="286" y="438"/>
                  </a:lnTo>
                  <a:lnTo>
                    <a:pt x="286" y="444"/>
                  </a:lnTo>
                  <a:lnTo>
                    <a:pt x="286" y="447"/>
                  </a:lnTo>
                  <a:lnTo>
                    <a:pt x="288" y="449"/>
                  </a:lnTo>
                  <a:lnTo>
                    <a:pt x="288" y="449"/>
                  </a:lnTo>
                  <a:lnTo>
                    <a:pt x="297" y="456"/>
                  </a:lnTo>
                  <a:lnTo>
                    <a:pt x="300" y="458"/>
                  </a:lnTo>
                  <a:lnTo>
                    <a:pt x="304" y="459"/>
                  </a:lnTo>
                  <a:lnTo>
                    <a:pt x="304" y="459"/>
                  </a:lnTo>
                  <a:lnTo>
                    <a:pt x="310" y="459"/>
                  </a:lnTo>
                  <a:lnTo>
                    <a:pt x="316" y="459"/>
                  </a:lnTo>
                  <a:lnTo>
                    <a:pt x="319" y="461"/>
                  </a:lnTo>
                  <a:lnTo>
                    <a:pt x="320" y="464"/>
                  </a:lnTo>
                  <a:lnTo>
                    <a:pt x="320" y="464"/>
                  </a:lnTo>
                  <a:lnTo>
                    <a:pt x="319" y="468"/>
                  </a:lnTo>
                  <a:lnTo>
                    <a:pt x="316" y="475"/>
                  </a:lnTo>
                  <a:lnTo>
                    <a:pt x="314" y="478"/>
                  </a:lnTo>
                  <a:lnTo>
                    <a:pt x="314" y="481"/>
                  </a:lnTo>
                  <a:lnTo>
                    <a:pt x="316" y="486"/>
                  </a:lnTo>
                  <a:lnTo>
                    <a:pt x="319" y="489"/>
                  </a:lnTo>
                  <a:lnTo>
                    <a:pt x="319" y="489"/>
                  </a:lnTo>
                  <a:lnTo>
                    <a:pt x="326" y="496"/>
                  </a:lnTo>
                  <a:lnTo>
                    <a:pt x="331" y="504"/>
                  </a:lnTo>
                  <a:lnTo>
                    <a:pt x="338" y="520"/>
                  </a:lnTo>
                  <a:lnTo>
                    <a:pt x="338" y="520"/>
                  </a:lnTo>
                  <a:lnTo>
                    <a:pt x="347" y="539"/>
                  </a:lnTo>
                  <a:lnTo>
                    <a:pt x="351" y="545"/>
                  </a:lnTo>
                  <a:lnTo>
                    <a:pt x="357" y="551"/>
                  </a:lnTo>
                  <a:lnTo>
                    <a:pt x="357" y="551"/>
                  </a:lnTo>
                  <a:lnTo>
                    <a:pt x="365" y="555"/>
                  </a:lnTo>
                  <a:lnTo>
                    <a:pt x="377" y="558"/>
                  </a:lnTo>
                  <a:lnTo>
                    <a:pt x="377" y="558"/>
                  </a:lnTo>
                  <a:lnTo>
                    <a:pt x="384" y="560"/>
                  </a:lnTo>
                  <a:lnTo>
                    <a:pt x="388" y="563"/>
                  </a:lnTo>
                  <a:lnTo>
                    <a:pt x="394" y="567"/>
                  </a:lnTo>
                  <a:lnTo>
                    <a:pt x="394" y="567"/>
                  </a:lnTo>
                  <a:lnTo>
                    <a:pt x="402" y="578"/>
                  </a:lnTo>
                  <a:lnTo>
                    <a:pt x="406" y="585"/>
                  </a:lnTo>
                  <a:lnTo>
                    <a:pt x="411" y="591"/>
                  </a:lnTo>
                  <a:lnTo>
                    <a:pt x="411" y="591"/>
                  </a:lnTo>
                  <a:lnTo>
                    <a:pt x="415" y="592"/>
                  </a:lnTo>
                  <a:lnTo>
                    <a:pt x="422" y="594"/>
                  </a:lnTo>
                  <a:lnTo>
                    <a:pt x="431" y="594"/>
                  </a:lnTo>
                  <a:lnTo>
                    <a:pt x="434" y="592"/>
                  </a:lnTo>
                  <a:lnTo>
                    <a:pt x="437" y="591"/>
                  </a:lnTo>
                  <a:lnTo>
                    <a:pt x="437" y="591"/>
                  </a:lnTo>
                  <a:lnTo>
                    <a:pt x="442" y="585"/>
                  </a:lnTo>
                  <a:lnTo>
                    <a:pt x="448" y="578"/>
                  </a:lnTo>
                  <a:lnTo>
                    <a:pt x="452" y="573"/>
                  </a:lnTo>
                  <a:lnTo>
                    <a:pt x="455" y="573"/>
                  </a:lnTo>
                  <a:lnTo>
                    <a:pt x="456" y="575"/>
                  </a:lnTo>
                  <a:lnTo>
                    <a:pt x="456" y="575"/>
                  </a:lnTo>
                  <a:lnTo>
                    <a:pt x="465" y="587"/>
                  </a:lnTo>
                  <a:lnTo>
                    <a:pt x="470" y="591"/>
                  </a:lnTo>
                  <a:lnTo>
                    <a:pt x="474" y="592"/>
                  </a:lnTo>
                  <a:lnTo>
                    <a:pt x="474" y="592"/>
                  </a:lnTo>
                  <a:lnTo>
                    <a:pt x="479" y="595"/>
                  </a:lnTo>
                  <a:lnTo>
                    <a:pt x="482" y="598"/>
                  </a:lnTo>
                  <a:lnTo>
                    <a:pt x="486" y="600"/>
                  </a:lnTo>
                  <a:lnTo>
                    <a:pt x="488" y="600"/>
                  </a:lnTo>
                  <a:lnTo>
                    <a:pt x="491" y="598"/>
                  </a:lnTo>
                  <a:lnTo>
                    <a:pt x="491" y="598"/>
                  </a:lnTo>
                  <a:lnTo>
                    <a:pt x="493" y="595"/>
                  </a:lnTo>
                  <a:lnTo>
                    <a:pt x="493" y="591"/>
                  </a:lnTo>
                  <a:lnTo>
                    <a:pt x="493" y="587"/>
                  </a:lnTo>
                  <a:lnTo>
                    <a:pt x="495" y="584"/>
                  </a:lnTo>
                  <a:lnTo>
                    <a:pt x="495" y="584"/>
                  </a:lnTo>
                  <a:lnTo>
                    <a:pt x="501" y="579"/>
                  </a:lnTo>
                  <a:lnTo>
                    <a:pt x="505" y="576"/>
                  </a:lnTo>
                  <a:lnTo>
                    <a:pt x="511" y="575"/>
                  </a:lnTo>
                  <a:lnTo>
                    <a:pt x="513" y="573"/>
                  </a:lnTo>
                  <a:lnTo>
                    <a:pt x="513" y="570"/>
                  </a:lnTo>
                  <a:lnTo>
                    <a:pt x="513" y="570"/>
                  </a:lnTo>
                  <a:lnTo>
                    <a:pt x="513" y="567"/>
                  </a:lnTo>
                  <a:lnTo>
                    <a:pt x="511" y="564"/>
                  </a:lnTo>
                  <a:lnTo>
                    <a:pt x="508" y="560"/>
                  </a:lnTo>
                  <a:lnTo>
                    <a:pt x="505" y="554"/>
                  </a:lnTo>
                  <a:lnTo>
                    <a:pt x="505" y="554"/>
                  </a:lnTo>
                  <a:lnTo>
                    <a:pt x="502" y="535"/>
                  </a:lnTo>
                  <a:lnTo>
                    <a:pt x="502" y="526"/>
                  </a:lnTo>
                  <a:lnTo>
                    <a:pt x="504" y="523"/>
                  </a:lnTo>
                  <a:lnTo>
                    <a:pt x="505" y="523"/>
                  </a:lnTo>
                  <a:lnTo>
                    <a:pt x="505" y="523"/>
                  </a:lnTo>
                  <a:lnTo>
                    <a:pt x="510" y="524"/>
                  </a:lnTo>
                  <a:lnTo>
                    <a:pt x="514" y="527"/>
                  </a:lnTo>
                  <a:lnTo>
                    <a:pt x="520" y="532"/>
                  </a:lnTo>
                  <a:lnTo>
                    <a:pt x="526" y="533"/>
                  </a:lnTo>
                  <a:lnTo>
                    <a:pt x="526" y="533"/>
                  </a:lnTo>
                  <a:lnTo>
                    <a:pt x="532" y="533"/>
                  </a:lnTo>
                  <a:lnTo>
                    <a:pt x="536" y="533"/>
                  </a:lnTo>
                  <a:lnTo>
                    <a:pt x="541" y="532"/>
                  </a:lnTo>
                  <a:lnTo>
                    <a:pt x="542" y="529"/>
                  </a:lnTo>
                  <a:lnTo>
                    <a:pt x="542" y="529"/>
                  </a:lnTo>
                  <a:lnTo>
                    <a:pt x="544" y="526"/>
                  </a:lnTo>
                  <a:lnTo>
                    <a:pt x="548" y="524"/>
                  </a:lnTo>
                  <a:lnTo>
                    <a:pt x="557" y="523"/>
                  </a:lnTo>
                  <a:lnTo>
                    <a:pt x="557" y="523"/>
                  </a:lnTo>
                  <a:lnTo>
                    <a:pt x="562" y="521"/>
                  </a:lnTo>
                  <a:lnTo>
                    <a:pt x="566" y="518"/>
                  </a:lnTo>
                  <a:lnTo>
                    <a:pt x="570" y="515"/>
                  </a:lnTo>
                  <a:lnTo>
                    <a:pt x="573" y="512"/>
                  </a:lnTo>
                  <a:lnTo>
                    <a:pt x="573" y="512"/>
                  </a:lnTo>
                  <a:lnTo>
                    <a:pt x="581" y="505"/>
                  </a:lnTo>
                  <a:lnTo>
                    <a:pt x="587" y="499"/>
                  </a:lnTo>
                  <a:lnTo>
                    <a:pt x="587" y="499"/>
                  </a:lnTo>
                  <a:lnTo>
                    <a:pt x="582" y="501"/>
                  </a:lnTo>
                  <a:lnTo>
                    <a:pt x="581" y="502"/>
                  </a:lnTo>
                  <a:lnTo>
                    <a:pt x="578" y="502"/>
                  </a:lnTo>
                  <a:lnTo>
                    <a:pt x="573" y="501"/>
                  </a:lnTo>
                  <a:lnTo>
                    <a:pt x="573" y="501"/>
                  </a:lnTo>
                  <a:lnTo>
                    <a:pt x="572" y="499"/>
                  </a:lnTo>
                  <a:lnTo>
                    <a:pt x="572" y="498"/>
                  </a:lnTo>
                  <a:lnTo>
                    <a:pt x="573" y="495"/>
                  </a:lnTo>
                  <a:lnTo>
                    <a:pt x="578" y="490"/>
                  </a:lnTo>
                  <a:lnTo>
                    <a:pt x="581" y="486"/>
                  </a:lnTo>
                  <a:lnTo>
                    <a:pt x="581" y="486"/>
                  </a:lnTo>
                  <a:lnTo>
                    <a:pt x="582" y="483"/>
                  </a:lnTo>
                  <a:lnTo>
                    <a:pt x="582" y="480"/>
                  </a:lnTo>
                  <a:lnTo>
                    <a:pt x="579" y="474"/>
                  </a:lnTo>
                  <a:lnTo>
                    <a:pt x="575" y="468"/>
                  </a:lnTo>
                  <a:lnTo>
                    <a:pt x="569" y="465"/>
                  </a:lnTo>
                  <a:lnTo>
                    <a:pt x="569" y="465"/>
                  </a:lnTo>
                  <a:lnTo>
                    <a:pt x="560" y="459"/>
                  </a:lnTo>
                  <a:lnTo>
                    <a:pt x="553" y="453"/>
                  </a:lnTo>
                  <a:lnTo>
                    <a:pt x="553" y="453"/>
                  </a:lnTo>
                  <a:lnTo>
                    <a:pt x="550" y="452"/>
                  </a:lnTo>
                  <a:lnTo>
                    <a:pt x="548" y="449"/>
                  </a:lnTo>
                  <a:lnTo>
                    <a:pt x="550" y="443"/>
                  </a:lnTo>
                  <a:lnTo>
                    <a:pt x="550" y="443"/>
                  </a:lnTo>
                  <a:lnTo>
                    <a:pt x="550" y="441"/>
                  </a:lnTo>
                  <a:lnTo>
                    <a:pt x="553" y="440"/>
                  </a:lnTo>
                  <a:lnTo>
                    <a:pt x="562" y="435"/>
                  </a:lnTo>
                  <a:lnTo>
                    <a:pt x="562" y="435"/>
                  </a:lnTo>
                  <a:lnTo>
                    <a:pt x="563" y="434"/>
                  </a:lnTo>
                  <a:lnTo>
                    <a:pt x="565" y="432"/>
                  </a:lnTo>
                  <a:lnTo>
                    <a:pt x="563" y="430"/>
                  </a:lnTo>
                  <a:lnTo>
                    <a:pt x="553" y="422"/>
                  </a:lnTo>
                  <a:lnTo>
                    <a:pt x="553" y="422"/>
                  </a:lnTo>
                  <a:lnTo>
                    <a:pt x="548" y="419"/>
                  </a:lnTo>
                  <a:lnTo>
                    <a:pt x="544" y="419"/>
                  </a:lnTo>
                  <a:lnTo>
                    <a:pt x="541" y="421"/>
                  </a:lnTo>
                  <a:lnTo>
                    <a:pt x="538" y="424"/>
                  </a:lnTo>
                  <a:lnTo>
                    <a:pt x="538" y="424"/>
                  </a:lnTo>
                  <a:lnTo>
                    <a:pt x="535" y="425"/>
                  </a:lnTo>
                  <a:lnTo>
                    <a:pt x="531" y="425"/>
                  </a:lnTo>
                  <a:lnTo>
                    <a:pt x="517" y="425"/>
                  </a:lnTo>
                  <a:lnTo>
                    <a:pt x="517" y="425"/>
                  </a:lnTo>
                  <a:lnTo>
                    <a:pt x="514" y="424"/>
                  </a:lnTo>
                  <a:lnTo>
                    <a:pt x="511" y="422"/>
                  </a:lnTo>
                  <a:lnTo>
                    <a:pt x="505" y="416"/>
                  </a:lnTo>
                  <a:lnTo>
                    <a:pt x="495" y="401"/>
                  </a:lnTo>
                  <a:lnTo>
                    <a:pt x="495" y="401"/>
                  </a:lnTo>
                  <a:lnTo>
                    <a:pt x="491" y="395"/>
                  </a:lnTo>
                  <a:lnTo>
                    <a:pt x="491" y="390"/>
                  </a:lnTo>
                  <a:lnTo>
                    <a:pt x="491" y="379"/>
                  </a:lnTo>
                  <a:lnTo>
                    <a:pt x="491" y="379"/>
                  </a:lnTo>
                  <a:lnTo>
                    <a:pt x="489" y="375"/>
                  </a:lnTo>
                  <a:lnTo>
                    <a:pt x="486" y="373"/>
                  </a:lnTo>
                  <a:lnTo>
                    <a:pt x="483" y="372"/>
                  </a:lnTo>
                  <a:lnTo>
                    <a:pt x="479" y="367"/>
                  </a:lnTo>
                  <a:lnTo>
                    <a:pt x="479" y="367"/>
                  </a:lnTo>
                  <a:lnTo>
                    <a:pt x="476" y="364"/>
                  </a:lnTo>
                  <a:lnTo>
                    <a:pt x="471" y="363"/>
                  </a:lnTo>
                  <a:lnTo>
                    <a:pt x="467" y="366"/>
                  </a:lnTo>
                  <a:lnTo>
                    <a:pt x="467" y="366"/>
                  </a:lnTo>
                  <a:lnTo>
                    <a:pt x="459" y="366"/>
                  </a:lnTo>
                  <a:lnTo>
                    <a:pt x="449" y="364"/>
                  </a:lnTo>
                  <a:lnTo>
                    <a:pt x="449" y="364"/>
                  </a:lnTo>
                  <a:lnTo>
                    <a:pt x="443" y="363"/>
                  </a:lnTo>
                  <a:lnTo>
                    <a:pt x="439" y="361"/>
                  </a:lnTo>
                  <a:lnTo>
                    <a:pt x="428" y="354"/>
                  </a:lnTo>
                  <a:lnTo>
                    <a:pt x="428" y="354"/>
                  </a:lnTo>
                  <a:lnTo>
                    <a:pt x="427" y="351"/>
                  </a:lnTo>
                  <a:lnTo>
                    <a:pt x="425" y="348"/>
                  </a:lnTo>
                  <a:lnTo>
                    <a:pt x="424" y="342"/>
                  </a:lnTo>
                  <a:lnTo>
                    <a:pt x="422" y="327"/>
                  </a:lnTo>
                  <a:lnTo>
                    <a:pt x="422" y="327"/>
                  </a:lnTo>
                  <a:lnTo>
                    <a:pt x="422" y="326"/>
                  </a:lnTo>
                  <a:lnTo>
                    <a:pt x="421" y="324"/>
                  </a:lnTo>
                  <a:lnTo>
                    <a:pt x="416" y="323"/>
                  </a:lnTo>
                  <a:lnTo>
                    <a:pt x="411" y="323"/>
                  </a:lnTo>
                  <a:lnTo>
                    <a:pt x="403" y="321"/>
                  </a:lnTo>
                  <a:lnTo>
                    <a:pt x="403" y="321"/>
                  </a:lnTo>
                  <a:lnTo>
                    <a:pt x="400" y="320"/>
                  </a:lnTo>
                  <a:lnTo>
                    <a:pt x="399" y="318"/>
                  </a:lnTo>
                  <a:lnTo>
                    <a:pt x="396" y="314"/>
                  </a:lnTo>
                  <a:lnTo>
                    <a:pt x="396" y="308"/>
                  </a:lnTo>
                  <a:lnTo>
                    <a:pt x="394" y="304"/>
                  </a:lnTo>
                  <a:lnTo>
                    <a:pt x="394" y="304"/>
                  </a:lnTo>
                  <a:lnTo>
                    <a:pt x="394" y="301"/>
                  </a:lnTo>
                  <a:lnTo>
                    <a:pt x="396" y="298"/>
                  </a:lnTo>
                  <a:lnTo>
                    <a:pt x="400" y="292"/>
                  </a:lnTo>
                  <a:lnTo>
                    <a:pt x="400" y="292"/>
                  </a:lnTo>
                  <a:lnTo>
                    <a:pt x="400" y="290"/>
                  </a:lnTo>
                  <a:lnTo>
                    <a:pt x="399" y="289"/>
                  </a:lnTo>
                  <a:lnTo>
                    <a:pt x="393" y="286"/>
                  </a:lnTo>
                  <a:lnTo>
                    <a:pt x="393" y="286"/>
                  </a:lnTo>
                  <a:lnTo>
                    <a:pt x="390" y="281"/>
                  </a:lnTo>
                  <a:lnTo>
                    <a:pt x="387" y="277"/>
                  </a:lnTo>
                  <a:lnTo>
                    <a:pt x="382" y="274"/>
                  </a:lnTo>
                  <a:lnTo>
                    <a:pt x="381" y="273"/>
                  </a:lnTo>
                  <a:lnTo>
                    <a:pt x="378" y="271"/>
                  </a:lnTo>
                  <a:lnTo>
                    <a:pt x="378" y="271"/>
                  </a:lnTo>
                  <a:lnTo>
                    <a:pt x="372" y="271"/>
                  </a:lnTo>
                  <a:lnTo>
                    <a:pt x="366" y="273"/>
                  </a:lnTo>
                  <a:lnTo>
                    <a:pt x="360" y="273"/>
                  </a:lnTo>
                  <a:lnTo>
                    <a:pt x="356" y="271"/>
                  </a:lnTo>
                  <a:lnTo>
                    <a:pt x="356" y="271"/>
                  </a:lnTo>
                  <a:lnTo>
                    <a:pt x="353" y="268"/>
                  </a:lnTo>
                  <a:lnTo>
                    <a:pt x="353" y="267"/>
                  </a:lnTo>
                  <a:lnTo>
                    <a:pt x="351" y="259"/>
                  </a:lnTo>
                  <a:lnTo>
                    <a:pt x="351" y="252"/>
                  </a:lnTo>
                  <a:lnTo>
                    <a:pt x="350" y="246"/>
                  </a:lnTo>
                  <a:lnTo>
                    <a:pt x="350" y="246"/>
                  </a:lnTo>
                  <a:lnTo>
                    <a:pt x="348" y="243"/>
                  </a:lnTo>
                  <a:lnTo>
                    <a:pt x="347" y="240"/>
                  </a:lnTo>
                  <a:lnTo>
                    <a:pt x="339" y="237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5" y="231"/>
                  </a:lnTo>
                  <a:lnTo>
                    <a:pt x="323" y="228"/>
                  </a:lnTo>
                  <a:lnTo>
                    <a:pt x="319" y="216"/>
                  </a:lnTo>
                  <a:lnTo>
                    <a:pt x="316" y="198"/>
                  </a:lnTo>
                  <a:lnTo>
                    <a:pt x="316" y="198"/>
                  </a:lnTo>
                  <a:lnTo>
                    <a:pt x="314" y="196"/>
                  </a:lnTo>
                  <a:lnTo>
                    <a:pt x="311" y="193"/>
                  </a:lnTo>
                  <a:lnTo>
                    <a:pt x="304" y="191"/>
                  </a:lnTo>
                  <a:lnTo>
                    <a:pt x="297" y="190"/>
                  </a:lnTo>
                  <a:lnTo>
                    <a:pt x="297" y="190"/>
                  </a:lnTo>
                  <a:lnTo>
                    <a:pt x="291" y="188"/>
                  </a:lnTo>
                  <a:lnTo>
                    <a:pt x="288" y="187"/>
                  </a:lnTo>
                  <a:lnTo>
                    <a:pt x="283" y="182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79" y="173"/>
                  </a:lnTo>
                  <a:lnTo>
                    <a:pt x="279" y="167"/>
                  </a:lnTo>
                  <a:lnTo>
                    <a:pt x="280" y="158"/>
                  </a:lnTo>
                  <a:lnTo>
                    <a:pt x="280" y="153"/>
                  </a:lnTo>
                  <a:lnTo>
                    <a:pt x="280" y="153"/>
                  </a:lnTo>
                  <a:lnTo>
                    <a:pt x="280" y="145"/>
                  </a:lnTo>
                  <a:lnTo>
                    <a:pt x="283" y="136"/>
                  </a:lnTo>
                  <a:lnTo>
                    <a:pt x="286" y="129"/>
                  </a:lnTo>
                  <a:lnTo>
                    <a:pt x="289" y="124"/>
                  </a:lnTo>
                  <a:lnTo>
                    <a:pt x="289" y="124"/>
                  </a:lnTo>
                  <a:lnTo>
                    <a:pt x="297" y="120"/>
                  </a:lnTo>
                  <a:lnTo>
                    <a:pt x="301" y="116"/>
                  </a:lnTo>
                  <a:lnTo>
                    <a:pt x="301" y="114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04"/>
                  </a:lnTo>
                  <a:lnTo>
                    <a:pt x="302" y="95"/>
                  </a:lnTo>
                  <a:lnTo>
                    <a:pt x="302" y="95"/>
                  </a:lnTo>
                  <a:lnTo>
                    <a:pt x="308" y="80"/>
                  </a:lnTo>
                  <a:lnTo>
                    <a:pt x="314" y="71"/>
                  </a:lnTo>
                  <a:lnTo>
                    <a:pt x="314" y="71"/>
                  </a:lnTo>
                  <a:lnTo>
                    <a:pt x="311" y="64"/>
                  </a:lnTo>
                  <a:lnTo>
                    <a:pt x="308" y="49"/>
                  </a:lnTo>
                  <a:lnTo>
                    <a:pt x="308" y="49"/>
                  </a:lnTo>
                  <a:lnTo>
                    <a:pt x="307" y="39"/>
                  </a:lnTo>
                  <a:lnTo>
                    <a:pt x="304" y="31"/>
                  </a:lnTo>
                  <a:lnTo>
                    <a:pt x="304" y="31"/>
                  </a:lnTo>
                  <a:lnTo>
                    <a:pt x="297" y="22"/>
                  </a:lnTo>
                  <a:lnTo>
                    <a:pt x="289" y="15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28" y="4"/>
                  </a:lnTo>
                  <a:lnTo>
                    <a:pt x="223" y="7"/>
                  </a:lnTo>
                  <a:lnTo>
                    <a:pt x="221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4" y="3"/>
                  </a:lnTo>
                  <a:lnTo>
                    <a:pt x="211" y="3"/>
                  </a:lnTo>
                  <a:lnTo>
                    <a:pt x="206" y="2"/>
                  </a:lnTo>
                  <a:lnTo>
                    <a:pt x="206" y="2"/>
                  </a:lnTo>
                  <a:lnTo>
                    <a:pt x="203" y="3"/>
                  </a:lnTo>
                  <a:lnTo>
                    <a:pt x="202" y="4"/>
                  </a:lnTo>
                  <a:lnTo>
                    <a:pt x="199" y="7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1" y="9"/>
                  </a:lnTo>
                  <a:lnTo>
                    <a:pt x="187" y="7"/>
                  </a:lnTo>
                  <a:lnTo>
                    <a:pt x="183" y="6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72" y="4"/>
                  </a:lnTo>
                  <a:lnTo>
                    <a:pt x="169" y="6"/>
                  </a:lnTo>
                  <a:lnTo>
                    <a:pt x="165" y="10"/>
                  </a:lnTo>
                  <a:lnTo>
                    <a:pt x="159" y="16"/>
                  </a:lnTo>
                  <a:lnTo>
                    <a:pt x="151" y="24"/>
                  </a:lnTo>
                  <a:lnTo>
                    <a:pt x="151" y="24"/>
                  </a:lnTo>
                  <a:lnTo>
                    <a:pt x="143" y="31"/>
                  </a:lnTo>
                  <a:lnTo>
                    <a:pt x="131" y="36"/>
                  </a:lnTo>
                  <a:lnTo>
                    <a:pt x="120" y="4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1" y="47"/>
                  </a:lnTo>
                  <a:lnTo>
                    <a:pt x="108" y="52"/>
                  </a:lnTo>
                  <a:lnTo>
                    <a:pt x="107" y="58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1" y="71"/>
                  </a:lnTo>
                  <a:lnTo>
                    <a:pt x="94" y="76"/>
                  </a:lnTo>
                  <a:lnTo>
                    <a:pt x="86" y="80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6" y="84"/>
                  </a:lnTo>
                  <a:lnTo>
                    <a:pt x="74" y="86"/>
                  </a:lnTo>
                  <a:lnTo>
                    <a:pt x="70" y="92"/>
                  </a:lnTo>
                  <a:lnTo>
                    <a:pt x="66" y="96"/>
                  </a:lnTo>
                  <a:lnTo>
                    <a:pt x="63" y="98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49" y="96"/>
                  </a:lnTo>
                  <a:lnTo>
                    <a:pt x="45" y="93"/>
                  </a:lnTo>
                  <a:lnTo>
                    <a:pt x="39" y="90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27" y="83"/>
                  </a:lnTo>
                  <a:lnTo>
                    <a:pt x="24" y="83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8" y="102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8" y="119"/>
                  </a:lnTo>
                  <a:lnTo>
                    <a:pt x="9" y="123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9"/>
                  </a:lnTo>
                  <a:lnTo>
                    <a:pt x="14" y="150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9" y="176"/>
                  </a:lnTo>
                  <a:lnTo>
                    <a:pt x="6" y="178"/>
                  </a:lnTo>
                  <a:lnTo>
                    <a:pt x="5" y="179"/>
                  </a:lnTo>
                  <a:lnTo>
                    <a:pt x="0" y="181"/>
                  </a:lnTo>
                  <a:lnTo>
                    <a:pt x="0" y="181"/>
                  </a:lnTo>
                  <a:lnTo>
                    <a:pt x="5" y="188"/>
                  </a:lnTo>
                  <a:lnTo>
                    <a:pt x="8" y="193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5" y="196"/>
                  </a:lnTo>
                  <a:lnTo>
                    <a:pt x="20" y="196"/>
                  </a:lnTo>
                  <a:lnTo>
                    <a:pt x="24" y="196"/>
                  </a:lnTo>
                  <a:lnTo>
                    <a:pt x="29" y="197"/>
                  </a:lnTo>
                  <a:lnTo>
                    <a:pt x="29" y="197"/>
                  </a:lnTo>
                  <a:lnTo>
                    <a:pt x="52" y="210"/>
                  </a:lnTo>
                  <a:lnTo>
                    <a:pt x="52" y="210"/>
                  </a:lnTo>
                  <a:lnTo>
                    <a:pt x="54" y="212"/>
                  </a:lnTo>
                  <a:lnTo>
                    <a:pt x="54" y="216"/>
                  </a:lnTo>
                  <a:lnTo>
                    <a:pt x="52" y="222"/>
                  </a:lnTo>
                  <a:lnTo>
                    <a:pt x="51" y="230"/>
                  </a:lnTo>
                  <a:lnTo>
                    <a:pt x="51" y="230"/>
                  </a:lnTo>
                  <a:lnTo>
                    <a:pt x="43" y="246"/>
                  </a:lnTo>
                  <a:lnTo>
                    <a:pt x="43" y="253"/>
                  </a:lnTo>
                  <a:lnTo>
                    <a:pt x="43" y="255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79" y="262"/>
                  </a:lnTo>
                  <a:lnTo>
                    <a:pt x="85" y="265"/>
                  </a:lnTo>
                  <a:lnTo>
                    <a:pt x="88" y="268"/>
                  </a:lnTo>
                  <a:lnTo>
                    <a:pt x="91" y="273"/>
                  </a:lnTo>
                  <a:lnTo>
                    <a:pt x="91" y="273"/>
                  </a:lnTo>
                  <a:lnTo>
                    <a:pt x="101" y="287"/>
                  </a:lnTo>
                  <a:lnTo>
                    <a:pt x="106" y="295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11" y="307"/>
                  </a:lnTo>
                  <a:lnTo>
                    <a:pt x="113" y="310"/>
                  </a:lnTo>
                  <a:lnTo>
                    <a:pt x="116" y="310"/>
                  </a:lnTo>
                  <a:lnTo>
                    <a:pt x="119" y="308"/>
                  </a:lnTo>
                  <a:lnTo>
                    <a:pt x="119" y="308"/>
                  </a:lnTo>
                  <a:lnTo>
                    <a:pt x="123" y="301"/>
                  </a:lnTo>
                  <a:lnTo>
                    <a:pt x="126" y="298"/>
                  </a:lnTo>
                  <a:lnTo>
                    <a:pt x="129" y="296"/>
                  </a:lnTo>
                  <a:lnTo>
                    <a:pt x="129" y="29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6" name="Freeform 85">
              <a:extLst>
                <a:ext uri="{FF2B5EF4-FFF2-40B4-BE49-F238E27FC236}">
                  <a16:creationId xmlns:a16="http://schemas.microsoft.com/office/drawing/2014/main" id="{9FBF1BA3-2634-D949-B7FE-6C31099DE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3013" y="5495925"/>
              <a:ext cx="706438" cy="723900"/>
            </a:xfrm>
            <a:custGeom>
              <a:avLst/>
              <a:gdLst>
                <a:gd name="T0" fmla="*/ 398 w 445"/>
                <a:gd name="T1" fmla="*/ 283 h 456"/>
                <a:gd name="T2" fmla="*/ 413 w 445"/>
                <a:gd name="T3" fmla="*/ 267 h 456"/>
                <a:gd name="T4" fmla="*/ 404 w 445"/>
                <a:gd name="T5" fmla="*/ 252 h 456"/>
                <a:gd name="T6" fmla="*/ 388 w 445"/>
                <a:gd name="T7" fmla="*/ 267 h 456"/>
                <a:gd name="T8" fmla="*/ 360 w 445"/>
                <a:gd name="T9" fmla="*/ 246 h 456"/>
                <a:gd name="T10" fmla="*/ 370 w 445"/>
                <a:gd name="T11" fmla="*/ 227 h 456"/>
                <a:gd name="T12" fmla="*/ 394 w 445"/>
                <a:gd name="T13" fmla="*/ 197 h 456"/>
                <a:gd name="T14" fmla="*/ 389 w 445"/>
                <a:gd name="T15" fmla="*/ 156 h 456"/>
                <a:gd name="T16" fmla="*/ 358 w 445"/>
                <a:gd name="T17" fmla="*/ 129 h 456"/>
                <a:gd name="T18" fmla="*/ 342 w 445"/>
                <a:gd name="T19" fmla="*/ 114 h 456"/>
                <a:gd name="T20" fmla="*/ 311 w 445"/>
                <a:gd name="T21" fmla="*/ 101 h 456"/>
                <a:gd name="T22" fmla="*/ 287 w 445"/>
                <a:gd name="T23" fmla="*/ 47 h 456"/>
                <a:gd name="T24" fmla="*/ 257 w 445"/>
                <a:gd name="T25" fmla="*/ 15 h 456"/>
                <a:gd name="T26" fmla="*/ 228 w 445"/>
                <a:gd name="T27" fmla="*/ 6 h 456"/>
                <a:gd name="T28" fmla="*/ 186 w 445"/>
                <a:gd name="T29" fmla="*/ 0 h 456"/>
                <a:gd name="T30" fmla="*/ 182 w 445"/>
                <a:gd name="T31" fmla="*/ 24 h 456"/>
                <a:gd name="T32" fmla="*/ 170 w 445"/>
                <a:gd name="T33" fmla="*/ 34 h 456"/>
                <a:gd name="T34" fmla="*/ 146 w 445"/>
                <a:gd name="T35" fmla="*/ 43 h 456"/>
                <a:gd name="T36" fmla="*/ 145 w 445"/>
                <a:gd name="T37" fmla="*/ 71 h 456"/>
                <a:gd name="T38" fmla="*/ 139 w 445"/>
                <a:gd name="T39" fmla="*/ 92 h 456"/>
                <a:gd name="T40" fmla="*/ 142 w 445"/>
                <a:gd name="T41" fmla="*/ 124 h 456"/>
                <a:gd name="T42" fmla="*/ 109 w 445"/>
                <a:gd name="T43" fmla="*/ 148 h 456"/>
                <a:gd name="T44" fmla="*/ 97 w 445"/>
                <a:gd name="T45" fmla="*/ 169 h 456"/>
                <a:gd name="T46" fmla="*/ 99 w 445"/>
                <a:gd name="T47" fmla="*/ 194 h 456"/>
                <a:gd name="T48" fmla="*/ 81 w 445"/>
                <a:gd name="T49" fmla="*/ 230 h 456"/>
                <a:gd name="T50" fmla="*/ 55 w 445"/>
                <a:gd name="T51" fmla="*/ 224 h 456"/>
                <a:gd name="T52" fmla="*/ 26 w 445"/>
                <a:gd name="T53" fmla="*/ 219 h 456"/>
                <a:gd name="T54" fmla="*/ 0 w 445"/>
                <a:gd name="T55" fmla="*/ 236 h 456"/>
                <a:gd name="T56" fmla="*/ 13 w 445"/>
                <a:gd name="T57" fmla="*/ 261 h 456"/>
                <a:gd name="T58" fmla="*/ 6 w 445"/>
                <a:gd name="T59" fmla="*/ 286 h 456"/>
                <a:gd name="T60" fmla="*/ 1 w 445"/>
                <a:gd name="T61" fmla="*/ 323 h 456"/>
                <a:gd name="T62" fmla="*/ 4 w 445"/>
                <a:gd name="T63" fmla="*/ 353 h 456"/>
                <a:gd name="T64" fmla="*/ 23 w 445"/>
                <a:gd name="T65" fmla="*/ 370 h 456"/>
                <a:gd name="T66" fmla="*/ 58 w 445"/>
                <a:gd name="T67" fmla="*/ 358 h 456"/>
                <a:gd name="T68" fmla="*/ 80 w 445"/>
                <a:gd name="T69" fmla="*/ 364 h 456"/>
                <a:gd name="T70" fmla="*/ 93 w 445"/>
                <a:gd name="T71" fmla="*/ 367 h 456"/>
                <a:gd name="T72" fmla="*/ 97 w 445"/>
                <a:gd name="T73" fmla="*/ 384 h 456"/>
                <a:gd name="T74" fmla="*/ 121 w 445"/>
                <a:gd name="T75" fmla="*/ 372 h 456"/>
                <a:gd name="T76" fmla="*/ 132 w 445"/>
                <a:gd name="T77" fmla="*/ 361 h 456"/>
                <a:gd name="T78" fmla="*/ 135 w 445"/>
                <a:gd name="T79" fmla="*/ 387 h 456"/>
                <a:gd name="T80" fmla="*/ 149 w 445"/>
                <a:gd name="T81" fmla="*/ 397 h 456"/>
                <a:gd name="T82" fmla="*/ 174 w 445"/>
                <a:gd name="T83" fmla="*/ 379 h 456"/>
                <a:gd name="T84" fmla="*/ 191 w 445"/>
                <a:gd name="T85" fmla="*/ 390 h 456"/>
                <a:gd name="T86" fmla="*/ 203 w 445"/>
                <a:gd name="T87" fmla="*/ 384 h 456"/>
                <a:gd name="T88" fmla="*/ 220 w 445"/>
                <a:gd name="T89" fmla="*/ 397 h 456"/>
                <a:gd name="T90" fmla="*/ 269 w 445"/>
                <a:gd name="T91" fmla="*/ 456 h 456"/>
                <a:gd name="T92" fmla="*/ 320 w 445"/>
                <a:gd name="T93" fmla="*/ 450 h 456"/>
                <a:gd name="T94" fmla="*/ 345 w 445"/>
                <a:gd name="T95" fmla="*/ 428 h 456"/>
                <a:gd name="T96" fmla="*/ 349 w 445"/>
                <a:gd name="T97" fmla="*/ 400 h 456"/>
                <a:gd name="T98" fmla="*/ 411 w 445"/>
                <a:gd name="T99" fmla="*/ 376 h 456"/>
                <a:gd name="T100" fmla="*/ 440 w 445"/>
                <a:gd name="T101" fmla="*/ 351 h 456"/>
                <a:gd name="T102" fmla="*/ 445 w 445"/>
                <a:gd name="T103" fmla="*/ 336 h 456"/>
                <a:gd name="T104" fmla="*/ 432 w 445"/>
                <a:gd name="T105" fmla="*/ 327 h 456"/>
                <a:gd name="T106" fmla="*/ 437 w 445"/>
                <a:gd name="T107" fmla="*/ 298 h 456"/>
                <a:gd name="T108" fmla="*/ 419 w 445"/>
                <a:gd name="T109" fmla="*/ 299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5" h="456">
                  <a:moveTo>
                    <a:pt x="410" y="295"/>
                  </a:moveTo>
                  <a:lnTo>
                    <a:pt x="410" y="295"/>
                  </a:lnTo>
                  <a:lnTo>
                    <a:pt x="405" y="292"/>
                  </a:lnTo>
                  <a:lnTo>
                    <a:pt x="403" y="289"/>
                  </a:lnTo>
                  <a:lnTo>
                    <a:pt x="400" y="286"/>
                  </a:lnTo>
                  <a:lnTo>
                    <a:pt x="398" y="283"/>
                  </a:lnTo>
                  <a:lnTo>
                    <a:pt x="398" y="283"/>
                  </a:lnTo>
                  <a:lnTo>
                    <a:pt x="398" y="280"/>
                  </a:lnTo>
                  <a:lnTo>
                    <a:pt x="400" y="277"/>
                  </a:lnTo>
                  <a:lnTo>
                    <a:pt x="403" y="273"/>
                  </a:lnTo>
                  <a:lnTo>
                    <a:pt x="413" y="267"/>
                  </a:lnTo>
                  <a:lnTo>
                    <a:pt x="413" y="267"/>
                  </a:lnTo>
                  <a:lnTo>
                    <a:pt x="414" y="262"/>
                  </a:lnTo>
                  <a:lnTo>
                    <a:pt x="414" y="259"/>
                  </a:lnTo>
                  <a:lnTo>
                    <a:pt x="411" y="256"/>
                  </a:lnTo>
                  <a:lnTo>
                    <a:pt x="405" y="253"/>
                  </a:lnTo>
                  <a:lnTo>
                    <a:pt x="405" y="253"/>
                  </a:lnTo>
                  <a:lnTo>
                    <a:pt x="404" y="252"/>
                  </a:lnTo>
                  <a:lnTo>
                    <a:pt x="401" y="252"/>
                  </a:lnTo>
                  <a:lnTo>
                    <a:pt x="398" y="253"/>
                  </a:lnTo>
                  <a:lnTo>
                    <a:pt x="395" y="258"/>
                  </a:lnTo>
                  <a:lnTo>
                    <a:pt x="391" y="264"/>
                  </a:lnTo>
                  <a:lnTo>
                    <a:pt x="391" y="264"/>
                  </a:lnTo>
                  <a:lnTo>
                    <a:pt x="388" y="267"/>
                  </a:lnTo>
                  <a:lnTo>
                    <a:pt x="385" y="267"/>
                  </a:lnTo>
                  <a:lnTo>
                    <a:pt x="380" y="262"/>
                  </a:lnTo>
                  <a:lnTo>
                    <a:pt x="380" y="262"/>
                  </a:lnTo>
                  <a:lnTo>
                    <a:pt x="367" y="252"/>
                  </a:lnTo>
                  <a:lnTo>
                    <a:pt x="367" y="252"/>
                  </a:lnTo>
                  <a:lnTo>
                    <a:pt x="360" y="246"/>
                  </a:lnTo>
                  <a:lnTo>
                    <a:pt x="357" y="243"/>
                  </a:lnTo>
                  <a:lnTo>
                    <a:pt x="357" y="237"/>
                  </a:lnTo>
                  <a:lnTo>
                    <a:pt x="357" y="237"/>
                  </a:lnTo>
                  <a:lnTo>
                    <a:pt x="358" y="233"/>
                  </a:lnTo>
                  <a:lnTo>
                    <a:pt x="363" y="230"/>
                  </a:lnTo>
                  <a:lnTo>
                    <a:pt x="370" y="227"/>
                  </a:lnTo>
                  <a:lnTo>
                    <a:pt x="370" y="227"/>
                  </a:lnTo>
                  <a:lnTo>
                    <a:pt x="379" y="221"/>
                  </a:lnTo>
                  <a:lnTo>
                    <a:pt x="383" y="218"/>
                  </a:lnTo>
                  <a:lnTo>
                    <a:pt x="386" y="215"/>
                  </a:lnTo>
                  <a:lnTo>
                    <a:pt x="386" y="215"/>
                  </a:lnTo>
                  <a:lnTo>
                    <a:pt x="394" y="197"/>
                  </a:lnTo>
                  <a:lnTo>
                    <a:pt x="397" y="185"/>
                  </a:lnTo>
                  <a:lnTo>
                    <a:pt x="398" y="179"/>
                  </a:lnTo>
                  <a:lnTo>
                    <a:pt x="398" y="175"/>
                  </a:lnTo>
                  <a:lnTo>
                    <a:pt x="398" y="175"/>
                  </a:lnTo>
                  <a:lnTo>
                    <a:pt x="395" y="164"/>
                  </a:lnTo>
                  <a:lnTo>
                    <a:pt x="389" y="156"/>
                  </a:lnTo>
                  <a:lnTo>
                    <a:pt x="380" y="144"/>
                  </a:lnTo>
                  <a:lnTo>
                    <a:pt x="380" y="144"/>
                  </a:lnTo>
                  <a:lnTo>
                    <a:pt x="374" y="138"/>
                  </a:lnTo>
                  <a:lnTo>
                    <a:pt x="364" y="132"/>
                  </a:lnTo>
                  <a:lnTo>
                    <a:pt x="364" y="132"/>
                  </a:lnTo>
                  <a:lnTo>
                    <a:pt x="358" y="129"/>
                  </a:lnTo>
                  <a:lnTo>
                    <a:pt x="354" y="124"/>
                  </a:lnTo>
                  <a:lnTo>
                    <a:pt x="354" y="124"/>
                  </a:lnTo>
                  <a:lnTo>
                    <a:pt x="349" y="119"/>
                  </a:lnTo>
                  <a:lnTo>
                    <a:pt x="346" y="116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33" y="113"/>
                  </a:lnTo>
                  <a:lnTo>
                    <a:pt x="328" y="110"/>
                  </a:lnTo>
                  <a:lnTo>
                    <a:pt x="323" y="107"/>
                  </a:lnTo>
                  <a:lnTo>
                    <a:pt x="323" y="107"/>
                  </a:lnTo>
                  <a:lnTo>
                    <a:pt x="317" y="102"/>
                  </a:lnTo>
                  <a:lnTo>
                    <a:pt x="311" y="101"/>
                  </a:lnTo>
                  <a:lnTo>
                    <a:pt x="305" y="102"/>
                  </a:lnTo>
                  <a:lnTo>
                    <a:pt x="305" y="62"/>
                  </a:lnTo>
                  <a:lnTo>
                    <a:pt x="305" y="62"/>
                  </a:lnTo>
                  <a:lnTo>
                    <a:pt x="296" y="56"/>
                  </a:lnTo>
                  <a:lnTo>
                    <a:pt x="287" y="47"/>
                  </a:lnTo>
                  <a:lnTo>
                    <a:pt x="287" y="47"/>
                  </a:lnTo>
                  <a:lnTo>
                    <a:pt x="280" y="43"/>
                  </a:lnTo>
                  <a:lnTo>
                    <a:pt x="277" y="37"/>
                  </a:lnTo>
                  <a:lnTo>
                    <a:pt x="272" y="33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57" y="15"/>
                  </a:lnTo>
                  <a:lnTo>
                    <a:pt x="253" y="10"/>
                  </a:lnTo>
                  <a:lnTo>
                    <a:pt x="253" y="10"/>
                  </a:lnTo>
                  <a:lnTo>
                    <a:pt x="243" y="9"/>
                  </a:lnTo>
                  <a:lnTo>
                    <a:pt x="235" y="7"/>
                  </a:lnTo>
                  <a:lnTo>
                    <a:pt x="228" y="6"/>
                  </a:lnTo>
                  <a:lnTo>
                    <a:pt x="228" y="6"/>
                  </a:lnTo>
                  <a:lnTo>
                    <a:pt x="220" y="3"/>
                  </a:lnTo>
                  <a:lnTo>
                    <a:pt x="213" y="2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191" y="0"/>
                  </a:lnTo>
                  <a:lnTo>
                    <a:pt x="186" y="0"/>
                  </a:lnTo>
                  <a:lnTo>
                    <a:pt x="185" y="2"/>
                  </a:lnTo>
                  <a:lnTo>
                    <a:pt x="185" y="3"/>
                  </a:lnTo>
                  <a:lnTo>
                    <a:pt x="185" y="3"/>
                  </a:lnTo>
                  <a:lnTo>
                    <a:pt x="185" y="15"/>
                  </a:lnTo>
                  <a:lnTo>
                    <a:pt x="183" y="21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6" y="27"/>
                  </a:lnTo>
                  <a:lnTo>
                    <a:pt x="173" y="28"/>
                  </a:lnTo>
                  <a:lnTo>
                    <a:pt x="172" y="31"/>
                  </a:lnTo>
                  <a:lnTo>
                    <a:pt x="172" y="31"/>
                  </a:lnTo>
                  <a:lnTo>
                    <a:pt x="170" y="34"/>
                  </a:lnTo>
                  <a:lnTo>
                    <a:pt x="167" y="37"/>
                  </a:lnTo>
                  <a:lnTo>
                    <a:pt x="161" y="42"/>
                  </a:lnTo>
                  <a:lnTo>
                    <a:pt x="152" y="43"/>
                  </a:lnTo>
                  <a:lnTo>
                    <a:pt x="152" y="43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45" y="50"/>
                  </a:lnTo>
                  <a:lnTo>
                    <a:pt x="143" y="56"/>
                  </a:lnTo>
                  <a:lnTo>
                    <a:pt x="143" y="62"/>
                  </a:lnTo>
                  <a:lnTo>
                    <a:pt x="143" y="62"/>
                  </a:lnTo>
                  <a:lnTo>
                    <a:pt x="145" y="67"/>
                  </a:lnTo>
                  <a:lnTo>
                    <a:pt x="145" y="71"/>
                  </a:lnTo>
                  <a:lnTo>
                    <a:pt x="145" y="76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40" y="84"/>
                  </a:lnTo>
                  <a:lnTo>
                    <a:pt x="139" y="87"/>
                  </a:lnTo>
                  <a:lnTo>
                    <a:pt x="139" y="92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3" y="108"/>
                  </a:lnTo>
                  <a:lnTo>
                    <a:pt x="145" y="117"/>
                  </a:lnTo>
                  <a:lnTo>
                    <a:pt x="145" y="121"/>
                  </a:lnTo>
                  <a:lnTo>
                    <a:pt x="142" y="124"/>
                  </a:lnTo>
                  <a:lnTo>
                    <a:pt x="140" y="127"/>
                  </a:lnTo>
                  <a:lnTo>
                    <a:pt x="136" y="130"/>
                  </a:lnTo>
                  <a:lnTo>
                    <a:pt x="136" y="130"/>
                  </a:lnTo>
                  <a:lnTo>
                    <a:pt x="126" y="135"/>
                  </a:lnTo>
                  <a:lnTo>
                    <a:pt x="117" y="141"/>
                  </a:lnTo>
                  <a:lnTo>
                    <a:pt x="109" y="148"/>
                  </a:lnTo>
                  <a:lnTo>
                    <a:pt x="105" y="153"/>
                  </a:lnTo>
                  <a:lnTo>
                    <a:pt x="105" y="153"/>
                  </a:lnTo>
                  <a:lnTo>
                    <a:pt x="103" y="157"/>
                  </a:lnTo>
                  <a:lnTo>
                    <a:pt x="100" y="161"/>
                  </a:lnTo>
                  <a:lnTo>
                    <a:pt x="99" y="166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100" y="175"/>
                  </a:lnTo>
                  <a:lnTo>
                    <a:pt x="102" y="178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99" y="194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5" y="215"/>
                  </a:lnTo>
                  <a:lnTo>
                    <a:pt x="89" y="224"/>
                  </a:lnTo>
                  <a:lnTo>
                    <a:pt x="86" y="228"/>
                  </a:lnTo>
                  <a:lnTo>
                    <a:pt x="81" y="230"/>
                  </a:lnTo>
                  <a:lnTo>
                    <a:pt x="77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65" y="230"/>
                  </a:lnTo>
                  <a:lnTo>
                    <a:pt x="59" y="227"/>
                  </a:lnTo>
                  <a:lnTo>
                    <a:pt x="55" y="224"/>
                  </a:lnTo>
                  <a:lnTo>
                    <a:pt x="50" y="221"/>
                  </a:lnTo>
                  <a:lnTo>
                    <a:pt x="50" y="221"/>
                  </a:lnTo>
                  <a:lnTo>
                    <a:pt x="44" y="218"/>
                  </a:lnTo>
                  <a:lnTo>
                    <a:pt x="40" y="216"/>
                  </a:lnTo>
                  <a:lnTo>
                    <a:pt x="34" y="216"/>
                  </a:lnTo>
                  <a:lnTo>
                    <a:pt x="26" y="219"/>
                  </a:lnTo>
                  <a:lnTo>
                    <a:pt x="26" y="219"/>
                  </a:lnTo>
                  <a:lnTo>
                    <a:pt x="10" y="225"/>
                  </a:lnTo>
                  <a:lnTo>
                    <a:pt x="4" y="227"/>
                  </a:lnTo>
                  <a:lnTo>
                    <a:pt x="1" y="231"/>
                  </a:lnTo>
                  <a:lnTo>
                    <a:pt x="1" y="231"/>
                  </a:lnTo>
                  <a:lnTo>
                    <a:pt x="0" y="236"/>
                  </a:lnTo>
                  <a:lnTo>
                    <a:pt x="0" y="243"/>
                  </a:lnTo>
                  <a:lnTo>
                    <a:pt x="1" y="247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9" y="256"/>
                  </a:lnTo>
                  <a:lnTo>
                    <a:pt x="13" y="261"/>
                  </a:lnTo>
                  <a:lnTo>
                    <a:pt x="15" y="265"/>
                  </a:lnTo>
                  <a:lnTo>
                    <a:pt x="15" y="268"/>
                  </a:lnTo>
                  <a:lnTo>
                    <a:pt x="13" y="271"/>
                  </a:lnTo>
                  <a:lnTo>
                    <a:pt x="13" y="271"/>
                  </a:lnTo>
                  <a:lnTo>
                    <a:pt x="7" y="280"/>
                  </a:lnTo>
                  <a:lnTo>
                    <a:pt x="6" y="286"/>
                  </a:lnTo>
                  <a:lnTo>
                    <a:pt x="6" y="286"/>
                  </a:lnTo>
                  <a:lnTo>
                    <a:pt x="3" y="298"/>
                  </a:lnTo>
                  <a:lnTo>
                    <a:pt x="1" y="307"/>
                  </a:lnTo>
                  <a:lnTo>
                    <a:pt x="1" y="316"/>
                  </a:lnTo>
                  <a:lnTo>
                    <a:pt x="1" y="316"/>
                  </a:lnTo>
                  <a:lnTo>
                    <a:pt x="1" y="323"/>
                  </a:lnTo>
                  <a:lnTo>
                    <a:pt x="3" y="330"/>
                  </a:lnTo>
                  <a:lnTo>
                    <a:pt x="3" y="336"/>
                  </a:lnTo>
                  <a:lnTo>
                    <a:pt x="3" y="342"/>
                  </a:lnTo>
                  <a:lnTo>
                    <a:pt x="3" y="342"/>
                  </a:lnTo>
                  <a:lnTo>
                    <a:pt x="3" y="347"/>
                  </a:lnTo>
                  <a:lnTo>
                    <a:pt x="4" y="353"/>
                  </a:lnTo>
                  <a:lnTo>
                    <a:pt x="9" y="357"/>
                  </a:lnTo>
                  <a:lnTo>
                    <a:pt x="15" y="361"/>
                  </a:lnTo>
                  <a:lnTo>
                    <a:pt x="15" y="361"/>
                  </a:lnTo>
                  <a:lnTo>
                    <a:pt x="20" y="366"/>
                  </a:lnTo>
                  <a:lnTo>
                    <a:pt x="23" y="370"/>
                  </a:lnTo>
                  <a:lnTo>
                    <a:pt x="23" y="370"/>
                  </a:lnTo>
                  <a:lnTo>
                    <a:pt x="32" y="366"/>
                  </a:lnTo>
                  <a:lnTo>
                    <a:pt x="40" y="363"/>
                  </a:lnTo>
                  <a:lnTo>
                    <a:pt x="46" y="361"/>
                  </a:lnTo>
                  <a:lnTo>
                    <a:pt x="46" y="361"/>
                  </a:lnTo>
                  <a:lnTo>
                    <a:pt x="52" y="360"/>
                  </a:lnTo>
                  <a:lnTo>
                    <a:pt x="58" y="358"/>
                  </a:lnTo>
                  <a:lnTo>
                    <a:pt x="62" y="358"/>
                  </a:lnTo>
                  <a:lnTo>
                    <a:pt x="66" y="360"/>
                  </a:lnTo>
                  <a:lnTo>
                    <a:pt x="66" y="360"/>
                  </a:lnTo>
                  <a:lnTo>
                    <a:pt x="74" y="363"/>
                  </a:lnTo>
                  <a:lnTo>
                    <a:pt x="77" y="364"/>
                  </a:lnTo>
                  <a:lnTo>
                    <a:pt x="80" y="364"/>
                  </a:lnTo>
                  <a:lnTo>
                    <a:pt x="80" y="364"/>
                  </a:lnTo>
                  <a:lnTo>
                    <a:pt x="86" y="361"/>
                  </a:lnTo>
                  <a:lnTo>
                    <a:pt x="87" y="361"/>
                  </a:lnTo>
                  <a:lnTo>
                    <a:pt x="90" y="363"/>
                  </a:lnTo>
                  <a:lnTo>
                    <a:pt x="90" y="363"/>
                  </a:lnTo>
                  <a:lnTo>
                    <a:pt x="93" y="367"/>
                  </a:lnTo>
                  <a:lnTo>
                    <a:pt x="93" y="373"/>
                  </a:lnTo>
                  <a:lnTo>
                    <a:pt x="93" y="378"/>
                  </a:lnTo>
                  <a:lnTo>
                    <a:pt x="95" y="382"/>
                  </a:lnTo>
                  <a:lnTo>
                    <a:pt x="95" y="382"/>
                  </a:lnTo>
                  <a:lnTo>
                    <a:pt x="96" y="384"/>
                  </a:lnTo>
                  <a:lnTo>
                    <a:pt x="97" y="384"/>
                  </a:lnTo>
                  <a:lnTo>
                    <a:pt x="102" y="384"/>
                  </a:lnTo>
                  <a:lnTo>
                    <a:pt x="112" y="381"/>
                  </a:lnTo>
                  <a:lnTo>
                    <a:pt x="112" y="381"/>
                  </a:lnTo>
                  <a:lnTo>
                    <a:pt x="120" y="378"/>
                  </a:lnTo>
                  <a:lnTo>
                    <a:pt x="121" y="375"/>
                  </a:lnTo>
                  <a:lnTo>
                    <a:pt x="121" y="372"/>
                  </a:lnTo>
                  <a:lnTo>
                    <a:pt x="121" y="372"/>
                  </a:lnTo>
                  <a:lnTo>
                    <a:pt x="123" y="367"/>
                  </a:lnTo>
                  <a:lnTo>
                    <a:pt x="126" y="364"/>
                  </a:lnTo>
                  <a:lnTo>
                    <a:pt x="129" y="361"/>
                  </a:lnTo>
                  <a:lnTo>
                    <a:pt x="132" y="361"/>
                  </a:lnTo>
                  <a:lnTo>
                    <a:pt x="132" y="361"/>
                  </a:lnTo>
                  <a:lnTo>
                    <a:pt x="135" y="364"/>
                  </a:lnTo>
                  <a:lnTo>
                    <a:pt x="136" y="369"/>
                  </a:lnTo>
                  <a:lnTo>
                    <a:pt x="136" y="373"/>
                  </a:lnTo>
                  <a:lnTo>
                    <a:pt x="135" y="379"/>
                  </a:lnTo>
                  <a:lnTo>
                    <a:pt x="135" y="379"/>
                  </a:lnTo>
                  <a:lnTo>
                    <a:pt x="135" y="387"/>
                  </a:lnTo>
                  <a:lnTo>
                    <a:pt x="136" y="391"/>
                  </a:lnTo>
                  <a:lnTo>
                    <a:pt x="139" y="395"/>
                  </a:lnTo>
                  <a:lnTo>
                    <a:pt x="142" y="397"/>
                  </a:lnTo>
                  <a:lnTo>
                    <a:pt x="142" y="397"/>
                  </a:lnTo>
                  <a:lnTo>
                    <a:pt x="146" y="397"/>
                  </a:lnTo>
                  <a:lnTo>
                    <a:pt x="149" y="397"/>
                  </a:lnTo>
                  <a:lnTo>
                    <a:pt x="154" y="397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69" y="385"/>
                  </a:lnTo>
                  <a:lnTo>
                    <a:pt x="169" y="385"/>
                  </a:lnTo>
                  <a:lnTo>
                    <a:pt x="174" y="379"/>
                  </a:lnTo>
                  <a:lnTo>
                    <a:pt x="177" y="378"/>
                  </a:lnTo>
                  <a:lnTo>
                    <a:pt x="180" y="378"/>
                  </a:lnTo>
                  <a:lnTo>
                    <a:pt x="182" y="381"/>
                  </a:lnTo>
                  <a:lnTo>
                    <a:pt x="182" y="381"/>
                  </a:lnTo>
                  <a:lnTo>
                    <a:pt x="189" y="388"/>
                  </a:lnTo>
                  <a:lnTo>
                    <a:pt x="191" y="390"/>
                  </a:lnTo>
                  <a:lnTo>
                    <a:pt x="194" y="390"/>
                  </a:lnTo>
                  <a:lnTo>
                    <a:pt x="194" y="390"/>
                  </a:lnTo>
                  <a:lnTo>
                    <a:pt x="197" y="387"/>
                  </a:lnTo>
                  <a:lnTo>
                    <a:pt x="198" y="385"/>
                  </a:lnTo>
                  <a:lnTo>
                    <a:pt x="200" y="384"/>
                  </a:lnTo>
                  <a:lnTo>
                    <a:pt x="203" y="384"/>
                  </a:lnTo>
                  <a:lnTo>
                    <a:pt x="203" y="384"/>
                  </a:lnTo>
                  <a:lnTo>
                    <a:pt x="207" y="387"/>
                  </a:lnTo>
                  <a:lnTo>
                    <a:pt x="212" y="391"/>
                  </a:lnTo>
                  <a:lnTo>
                    <a:pt x="214" y="394"/>
                  </a:lnTo>
                  <a:lnTo>
                    <a:pt x="220" y="397"/>
                  </a:lnTo>
                  <a:lnTo>
                    <a:pt x="220" y="397"/>
                  </a:lnTo>
                  <a:lnTo>
                    <a:pt x="238" y="397"/>
                  </a:lnTo>
                  <a:lnTo>
                    <a:pt x="251" y="397"/>
                  </a:lnTo>
                  <a:lnTo>
                    <a:pt x="251" y="397"/>
                  </a:lnTo>
                  <a:lnTo>
                    <a:pt x="254" y="406"/>
                  </a:lnTo>
                  <a:lnTo>
                    <a:pt x="260" y="427"/>
                  </a:lnTo>
                  <a:lnTo>
                    <a:pt x="269" y="456"/>
                  </a:lnTo>
                  <a:lnTo>
                    <a:pt x="269" y="456"/>
                  </a:lnTo>
                  <a:lnTo>
                    <a:pt x="280" y="455"/>
                  </a:lnTo>
                  <a:lnTo>
                    <a:pt x="291" y="453"/>
                  </a:lnTo>
                  <a:lnTo>
                    <a:pt x="314" y="452"/>
                  </a:lnTo>
                  <a:lnTo>
                    <a:pt x="314" y="452"/>
                  </a:lnTo>
                  <a:lnTo>
                    <a:pt x="320" y="450"/>
                  </a:lnTo>
                  <a:lnTo>
                    <a:pt x="326" y="447"/>
                  </a:lnTo>
                  <a:lnTo>
                    <a:pt x="331" y="444"/>
                  </a:lnTo>
                  <a:lnTo>
                    <a:pt x="336" y="440"/>
                  </a:lnTo>
                  <a:lnTo>
                    <a:pt x="340" y="437"/>
                  </a:lnTo>
                  <a:lnTo>
                    <a:pt x="343" y="433"/>
                  </a:lnTo>
                  <a:lnTo>
                    <a:pt x="345" y="428"/>
                  </a:lnTo>
                  <a:lnTo>
                    <a:pt x="345" y="425"/>
                  </a:lnTo>
                  <a:lnTo>
                    <a:pt x="345" y="425"/>
                  </a:lnTo>
                  <a:lnTo>
                    <a:pt x="343" y="418"/>
                  </a:lnTo>
                  <a:lnTo>
                    <a:pt x="343" y="409"/>
                  </a:lnTo>
                  <a:lnTo>
                    <a:pt x="346" y="404"/>
                  </a:lnTo>
                  <a:lnTo>
                    <a:pt x="349" y="400"/>
                  </a:lnTo>
                  <a:lnTo>
                    <a:pt x="354" y="397"/>
                  </a:lnTo>
                  <a:lnTo>
                    <a:pt x="360" y="394"/>
                  </a:lnTo>
                  <a:lnTo>
                    <a:pt x="360" y="394"/>
                  </a:lnTo>
                  <a:lnTo>
                    <a:pt x="386" y="387"/>
                  </a:lnTo>
                  <a:lnTo>
                    <a:pt x="411" y="376"/>
                  </a:lnTo>
                  <a:lnTo>
                    <a:pt x="411" y="376"/>
                  </a:lnTo>
                  <a:lnTo>
                    <a:pt x="428" y="367"/>
                  </a:lnTo>
                  <a:lnTo>
                    <a:pt x="434" y="364"/>
                  </a:lnTo>
                  <a:lnTo>
                    <a:pt x="438" y="364"/>
                  </a:lnTo>
                  <a:lnTo>
                    <a:pt x="438" y="364"/>
                  </a:lnTo>
                  <a:lnTo>
                    <a:pt x="440" y="357"/>
                  </a:lnTo>
                  <a:lnTo>
                    <a:pt x="440" y="351"/>
                  </a:lnTo>
                  <a:lnTo>
                    <a:pt x="441" y="347"/>
                  </a:lnTo>
                  <a:lnTo>
                    <a:pt x="441" y="347"/>
                  </a:lnTo>
                  <a:lnTo>
                    <a:pt x="445" y="341"/>
                  </a:lnTo>
                  <a:lnTo>
                    <a:pt x="445" y="339"/>
                  </a:lnTo>
                  <a:lnTo>
                    <a:pt x="445" y="336"/>
                  </a:lnTo>
                  <a:lnTo>
                    <a:pt x="445" y="336"/>
                  </a:lnTo>
                  <a:lnTo>
                    <a:pt x="444" y="335"/>
                  </a:lnTo>
                  <a:lnTo>
                    <a:pt x="440" y="333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27"/>
                  </a:lnTo>
                  <a:lnTo>
                    <a:pt x="434" y="323"/>
                  </a:lnTo>
                  <a:lnTo>
                    <a:pt x="443" y="314"/>
                  </a:lnTo>
                  <a:lnTo>
                    <a:pt x="443" y="314"/>
                  </a:lnTo>
                  <a:lnTo>
                    <a:pt x="444" y="310"/>
                  </a:lnTo>
                  <a:lnTo>
                    <a:pt x="443" y="307"/>
                  </a:lnTo>
                  <a:lnTo>
                    <a:pt x="437" y="298"/>
                  </a:lnTo>
                  <a:lnTo>
                    <a:pt x="437" y="298"/>
                  </a:lnTo>
                  <a:lnTo>
                    <a:pt x="432" y="295"/>
                  </a:lnTo>
                  <a:lnTo>
                    <a:pt x="429" y="295"/>
                  </a:lnTo>
                  <a:lnTo>
                    <a:pt x="422" y="299"/>
                  </a:lnTo>
                  <a:lnTo>
                    <a:pt x="422" y="299"/>
                  </a:lnTo>
                  <a:lnTo>
                    <a:pt x="419" y="299"/>
                  </a:lnTo>
                  <a:lnTo>
                    <a:pt x="416" y="299"/>
                  </a:lnTo>
                  <a:lnTo>
                    <a:pt x="413" y="298"/>
                  </a:lnTo>
                  <a:lnTo>
                    <a:pt x="410" y="295"/>
                  </a:lnTo>
                  <a:lnTo>
                    <a:pt x="410" y="29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7" name="Freeform 86">
              <a:extLst>
                <a:ext uri="{FF2B5EF4-FFF2-40B4-BE49-F238E27FC236}">
                  <a16:creationId xmlns:a16="http://schemas.microsoft.com/office/drawing/2014/main" id="{95E192C7-1B66-EC4D-8CA0-7B4D7CD82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913" y="4600575"/>
              <a:ext cx="312738" cy="439737"/>
            </a:xfrm>
            <a:custGeom>
              <a:avLst/>
              <a:gdLst>
                <a:gd name="T0" fmla="*/ 160 w 197"/>
                <a:gd name="T1" fmla="*/ 256 h 277"/>
                <a:gd name="T2" fmla="*/ 167 w 197"/>
                <a:gd name="T3" fmla="*/ 252 h 277"/>
                <a:gd name="T4" fmla="*/ 183 w 197"/>
                <a:gd name="T5" fmla="*/ 256 h 277"/>
                <a:gd name="T6" fmla="*/ 191 w 197"/>
                <a:gd name="T7" fmla="*/ 228 h 277"/>
                <a:gd name="T8" fmla="*/ 182 w 197"/>
                <a:gd name="T9" fmla="*/ 215 h 277"/>
                <a:gd name="T10" fmla="*/ 167 w 197"/>
                <a:gd name="T11" fmla="*/ 197 h 277"/>
                <a:gd name="T12" fmla="*/ 161 w 197"/>
                <a:gd name="T13" fmla="*/ 185 h 277"/>
                <a:gd name="T14" fmla="*/ 160 w 197"/>
                <a:gd name="T15" fmla="*/ 164 h 277"/>
                <a:gd name="T16" fmla="*/ 148 w 197"/>
                <a:gd name="T17" fmla="*/ 146 h 277"/>
                <a:gd name="T18" fmla="*/ 135 w 197"/>
                <a:gd name="T19" fmla="*/ 126 h 277"/>
                <a:gd name="T20" fmla="*/ 127 w 197"/>
                <a:gd name="T21" fmla="*/ 115 h 277"/>
                <a:gd name="T22" fmla="*/ 111 w 197"/>
                <a:gd name="T23" fmla="*/ 112 h 277"/>
                <a:gd name="T24" fmla="*/ 106 w 197"/>
                <a:gd name="T25" fmla="*/ 105 h 277"/>
                <a:gd name="T26" fmla="*/ 108 w 197"/>
                <a:gd name="T27" fmla="*/ 84 h 277"/>
                <a:gd name="T28" fmla="*/ 112 w 197"/>
                <a:gd name="T29" fmla="*/ 72 h 277"/>
                <a:gd name="T30" fmla="*/ 120 w 197"/>
                <a:gd name="T31" fmla="*/ 65 h 277"/>
                <a:gd name="T32" fmla="*/ 112 w 197"/>
                <a:gd name="T33" fmla="*/ 56 h 277"/>
                <a:gd name="T34" fmla="*/ 96 w 197"/>
                <a:gd name="T35" fmla="*/ 53 h 277"/>
                <a:gd name="T36" fmla="*/ 84 w 197"/>
                <a:gd name="T37" fmla="*/ 53 h 277"/>
                <a:gd name="T38" fmla="*/ 66 w 197"/>
                <a:gd name="T39" fmla="*/ 46 h 277"/>
                <a:gd name="T40" fmla="*/ 65 w 197"/>
                <a:gd name="T41" fmla="*/ 43 h 277"/>
                <a:gd name="T42" fmla="*/ 72 w 197"/>
                <a:gd name="T43" fmla="*/ 28 h 277"/>
                <a:gd name="T44" fmla="*/ 66 w 197"/>
                <a:gd name="T45" fmla="*/ 18 h 277"/>
                <a:gd name="T46" fmla="*/ 61 w 197"/>
                <a:gd name="T47" fmla="*/ 6 h 277"/>
                <a:gd name="T48" fmla="*/ 62 w 197"/>
                <a:gd name="T49" fmla="*/ 0 h 277"/>
                <a:gd name="T50" fmla="*/ 55 w 197"/>
                <a:gd name="T51" fmla="*/ 3 h 277"/>
                <a:gd name="T52" fmla="*/ 38 w 197"/>
                <a:gd name="T53" fmla="*/ 7 h 277"/>
                <a:gd name="T54" fmla="*/ 35 w 197"/>
                <a:gd name="T55" fmla="*/ 12 h 277"/>
                <a:gd name="T56" fmla="*/ 29 w 197"/>
                <a:gd name="T57" fmla="*/ 26 h 277"/>
                <a:gd name="T58" fmla="*/ 19 w 197"/>
                <a:gd name="T59" fmla="*/ 31 h 277"/>
                <a:gd name="T60" fmla="*/ 15 w 197"/>
                <a:gd name="T61" fmla="*/ 38 h 277"/>
                <a:gd name="T62" fmla="*/ 9 w 197"/>
                <a:gd name="T63" fmla="*/ 56 h 277"/>
                <a:gd name="T64" fmla="*/ 1 w 197"/>
                <a:gd name="T65" fmla="*/ 62 h 277"/>
                <a:gd name="T66" fmla="*/ 3 w 197"/>
                <a:gd name="T67" fmla="*/ 68 h 277"/>
                <a:gd name="T68" fmla="*/ 13 w 197"/>
                <a:gd name="T69" fmla="*/ 75 h 277"/>
                <a:gd name="T70" fmla="*/ 16 w 197"/>
                <a:gd name="T71" fmla="*/ 83 h 277"/>
                <a:gd name="T72" fmla="*/ 10 w 197"/>
                <a:gd name="T73" fmla="*/ 92 h 277"/>
                <a:gd name="T74" fmla="*/ 3 w 197"/>
                <a:gd name="T75" fmla="*/ 99 h 277"/>
                <a:gd name="T76" fmla="*/ 7 w 197"/>
                <a:gd name="T77" fmla="*/ 105 h 277"/>
                <a:gd name="T78" fmla="*/ 19 w 197"/>
                <a:gd name="T79" fmla="*/ 123 h 277"/>
                <a:gd name="T80" fmla="*/ 28 w 197"/>
                <a:gd name="T81" fmla="*/ 127 h 277"/>
                <a:gd name="T82" fmla="*/ 37 w 197"/>
                <a:gd name="T83" fmla="*/ 132 h 277"/>
                <a:gd name="T84" fmla="*/ 31 w 197"/>
                <a:gd name="T85" fmla="*/ 146 h 277"/>
                <a:gd name="T86" fmla="*/ 23 w 197"/>
                <a:gd name="T87" fmla="*/ 164 h 277"/>
                <a:gd name="T88" fmla="*/ 13 w 197"/>
                <a:gd name="T89" fmla="*/ 176 h 277"/>
                <a:gd name="T90" fmla="*/ 10 w 197"/>
                <a:gd name="T91" fmla="*/ 176 h 277"/>
                <a:gd name="T92" fmla="*/ 21 w 197"/>
                <a:gd name="T93" fmla="*/ 200 h 277"/>
                <a:gd name="T94" fmla="*/ 21 w 197"/>
                <a:gd name="T95" fmla="*/ 210 h 277"/>
                <a:gd name="T96" fmla="*/ 22 w 197"/>
                <a:gd name="T97" fmla="*/ 222 h 277"/>
                <a:gd name="T98" fmla="*/ 29 w 197"/>
                <a:gd name="T99" fmla="*/ 228 h 277"/>
                <a:gd name="T100" fmla="*/ 37 w 197"/>
                <a:gd name="T101" fmla="*/ 234 h 277"/>
                <a:gd name="T102" fmla="*/ 46 w 197"/>
                <a:gd name="T103" fmla="*/ 253 h 277"/>
                <a:gd name="T104" fmla="*/ 55 w 197"/>
                <a:gd name="T105" fmla="*/ 275 h 277"/>
                <a:gd name="T106" fmla="*/ 63 w 197"/>
                <a:gd name="T107" fmla="*/ 277 h 277"/>
                <a:gd name="T108" fmla="*/ 87 w 197"/>
                <a:gd name="T109" fmla="*/ 274 h 277"/>
                <a:gd name="T110" fmla="*/ 100 w 197"/>
                <a:gd name="T111" fmla="*/ 266 h 277"/>
                <a:gd name="T112" fmla="*/ 114 w 197"/>
                <a:gd name="T113" fmla="*/ 262 h 277"/>
                <a:gd name="T114" fmla="*/ 130 w 197"/>
                <a:gd name="T115" fmla="*/ 263 h 277"/>
                <a:gd name="T116" fmla="*/ 149 w 197"/>
                <a:gd name="T117" fmla="*/ 265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7" h="277">
                  <a:moveTo>
                    <a:pt x="154" y="262"/>
                  </a:moveTo>
                  <a:lnTo>
                    <a:pt x="154" y="262"/>
                  </a:lnTo>
                  <a:lnTo>
                    <a:pt x="160" y="256"/>
                  </a:lnTo>
                  <a:lnTo>
                    <a:pt x="163" y="253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72" y="252"/>
                  </a:lnTo>
                  <a:lnTo>
                    <a:pt x="177" y="253"/>
                  </a:lnTo>
                  <a:lnTo>
                    <a:pt x="183" y="256"/>
                  </a:lnTo>
                  <a:lnTo>
                    <a:pt x="197" y="231"/>
                  </a:lnTo>
                  <a:lnTo>
                    <a:pt x="197" y="231"/>
                  </a:lnTo>
                  <a:lnTo>
                    <a:pt x="191" y="228"/>
                  </a:lnTo>
                  <a:lnTo>
                    <a:pt x="188" y="223"/>
                  </a:lnTo>
                  <a:lnTo>
                    <a:pt x="185" y="219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72" y="204"/>
                  </a:lnTo>
                  <a:lnTo>
                    <a:pt x="167" y="197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1" y="185"/>
                  </a:lnTo>
                  <a:lnTo>
                    <a:pt x="161" y="179"/>
                  </a:lnTo>
                  <a:lnTo>
                    <a:pt x="161" y="172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5" y="157"/>
                  </a:lnTo>
                  <a:lnTo>
                    <a:pt x="148" y="146"/>
                  </a:lnTo>
                  <a:lnTo>
                    <a:pt x="140" y="136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2" y="120"/>
                  </a:lnTo>
                  <a:lnTo>
                    <a:pt x="129" y="117"/>
                  </a:lnTo>
                  <a:lnTo>
                    <a:pt x="127" y="115"/>
                  </a:lnTo>
                  <a:lnTo>
                    <a:pt x="124" y="114"/>
                  </a:lnTo>
                  <a:lnTo>
                    <a:pt x="118" y="114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08" y="109"/>
                  </a:lnTo>
                  <a:lnTo>
                    <a:pt x="106" y="105"/>
                  </a:lnTo>
                  <a:lnTo>
                    <a:pt x="106" y="100"/>
                  </a:lnTo>
                  <a:lnTo>
                    <a:pt x="106" y="95"/>
                  </a:lnTo>
                  <a:lnTo>
                    <a:pt x="108" y="84"/>
                  </a:lnTo>
                  <a:lnTo>
                    <a:pt x="111" y="77"/>
                  </a:lnTo>
                  <a:lnTo>
                    <a:pt x="111" y="77"/>
                  </a:lnTo>
                  <a:lnTo>
                    <a:pt x="112" y="72"/>
                  </a:lnTo>
                  <a:lnTo>
                    <a:pt x="115" y="71"/>
                  </a:lnTo>
                  <a:lnTo>
                    <a:pt x="118" y="68"/>
                  </a:lnTo>
                  <a:lnTo>
                    <a:pt x="120" y="65"/>
                  </a:lnTo>
                  <a:lnTo>
                    <a:pt x="120" y="65"/>
                  </a:lnTo>
                  <a:lnTo>
                    <a:pt x="117" y="61"/>
                  </a:lnTo>
                  <a:lnTo>
                    <a:pt x="112" y="56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96" y="53"/>
                  </a:lnTo>
                  <a:lnTo>
                    <a:pt x="92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77" y="52"/>
                  </a:lnTo>
                  <a:lnTo>
                    <a:pt x="72" y="50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5" y="44"/>
                  </a:lnTo>
                  <a:lnTo>
                    <a:pt x="65" y="43"/>
                  </a:lnTo>
                  <a:lnTo>
                    <a:pt x="68" y="37"/>
                  </a:lnTo>
                  <a:lnTo>
                    <a:pt x="71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1" y="23"/>
                  </a:lnTo>
                  <a:lnTo>
                    <a:pt x="66" y="18"/>
                  </a:lnTo>
                  <a:lnTo>
                    <a:pt x="63" y="10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3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55" y="3"/>
                  </a:lnTo>
                  <a:lnTo>
                    <a:pt x="47" y="4"/>
                  </a:lnTo>
                  <a:lnTo>
                    <a:pt x="41" y="6"/>
                  </a:lnTo>
                  <a:lnTo>
                    <a:pt x="38" y="7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5" y="12"/>
                  </a:lnTo>
                  <a:lnTo>
                    <a:pt x="35" y="16"/>
                  </a:lnTo>
                  <a:lnTo>
                    <a:pt x="34" y="22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3" y="29"/>
                  </a:lnTo>
                  <a:lnTo>
                    <a:pt x="19" y="31"/>
                  </a:lnTo>
                  <a:lnTo>
                    <a:pt x="16" y="32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3" y="50"/>
                  </a:lnTo>
                  <a:lnTo>
                    <a:pt x="12" y="53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4" y="59"/>
                  </a:lnTo>
                  <a:lnTo>
                    <a:pt x="1" y="62"/>
                  </a:lnTo>
                  <a:lnTo>
                    <a:pt x="0" y="66"/>
                  </a:lnTo>
                  <a:lnTo>
                    <a:pt x="1" y="66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7" y="71"/>
                  </a:lnTo>
                  <a:lnTo>
                    <a:pt x="13" y="75"/>
                  </a:lnTo>
                  <a:lnTo>
                    <a:pt x="16" y="77"/>
                  </a:lnTo>
                  <a:lnTo>
                    <a:pt x="16" y="80"/>
                  </a:lnTo>
                  <a:lnTo>
                    <a:pt x="16" y="83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0" y="92"/>
                  </a:lnTo>
                  <a:lnTo>
                    <a:pt x="6" y="96"/>
                  </a:lnTo>
                  <a:lnTo>
                    <a:pt x="4" y="98"/>
                  </a:lnTo>
                  <a:lnTo>
                    <a:pt x="3" y="99"/>
                  </a:lnTo>
                  <a:lnTo>
                    <a:pt x="4" y="102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13" y="111"/>
                  </a:lnTo>
                  <a:lnTo>
                    <a:pt x="16" y="115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23" y="124"/>
                  </a:lnTo>
                  <a:lnTo>
                    <a:pt x="28" y="127"/>
                  </a:lnTo>
                  <a:lnTo>
                    <a:pt x="35" y="129"/>
                  </a:lnTo>
                  <a:lnTo>
                    <a:pt x="35" y="129"/>
                  </a:lnTo>
                  <a:lnTo>
                    <a:pt x="37" y="132"/>
                  </a:lnTo>
                  <a:lnTo>
                    <a:pt x="37" y="135"/>
                  </a:lnTo>
                  <a:lnTo>
                    <a:pt x="35" y="140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26" y="154"/>
                  </a:lnTo>
                  <a:lnTo>
                    <a:pt x="23" y="164"/>
                  </a:lnTo>
                  <a:lnTo>
                    <a:pt x="19" y="173"/>
                  </a:lnTo>
                  <a:lnTo>
                    <a:pt x="16" y="175"/>
                  </a:lnTo>
                  <a:lnTo>
                    <a:pt x="13" y="176"/>
                  </a:lnTo>
                  <a:lnTo>
                    <a:pt x="13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21" y="200"/>
                  </a:lnTo>
                  <a:lnTo>
                    <a:pt x="21" y="200"/>
                  </a:lnTo>
                  <a:lnTo>
                    <a:pt x="21" y="204"/>
                  </a:lnTo>
                  <a:lnTo>
                    <a:pt x="21" y="210"/>
                  </a:lnTo>
                  <a:lnTo>
                    <a:pt x="21" y="216"/>
                  </a:lnTo>
                  <a:lnTo>
                    <a:pt x="21" y="219"/>
                  </a:lnTo>
                  <a:lnTo>
                    <a:pt x="22" y="222"/>
                  </a:lnTo>
                  <a:lnTo>
                    <a:pt x="22" y="222"/>
                  </a:lnTo>
                  <a:lnTo>
                    <a:pt x="26" y="225"/>
                  </a:lnTo>
                  <a:lnTo>
                    <a:pt x="29" y="228"/>
                  </a:lnTo>
                  <a:lnTo>
                    <a:pt x="32" y="229"/>
                  </a:lnTo>
                  <a:lnTo>
                    <a:pt x="37" y="234"/>
                  </a:lnTo>
                  <a:lnTo>
                    <a:pt x="37" y="234"/>
                  </a:lnTo>
                  <a:lnTo>
                    <a:pt x="43" y="244"/>
                  </a:lnTo>
                  <a:lnTo>
                    <a:pt x="46" y="253"/>
                  </a:lnTo>
                  <a:lnTo>
                    <a:pt x="46" y="253"/>
                  </a:lnTo>
                  <a:lnTo>
                    <a:pt x="49" y="265"/>
                  </a:lnTo>
                  <a:lnTo>
                    <a:pt x="52" y="271"/>
                  </a:lnTo>
                  <a:lnTo>
                    <a:pt x="55" y="275"/>
                  </a:lnTo>
                  <a:lnTo>
                    <a:pt x="55" y="275"/>
                  </a:lnTo>
                  <a:lnTo>
                    <a:pt x="58" y="277"/>
                  </a:lnTo>
                  <a:lnTo>
                    <a:pt x="63" y="277"/>
                  </a:lnTo>
                  <a:lnTo>
                    <a:pt x="80" y="275"/>
                  </a:lnTo>
                  <a:lnTo>
                    <a:pt x="80" y="275"/>
                  </a:lnTo>
                  <a:lnTo>
                    <a:pt x="87" y="274"/>
                  </a:lnTo>
                  <a:lnTo>
                    <a:pt x="93" y="272"/>
                  </a:lnTo>
                  <a:lnTo>
                    <a:pt x="98" y="269"/>
                  </a:lnTo>
                  <a:lnTo>
                    <a:pt x="100" y="266"/>
                  </a:lnTo>
                  <a:lnTo>
                    <a:pt x="100" y="266"/>
                  </a:lnTo>
                  <a:lnTo>
                    <a:pt x="106" y="263"/>
                  </a:lnTo>
                  <a:lnTo>
                    <a:pt x="114" y="262"/>
                  </a:lnTo>
                  <a:lnTo>
                    <a:pt x="123" y="262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8" y="265"/>
                  </a:lnTo>
                  <a:lnTo>
                    <a:pt x="143" y="265"/>
                  </a:lnTo>
                  <a:lnTo>
                    <a:pt x="149" y="265"/>
                  </a:lnTo>
                  <a:lnTo>
                    <a:pt x="154" y="262"/>
                  </a:lnTo>
                  <a:lnTo>
                    <a:pt x="154" y="26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8" name="Freeform 87">
              <a:extLst>
                <a:ext uri="{FF2B5EF4-FFF2-40B4-BE49-F238E27FC236}">
                  <a16:creationId xmlns:a16="http://schemas.microsoft.com/office/drawing/2014/main" id="{CBE43368-EEB3-D548-AEED-A86D597E2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0300" y="4360863"/>
              <a:ext cx="406400" cy="417512"/>
            </a:xfrm>
            <a:custGeom>
              <a:avLst/>
              <a:gdLst>
                <a:gd name="T0" fmla="*/ 151 w 256"/>
                <a:gd name="T1" fmla="*/ 247 h 263"/>
                <a:gd name="T2" fmla="*/ 163 w 256"/>
                <a:gd name="T3" fmla="*/ 244 h 263"/>
                <a:gd name="T4" fmla="*/ 185 w 256"/>
                <a:gd name="T5" fmla="*/ 241 h 263"/>
                <a:gd name="T6" fmla="*/ 192 w 256"/>
                <a:gd name="T7" fmla="*/ 229 h 263"/>
                <a:gd name="T8" fmla="*/ 197 w 256"/>
                <a:gd name="T9" fmla="*/ 226 h 263"/>
                <a:gd name="T10" fmla="*/ 207 w 256"/>
                <a:gd name="T11" fmla="*/ 229 h 263"/>
                <a:gd name="T12" fmla="*/ 217 w 256"/>
                <a:gd name="T13" fmla="*/ 240 h 263"/>
                <a:gd name="T14" fmla="*/ 220 w 256"/>
                <a:gd name="T15" fmla="*/ 225 h 263"/>
                <a:gd name="T16" fmla="*/ 225 w 256"/>
                <a:gd name="T17" fmla="*/ 219 h 263"/>
                <a:gd name="T18" fmla="*/ 235 w 256"/>
                <a:gd name="T19" fmla="*/ 210 h 263"/>
                <a:gd name="T20" fmla="*/ 238 w 256"/>
                <a:gd name="T21" fmla="*/ 203 h 263"/>
                <a:gd name="T22" fmla="*/ 231 w 256"/>
                <a:gd name="T23" fmla="*/ 186 h 263"/>
                <a:gd name="T24" fmla="*/ 226 w 256"/>
                <a:gd name="T25" fmla="*/ 180 h 263"/>
                <a:gd name="T26" fmla="*/ 228 w 256"/>
                <a:gd name="T27" fmla="*/ 163 h 263"/>
                <a:gd name="T28" fmla="*/ 238 w 256"/>
                <a:gd name="T29" fmla="*/ 151 h 263"/>
                <a:gd name="T30" fmla="*/ 253 w 256"/>
                <a:gd name="T31" fmla="*/ 133 h 263"/>
                <a:gd name="T32" fmla="*/ 253 w 256"/>
                <a:gd name="T33" fmla="*/ 115 h 263"/>
                <a:gd name="T34" fmla="*/ 244 w 256"/>
                <a:gd name="T35" fmla="*/ 100 h 263"/>
                <a:gd name="T36" fmla="*/ 256 w 256"/>
                <a:gd name="T37" fmla="*/ 77 h 263"/>
                <a:gd name="T38" fmla="*/ 234 w 256"/>
                <a:gd name="T39" fmla="*/ 68 h 263"/>
                <a:gd name="T40" fmla="*/ 226 w 256"/>
                <a:gd name="T41" fmla="*/ 66 h 263"/>
                <a:gd name="T42" fmla="*/ 210 w 256"/>
                <a:gd name="T43" fmla="*/ 78 h 263"/>
                <a:gd name="T44" fmla="*/ 203 w 256"/>
                <a:gd name="T45" fmla="*/ 78 h 263"/>
                <a:gd name="T46" fmla="*/ 197 w 256"/>
                <a:gd name="T47" fmla="*/ 71 h 263"/>
                <a:gd name="T48" fmla="*/ 185 w 256"/>
                <a:gd name="T49" fmla="*/ 66 h 263"/>
                <a:gd name="T50" fmla="*/ 173 w 256"/>
                <a:gd name="T51" fmla="*/ 71 h 263"/>
                <a:gd name="T52" fmla="*/ 164 w 256"/>
                <a:gd name="T53" fmla="*/ 74 h 263"/>
                <a:gd name="T54" fmla="*/ 151 w 256"/>
                <a:gd name="T55" fmla="*/ 53 h 263"/>
                <a:gd name="T56" fmla="*/ 131 w 256"/>
                <a:gd name="T57" fmla="*/ 55 h 263"/>
                <a:gd name="T58" fmla="*/ 115 w 256"/>
                <a:gd name="T59" fmla="*/ 52 h 263"/>
                <a:gd name="T60" fmla="*/ 111 w 256"/>
                <a:gd name="T61" fmla="*/ 29 h 263"/>
                <a:gd name="T62" fmla="*/ 103 w 256"/>
                <a:gd name="T63" fmla="*/ 12 h 263"/>
                <a:gd name="T64" fmla="*/ 86 w 256"/>
                <a:gd name="T65" fmla="*/ 0 h 263"/>
                <a:gd name="T66" fmla="*/ 77 w 256"/>
                <a:gd name="T67" fmla="*/ 3 h 263"/>
                <a:gd name="T68" fmla="*/ 57 w 256"/>
                <a:gd name="T69" fmla="*/ 23 h 263"/>
                <a:gd name="T70" fmla="*/ 43 w 256"/>
                <a:gd name="T71" fmla="*/ 38 h 263"/>
                <a:gd name="T72" fmla="*/ 16 w 256"/>
                <a:gd name="T73" fmla="*/ 56 h 263"/>
                <a:gd name="T74" fmla="*/ 7 w 256"/>
                <a:gd name="T75" fmla="*/ 74 h 263"/>
                <a:gd name="T76" fmla="*/ 6 w 256"/>
                <a:gd name="T77" fmla="*/ 77 h 263"/>
                <a:gd name="T78" fmla="*/ 1 w 256"/>
                <a:gd name="T79" fmla="*/ 103 h 263"/>
                <a:gd name="T80" fmla="*/ 6 w 256"/>
                <a:gd name="T81" fmla="*/ 109 h 263"/>
                <a:gd name="T82" fmla="*/ 25 w 256"/>
                <a:gd name="T83" fmla="*/ 120 h 263"/>
                <a:gd name="T84" fmla="*/ 37 w 256"/>
                <a:gd name="T85" fmla="*/ 121 h 263"/>
                <a:gd name="T86" fmla="*/ 44 w 256"/>
                <a:gd name="T87" fmla="*/ 130 h 263"/>
                <a:gd name="T88" fmla="*/ 52 w 256"/>
                <a:gd name="T89" fmla="*/ 148 h 263"/>
                <a:gd name="T90" fmla="*/ 77 w 256"/>
                <a:gd name="T91" fmla="*/ 173 h 263"/>
                <a:gd name="T92" fmla="*/ 83 w 256"/>
                <a:gd name="T93" fmla="*/ 182 h 263"/>
                <a:gd name="T94" fmla="*/ 86 w 256"/>
                <a:gd name="T95" fmla="*/ 201 h 263"/>
                <a:gd name="T96" fmla="*/ 74 w 256"/>
                <a:gd name="T97" fmla="*/ 231 h 263"/>
                <a:gd name="T98" fmla="*/ 60 w 256"/>
                <a:gd name="T99" fmla="*/ 243 h 263"/>
                <a:gd name="T100" fmla="*/ 75 w 256"/>
                <a:gd name="T101" fmla="*/ 253 h 263"/>
                <a:gd name="T102" fmla="*/ 87 w 256"/>
                <a:gd name="T103" fmla="*/ 257 h 263"/>
                <a:gd name="T104" fmla="*/ 102 w 256"/>
                <a:gd name="T105" fmla="*/ 251 h 263"/>
                <a:gd name="T106" fmla="*/ 117 w 256"/>
                <a:gd name="T107" fmla="*/ 254 h 263"/>
                <a:gd name="T108" fmla="*/ 121 w 256"/>
                <a:gd name="T109" fmla="*/ 260 h 263"/>
                <a:gd name="T110" fmla="*/ 133 w 256"/>
                <a:gd name="T111" fmla="*/ 263 h 263"/>
                <a:gd name="T112" fmla="*/ 145 w 256"/>
                <a:gd name="T113" fmla="*/ 25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6" h="263">
                  <a:moveTo>
                    <a:pt x="145" y="254"/>
                  </a:moveTo>
                  <a:lnTo>
                    <a:pt x="145" y="254"/>
                  </a:lnTo>
                  <a:lnTo>
                    <a:pt x="151" y="247"/>
                  </a:lnTo>
                  <a:lnTo>
                    <a:pt x="151" y="247"/>
                  </a:lnTo>
                  <a:lnTo>
                    <a:pt x="157" y="244"/>
                  </a:lnTo>
                  <a:lnTo>
                    <a:pt x="163" y="244"/>
                  </a:lnTo>
                  <a:lnTo>
                    <a:pt x="180" y="243"/>
                  </a:lnTo>
                  <a:lnTo>
                    <a:pt x="180" y="243"/>
                  </a:lnTo>
                  <a:lnTo>
                    <a:pt x="185" y="241"/>
                  </a:lnTo>
                  <a:lnTo>
                    <a:pt x="188" y="240"/>
                  </a:lnTo>
                  <a:lnTo>
                    <a:pt x="191" y="235"/>
                  </a:lnTo>
                  <a:lnTo>
                    <a:pt x="192" y="229"/>
                  </a:lnTo>
                  <a:lnTo>
                    <a:pt x="194" y="228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8" y="225"/>
                  </a:lnTo>
                  <a:lnTo>
                    <a:pt x="201" y="226"/>
                  </a:lnTo>
                  <a:lnTo>
                    <a:pt x="207" y="229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7" y="240"/>
                  </a:lnTo>
                  <a:lnTo>
                    <a:pt x="219" y="238"/>
                  </a:lnTo>
                  <a:lnTo>
                    <a:pt x="220" y="235"/>
                  </a:lnTo>
                  <a:lnTo>
                    <a:pt x="220" y="225"/>
                  </a:lnTo>
                  <a:lnTo>
                    <a:pt x="220" y="225"/>
                  </a:lnTo>
                  <a:lnTo>
                    <a:pt x="222" y="222"/>
                  </a:lnTo>
                  <a:lnTo>
                    <a:pt x="225" y="219"/>
                  </a:lnTo>
                  <a:lnTo>
                    <a:pt x="232" y="213"/>
                  </a:lnTo>
                  <a:lnTo>
                    <a:pt x="232" y="213"/>
                  </a:lnTo>
                  <a:lnTo>
                    <a:pt x="235" y="210"/>
                  </a:lnTo>
                  <a:lnTo>
                    <a:pt x="238" y="207"/>
                  </a:lnTo>
                  <a:lnTo>
                    <a:pt x="238" y="207"/>
                  </a:lnTo>
                  <a:lnTo>
                    <a:pt x="238" y="203"/>
                  </a:lnTo>
                  <a:lnTo>
                    <a:pt x="238" y="197"/>
                  </a:lnTo>
                  <a:lnTo>
                    <a:pt x="235" y="192"/>
                  </a:lnTo>
                  <a:lnTo>
                    <a:pt x="231" y="186"/>
                  </a:lnTo>
                  <a:lnTo>
                    <a:pt x="231" y="186"/>
                  </a:lnTo>
                  <a:lnTo>
                    <a:pt x="228" y="183"/>
                  </a:lnTo>
                  <a:lnTo>
                    <a:pt x="226" y="180"/>
                  </a:lnTo>
                  <a:lnTo>
                    <a:pt x="226" y="174"/>
                  </a:lnTo>
                  <a:lnTo>
                    <a:pt x="226" y="167"/>
                  </a:lnTo>
                  <a:lnTo>
                    <a:pt x="228" y="163"/>
                  </a:lnTo>
                  <a:lnTo>
                    <a:pt x="228" y="163"/>
                  </a:lnTo>
                  <a:lnTo>
                    <a:pt x="232" y="157"/>
                  </a:lnTo>
                  <a:lnTo>
                    <a:pt x="238" y="151"/>
                  </a:lnTo>
                  <a:lnTo>
                    <a:pt x="250" y="139"/>
                  </a:lnTo>
                  <a:lnTo>
                    <a:pt x="250" y="139"/>
                  </a:lnTo>
                  <a:lnTo>
                    <a:pt x="253" y="133"/>
                  </a:lnTo>
                  <a:lnTo>
                    <a:pt x="253" y="126"/>
                  </a:lnTo>
                  <a:lnTo>
                    <a:pt x="253" y="115"/>
                  </a:lnTo>
                  <a:lnTo>
                    <a:pt x="253" y="115"/>
                  </a:lnTo>
                  <a:lnTo>
                    <a:pt x="251" y="111"/>
                  </a:lnTo>
                  <a:lnTo>
                    <a:pt x="248" y="106"/>
                  </a:lnTo>
                  <a:lnTo>
                    <a:pt x="244" y="100"/>
                  </a:lnTo>
                  <a:lnTo>
                    <a:pt x="244" y="100"/>
                  </a:lnTo>
                  <a:lnTo>
                    <a:pt x="250" y="87"/>
                  </a:lnTo>
                  <a:lnTo>
                    <a:pt x="256" y="77"/>
                  </a:lnTo>
                  <a:lnTo>
                    <a:pt x="256" y="77"/>
                  </a:lnTo>
                  <a:lnTo>
                    <a:pt x="245" y="72"/>
                  </a:lnTo>
                  <a:lnTo>
                    <a:pt x="234" y="68"/>
                  </a:lnTo>
                  <a:lnTo>
                    <a:pt x="234" y="68"/>
                  </a:lnTo>
                  <a:lnTo>
                    <a:pt x="229" y="66"/>
                  </a:lnTo>
                  <a:lnTo>
                    <a:pt x="226" y="66"/>
                  </a:lnTo>
                  <a:lnTo>
                    <a:pt x="219" y="69"/>
                  </a:lnTo>
                  <a:lnTo>
                    <a:pt x="213" y="74"/>
                  </a:lnTo>
                  <a:lnTo>
                    <a:pt x="210" y="78"/>
                  </a:lnTo>
                  <a:lnTo>
                    <a:pt x="210" y="78"/>
                  </a:lnTo>
                  <a:lnTo>
                    <a:pt x="206" y="80"/>
                  </a:lnTo>
                  <a:lnTo>
                    <a:pt x="203" y="78"/>
                  </a:lnTo>
                  <a:lnTo>
                    <a:pt x="198" y="75"/>
                  </a:lnTo>
                  <a:lnTo>
                    <a:pt x="197" y="71"/>
                  </a:lnTo>
                  <a:lnTo>
                    <a:pt x="197" y="71"/>
                  </a:lnTo>
                  <a:lnTo>
                    <a:pt x="195" y="68"/>
                  </a:lnTo>
                  <a:lnTo>
                    <a:pt x="194" y="66"/>
                  </a:lnTo>
                  <a:lnTo>
                    <a:pt x="185" y="66"/>
                  </a:lnTo>
                  <a:lnTo>
                    <a:pt x="185" y="66"/>
                  </a:lnTo>
                  <a:lnTo>
                    <a:pt x="179" y="68"/>
                  </a:lnTo>
                  <a:lnTo>
                    <a:pt x="173" y="71"/>
                  </a:lnTo>
                  <a:lnTo>
                    <a:pt x="168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0" y="71"/>
                  </a:lnTo>
                  <a:lnTo>
                    <a:pt x="157" y="66"/>
                  </a:lnTo>
                  <a:lnTo>
                    <a:pt x="151" y="53"/>
                  </a:lnTo>
                  <a:lnTo>
                    <a:pt x="151" y="53"/>
                  </a:lnTo>
                  <a:lnTo>
                    <a:pt x="142" y="55"/>
                  </a:lnTo>
                  <a:lnTo>
                    <a:pt x="131" y="55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111" y="40"/>
                  </a:lnTo>
                  <a:lnTo>
                    <a:pt x="111" y="29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3" y="12"/>
                  </a:lnTo>
                  <a:lnTo>
                    <a:pt x="96" y="4"/>
                  </a:lnTo>
                  <a:lnTo>
                    <a:pt x="91" y="1"/>
                  </a:lnTo>
                  <a:lnTo>
                    <a:pt x="86" y="0"/>
                  </a:lnTo>
                  <a:lnTo>
                    <a:pt x="81" y="0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69" y="9"/>
                  </a:lnTo>
                  <a:lnTo>
                    <a:pt x="63" y="16"/>
                  </a:lnTo>
                  <a:lnTo>
                    <a:pt x="57" y="23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43" y="38"/>
                  </a:lnTo>
                  <a:lnTo>
                    <a:pt x="32" y="4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3" y="59"/>
                  </a:lnTo>
                  <a:lnTo>
                    <a:pt x="12" y="62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3" y="86"/>
                  </a:lnTo>
                  <a:lnTo>
                    <a:pt x="0" y="96"/>
                  </a:lnTo>
                  <a:lnTo>
                    <a:pt x="1" y="103"/>
                  </a:lnTo>
                  <a:lnTo>
                    <a:pt x="3" y="108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12" y="114"/>
                  </a:lnTo>
                  <a:lnTo>
                    <a:pt x="17" y="118"/>
                  </a:lnTo>
                  <a:lnTo>
                    <a:pt x="25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7" y="121"/>
                  </a:lnTo>
                  <a:lnTo>
                    <a:pt x="40" y="123"/>
                  </a:lnTo>
                  <a:lnTo>
                    <a:pt x="43" y="126"/>
                  </a:lnTo>
                  <a:lnTo>
                    <a:pt x="44" y="130"/>
                  </a:lnTo>
                  <a:lnTo>
                    <a:pt x="47" y="137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9" y="155"/>
                  </a:lnTo>
                  <a:lnTo>
                    <a:pt x="68" y="164"/>
                  </a:lnTo>
                  <a:lnTo>
                    <a:pt x="77" y="173"/>
                  </a:lnTo>
                  <a:lnTo>
                    <a:pt x="80" y="177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6" y="188"/>
                  </a:lnTo>
                  <a:lnTo>
                    <a:pt x="86" y="194"/>
                  </a:lnTo>
                  <a:lnTo>
                    <a:pt x="86" y="201"/>
                  </a:lnTo>
                  <a:lnTo>
                    <a:pt x="86" y="207"/>
                  </a:lnTo>
                  <a:lnTo>
                    <a:pt x="81" y="219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75" y="253"/>
                  </a:lnTo>
                  <a:lnTo>
                    <a:pt x="83" y="256"/>
                  </a:lnTo>
                  <a:lnTo>
                    <a:pt x="83" y="256"/>
                  </a:lnTo>
                  <a:lnTo>
                    <a:pt x="87" y="257"/>
                  </a:lnTo>
                  <a:lnTo>
                    <a:pt x="91" y="256"/>
                  </a:lnTo>
                  <a:lnTo>
                    <a:pt x="97" y="253"/>
                  </a:lnTo>
                  <a:lnTo>
                    <a:pt x="102" y="251"/>
                  </a:lnTo>
                  <a:lnTo>
                    <a:pt x="102" y="251"/>
                  </a:lnTo>
                  <a:lnTo>
                    <a:pt x="112" y="253"/>
                  </a:lnTo>
                  <a:lnTo>
                    <a:pt x="117" y="254"/>
                  </a:lnTo>
                  <a:lnTo>
                    <a:pt x="120" y="257"/>
                  </a:lnTo>
                  <a:lnTo>
                    <a:pt x="120" y="257"/>
                  </a:lnTo>
                  <a:lnTo>
                    <a:pt x="121" y="260"/>
                  </a:lnTo>
                  <a:lnTo>
                    <a:pt x="126" y="262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4" y="263"/>
                  </a:lnTo>
                  <a:lnTo>
                    <a:pt x="137" y="262"/>
                  </a:lnTo>
                  <a:lnTo>
                    <a:pt x="145" y="254"/>
                  </a:lnTo>
                  <a:lnTo>
                    <a:pt x="145" y="25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09" name="Freeform 88">
              <a:extLst>
                <a:ext uri="{FF2B5EF4-FFF2-40B4-BE49-F238E27FC236}">
                  <a16:creationId xmlns:a16="http://schemas.microsoft.com/office/drawing/2014/main" id="{9251354A-1C37-CD48-8530-738CA72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8550" y="4908550"/>
              <a:ext cx="331788" cy="517525"/>
            </a:xfrm>
            <a:custGeom>
              <a:avLst/>
              <a:gdLst>
                <a:gd name="T0" fmla="*/ 144 w 209"/>
                <a:gd name="T1" fmla="*/ 283 h 326"/>
                <a:gd name="T2" fmla="*/ 146 w 209"/>
                <a:gd name="T3" fmla="*/ 269 h 326"/>
                <a:gd name="T4" fmla="*/ 149 w 209"/>
                <a:gd name="T5" fmla="*/ 262 h 326"/>
                <a:gd name="T6" fmla="*/ 154 w 209"/>
                <a:gd name="T7" fmla="*/ 260 h 326"/>
                <a:gd name="T8" fmla="*/ 165 w 209"/>
                <a:gd name="T9" fmla="*/ 246 h 326"/>
                <a:gd name="T10" fmla="*/ 168 w 209"/>
                <a:gd name="T11" fmla="*/ 229 h 326"/>
                <a:gd name="T12" fmla="*/ 177 w 209"/>
                <a:gd name="T13" fmla="*/ 218 h 326"/>
                <a:gd name="T14" fmla="*/ 180 w 209"/>
                <a:gd name="T15" fmla="*/ 219 h 326"/>
                <a:gd name="T16" fmla="*/ 184 w 209"/>
                <a:gd name="T17" fmla="*/ 222 h 326"/>
                <a:gd name="T18" fmla="*/ 199 w 209"/>
                <a:gd name="T19" fmla="*/ 212 h 326"/>
                <a:gd name="T20" fmla="*/ 199 w 209"/>
                <a:gd name="T21" fmla="*/ 207 h 326"/>
                <a:gd name="T22" fmla="*/ 184 w 209"/>
                <a:gd name="T23" fmla="*/ 188 h 326"/>
                <a:gd name="T24" fmla="*/ 184 w 209"/>
                <a:gd name="T25" fmla="*/ 185 h 326"/>
                <a:gd name="T26" fmla="*/ 197 w 209"/>
                <a:gd name="T27" fmla="*/ 182 h 326"/>
                <a:gd name="T28" fmla="*/ 205 w 209"/>
                <a:gd name="T29" fmla="*/ 173 h 326"/>
                <a:gd name="T30" fmla="*/ 209 w 209"/>
                <a:gd name="T31" fmla="*/ 157 h 326"/>
                <a:gd name="T32" fmla="*/ 208 w 209"/>
                <a:gd name="T33" fmla="*/ 139 h 326"/>
                <a:gd name="T34" fmla="*/ 188 w 209"/>
                <a:gd name="T35" fmla="*/ 133 h 326"/>
                <a:gd name="T36" fmla="*/ 171 w 209"/>
                <a:gd name="T37" fmla="*/ 118 h 326"/>
                <a:gd name="T38" fmla="*/ 160 w 209"/>
                <a:gd name="T39" fmla="*/ 115 h 326"/>
                <a:gd name="T40" fmla="*/ 147 w 209"/>
                <a:gd name="T41" fmla="*/ 111 h 326"/>
                <a:gd name="T42" fmla="*/ 120 w 209"/>
                <a:gd name="T43" fmla="*/ 98 h 326"/>
                <a:gd name="T44" fmla="*/ 109 w 209"/>
                <a:gd name="T45" fmla="*/ 84 h 326"/>
                <a:gd name="T46" fmla="*/ 103 w 209"/>
                <a:gd name="T47" fmla="*/ 66 h 326"/>
                <a:gd name="T48" fmla="*/ 83 w 209"/>
                <a:gd name="T49" fmla="*/ 49 h 326"/>
                <a:gd name="T50" fmla="*/ 77 w 209"/>
                <a:gd name="T51" fmla="*/ 41 h 326"/>
                <a:gd name="T52" fmla="*/ 69 w 209"/>
                <a:gd name="T53" fmla="*/ 16 h 326"/>
                <a:gd name="T54" fmla="*/ 55 w 209"/>
                <a:gd name="T55" fmla="*/ 1 h 326"/>
                <a:gd name="T56" fmla="*/ 49 w 209"/>
                <a:gd name="T57" fmla="*/ 7 h 326"/>
                <a:gd name="T58" fmla="*/ 42 w 209"/>
                <a:gd name="T59" fmla="*/ 18 h 326"/>
                <a:gd name="T60" fmla="*/ 12 w 209"/>
                <a:gd name="T61" fmla="*/ 47 h 326"/>
                <a:gd name="T62" fmla="*/ 5 w 209"/>
                <a:gd name="T63" fmla="*/ 62 h 326"/>
                <a:gd name="T64" fmla="*/ 2 w 209"/>
                <a:gd name="T65" fmla="*/ 86 h 326"/>
                <a:gd name="T66" fmla="*/ 9 w 209"/>
                <a:gd name="T67" fmla="*/ 95 h 326"/>
                <a:gd name="T68" fmla="*/ 27 w 209"/>
                <a:gd name="T69" fmla="*/ 109 h 326"/>
                <a:gd name="T70" fmla="*/ 29 w 209"/>
                <a:gd name="T71" fmla="*/ 121 h 326"/>
                <a:gd name="T72" fmla="*/ 48 w 209"/>
                <a:gd name="T73" fmla="*/ 157 h 326"/>
                <a:gd name="T74" fmla="*/ 57 w 209"/>
                <a:gd name="T75" fmla="*/ 164 h 326"/>
                <a:gd name="T76" fmla="*/ 64 w 209"/>
                <a:gd name="T77" fmla="*/ 180 h 326"/>
                <a:gd name="T78" fmla="*/ 64 w 209"/>
                <a:gd name="T79" fmla="*/ 204 h 326"/>
                <a:gd name="T80" fmla="*/ 58 w 209"/>
                <a:gd name="T81" fmla="*/ 243 h 326"/>
                <a:gd name="T82" fmla="*/ 63 w 209"/>
                <a:gd name="T83" fmla="*/ 257 h 326"/>
                <a:gd name="T84" fmla="*/ 70 w 209"/>
                <a:gd name="T85" fmla="*/ 259 h 326"/>
                <a:gd name="T86" fmla="*/ 80 w 209"/>
                <a:gd name="T87" fmla="*/ 260 h 326"/>
                <a:gd name="T88" fmla="*/ 83 w 209"/>
                <a:gd name="T89" fmla="*/ 266 h 326"/>
                <a:gd name="T90" fmla="*/ 89 w 209"/>
                <a:gd name="T91" fmla="*/ 314 h 326"/>
                <a:gd name="T92" fmla="*/ 101 w 209"/>
                <a:gd name="T93" fmla="*/ 321 h 326"/>
                <a:gd name="T94" fmla="*/ 106 w 209"/>
                <a:gd name="T95" fmla="*/ 326 h 326"/>
                <a:gd name="T96" fmla="*/ 119 w 209"/>
                <a:gd name="T97" fmla="*/ 312 h 326"/>
                <a:gd name="T98" fmla="*/ 126 w 209"/>
                <a:gd name="T99" fmla="*/ 295 h 326"/>
                <a:gd name="T100" fmla="*/ 131 w 209"/>
                <a:gd name="T101" fmla="*/ 287 h 326"/>
                <a:gd name="T102" fmla="*/ 141 w 209"/>
                <a:gd name="T103" fmla="*/ 28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9" h="326">
                  <a:moveTo>
                    <a:pt x="141" y="284"/>
                  </a:moveTo>
                  <a:lnTo>
                    <a:pt x="141" y="284"/>
                  </a:lnTo>
                  <a:lnTo>
                    <a:pt x="144" y="283"/>
                  </a:lnTo>
                  <a:lnTo>
                    <a:pt x="146" y="280"/>
                  </a:lnTo>
                  <a:lnTo>
                    <a:pt x="146" y="275"/>
                  </a:lnTo>
                  <a:lnTo>
                    <a:pt x="146" y="269"/>
                  </a:lnTo>
                  <a:lnTo>
                    <a:pt x="146" y="269"/>
                  </a:lnTo>
                  <a:lnTo>
                    <a:pt x="147" y="263"/>
                  </a:lnTo>
                  <a:lnTo>
                    <a:pt x="149" y="262"/>
                  </a:lnTo>
                  <a:lnTo>
                    <a:pt x="151" y="262"/>
                  </a:lnTo>
                  <a:lnTo>
                    <a:pt x="154" y="260"/>
                  </a:lnTo>
                  <a:lnTo>
                    <a:pt x="154" y="260"/>
                  </a:lnTo>
                  <a:lnTo>
                    <a:pt x="159" y="256"/>
                  </a:lnTo>
                  <a:lnTo>
                    <a:pt x="162" y="252"/>
                  </a:lnTo>
                  <a:lnTo>
                    <a:pt x="165" y="246"/>
                  </a:lnTo>
                  <a:lnTo>
                    <a:pt x="166" y="237"/>
                  </a:lnTo>
                  <a:lnTo>
                    <a:pt x="166" y="237"/>
                  </a:lnTo>
                  <a:lnTo>
                    <a:pt x="168" y="229"/>
                  </a:lnTo>
                  <a:lnTo>
                    <a:pt x="171" y="223"/>
                  </a:lnTo>
                  <a:lnTo>
                    <a:pt x="174" y="220"/>
                  </a:lnTo>
                  <a:lnTo>
                    <a:pt x="177" y="218"/>
                  </a:lnTo>
                  <a:lnTo>
                    <a:pt x="177" y="218"/>
                  </a:lnTo>
                  <a:lnTo>
                    <a:pt x="180" y="218"/>
                  </a:lnTo>
                  <a:lnTo>
                    <a:pt x="180" y="219"/>
                  </a:lnTo>
                  <a:lnTo>
                    <a:pt x="181" y="220"/>
                  </a:lnTo>
                  <a:lnTo>
                    <a:pt x="184" y="222"/>
                  </a:lnTo>
                  <a:lnTo>
                    <a:pt x="184" y="222"/>
                  </a:lnTo>
                  <a:lnTo>
                    <a:pt x="188" y="220"/>
                  </a:lnTo>
                  <a:lnTo>
                    <a:pt x="194" y="218"/>
                  </a:lnTo>
                  <a:lnTo>
                    <a:pt x="199" y="212"/>
                  </a:lnTo>
                  <a:lnTo>
                    <a:pt x="200" y="209"/>
                  </a:lnTo>
                  <a:lnTo>
                    <a:pt x="199" y="207"/>
                  </a:lnTo>
                  <a:lnTo>
                    <a:pt x="199" y="207"/>
                  </a:lnTo>
                  <a:lnTo>
                    <a:pt x="190" y="197"/>
                  </a:lnTo>
                  <a:lnTo>
                    <a:pt x="186" y="192"/>
                  </a:lnTo>
                  <a:lnTo>
                    <a:pt x="184" y="188"/>
                  </a:lnTo>
                  <a:lnTo>
                    <a:pt x="184" y="188"/>
                  </a:lnTo>
                  <a:lnTo>
                    <a:pt x="184" y="186"/>
                  </a:lnTo>
                  <a:lnTo>
                    <a:pt x="184" y="185"/>
                  </a:lnTo>
                  <a:lnTo>
                    <a:pt x="187" y="185"/>
                  </a:lnTo>
                  <a:lnTo>
                    <a:pt x="193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202" y="179"/>
                  </a:lnTo>
                  <a:lnTo>
                    <a:pt x="205" y="17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9" y="157"/>
                  </a:lnTo>
                  <a:lnTo>
                    <a:pt x="209" y="149"/>
                  </a:lnTo>
                  <a:lnTo>
                    <a:pt x="208" y="139"/>
                  </a:lnTo>
                  <a:lnTo>
                    <a:pt x="208" y="139"/>
                  </a:lnTo>
                  <a:lnTo>
                    <a:pt x="196" y="136"/>
                  </a:lnTo>
                  <a:lnTo>
                    <a:pt x="191" y="135"/>
                  </a:lnTo>
                  <a:lnTo>
                    <a:pt x="188" y="133"/>
                  </a:lnTo>
                  <a:lnTo>
                    <a:pt x="188" y="133"/>
                  </a:lnTo>
                  <a:lnTo>
                    <a:pt x="180" y="124"/>
                  </a:lnTo>
                  <a:lnTo>
                    <a:pt x="171" y="118"/>
                  </a:lnTo>
                  <a:lnTo>
                    <a:pt x="171" y="118"/>
                  </a:lnTo>
                  <a:lnTo>
                    <a:pt x="166" y="117"/>
                  </a:lnTo>
                  <a:lnTo>
                    <a:pt x="160" y="115"/>
                  </a:lnTo>
                  <a:lnTo>
                    <a:pt x="153" y="114"/>
                  </a:lnTo>
                  <a:lnTo>
                    <a:pt x="147" y="111"/>
                  </a:lnTo>
                  <a:lnTo>
                    <a:pt x="147" y="111"/>
                  </a:lnTo>
                  <a:lnTo>
                    <a:pt x="134" y="103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4" y="95"/>
                  </a:lnTo>
                  <a:lnTo>
                    <a:pt x="111" y="90"/>
                  </a:lnTo>
                  <a:lnTo>
                    <a:pt x="109" y="84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3" y="66"/>
                  </a:lnTo>
                  <a:lnTo>
                    <a:pt x="97" y="59"/>
                  </a:lnTo>
                  <a:lnTo>
                    <a:pt x="91" y="53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0" y="46"/>
                  </a:lnTo>
                  <a:lnTo>
                    <a:pt x="77" y="41"/>
                  </a:lnTo>
                  <a:lnTo>
                    <a:pt x="73" y="34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6" y="10"/>
                  </a:lnTo>
                  <a:lnTo>
                    <a:pt x="61" y="4"/>
                  </a:lnTo>
                  <a:lnTo>
                    <a:pt x="55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6" y="12"/>
                  </a:lnTo>
                  <a:lnTo>
                    <a:pt x="42" y="18"/>
                  </a:lnTo>
                  <a:lnTo>
                    <a:pt x="30" y="29"/>
                  </a:lnTo>
                  <a:lnTo>
                    <a:pt x="17" y="41"/>
                  </a:lnTo>
                  <a:lnTo>
                    <a:pt x="12" y="47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5" y="62"/>
                  </a:lnTo>
                  <a:lnTo>
                    <a:pt x="2" y="75"/>
                  </a:lnTo>
                  <a:lnTo>
                    <a:pt x="0" y="80"/>
                  </a:lnTo>
                  <a:lnTo>
                    <a:pt x="2" y="86"/>
                  </a:lnTo>
                  <a:lnTo>
                    <a:pt x="5" y="90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18" y="101"/>
                  </a:lnTo>
                  <a:lnTo>
                    <a:pt x="24" y="105"/>
                  </a:lnTo>
                  <a:lnTo>
                    <a:pt x="27" y="109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9" y="121"/>
                  </a:lnTo>
                  <a:lnTo>
                    <a:pt x="30" y="127"/>
                  </a:lnTo>
                  <a:lnTo>
                    <a:pt x="37" y="143"/>
                  </a:lnTo>
                  <a:lnTo>
                    <a:pt x="48" y="157"/>
                  </a:lnTo>
                  <a:lnTo>
                    <a:pt x="52" y="161"/>
                  </a:lnTo>
                  <a:lnTo>
                    <a:pt x="57" y="164"/>
                  </a:lnTo>
                  <a:lnTo>
                    <a:pt x="57" y="164"/>
                  </a:lnTo>
                  <a:lnTo>
                    <a:pt x="60" y="167"/>
                  </a:lnTo>
                  <a:lnTo>
                    <a:pt x="61" y="170"/>
                  </a:lnTo>
                  <a:lnTo>
                    <a:pt x="64" y="180"/>
                  </a:lnTo>
                  <a:lnTo>
                    <a:pt x="66" y="192"/>
                  </a:lnTo>
                  <a:lnTo>
                    <a:pt x="64" y="204"/>
                  </a:lnTo>
                  <a:lnTo>
                    <a:pt x="64" y="204"/>
                  </a:lnTo>
                  <a:lnTo>
                    <a:pt x="61" y="218"/>
                  </a:lnTo>
                  <a:lnTo>
                    <a:pt x="60" y="235"/>
                  </a:lnTo>
                  <a:lnTo>
                    <a:pt x="58" y="243"/>
                  </a:lnTo>
                  <a:lnTo>
                    <a:pt x="58" y="249"/>
                  </a:lnTo>
                  <a:lnTo>
                    <a:pt x="60" y="255"/>
                  </a:lnTo>
                  <a:lnTo>
                    <a:pt x="63" y="257"/>
                  </a:lnTo>
                  <a:lnTo>
                    <a:pt x="63" y="257"/>
                  </a:lnTo>
                  <a:lnTo>
                    <a:pt x="67" y="259"/>
                  </a:lnTo>
                  <a:lnTo>
                    <a:pt x="70" y="259"/>
                  </a:lnTo>
                  <a:lnTo>
                    <a:pt x="76" y="259"/>
                  </a:lnTo>
                  <a:lnTo>
                    <a:pt x="79" y="259"/>
                  </a:lnTo>
                  <a:lnTo>
                    <a:pt x="80" y="260"/>
                  </a:lnTo>
                  <a:lnTo>
                    <a:pt x="82" y="263"/>
                  </a:lnTo>
                  <a:lnTo>
                    <a:pt x="83" y="266"/>
                  </a:lnTo>
                  <a:lnTo>
                    <a:pt x="83" y="266"/>
                  </a:lnTo>
                  <a:lnTo>
                    <a:pt x="86" y="295"/>
                  </a:lnTo>
                  <a:lnTo>
                    <a:pt x="86" y="308"/>
                  </a:lnTo>
                  <a:lnTo>
                    <a:pt x="89" y="314"/>
                  </a:lnTo>
                  <a:lnTo>
                    <a:pt x="89" y="314"/>
                  </a:lnTo>
                  <a:lnTo>
                    <a:pt x="97" y="318"/>
                  </a:lnTo>
                  <a:lnTo>
                    <a:pt x="101" y="321"/>
                  </a:lnTo>
                  <a:lnTo>
                    <a:pt x="106" y="324"/>
                  </a:lnTo>
                  <a:lnTo>
                    <a:pt x="106" y="324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19" y="312"/>
                  </a:lnTo>
                  <a:lnTo>
                    <a:pt x="119" y="312"/>
                  </a:lnTo>
                  <a:lnTo>
                    <a:pt x="125" y="305"/>
                  </a:lnTo>
                  <a:lnTo>
                    <a:pt x="126" y="300"/>
                  </a:lnTo>
                  <a:lnTo>
                    <a:pt x="126" y="295"/>
                  </a:lnTo>
                  <a:lnTo>
                    <a:pt x="126" y="295"/>
                  </a:lnTo>
                  <a:lnTo>
                    <a:pt x="128" y="290"/>
                  </a:lnTo>
                  <a:lnTo>
                    <a:pt x="131" y="287"/>
                  </a:lnTo>
                  <a:lnTo>
                    <a:pt x="135" y="286"/>
                  </a:lnTo>
                  <a:lnTo>
                    <a:pt x="141" y="284"/>
                  </a:lnTo>
                  <a:lnTo>
                    <a:pt x="141" y="284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0" name="Freeform 89">
              <a:extLst>
                <a:ext uri="{FF2B5EF4-FFF2-40B4-BE49-F238E27FC236}">
                  <a16:creationId xmlns:a16="http://schemas.microsoft.com/office/drawing/2014/main" id="{912E2351-DAAC-654A-ADE4-5BEB22587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3813" y="6096000"/>
              <a:ext cx="388938" cy="612775"/>
            </a:xfrm>
            <a:custGeom>
              <a:avLst/>
              <a:gdLst>
                <a:gd name="T0" fmla="*/ 224 w 245"/>
                <a:gd name="T1" fmla="*/ 123 h 386"/>
                <a:gd name="T2" fmla="*/ 217 w 245"/>
                <a:gd name="T3" fmla="*/ 90 h 386"/>
                <a:gd name="T4" fmla="*/ 237 w 245"/>
                <a:gd name="T5" fmla="*/ 78 h 386"/>
                <a:gd name="T6" fmla="*/ 219 w 245"/>
                <a:gd name="T7" fmla="*/ 19 h 386"/>
                <a:gd name="T8" fmla="*/ 188 w 245"/>
                <a:gd name="T9" fmla="*/ 19 h 386"/>
                <a:gd name="T10" fmla="*/ 171 w 245"/>
                <a:gd name="T11" fmla="*/ 6 h 386"/>
                <a:gd name="T12" fmla="*/ 165 w 245"/>
                <a:gd name="T13" fmla="*/ 9 h 386"/>
                <a:gd name="T14" fmla="*/ 157 w 245"/>
                <a:gd name="T15" fmla="*/ 10 h 386"/>
                <a:gd name="T16" fmla="*/ 145 w 245"/>
                <a:gd name="T17" fmla="*/ 0 h 386"/>
                <a:gd name="T18" fmla="*/ 123 w 245"/>
                <a:gd name="T19" fmla="*/ 22 h 386"/>
                <a:gd name="T20" fmla="*/ 129 w 245"/>
                <a:gd name="T21" fmla="*/ 50 h 386"/>
                <a:gd name="T22" fmla="*/ 141 w 245"/>
                <a:gd name="T23" fmla="*/ 65 h 386"/>
                <a:gd name="T24" fmla="*/ 123 w 245"/>
                <a:gd name="T25" fmla="*/ 84 h 386"/>
                <a:gd name="T26" fmla="*/ 114 w 245"/>
                <a:gd name="T27" fmla="*/ 102 h 386"/>
                <a:gd name="T28" fmla="*/ 108 w 245"/>
                <a:gd name="T29" fmla="*/ 127 h 386"/>
                <a:gd name="T30" fmla="*/ 113 w 245"/>
                <a:gd name="T31" fmla="*/ 137 h 386"/>
                <a:gd name="T32" fmla="*/ 120 w 245"/>
                <a:gd name="T33" fmla="*/ 154 h 386"/>
                <a:gd name="T34" fmla="*/ 150 w 245"/>
                <a:gd name="T35" fmla="*/ 170 h 386"/>
                <a:gd name="T36" fmla="*/ 125 w 245"/>
                <a:gd name="T37" fmla="*/ 172 h 386"/>
                <a:gd name="T38" fmla="*/ 116 w 245"/>
                <a:gd name="T39" fmla="*/ 189 h 386"/>
                <a:gd name="T40" fmla="*/ 116 w 245"/>
                <a:gd name="T41" fmla="*/ 229 h 386"/>
                <a:gd name="T42" fmla="*/ 110 w 245"/>
                <a:gd name="T43" fmla="*/ 254 h 386"/>
                <a:gd name="T44" fmla="*/ 91 w 245"/>
                <a:gd name="T45" fmla="*/ 256 h 386"/>
                <a:gd name="T46" fmla="*/ 80 w 245"/>
                <a:gd name="T47" fmla="*/ 250 h 386"/>
                <a:gd name="T48" fmla="*/ 63 w 245"/>
                <a:gd name="T49" fmla="*/ 254 h 386"/>
                <a:gd name="T50" fmla="*/ 54 w 245"/>
                <a:gd name="T51" fmla="*/ 246 h 386"/>
                <a:gd name="T52" fmla="*/ 49 w 245"/>
                <a:gd name="T53" fmla="*/ 250 h 386"/>
                <a:gd name="T54" fmla="*/ 51 w 245"/>
                <a:gd name="T55" fmla="*/ 266 h 386"/>
                <a:gd name="T56" fmla="*/ 55 w 245"/>
                <a:gd name="T57" fmla="*/ 287 h 386"/>
                <a:gd name="T58" fmla="*/ 61 w 245"/>
                <a:gd name="T59" fmla="*/ 294 h 386"/>
                <a:gd name="T60" fmla="*/ 42 w 245"/>
                <a:gd name="T61" fmla="*/ 299 h 386"/>
                <a:gd name="T62" fmla="*/ 5 w 245"/>
                <a:gd name="T63" fmla="*/ 312 h 386"/>
                <a:gd name="T64" fmla="*/ 3 w 245"/>
                <a:gd name="T65" fmla="*/ 326 h 386"/>
                <a:gd name="T66" fmla="*/ 28 w 245"/>
                <a:gd name="T67" fmla="*/ 355 h 386"/>
                <a:gd name="T68" fmla="*/ 46 w 245"/>
                <a:gd name="T69" fmla="*/ 352 h 386"/>
                <a:gd name="T70" fmla="*/ 71 w 245"/>
                <a:gd name="T71" fmla="*/ 363 h 386"/>
                <a:gd name="T72" fmla="*/ 88 w 245"/>
                <a:gd name="T73" fmla="*/ 376 h 386"/>
                <a:gd name="T74" fmla="*/ 98 w 245"/>
                <a:gd name="T75" fmla="*/ 383 h 386"/>
                <a:gd name="T76" fmla="*/ 108 w 245"/>
                <a:gd name="T77" fmla="*/ 376 h 386"/>
                <a:gd name="T78" fmla="*/ 123 w 245"/>
                <a:gd name="T79" fmla="*/ 383 h 386"/>
                <a:gd name="T80" fmla="*/ 144 w 245"/>
                <a:gd name="T81" fmla="*/ 377 h 386"/>
                <a:gd name="T82" fmla="*/ 156 w 245"/>
                <a:gd name="T83" fmla="*/ 380 h 386"/>
                <a:gd name="T84" fmla="*/ 180 w 245"/>
                <a:gd name="T85" fmla="*/ 386 h 386"/>
                <a:gd name="T86" fmla="*/ 205 w 245"/>
                <a:gd name="T87" fmla="*/ 352 h 386"/>
                <a:gd name="T88" fmla="*/ 225 w 245"/>
                <a:gd name="T89" fmla="*/ 321 h 386"/>
                <a:gd name="T90" fmla="*/ 239 w 245"/>
                <a:gd name="T91" fmla="*/ 271 h 386"/>
                <a:gd name="T92" fmla="*/ 245 w 245"/>
                <a:gd name="T93" fmla="*/ 235 h 386"/>
                <a:gd name="T94" fmla="*/ 231 w 245"/>
                <a:gd name="T95" fmla="*/ 200 h 386"/>
                <a:gd name="T96" fmla="*/ 224 w 245"/>
                <a:gd name="T97" fmla="*/ 177 h 386"/>
                <a:gd name="T98" fmla="*/ 217 w 245"/>
                <a:gd name="T99" fmla="*/ 167 h 386"/>
                <a:gd name="T100" fmla="*/ 218 w 245"/>
                <a:gd name="T101" fmla="*/ 158 h 386"/>
                <a:gd name="T102" fmla="*/ 228 w 245"/>
                <a:gd name="T103" fmla="*/ 13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5" h="386">
                  <a:moveTo>
                    <a:pt x="228" y="137"/>
                  </a:moveTo>
                  <a:lnTo>
                    <a:pt x="228" y="137"/>
                  </a:lnTo>
                  <a:lnTo>
                    <a:pt x="227" y="130"/>
                  </a:lnTo>
                  <a:lnTo>
                    <a:pt x="224" y="123"/>
                  </a:lnTo>
                  <a:lnTo>
                    <a:pt x="218" y="108"/>
                  </a:lnTo>
                  <a:lnTo>
                    <a:pt x="215" y="102"/>
                  </a:lnTo>
                  <a:lnTo>
                    <a:pt x="215" y="94"/>
                  </a:lnTo>
                  <a:lnTo>
                    <a:pt x="217" y="90"/>
                  </a:lnTo>
                  <a:lnTo>
                    <a:pt x="222" y="84"/>
                  </a:lnTo>
                  <a:lnTo>
                    <a:pt x="222" y="84"/>
                  </a:lnTo>
                  <a:lnTo>
                    <a:pt x="230" y="81"/>
                  </a:lnTo>
                  <a:lnTo>
                    <a:pt x="237" y="78"/>
                  </a:lnTo>
                  <a:lnTo>
                    <a:pt x="237" y="78"/>
                  </a:lnTo>
                  <a:lnTo>
                    <a:pt x="228" y="49"/>
                  </a:lnTo>
                  <a:lnTo>
                    <a:pt x="222" y="28"/>
                  </a:lnTo>
                  <a:lnTo>
                    <a:pt x="219" y="19"/>
                  </a:lnTo>
                  <a:lnTo>
                    <a:pt x="219" y="19"/>
                  </a:lnTo>
                  <a:lnTo>
                    <a:pt x="206" y="19"/>
                  </a:lnTo>
                  <a:lnTo>
                    <a:pt x="188" y="19"/>
                  </a:lnTo>
                  <a:lnTo>
                    <a:pt x="188" y="19"/>
                  </a:lnTo>
                  <a:lnTo>
                    <a:pt x="182" y="16"/>
                  </a:lnTo>
                  <a:lnTo>
                    <a:pt x="180" y="13"/>
                  </a:lnTo>
                  <a:lnTo>
                    <a:pt x="175" y="9"/>
                  </a:lnTo>
                  <a:lnTo>
                    <a:pt x="171" y="6"/>
                  </a:lnTo>
                  <a:lnTo>
                    <a:pt x="171" y="6"/>
                  </a:lnTo>
                  <a:lnTo>
                    <a:pt x="168" y="6"/>
                  </a:lnTo>
                  <a:lnTo>
                    <a:pt x="166" y="7"/>
                  </a:lnTo>
                  <a:lnTo>
                    <a:pt x="165" y="9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59" y="12"/>
                  </a:lnTo>
                  <a:lnTo>
                    <a:pt x="157" y="10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2" y="1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8" y="35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32" y="56"/>
                  </a:lnTo>
                  <a:lnTo>
                    <a:pt x="135" y="60"/>
                  </a:lnTo>
                  <a:lnTo>
                    <a:pt x="138" y="63"/>
                  </a:lnTo>
                  <a:lnTo>
                    <a:pt x="141" y="65"/>
                  </a:lnTo>
                  <a:lnTo>
                    <a:pt x="141" y="65"/>
                  </a:lnTo>
                  <a:lnTo>
                    <a:pt x="138" y="69"/>
                  </a:lnTo>
                  <a:lnTo>
                    <a:pt x="132" y="74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19" y="89"/>
                  </a:lnTo>
                  <a:lnTo>
                    <a:pt x="117" y="93"/>
                  </a:lnTo>
                  <a:lnTo>
                    <a:pt x="114" y="102"/>
                  </a:lnTo>
                  <a:lnTo>
                    <a:pt x="114" y="102"/>
                  </a:lnTo>
                  <a:lnTo>
                    <a:pt x="113" y="112"/>
                  </a:lnTo>
                  <a:lnTo>
                    <a:pt x="110" y="120"/>
                  </a:lnTo>
                  <a:lnTo>
                    <a:pt x="108" y="127"/>
                  </a:lnTo>
                  <a:lnTo>
                    <a:pt x="110" y="130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3" y="137"/>
                  </a:lnTo>
                  <a:lnTo>
                    <a:pt x="113" y="140"/>
                  </a:lnTo>
                  <a:lnTo>
                    <a:pt x="113" y="143"/>
                  </a:lnTo>
                  <a:lnTo>
                    <a:pt x="113" y="148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9" y="161"/>
                  </a:lnTo>
                  <a:lnTo>
                    <a:pt x="140" y="166"/>
                  </a:lnTo>
                  <a:lnTo>
                    <a:pt x="150" y="170"/>
                  </a:lnTo>
                  <a:lnTo>
                    <a:pt x="150" y="170"/>
                  </a:lnTo>
                  <a:lnTo>
                    <a:pt x="147" y="172"/>
                  </a:lnTo>
                  <a:lnTo>
                    <a:pt x="137" y="172"/>
                  </a:lnTo>
                  <a:lnTo>
                    <a:pt x="125" y="172"/>
                  </a:lnTo>
                  <a:lnTo>
                    <a:pt x="119" y="172"/>
                  </a:lnTo>
                  <a:lnTo>
                    <a:pt x="119" y="172"/>
                  </a:lnTo>
                  <a:lnTo>
                    <a:pt x="117" y="177"/>
                  </a:lnTo>
                  <a:lnTo>
                    <a:pt x="116" y="189"/>
                  </a:lnTo>
                  <a:lnTo>
                    <a:pt x="113" y="203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6" y="229"/>
                  </a:lnTo>
                  <a:lnTo>
                    <a:pt x="114" y="241"/>
                  </a:lnTo>
                  <a:lnTo>
                    <a:pt x="113" y="250"/>
                  </a:lnTo>
                  <a:lnTo>
                    <a:pt x="111" y="253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01" y="257"/>
                  </a:lnTo>
                  <a:lnTo>
                    <a:pt x="95" y="257"/>
                  </a:lnTo>
                  <a:lnTo>
                    <a:pt x="91" y="256"/>
                  </a:lnTo>
                  <a:lnTo>
                    <a:pt x="91" y="256"/>
                  </a:lnTo>
                  <a:lnTo>
                    <a:pt x="86" y="250"/>
                  </a:lnTo>
                  <a:lnTo>
                    <a:pt x="83" y="249"/>
                  </a:lnTo>
                  <a:lnTo>
                    <a:pt x="80" y="250"/>
                  </a:lnTo>
                  <a:lnTo>
                    <a:pt x="80" y="250"/>
                  </a:lnTo>
                  <a:lnTo>
                    <a:pt x="68" y="256"/>
                  </a:lnTo>
                  <a:lnTo>
                    <a:pt x="65" y="256"/>
                  </a:lnTo>
                  <a:lnTo>
                    <a:pt x="63" y="254"/>
                  </a:lnTo>
                  <a:lnTo>
                    <a:pt x="63" y="254"/>
                  </a:lnTo>
                  <a:lnTo>
                    <a:pt x="58" y="249"/>
                  </a:lnTo>
                  <a:lnTo>
                    <a:pt x="55" y="246"/>
                  </a:lnTo>
                  <a:lnTo>
                    <a:pt x="54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1" y="247"/>
                  </a:lnTo>
                  <a:lnTo>
                    <a:pt x="49" y="250"/>
                  </a:lnTo>
                  <a:lnTo>
                    <a:pt x="49" y="254"/>
                  </a:lnTo>
                  <a:lnTo>
                    <a:pt x="51" y="260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49" y="274"/>
                  </a:lnTo>
                  <a:lnTo>
                    <a:pt x="49" y="280"/>
                  </a:lnTo>
                  <a:lnTo>
                    <a:pt x="51" y="284"/>
                  </a:lnTo>
                  <a:lnTo>
                    <a:pt x="55" y="287"/>
                  </a:lnTo>
                  <a:lnTo>
                    <a:pt x="55" y="287"/>
                  </a:lnTo>
                  <a:lnTo>
                    <a:pt x="58" y="290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42" y="299"/>
                  </a:lnTo>
                  <a:lnTo>
                    <a:pt x="27" y="302"/>
                  </a:lnTo>
                  <a:lnTo>
                    <a:pt x="12" y="308"/>
                  </a:lnTo>
                  <a:lnTo>
                    <a:pt x="8" y="309"/>
                  </a:lnTo>
                  <a:lnTo>
                    <a:pt x="5" y="312"/>
                  </a:lnTo>
                  <a:lnTo>
                    <a:pt x="5" y="312"/>
                  </a:lnTo>
                  <a:lnTo>
                    <a:pt x="2" y="317"/>
                  </a:lnTo>
                  <a:lnTo>
                    <a:pt x="0" y="323"/>
                  </a:lnTo>
                  <a:lnTo>
                    <a:pt x="3" y="326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27" y="339"/>
                  </a:lnTo>
                  <a:lnTo>
                    <a:pt x="28" y="355"/>
                  </a:lnTo>
                  <a:lnTo>
                    <a:pt x="28" y="355"/>
                  </a:lnTo>
                  <a:lnTo>
                    <a:pt x="34" y="354"/>
                  </a:lnTo>
                  <a:lnTo>
                    <a:pt x="34" y="354"/>
                  </a:lnTo>
                  <a:lnTo>
                    <a:pt x="46" y="352"/>
                  </a:lnTo>
                  <a:lnTo>
                    <a:pt x="52" y="352"/>
                  </a:lnTo>
                  <a:lnTo>
                    <a:pt x="60" y="357"/>
                  </a:lnTo>
                  <a:lnTo>
                    <a:pt x="60" y="357"/>
                  </a:lnTo>
                  <a:lnTo>
                    <a:pt x="71" y="363"/>
                  </a:lnTo>
                  <a:lnTo>
                    <a:pt x="82" y="370"/>
                  </a:lnTo>
                  <a:lnTo>
                    <a:pt x="82" y="370"/>
                  </a:lnTo>
                  <a:lnTo>
                    <a:pt x="86" y="373"/>
                  </a:lnTo>
                  <a:lnTo>
                    <a:pt x="88" y="376"/>
                  </a:lnTo>
                  <a:lnTo>
                    <a:pt x="89" y="382"/>
                  </a:lnTo>
                  <a:lnTo>
                    <a:pt x="91" y="383"/>
                  </a:lnTo>
                  <a:lnTo>
                    <a:pt x="91" y="385"/>
                  </a:lnTo>
                  <a:lnTo>
                    <a:pt x="98" y="383"/>
                  </a:lnTo>
                  <a:lnTo>
                    <a:pt x="98" y="383"/>
                  </a:lnTo>
                  <a:lnTo>
                    <a:pt x="105" y="379"/>
                  </a:lnTo>
                  <a:lnTo>
                    <a:pt x="107" y="377"/>
                  </a:lnTo>
                  <a:lnTo>
                    <a:pt x="108" y="376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7" y="382"/>
                  </a:lnTo>
                  <a:lnTo>
                    <a:pt x="123" y="383"/>
                  </a:lnTo>
                  <a:lnTo>
                    <a:pt x="129" y="385"/>
                  </a:lnTo>
                  <a:lnTo>
                    <a:pt x="129" y="385"/>
                  </a:lnTo>
                  <a:lnTo>
                    <a:pt x="134" y="383"/>
                  </a:lnTo>
                  <a:lnTo>
                    <a:pt x="144" y="377"/>
                  </a:lnTo>
                  <a:lnTo>
                    <a:pt x="144" y="377"/>
                  </a:lnTo>
                  <a:lnTo>
                    <a:pt x="148" y="376"/>
                  </a:lnTo>
                  <a:lnTo>
                    <a:pt x="151" y="377"/>
                  </a:lnTo>
                  <a:lnTo>
                    <a:pt x="156" y="380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72" y="386"/>
                  </a:lnTo>
                  <a:lnTo>
                    <a:pt x="180" y="386"/>
                  </a:lnTo>
                  <a:lnTo>
                    <a:pt x="180" y="386"/>
                  </a:lnTo>
                  <a:lnTo>
                    <a:pt x="187" y="373"/>
                  </a:lnTo>
                  <a:lnTo>
                    <a:pt x="194" y="363"/>
                  </a:lnTo>
                  <a:lnTo>
                    <a:pt x="205" y="352"/>
                  </a:lnTo>
                  <a:lnTo>
                    <a:pt x="205" y="352"/>
                  </a:lnTo>
                  <a:lnTo>
                    <a:pt x="211" y="346"/>
                  </a:lnTo>
                  <a:lnTo>
                    <a:pt x="217" y="337"/>
                  </a:lnTo>
                  <a:lnTo>
                    <a:pt x="225" y="321"/>
                  </a:lnTo>
                  <a:lnTo>
                    <a:pt x="233" y="302"/>
                  </a:lnTo>
                  <a:lnTo>
                    <a:pt x="236" y="286"/>
                  </a:lnTo>
                  <a:lnTo>
                    <a:pt x="236" y="286"/>
                  </a:lnTo>
                  <a:lnTo>
                    <a:pt x="239" y="271"/>
                  </a:lnTo>
                  <a:lnTo>
                    <a:pt x="240" y="259"/>
                  </a:lnTo>
                  <a:lnTo>
                    <a:pt x="243" y="247"/>
                  </a:lnTo>
                  <a:lnTo>
                    <a:pt x="245" y="235"/>
                  </a:lnTo>
                  <a:lnTo>
                    <a:pt x="245" y="235"/>
                  </a:lnTo>
                  <a:lnTo>
                    <a:pt x="245" y="226"/>
                  </a:lnTo>
                  <a:lnTo>
                    <a:pt x="245" y="219"/>
                  </a:lnTo>
                  <a:lnTo>
                    <a:pt x="240" y="210"/>
                  </a:lnTo>
                  <a:lnTo>
                    <a:pt x="231" y="200"/>
                  </a:lnTo>
                  <a:lnTo>
                    <a:pt x="231" y="200"/>
                  </a:lnTo>
                  <a:lnTo>
                    <a:pt x="228" y="195"/>
                  </a:lnTo>
                  <a:lnTo>
                    <a:pt x="225" y="189"/>
                  </a:lnTo>
                  <a:lnTo>
                    <a:pt x="224" y="177"/>
                  </a:lnTo>
                  <a:lnTo>
                    <a:pt x="224" y="173"/>
                  </a:lnTo>
                  <a:lnTo>
                    <a:pt x="222" y="170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7"/>
                  </a:lnTo>
                  <a:lnTo>
                    <a:pt x="212" y="166"/>
                  </a:lnTo>
                  <a:lnTo>
                    <a:pt x="212" y="164"/>
                  </a:lnTo>
                  <a:lnTo>
                    <a:pt x="218" y="158"/>
                  </a:lnTo>
                  <a:lnTo>
                    <a:pt x="222" y="155"/>
                  </a:lnTo>
                  <a:lnTo>
                    <a:pt x="225" y="149"/>
                  </a:lnTo>
                  <a:lnTo>
                    <a:pt x="228" y="143"/>
                  </a:lnTo>
                  <a:lnTo>
                    <a:pt x="228" y="137"/>
                  </a:lnTo>
                  <a:lnTo>
                    <a:pt x="228" y="13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1" name="Freeform 90">
              <a:extLst>
                <a:ext uri="{FF2B5EF4-FFF2-40B4-BE49-F238E27FC236}">
                  <a16:creationId xmlns:a16="http://schemas.microsoft.com/office/drawing/2014/main" id="{737E3604-AA6B-5F4B-A506-6A8AFD3E45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8600" y="2371725"/>
              <a:ext cx="3619500" cy="2479675"/>
            </a:xfrm>
            <a:custGeom>
              <a:avLst/>
              <a:gdLst>
                <a:gd name="T0" fmla="*/ 2002 w 2280"/>
                <a:gd name="T1" fmla="*/ 52 h 1562"/>
                <a:gd name="T2" fmla="*/ 2070 w 2280"/>
                <a:gd name="T3" fmla="*/ 50 h 1562"/>
                <a:gd name="T4" fmla="*/ 2230 w 2280"/>
                <a:gd name="T5" fmla="*/ 80 h 1562"/>
                <a:gd name="T6" fmla="*/ 2151 w 2280"/>
                <a:gd name="T7" fmla="*/ 90 h 1562"/>
                <a:gd name="T8" fmla="*/ 2065 w 2280"/>
                <a:gd name="T9" fmla="*/ 179 h 1562"/>
                <a:gd name="T10" fmla="*/ 2178 w 2280"/>
                <a:gd name="T11" fmla="*/ 121 h 1562"/>
                <a:gd name="T12" fmla="*/ 2104 w 2280"/>
                <a:gd name="T13" fmla="*/ 158 h 1562"/>
                <a:gd name="T14" fmla="*/ 2147 w 2280"/>
                <a:gd name="T15" fmla="*/ 136 h 1562"/>
                <a:gd name="T16" fmla="*/ 1956 w 2280"/>
                <a:gd name="T17" fmla="*/ 98 h 1562"/>
                <a:gd name="T18" fmla="*/ 2000 w 2280"/>
                <a:gd name="T19" fmla="*/ 78 h 1562"/>
                <a:gd name="T20" fmla="*/ 1984 w 2280"/>
                <a:gd name="T21" fmla="*/ 50 h 1562"/>
                <a:gd name="T22" fmla="*/ 2083 w 2280"/>
                <a:gd name="T23" fmla="*/ 246 h 1562"/>
                <a:gd name="T24" fmla="*/ 2132 w 2280"/>
                <a:gd name="T25" fmla="*/ 210 h 1562"/>
                <a:gd name="T26" fmla="*/ 2111 w 2280"/>
                <a:gd name="T27" fmla="*/ 92 h 1562"/>
                <a:gd name="T28" fmla="*/ 1486 w 2280"/>
                <a:gd name="T29" fmla="*/ 703 h 1562"/>
                <a:gd name="T30" fmla="*/ 1356 w 2280"/>
                <a:gd name="T31" fmla="*/ 754 h 1562"/>
                <a:gd name="T32" fmla="*/ 1312 w 2280"/>
                <a:gd name="T33" fmla="*/ 894 h 1562"/>
                <a:gd name="T34" fmla="*/ 1395 w 2280"/>
                <a:gd name="T35" fmla="*/ 1011 h 1562"/>
                <a:gd name="T36" fmla="*/ 1494 w 2280"/>
                <a:gd name="T37" fmla="*/ 802 h 1562"/>
                <a:gd name="T38" fmla="*/ 2085 w 2280"/>
                <a:gd name="T39" fmla="*/ 217 h 1562"/>
                <a:gd name="T40" fmla="*/ 1987 w 2280"/>
                <a:gd name="T41" fmla="*/ 637 h 1562"/>
                <a:gd name="T42" fmla="*/ 1797 w 2280"/>
                <a:gd name="T43" fmla="*/ 586 h 1562"/>
                <a:gd name="T44" fmla="*/ 1666 w 2280"/>
                <a:gd name="T45" fmla="*/ 597 h 1562"/>
                <a:gd name="T46" fmla="*/ 1596 w 2280"/>
                <a:gd name="T47" fmla="*/ 690 h 1562"/>
                <a:gd name="T48" fmla="*/ 1529 w 2280"/>
                <a:gd name="T49" fmla="*/ 675 h 1562"/>
                <a:gd name="T50" fmla="*/ 1552 w 2280"/>
                <a:gd name="T51" fmla="*/ 737 h 1562"/>
                <a:gd name="T52" fmla="*/ 1652 w 2280"/>
                <a:gd name="T53" fmla="*/ 740 h 1562"/>
                <a:gd name="T54" fmla="*/ 1786 w 2280"/>
                <a:gd name="T55" fmla="*/ 699 h 1562"/>
                <a:gd name="T56" fmla="*/ 2062 w 2280"/>
                <a:gd name="T57" fmla="*/ 619 h 1562"/>
                <a:gd name="T58" fmla="*/ 1319 w 2280"/>
                <a:gd name="T59" fmla="*/ 974 h 1562"/>
                <a:gd name="T60" fmla="*/ 2199 w 2280"/>
                <a:gd name="T61" fmla="*/ 213 h 1562"/>
                <a:gd name="T62" fmla="*/ 1042 w 2280"/>
                <a:gd name="T63" fmla="*/ 967 h 1562"/>
                <a:gd name="T64" fmla="*/ 999 w 2280"/>
                <a:gd name="T65" fmla="*/ 922 h 1562"/>
                <a:gd name="T66" fmla="*/ 1510 w 2280"/>
                <a:gd name="T67" fmla="*/ 1402 h 1562"/>
                <a:gd name="T68" fmla="*/ 1322 w 2280"/>
                <a:gd name="T69" fmla="*/ 1442 h 1562"/>
                <a:gd name="T70" fmla="*/ 838 w 2280"/>
                <a:gd name="T71" fmla="*/ 1170 h 1562"/>
                <a:gd name="T72" fmla="*/ 718 w 2280"/>
                <a:gd name="T73" fmla="*/ 1328 h 1562"/>
                <a:gd name="T74" fmla="*/ 611 w 2280"/>
                <a:gd name="T75" fmla="*/ 1281 h 1562"/>
                <a:gd name="T76" fmla="*/ 521 w 2280"/>
                <a:gd name="T77" fmla="*/ 1297 h 1562"/>
                <a:gd name="T78" fmla="*/ 451 w 2280"/>
                <a:gd name="T79" fmla="*/ 1414 h 1562"/>
                <a:gd name="T80" fmla="*/ 414 w 2280"/>
                <a:gd name="T81" fmla="*/ 1561 h 1562"/>
                <a:gd name="T82" fmla="*/ 294 w 2280"/>
                <a:gd name="T83" fmla="*/ 1490 h 1562"/>
                <a:gd name="T84" fmla="*/ 216 w 2280"/>
                <a:gd name="T85" fmla="*/ 1396 h 1562"/>
                <a:gd name="T86" fmla="*/ 117 w 2280"/>
                <a:gd name="T87" fmla="*/ 1293 h 1562"/>
                <a:gd name="T88" fmla="*/ 12 w 2280"/>
                <a:gd name="T89" fmla="*/ 1183 h 1562"/>
                <a:gd name="T90" fmla="*/ 96 w 2280"/>
                <a:gd name="T91" fmla="*/ 1017 h 1562"/>
                <a:gd name="T92" fmla="*/ 182 w 2280"/>
                <a:gd name="T93" fmla="*/ 859 h 1562"/>
                <a:gd name="T94" fmla="*/ 333 w 2280"/>
                <a:gd name="T95" fmla="*/ 893 h 1562"/>
                <a:gd name="T96" fmla="*/ 377 w 2280"/>
                <a:gd name="T97" fmla="*/ 835 h 1562"/>
                <a:gd name="T98" fmla="*/ 472 w 2280"/>
                <a:gd name="T99" fmla="*/ 885 h 1562"/>
                <a:gd name="T100" fmla="*/ 653 w 2280"/>
                <a:gd name="T101" fmla="*/ 931 h 1562"/>
                <a:gd name="T102" fmla="*/ 743 w 2280"/>
                <a:gd name="T103" fmla="*/ 924 h 1562"/>
                <a:gd name="T104" fmla="*/ 872 w 2280"/>
                <a:gd name="T105" fmla="*/ 825 h 1562"/>
                <a:gd name="T106" fmla="*/ 836 w 2280"/>
                <a:gd name="T107" fmla="*/ 933 h 1562"/>
                <a:gd name="T108" fmla="*/ 873 w 2280"/>
                <a:gd name="T109" fmla="*/ 1014 h 1562"/>
                <a:gd name="T110" fmla="*/ 1085 w 2280"/>
                <a:gd name="T111" fmla="*/ 1045 h 1562"/>
                <a:gd name="T112" fmla="*/ 1155 w 2280"/>
                <a:gd name="T113" fmla="*/ 1091 h 1562"/>
                <a:gd name="T114" fmla="*/ 1167 w 2280"/>
                <a:gd name="T115" fmla="*/ 1140 h 1562"/>
                <a:gd name="T116" fmla="*/ 1331 w 2280"/>
                <a:gd name="T117" fmla="*/ 1191 h 1562"/>
                <a:gd name="T118" fmla="*/ 1402 w 2280"/>
                <a:gd name="T119" fmla="*/ 1211 h 1562"/>
                <a:gd name="T120" fmla="*/ 696 w 2280"/>
                <a:gd name="T121" fmla="*/ 1063 h 1562"/>
                <a:gd name="T122" fmla="*/ 780 w 2280"/>
                <a:gd name="T123" fmla="*/ 1146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280" h="1562">
                  <a:moveTo>
                    <a:pt x="2055" y="129"/>
                  </a:moveTo>
                  <a:lnTo>
                    <a:pt x="2055" y="129"/>
                  </a:lnTo>
                  <a:lnTo>
                    <a:pt x="2057" y="123"/>
                  </a:lnTo>
                  <a:lnTo>
                    <a:pt x="2058" y="120"/>
                  </a:lnTo>
                  <a:lnTo>
                    <a:pt x="2058" y="120"/>
                  </a:lnTo>
                  <a:lnTo>
                    <a:pt x="2061" y="118"/>
                  </a:lnTo>
                  <a:lnTo>
                    <a:pt x="2064" y="117"/>
                  </a:lnTo>
                  <a:lnTo>
                    <a:pt x="2064" y="117"/>
                  </a:lnTo>
                  <a:lnTo>
                    <a:pt x="2065" y="118"/>
                  </a:lnTo>
                  <a:lnTo>
                    <a:pt x="2067" y="120"/>
                  </a:lnTo>
                  <a:lnTo>
                    <a:pt x="2067" y="124"/>
                  </a:lnTo>
                  <a:lnTo>
                    <a:pt x="2067" y="127"/>
                  </a:lnTo>
                  <a:lnTo>
                    <a:pt x="2067" y="127"/>
                  </a:lnTo>
                  <a:lnTo>
                    <a:pt x="2065" y="130"/>
                  </a:lnTo>
                  <a:lnTo>
                    <a:pt x="2064" y="135"/>
                  </a:lnTo>
                  <a:lnTo>
                    <a:pt x="2064" y="135"/>
                  </a:lnTo>
                  <a:lnTo>
                    <a:pt x="2062" y="136"/>
                  </a:lnTo>
                  <a:lnTo>
                    <a:pt x="2061" y="138"/>
                  </a:lnTo>
                  <a:lnTo>
                    <a:pt x="2058" y="138"/>
                  </a:lnTo>
                  <a:lnTo>
                    <a:pt x="2058" y="138"/>
                  </a:lnTo>
                  <a:lnTo>
                    <a:pt x="2057" y="136"/>
                  </a:lnTo>
                  <a:lnTo>
                    <a:pt x="2055" y="133"/>
                  </a:lnTo>
                  <a:lnTo>
                    <a:pt x="2055" y="129"/>
                  </a:lnTo>
                  <a:lnTo>
                    <a:pt x="2055" y="129"/>
                  </a:lnTo>
                  <a:close/>
                  <a:moveTo>
                    <a:pt x="1954" y="16"/>
                  </a:moveTo>
                  <a:lnTo>
                    <a:pt x="1954" y="16"/>
                  </a:lnTo>
                  <a:lnTo>
                    <a:pt x="1957" y="22"/>
                  </a:lnTo>
                  <a:lnTo>
                    <a:pt x="1960" y="26"/>
                  </a:lnTo>
                  <a:lnTo>
                    <a:pt x="1960" y="26"/>
                  </a:lnTo>
                  <a:lnTo>
                    <a:pt x="1968" y="29"/>
                  </a:lnTo>
                  <a:lnTo>
                    <a:pt x="1974" y="34"/>
                  </a:lnTo>
                  <a:lnTo>
                    <a:pt x="1974" y="34"/>
                  </a:lnTo>
                  <a:lnTo>
                    <a:pt x="1988" y="35"/>
                  </a:lnTo>
                  <a:lnTo>
                    <a:pt x="1988" y="35"/>
                  </a:lnTo>
                  <a:lnTo>
                    <a:pt x="1988" y="38"/>
                  </a:lnTo>
                  <a:lnTo>
                    <a:pt x="1988" y="38"/>
                  </a:lnTo>
                  <a:lnTo>
                    <a:pt x="1990" y="41"/>
                  </a:lnTo>
                  <a:lnTo>
                    <a:pt x="1993" y="44"/>
                  </a:lnTo>
                  <a:lnTo>
                    <a:pt x="2002" y="52"/>
                  </a:lnTo>
                  <a:lnTo>
                    <a:pt x="2002" y="52"/>
                  </a:lnTo>
                  <a:lnTo>
                    <a:pt x="2003" y="53"/>
                  </a:lnTo>
                  <a:lnTo>
                    <a:pt x="2005" y="53"/>
                  </a:lnTo>
                  <a:lnTo>
                    <a:pt x="2006" y="52"/>
                  </a:lnTo>
                  <a:lnTo>
                    <a:pt x="2009" y="43"/>
                  </a:lnTo>
                  <a:lnTo>
                    <a:pt x="2009" y="43"/>
                  </a:lnTo>
                  <a:lnTo>
                    <a:pt x="2011" y="38"/>
                  </a:lnTo>
                  <a:lnTo>
                    <a:pt x="2009" y="31"/>
                  </a:lnTo>
                  <a:lnTo>
                    <a:pt x="2009" y="21"/>
                  </a:lnTo>
                  <a:lnTo>
                    <a:pt x="2009" y="21"/>
                  </a:lnTo>
                  <a:lnTo>
                    <a:pt x="2008" y="19"/>
                  </a:lnTo>
                  <a:lnTo>
                    <a:pt x="2003" y="18"/>
                  </a:lnTo>
                  <a:lnTo>
                    <a:pt x="1994" y="18"/>
                  </a:lnTo>
                  <a:lnTo>
                    <a:pt x="1994" y="18"/>
                  </a:lnTo>
                  <a:lnTo>
                    <a:pt x="1977" y="13"/>
                  </a:lnTo>
                  <a:lnTo>
                    <a:pt x="1977" y="13"/>
                  </a:lnTo>
                  <a:lnTo>
                    <a:pt x="1969" y="10"/>
                  </a:lnTo>
                  <a:lnTo>
                    <a:pt x="1963" y="6"/>
                  </a:lnTo>
                  <a:lnTo>
                    <a:pt x="1956" y="0"/>
                  </a:lnTo>
                  <a:lnTo>
                    <a:pt x="1950" y="4"/>
                  </a:lnTo>
                  <a:lnTo>
                    <a:pt x="1950" y="4"/>
                  </a:lnTo>
                  <a:lnTo>
                    <a:pt x="1950" y="6"/>
                  </a:lnTo>
                  <a:lnTo>
                    <a:pt x="1953" y="10"/>
                  </a:lnTo>
                  <a:lnTo>
                    <a:pt x="1953" y="10"/>
                  </a:lnTo>
                  <a:lnTo>
                    <a:pt x="1954" y="13"/>
                  </a:lnTo>
                  <a:lnTo>
                    <a:pt x="1954" y="16"/>
                  </a:lnTo>
                  <a:lnTo>
                    <a:pt x="1954" y="16"/>
                  </a:lnTo>
                  <a:close/>
                  <a:moveTo>
                    <a:pt x="2074" y="46"/>
                  </a:moveTo>
                  <a:lnTo>
                    <a:pt x="2074" y="46"/>
                  </a:lnTo>
                  <a:lnTo>
                    <a:pt x="2076" y="43"/>
                  </a:lnTo>
                  <a:lnTo>
                    <a:pt x="2074" y="40"/>
                  </a:lnTo>
                  <a:lnTo>
                    <a:pt x="2074" y="37"/>
                  </a:lnTo>
                  <a:lnTo>
                    <a:pt x="2058" y="38"/>
                  </a:lnTo>
                  <a:lnTo>
                    <a:pt x="2058" y="46"/>
                  </a:lnTo>
                  <a:lnTo>
                    <a:pt x="2058" y="46"/>
                  </a:lnTo>
                  <a:lnTo>
                    <a:pt x="2064" y="52"/>
                  </a:lnTo>
                  <a:lnTo>
                    <a:pt x="2064" y="52"/>
                  </a:lnTo>
                  <a:lnTo>
                    <a:pt x="2067" y="52"/>
                  </a:lnTo>
                  <a:lnTo>
                    <a:pt x="2070" y="50"/>
                  </a:lnTo>
                  <a:lnTo>
                    <a:pt x="2074" y="46"/>
                  </a:lnTo>
                  <a:lnTo>
                    <a:pt x="2074" y="46"/>
                  </a:lnTo>
                  <a:close/>
                  <a:moveTo>
                    <a:pt x="2033" y="118"/>
                  </a:moveTo>
                  <a:lnTo>
                    <a:pt x="2033" y="118"/>
                  </a:lnTo>
                  <a:lnTo>
                    <a:pt x="2028" y="118"/>
                  </a:lnTo>
                  <a:lnTo>
                    <a:pt x="2025" y="120"/>
                  </a:lnTo>
                  <a:lnTo>
                    <a:pt x="2025" y="120"/>
                  </a:lnTo>
                  <a:lnTo>
                    <a:pt x="2020" y="129"/>
                  </a:lnTo>
                  <a:lnTo>
                    <a:pt x="2020" y="129"/>
                  </a:lnTo>
                  <a:lnTo>
                    <a:pt x="2008" y="132"/>
                  </a:lnTo>
                  <a:lnTo>
                    <a:pt x="2008" y="132"/>
                  </a:lnTo>
                  <a:lnTo>
                    <a:pt x="2003" y="133"/>
                  </a:lnTo>
                  <a:lnTo>
                    <a:pt x="2000" y="138"/>
                  </a:lnTo>
                  <a:lnTo>
                    <a:pt x="2000" y="138"/>
                  </a:lnTo>
                  <a:lnTo>
                    <a:pt x="1999" y="139"/>
                  </a:lnTo>
                  <a:lnTo>
                    <a:pt x="2000" y="140"/>
                  </a:lnTo>
                  <a:lnTo>
                    <a:pt x="2003" y="146"/>
                  </a:lnTo>
                  <a:lnTo>
                    <a:pt x="2003" y="146"/>
                  </a:lnTo>
                  <a:lnTo>
                    <a:pt x="2005" y="148"/>
                  </a:lnTo>
                  <a:lnTo>
                    <a:pt x="2008" y="149"/>
                  </a:lnTo>
                  <a:lnTo>
                    <a:pt x="2012" y="151"/>
                  </a:lnTo>
                  <a:lnTo>
                    <a:pt x="2012" y="151"/>
                  </a:lnTo>
                  <a:lnTo>
                    <a:pt x="2022" y="151"/>
                  </a:lnTo>
                  <a:lnTo>
                    <a:pt x="2034" y="149"/>
                  </a:lnTo>
                  <a:lnTo>
                    <a:pt x="2034" y="149"/>
                  </a:lnTo>
                  <a:lnTo>
                    <a:pt x="2036" y="148"/>
                  </a:lnTo>
                  <a:lnTo>
                    <a:pt x="2037" y="143"/>
                  </a:lnTo>
                  <a:lnTo>
                    <a:pt x="2039" y="135"/>
                  </a:lnTo>
                  <a:lnTo>
                    <a:pt x="2039" y="135"/>
                  </a:lnTo>
                  <a:lnTo>
                    <a:pt x="2040" y="127"/>
                  </a:lnTo>
                  <a:lnTo>
                    <a:pt x="2040" y="123"/>
                  </a:lnTo>
                  <a:lnTo>
                    <a:pt x="2040" y="123"/>
                  </a:lnTo>
                  <a:lnTo>
                    <a:pt x="2037" y="120"/>
                  </a:lnTo>
                  <a:lnTo>
                    <a:pt x="2033" y="118"/>
                  </a:lnTo>
                  <a:lnTo>
                    <a:pt x="2033" y="118"/>
                  </a:lnTo>
                  <a:close/>
                  <a:moveTo>
                    <a:pt x="2221" y="81"/>
                  </a:moveTo>
                  <a:lnTo>
                    <a:pt x="2221" y="81"/>
                  </a:lnTo>
                  <a:lnTo>
                    <a:pt x="2227" y="81"/>
                  </a:lnTo>
                  <a:lnTo>
                    <a:pt x="2230" y="80"/>
                  </a:lnTo>
                  <a:lnTo>
                    <a:pt x="2231" y="77"/>
                  </a:lnTo>
                  <a:lnTo>
                    <a:pt x="2231" y="77"/>
                  </a:lnTo>
                  <a:lnTo>
                    <a:pt x="2231" y="75"/>
                  </a:lnTo>
                  <a:lnTo>
                    <a:pt x="2230" y="72"/>
                  </a:lnTo>
                  <a:lnTo>
                    <a:pt x="2221" y="69"/>
                  </a:lnTo>
                  <a:lnTo>
                    <a:pt x="2221" y="69"/>
                  </a:lnTo>
                  <a:lnTo>
                    <a:pt x="2215" y="69"/>
                  </a:lnTo>
                  <a:lnTo>
                    <a:pt x="2209" y="69"/>
                  </a:lnTo>
                  <a:lnTo>
                    <a:pt x="2203" y="71"/>
                  </a:lnTo>
                  <a:lnTo>
                    <a:pt x="2203" y="77"/>
                  </a:lnTo>
                  <a:lnTo>
                    <a:pt x="2203" y="77"/>
                  </a:lnTo>
                  <a:lnTo>
                    <a:pt x="2209" y="81"/>
                  </a:lnTo>
                  <a:lnTo>
                    <a:pt x="2209" y="81"/>
                  </a:lnTo>
                  <a:lnTo>
                    <a:pt x="2211" y="81"/>
                  </a:lnTo>
                  <a:lnTo>
                    <a:pt x="2215" y="81"/>
                  </a:lnTo>
                  <a:lnTo>
                    <a:pt x="2221" y="81"/>
                  </a:lnTo>
                  <a:lnTo>
                    <a:pt x="2221" y="81"/>
                  </a:lnTo>
                  <a:close/>
                  <a:moveTo>
                    <a:pt x="2141" y="103"/>
                  </a:moveTo>
                  <a:lnTo>
                    <a:pt x="2141" y="103"/>
                  </a:lnTo>
                  <a:lnTo>
                    <a:pt x="2144" y="108"/>
                  </a:lnTo>
                  <a:lnTo>
                    <a:pt x="2147" y="109"/>
                  </a:lnTo>
                  <a:lnTo>
                    <a:pt x="2148" y="111"/>
                  </a:lnTo>
                  <a:lnTo>
                    <a:pt x="2148" y="111"/>
                  </a:lnTo>
                  <a:lnTo>
                    <a:pt x="2154" y="112"/>
                  </a:lnTo>
                  <a:lnTo>
                    <a:pt x="2159" y="112"/>
                  </a:lnTo>
                  <a:lnTo>
                    <a:pt x="2159" y="112"/>
                  </a:lnTo>
                  <a:lnTo>
                    <a:pt x="2165" y="111"/>
                  </a:lnTo>
                  <a:lnTo>
                    <a:pt x="2168" y="108"/>
                  </a:lnTo>
                  <a:lnTo>
                    <a:pt x="2169" y="106"/>
                  </a:lnTo>
                  <a:lnTo>
                    <a:pt x="2169" y="106"/>
                  </a:lnTo>
                  <a:lnTo>
                    <a:pt x="2166" y="100"/>
                  </a:lnTo>
                  <a:lnTo>
                    <a:pt x="2166" y="100"/>
                  </a:lnTo>
                  <a:lnTo>
                    <a:pt x="2166" y="96"/>
                  </a:lnTo>
                  <a:lnTo>
                    <a:pt x="2165" y="95"/>
                  </a:lnTo>
                  <a:lnTo>
                    <a:pt x="2165" y="95"/>
                  </a:lnTo>
                  <a:lnTo>
                    <a:pt x="2160" y="92"/>
                  </a:lnTo>
                  <a:lnTo>
                    <a:pt x="2156" y="89"/>
                  </a:lnTo>
                  <a:lnTo>
                    <a:pt x="2156" y="89"/>
                  </a:lnTo>
                  <a:lnTo>
                    <a:pt x="2151" y="90"/>
                  </a:lnTo>
                  <a:lnTo>
                    <a:pt x="2150" y="92"/>
                  </a:lnTo>
                  <a:lnTo>
                    <a:pt x="2144" y="93"/>
                  </a:lnTo>
                  <a:lnTo>
                    <a:pt x="2138" y="89"/>
                  </a:lnTo>
                  <a:lnTo>
                    <a:pt x="2138" y="89"/>
                  </a:lnTo>
                  <a:lnTo>
                    <a:pt x="2137" y="92"/>
                  </a:lnTo>
                  <a:lnTo>
                    <a:pt x="2137" y="95"/>
                  </a:lnTo>
                  <a:lnTo>
                    <a:pt x="2137" y="96"/>
                  </a:lnTo>
                  <a:lnTo>
                    <a:pt x="2137" y="96"/>
                  </a:lnTo>
                  <a:lnTo>
                    <a:pt x="2141" y="103"/>
                  </a:lnTo>
                  <a:lnTo>
                    <a:pt x="2141" y="103"/>
                  </a:lnTo>
                  <a:close/>
                  <a:moveTo>
                    <a:pt x="2162" y="127"/>
                  </a:moveTo>
                  <a:lnTo>
                    <a:pt x="2162" y="127"/>
                  </a:lnTo>
                  <a:lnTo>
                    <a:pt x="2163" y="126"/>
                  </a:lnTo>
                  <a:lnTo>
                    <a:pt x="2165" y="126"/>
                  </a:lnTo>
                  <a:lnTo>
                    <a:pt x="2166" y="123"/>
                  </a:lnTo>
                  <a:lnTo>
                    <a:pt x="2166" y="123"/>
                  </a:lnTo>
                  <a:lnTo>
                    <a:pt x="2166" y="121"/>
                  </a:lnTo>
                  <a:lnTo>
                    <a:pt x="2165" y="120"/>
                  </a:lnTo>
                  <a:lnTo>
                    <a:pt x="2163" y="120"/>
                  </a:lnTo>
                  <a:lnTo>
                    <a:pt x="2156" y="120"/>
                  </a:lnTo>
                  <a:lnTo>
                    <a:pt x="2151" y="121"/>
                  </a:lnTo>
                  <a:lnTo>
                    <a:pt x="2151" y="121"/>
                  </a:lnTo>
                  <a:lnTo>
                    <a:pt x="2156" y="126"/>
                  </a:lnTo>
                  <a:lnTo>
                    <a:pt x="2156" y="126"/>
                  </a:lnTo>
                  <a:lnTo>
                    <a:pt x="2160" y="127"/>
                  </a:lnTo>
                  <a:lnTo>
                    <a:pt x="2162" y="127"/>
                  </a:lnTo>
                  <a:lnTo>
                    <a:pt x="2162" y="127"/>
                  </a:lnTo>
                  <a:close/>
                  <a:moveTo>
                    <a:pt x="2052" y="166"/>
                  </a:moveTo>
                  <a:lnTo>
                    <a:pt x="2049" y="172"/>
                  </a:lnTo>
                  <a:lnTo>
                    <a:pt x="2049" y="172"/>
                  </a:lnTo>
                  <a:lnTo>
                    <a:pt x="2049" y="173"/>
                  </a:lnTo>
                  <a:lnTo>
                    <a:pt x="2054" y="175"/>
                  </a:lnTo>
                  <a:lnTo>
                    <a:pt x="2054" y="175"/>
                  </a:lnTo>
                  <a:lnTo>
                    <a:pt x="2058" y="176"/>
                  </a:lnTo>
                  <a:lnTo>
                    <a:pt x="2064" y="176"/>
                  </a:lnTo>
                  <a:lnTo>
                    <a:pt x="2064" y="176"/>
                  </a:lnTo>
                  <a:lnTo>
                    <a:pt x="2065" y="176"/>
                  </a:lnTo>
                  <a:lnTo>
                    <a:pt x="2067" y="177"/>
                  </a:lnTo>
                  <a:lnTo>
                    <a:pt x="2065" y="179"/>
                  </a:lnTo>
                  <a:lnTo>
                    <a:pt x="2065" y="179"/>
                  </a:lnTo>
                  <a:lnTo>
                    <a:pt x="2065" y="180"/>
                  </a:lnTo>
                  <a:lnTo>
                    <a:pt x="2065" y="180"/>
                  </a:lnTo>
                  <a:lnTo>
                    <a:pt x="2064" y="182"/>
                  </a:lnTo>
                  <a:lnTo>
                    <a:pt x="2064" y="182"/>
                  </a:lnTo>
                  <a:lnTo>
                    <a:pt x="2058" y="189"/>
                  </a:lnTo>
                  <a:lnTo>
                    <a:pt x="2058" y="189"/>
                  </a:lnTo>
                  <a:lnTo>
                    <a:pt x="2057" y="192"/>
                  </a:lnTo>
                  <a:lnTo>
                    <a:pt x="2055" y="194"/>
                  </a:lnTo>
                  <a:lnTo>
                    <a:pt x="2058" y="197"/>
                  </a:lnTo>
                  <a:lnTo>
                    <a:pt x="2058" y="197"/>
                  </a:lnTo>
                  <a:lnTo>
                    <a:pt x="2061" y="200"/>
                  </a:lnTo>
                  <a:lnTo>
                    <a:pt x="2062" y="200"/>
                  </a:lnTo>
                  <a:lnTo>
                    <a:pt x="2067" y="198"/>
                  </a:lnTo>
                  <a:lnTo>
                    <a:pt x="2067" y="198"/>
                  </a:lnTo>
                  <a:lnTo>
                    <a:pt x="2070" y="197"/>
                  </a:lnTo>
                  <a:lnTo>
                    <a:pt x="2076" y="192"/>
                  </a:lnTo>
                  <a:lnTo>
                    <a:pt x="2076" y="192"/>
                  </a:lnTo>
                  <a:lnTo>
                    <a:pt x="2080" y="189"/>
                  </a:lnTo>
                  <a:lnTo>
                    <a:pt x="2085" y="183"/>
                  </a:lnTo>
                  <a:lnTo>
                    <a:pt x="2085" y="183"/>
                  </a:lnTo>
                  <a:lnTo>
                    <a:pt x="2088" y="182"/>
                  </a:lnTo>
                  <a:lnTo>
                    <a:pt x="2088" y="180"/>
                  </a:lnTo>
                  <a:lnTo>
                    <a:pt x="2086" y="177"/>
                  </a:lnTo>
                  <a:lnTo>
                    <a:pt x="2086" y="177"/>
                  </a:lnTo>
                  <a:lnTo>
                    <a:pt x="2086" y="176"/>
                  </a:lnTo>
                  <a:lnTo>
                    <a:pt x="2083" y="175"/>
                  </a:lnTo>
                  <a:lnTo>
                    <a:pt x="2079" y="172"/>
                  </a:lnTo>
                  <a:lnTo>
                    <a:pt x="2079" y="172"/>
                  </a:lnTo>
                  <a:lnTo>
                    <a:pt x="2073" y="169"/>
                  </a:lnTo>
                  <a:lnTo>
                    <a:pt x="2067" y="169"/>
                  </a:lnTo>
                  <a:lnTo>
                    <a:pt x="2052" y="166"/>
                  </a:lnTo>
                  <a:close/>
                  <a:moveTo>
                    <a:pt x="2178" y="98"/>
                  </a:moveTo>
                  <a:lnTo>
                    <a:pt x="2178" y="98"/>
                  </a:lnTo>
                  <a:lnTo>
                    <a:pt x="2179" y="105"/>
                  </a:lnTo>
                  <a:lnTo>
                    <a:pt x="2179" y="111"/>
                  </a:lnTo>
                  <a:lnTo>
                    <a:pt x="2179" y="111"/>
                  </a:lnTo>
                  <a:lnTo>
                    <a:pt x="2178" y="117"/>
                  </a:lnTo>
                  <a:lnTo>
                    <a:pt x="2178" y="121"/>
                  </a:lnTo>
                  <a:lnTo>
                    <a:pt x="2179" y="124"/>
                  </a:lnTo>
                  <a:lnTo>
                    <a:pt x="2179" y="124"/>
                  </a:lnTo>
                  <a:lnTo>
                    <a:pt x="2181" y="126"/>
                  </a:lnTo>
                  <a:lnTo>
                    <a:pt x="2184" y="126"/>
                  </a:lnTo>
                  <a:lnTo>
                    <a:pt x="2184" y="126"/>
                  </a:lnTo>
                  <a:lnTo>
                    <a:pt x="2185" y="123"/>
                  </a:lnTo>
                  <a:lnTo>
                    <a:pt x="2187" y="118"/>
                  </a:lnTo>
                  <a:lnTo>
                    <a:pt x="2187" y="118"/>
                  </a:lnTo>
                  <a:lnTo>
                    <a:pt x="2188" y="109"/>
                  </a:lnTo>
                  <a:lnTo>
                    <a:pt x="2188" y="109"/>
                  </a:lnTo>
                  <a:lnTo>
                    <a:pt x="2188" y="106"/>
                  </a:lnTo>
                  <a:lnTo>
                    <a:pt x="2190" y="102"/>
                  </a:lnTo>
                  <a:lnTo>
                    <a:pt x="2190" y="102"/>
                  </a:lnTo>
                  <a:lnTo>
                    <a:pt x="2190" y="95"/>
                  </a:lnTo>
                  <a:lnTo>
                    <a:pt x="2190" y="95"/>
                  </a:lnTo>
                  <a:lnTo>
                    <a:pt x="2188" y="92"/>
                  </a:lnTo>
                  <a:lnTo>
                    <a:pt x="2187" y="89"/>
                  </a:lnTo>
                  <a:lnTo>
                    <a:pt x="2187" y="89"/>
                  </a:lnTo>
                  <a:lnTo>
                    <a:pt x="2185" y="84"/>
                  </a:lnTo>
                  <a:lnTo>
                    <a:pt x="2181" y="80"/>
                  </a:lnTo>
                  <a:lnTo>
                    <a:pt x="2172" y="77"/>
                  </a:lnTo>
                  <a:lnTo>
                    <a:pt x="2172" y="77"/>
                  </a:lnTo>
                  <a:lnTo>
                    <a:pt x="2169" y="80"/>
                  </a:lnTo>
                  <a:lnTo>
                    <a:pt x="2168" y="83"/>
                  </a:lnTo>
                  <a:lnTo>
                    <a:pt x="2168" y="84"/>
                  </a:lnTo>
                  <a:lnTo>
                    <a:pt x="2169" y="86"/>
                  </a:lnTo>
                  <a:lnTo>
                    <a:pt x="2169" y="86"/>
                  </a:lnTo>
                  <a:lnTo>
                    <a:pt x="2175" y="93"/>
                  </a:lnTo>
                  <a:lnTo>
                    <a:pt x="2178" y="98"/>
                  </a:lnTo>
                  <a:lnTo>
                    <a:pt x="2178" y="98"/>
                  </a:lnTo>
                  <a:close/>
                  <a:moveTo>
                    <a:pt x="2094" y="133"/>
                  </a:moveTo>
                  <a:lnTo>
                    <a:pt x="2094" y="133"/>
                  </a:lnTo>
                  <a:lnTo>
                    <a:pt x="2091" y="138"/>
                  </a:lnTo>
                  <a:lnTo>
                    <a:pt x="2091" y="142"/>
                  </a:lnTo>
                  <a:lnTo>
                    <a:pt x="2091" y="145"/>
                  </a:lnTo>
                  <a:lnTo>
                    <a:pt x="2091" y="145"/>
                  </a:lnTo>
                  <a:lnTo>
                    <a:pt x="2101" y="155"/>
                  </a:lnTo>
                  <a:lnTo>
                    <a:pt x="2101" y="155"/>
                  </a:lnTo>
                  <a:lnTo>
                    <a:pt x="2104" y="158"/>
                  </a:lnTo>
                  <a:lnTo>
                    <a:pt x="2105" y="158"/>
                  </a:lnTo>
                  <a:lnTo>
                    <a:pt x="2107" y="157"/>
                  </a:lnTo>
                  <a:lnTo>
                    <a:pt x="2107" y="157"/>
                  </a:lnTo>
                  <a:lnTo>
                    <a:pt x="2110" y="155"/>
                  </a:lnTo>
                  <a:lnTo>
                    <a:pt x="2110" y="152"/>
                  </a:lnTo>
                  <a:lnTo>
                    <a:pt x="2110" y="148"/>
                  </a:lnTo>
                  <a:lnTo>
                    <a:pt x="2110" y="148"/>
                  </a:lnTo>
                  <a:lnTo>
                    <a:pt x="2108" y="143"/>
                  </a:lnTo>
                  <a:lnTo>
                    <a:pt x="2107" y="140"/>
                  </a:lnTo>
                  <a:lnTo>
                    <a:pt x="2107" y="140"/>
                  </a:lnTo>
                  <a:lnTo>
                    <a:pt x="2102" y="135"/>
                  </a:lnTo>
                  <a:lnTo>
                    <a:pt x="2101" y="132"/>
                  </a:lnTo>
                  <a:lnTo>
                    <a:pt x="2101" y="132"/>
                  </a:lnTo>
                  <a:lnTo>
                    <a:pt x="2101" y="129"/>
                  </a:lnTo>
                  <a:lnTo>
                    <a:pt x="2099" y="124"/>
                  </a:lnTo>
                  <a:lnTo>
                    <a:pt x="2099" y="124"/>
                  </a:lnTo>
                  <a:lnTo>
                    <a:pt x="2098" y="117"/>
                  </a:lnTo>
                  <a:lnTo>
                    <a:pt x="2095" y="111"/>
                  </a:lnTo>
                  <a:lnTo>
                    <a:pt x="2095" y="111"/>
                  </a:lnTo>
                  <a:lnTo>
                    <a:pt x="2094" y="109"/>
                  </a:lnTo>
                  <a:lnTo>
                    <a:pt x="2092" y="108"/>
                  </a:lnTo>
                  <a:lnTo>
                    <a:pt x="2091" y="108"/>
                  </a:lnTo>
                  <a:lnTo>
                    <a:pt x="2088" y="108"/>
                  </a:lnTo>
                  <a:lnTo>
                    <a:pt x="2088" y="108"/>
                  </a:lnTo>
                  <a:lnTo>
                    <a:pt x="2085" y="111"/>
                  </a:lnTo>
                  <a:lnTo>
                    <a:pt x="2083" y="114"/>
                  </a:lnTo>
                  <a:lnTo>
                    <a:pt x="2083" y="117"/>
                  </a:lnTo>
                  <a:lnTo>
                    <a:pt x="2083" y="117"/>
                  </a:lnTo>
                  <a:lnTo>
                    <a:pt x="2089" y="126"/>
                  </a:lnTo>
                  <a:lnTo>
                    <a:pt x="2094" y="133"/>
                  </a:lnTo>
                  <a:lnTo>
                    <a:pt x="2094" y="133"/>
                  </a:lnTo>
                  <a:close/>
                  <a:moveTo>
                    <a:pt x="2138" y="142"/>
                  </a:moveTo>
                  <a:lnTo>
                    <a:pt x="2138" y="142"/>
                  </a:lnTo>
                  <a:lnTo>
                    <a:pt x="2142" y="145"/>
                  </a:lnTo>
                  <a:lnTo>
                    <a:pt x="2144" y="145"/>
                  </a:lnTo>
                  <a:lnTo>
                    <a:pt x="2145" y="145"/>
                  </a:lnTo>
                  <a:lnTo>
                    <a:pt x="2145" y="145"/>
                  </a:lnTo>
                  <a:lnTo>
                    <a:pt x="2147" y="140"/>
                  </a:lnTo>
                  <a:lnTo>
                    <a:pt x="2147" y="136"/>
                  </a:lnTo>
                  <a:lnTo>
                    <a:pt x="2147" y="136"/>
                  </a:lnTo>
                  <a:lnTo>
                    <a:pt x="2148" y="132"/>
                  </a:lnTo>
                  <a:lnTo>
                    <a:pt x="2148" y="129"/>
                  </a:lnTo>
                  <a:lnTo>
                    <a:pt x="2147" y="127"/>
                  </a:lnTo>
                  <a:lnTo>
                    <a:pt x="2147" y="127"/>
                  </a:lnTo>
                  <a:lnTo>
                    <a:pt x="2145" y="124"/>
                  </a:lnTo>
                  <a:lnTo>
                    <a:pt x="2144" y="123"/>
                  </a:lnTo>
                  <a:lnTo>
                    <a:pt x="2144" y="123"/>
                  </a:lnTo>
                  <a:lnTo>
                    <a:pt x="2142" y="120"/>
                  </a:lnTo>
                  <a:lnTo>
                    <a:pt x="2141" y="118"/>
                  </a:lnTo>
                  <a:lnTo>
                    <a:pt x="2141" y="118"/>
                  </a:lnTo>
                  <a:lnTo>
                    <a:pt x="2135" y="117"/>
                  </a:lnTo>
                  <a:lnTo>
                    <a:pt x="2137" y="132"/>
                  </a:lnTo>
                  <a:lnTo>
                    <a:pt x="2137" y="132"/>
                  </a:lnTo>
                  <a:lnTo>
                    <a:pt x="2137" y="136"/>
                  </a:lnTo>
                  <a:lnTo>
                    <a:pt x="2137" y="139"/>
                  </a:lnTo>
                  <a:lnTo>
                    <a:pt x="2138" y="142"/>
                  </a:lnTo>
                  <a:lnTo>
                    <a:pt x="2138" y="142"/>
                  </a:lnTo>
                  <a:close/>
                  <a:moveTo>
                    <a:pt x="2141" y="154"/>
                  </a:moveTo>
                  <a:lnTo>
                    <a:pt x="2141" y="154"/>
                  </a:lnTo>
                  <a:lnTo>
                    <a:pt x="2144" y="155"/>
                  </a:lnTo>
                  <a:lnTo>
                    <a:pt x="2148" y="158"/>
                  </a:lnTo>
                  <a:lnTo>
                    <a:pt x="2148" y="158"/>
                  </a:lnTo>
                  <a:lnTo>
                    <a:pt x="2153" y="158"/>
                  </a:lnTo>
                  <a:lnTo>
                    <a:pt x="2157" y="157"/>
                  </a:lnTo>
                  <a:lnTo>
                    <a:pt x="2157" y="157"/>
                  </a:lnTo>
                  <a:lnTo>
                    <a:pt x="2159" y="157"/>
                  </a:lnTo>
                  <a:lnTo>
                    <a:pt x="2159" y="155"/>
                  </a:lnTo>
                  <a:lnTo>
                    <a:pt x="2159" y="152"/>
                  </a:lnTo>
                  <a:lnTo>
                    <a:pt x="2159" y="152"/>
                  </a:lnTo>
                  <a:lnTo>
                    <a:pt x="2156" y="151"/>
                  </a:lnTo>
                  <a:lnTo>
                    <a:pt x="2151" y="148"/>
                  </a:lnTo>
                  <a:lnTo>
                    <a:pt x="2148" y="148"/>
                  </a:lnTo>
                  <a:lnTo>
                    <a:pt x="2148" y="148"/>
                  </a:lnTo>
                  <a:lnTo>
                    <a:pt x="2145" y="148"/>
                  </a:lnTo>
                  <a:lnTo>
                    <a:pt x="2144" y="151"/>
                  </a:lnTo>
                  <a:lnTo>
                    <a:pt x="2141" y="154"/>
                  </a:lnTo>
                  <a:lnTo>
                    <a:pt x="2141" y="154"/>
                  </a:lnTo>
                  <a:close/>
                  <a:moveTo>
                    <a:pt x="1956" y="98"/>
                  </a:moveTo>
                  <a:lnTo>
                    <a:pt x="1956" y="98"/>
                  </a:lnTo>
                  <a:lnTo>
                    <a:pt x="1957" y="99"/>
                  </a:lnTo>
                  <a:lnTo>
                    <a:pt x="1957" y="100"/>
                  </a:lnTo>
                  <a:lnTo>
                    <a:pt x="1957" y="102"/>
                  </a:lnTo>
                  <a:lnTo>
                    <a:pt x="1957" y="102"/>
                  </a:lnTo>
                  <a:lnTo>
                    <a:pt x="1956" y="103"/>
                  </a:lnTo>
                  <a:lnTo>
                    <a:pt x="1954" y="108"/>
                  </a:lnTo>
                  <a:lnTo>
                    <a:pt x="1954" y="108"/>
                  </a:lnTo>
                  <a:lnTo>
                    <a:pt x="1956" y="111"/>
                  </a:lnTo>
                  <a:lnTo>
                    <a:pt x="1957" y="114"/>
                  </a:lnTo>
                  <a:lnTo>
                    <a:pt x="1962" y="118"/>
                  </a:lnTo>
                  <a:lnTo>
                    <a:pt x="1962" y="118"/>
                  </a:lnTo>
                  <a:lnTo>
                    <a:pt x="1965" y="117"/>
                  </a:lnTo>
                  <a:lnTo>
                    <a:pt x="1969" y="115"/>
                  </a:lnTo>
                  <a:lnTo>
                    <a:pt x="1972" y="112"/>
                  </a:lnTo>
                  <a:lnTo>
                    <a:pt x="1972" y="112"/>
                  </a:lnTo>
                  <a:lnTo>
                    <a:pt x="1977" y="111"/>
                  </a:lnTo>
                  <a:lnTo>
                    <a:pt x="1980" y="109"/>
                  </a:lnTo>
                  <a:lnTo>
                    <a:pt x="1984" y="106"/>
                  </a:lnTo>
                  <a:lnTo>
                    <a:pt x="1984" y="106"/>
                  </a:lnTo>
                  <a:lnTo>
                    <a:pt x="1984" y="103"/>
                  </a:lnTo>
                  <a:lnTo>
                    <a:pt x="1984" y="100"/>
                  </a:lnTo>
                  <a:lnTo>
                    <a:pt x="1980" y="100"/>
                  </a:lnTo>
                  <a:lnTo>
                    <a:pt x="1980" y="100"/>
                  </a:lnTo>
                  <a:lnTo>
                    <a:pt x="1975" y="99"/>
                  </a:lnTo>
                  <a:lnTo>
                    <a:pt x="1968" y="95"/>
                  </a:lnTo>
                  <a:lnTo>
                    <a:pt x="1968" y="95"/>
                  </a:lnTo>
                  <a:lnTo>
                    <a:pt x="1965" y="93"/>
                  </a:lnTo>
                  <a:lnTo>
                    <a:pt x="1966" y="92"/>
                  </a:lnTo>
                  <a:lnTo>
                    <a:pt x="1968" y="90"/>
                  </a:lnTo>
                  <a:lnTo>
                    <a:pt x="1969" y="87"/>
                  </a:lnTo>
                  <a:lnTo>
                    <a:pt x="1969" y="87"/>
                  </a:lnTo>
                  <a:lnTo>
                    <a:pt x="1974" y="80"/>
                  </a:lnTo>
                  <a:lnTo>
                    <a:pt x="1974" y="80"/>
                  </a:lnTo>
                  <a:lnTo>
                    <a:pt x="1975" y="78"/>
                  </a:lnTo>
                  <a:lnTo>
                    <a:pt x="1983" y="78"/>
                  </a:lnTo>
                  <a:lnTo>
                    <a:pt x="1983" y="78"/>
                  </a:lnTo>
                  <a:lnTo>
                    <a:pt x="2000" y="78"/>
                  </a:lnTo>
                  <a:lnTo>
                    <a:pt x="2000" y="78"/>
                  </a:lnTo>
                  <a:lnTo>
                    <a:pt x="2003" y="80"/>
                  </a:lnTo>
                  <a:lnTo>
                    <a:pt x="2006" y="81"/>
                  </a:lnTo>
                  <a:lnTo>
                    <a:pt x="2014" y="87"/>
                  </a:lnTo>
                  <a:lnTo>
                    <a:pt x="2014" y="87"/>
                  </a:lnTo>
                  <a:lnTo>
                    <a:pt x="2020" y="89"/>
                  </a:lnTo>
                  <a:lnTo>
                    <a:pt x="2028" y="90"/>
                  </a:lnTo>
                  <a:lnTo>
                    <a:pt x="2039" y="92"/>
                  </a:lnTo>
                  <a:lnTo>
                    <a:pt x="2046" y="92"/>
                  </a:lnTo>
                  <a:lnTo>
                    <a:pt x="2046" y="92"/>
                  </a:lnTo>
                  <a:lnTo>
                    <a:pt x="2051" y="90"/>
                  </a:lnTo>
                  <a:lnTo>
                    <a:pt x="2052" y="87"/>
                  </a:lnTo>
                  <a:lnTo>
                    <a:pt x="2052" y="83"/>
                  </a:lnTo>
                  <a:lnTo>
                    <a:pt x="2052" y="83"/>
                  </a:lnTo>
                  <a:lnTo>
                    <a:pt x="2052" y="74"/>
                  </a:lnTo>
                  <a:lnTo>
                    <a:pt x="2049" y="66"/>
                  </a:lnTo>
                  <a:lnTo>
                    <a:pt x="2049" y="66"/>
                  </a:lnTo>
                  <a:lnTo>
                    <a:pt x="2049" y="58"/>
                  </a:lnTo>
                  <a:lnTo>
                    <a:pt x="2049" y="55"/>
                  </a:lnTo>
                  <a:lnTo>
                    <a:pt x="2049" y="50"/>
                  </a:lnTo>
                  <a:lnTo>
                    <a:pt x="2049" y="50"/>
                  </a:lnTo>
                  <a:lnTo>
                    <a:pt x="2046" y="49"/>
                  </a:lnTo>
                  <a:lnTo>
                    <a:pt x="2043" y="49"/>
                  </a:lnTo>
                  <a:lnTo>
                    <a:pt x="2034" y="49"/>
                  </a:lnTo>
                  <a:lnTo>
                    <a:pt x="2034" y="49"/>
                  </a:lnTo>
                  <a:lnTo>
                    <a:pt x="2027" y="50"/>
                  </a:lnTo>
                  <a:lnTo>
                    <a:pt x="2024" y="50"/>
                  </a:lnTo>
                  <a:lnTo>
                    <a:pt x="2024" y="50"/>
                  </a:lnTo>
                  <a:lnTo>
                    <a:pt x="2020" y="53"/>
                  </a:lnTo>
                  <a:lnTo>
                    <a:pt x="2015" y="59"/>
                  </a:lnTo>
                  <a:lnTo>
                    <a:pt x="2015" y="59"/>
                  </a:lnTo>
                  <a:lnTo>
                    <a:pt x="2012" y="62"/>
                  </a:lnTo>
                  <a:lnTo>
                    <a:pt x="2005" y="62"/>
                  </a:lnTo>
                  <a:lnTo>
                    <a:pt x="2005" y="62"/>
                  </a:lnTo>
                  <a:lnTo>
                    <a:pt x="1996" y="60"/>
                  </a:lnTo>
                  <a:lnTo>
                    <a:pt x="1994" y="60"/>
                  </a:lnTo>
                  <a:lnTo>
                    <a:pt x="1994" y="60"/>
                  </a:lnTo>
                  <a:lnTo>
                    <a:pt x="1990" y="56"/>
                  </a:lnTo>
                  <a:lnTo>
                    <a:pt x="1984" y="50"/>
                  </a:lnTo>
                  <a:lnTo>
                    <a:pt x="1984" y="50"/>
                  </a:lnTo>
                  <a:lnTo>
                    <a:pt x="1978" y="50"/>
                  </a:lnTo>
                  <a:lnTo>
                    <a:pt x="1972" y="50"/>
                  </a:lnTo>
                  <a:lnTo>
                    <a:pt x="1972" y="50"/>
                  </a:lnTo>
                  <a:lnTo>
                    <a:pt x="1971" y="50"/>
                  </a:lnTo>
                  <a:lnTo>
                    <a:pt x="1971" y="53"/>
                  </a:lnTo>
                  <a:lnTo>
                    <a:pt x="1969" y="58"/>
                  </a:lnTo>
                  <a:lnTo>
                    <a:pt x="1969" y="58"/>
                  </a:lnTo>
                  <a:lnTo>
                    <a:pt x="1969" y="59"/>
                  </a:lnTo>
                  <a:lnTo>
                    <a:pt x="1966" y="59"/>
                  </a:lnTo>
                  <a:lnTo>
                    <a:pt x="1963" y="58"/>
                  </a:lnTo>
                  <a:lnTo>
                    <a:pt x="1963" y="58"/>
                  </a:lnTo>
                  <a:lnTo>
                    <a:pt x="1963" y="56"/>
                  </a:lnTo>
                  <a:lnTo>
                    <a:pt x="1962" y="52"/>
                  </a:lnTo>
                  <a:lnTo>
                    <a:pt x="1962" y="44"/>
                  </a:lnTo>
                  <a:lnTo>
                    <a:pt x="1962" y="44"/>
                  </a:lnTo>
                  <a:lnTo>
                    <a:pt x="1962" y="43"/>
                  </a:lnTo>
                  <a:lnTo>
                    <a:pt x="1960" y="43"/>
                  </a:lnTo>
                  <a:lnTo>
                    <a:pt x="1957" y="43"/>
                  </a:lnTo>
                  <a:lnTo>
                    <a:pt x="1951" y="44"/>
                  </a:lnTo>
                  <a:lnTo>
                    <a:pt x="1941" y="52"/>
                  </a:lnTo>
                  <a:lnTo>
                    <a:pt x="1941" y="52"/>
                  </a:lnTo>
                  <a:lnTo>
                    <a:pt x="1938" y="58"/>
                  </a:lnTo>
                  <a:lnTo>
                    <a:pt x="1935" y="63"/>
                  </a:lnTo>
                  <a:lnTo>
                    <a:pt x="1934" y="69"/>
                  </a:lnTo>
                  <a:lnTo>
                    <a:pt x="1934" y="69"/>
                  </a:lnTo>
                  <a:lnTo>
                    <a:pt x="1934" y="75"/>
                  </a:lnTo>
                  <a:lnTo>
                    <a:pt x="1937" y="81"/>
                  </a:lnTo>
                  <a:lnTo>
                    <a:pt x="1941" y="90"/>
                  </a:lnTo>
                  <a:lnTo>
                    <a:pt x="1941" y="90"/>
                  </a:lnTo>
                  <a:lnTo>
                    <a:pt x="1944" y="92"/>
                  </a:lnTo>
                  <a:lnTo>
                    <a:pt x="1947" y="95"/>
                  </a:lnTo>
                  <a:lnTo>
                    <a:pt x="1956" y="98"/>
                  </a:lnTo>
                  <a:lnTo>
                    <a:pt x="1956" y="98"/>
                  </a:lnTo>
                  <a:close/>
                  <a:moveTo>
                    <a:pt x="2104" y="225"/>
                  </a:moveTo>
                  <a:lnTo>
                    <a:pt x="2095" y="226"/>
                  </a:lnTo>
                  <a:lnTo>
                    <a:pt x="2088" y="228"/>
                  </a:lnTo>
                  <a:lnTo>
                    <a:pt x="2082" y="241"/>
                  </a:lnTo>
                  <a:lnTo>
                    <a:pt x="2082" y="241"/>
                  </a:lnTo>
                  <a:lnTo>
                    <a:pt x="2083" y="246"/>
                  </a:lnTo>
                  <a:lnTo>
                    <a:pt x="2086" y="249"/>
                  </a:lnTo>
                  <a:lnTo>
                    <a:pt x="2088" y="250"/>
                  </a:lnTo>
                  <a:lnTo>
                    <a:pt x="2088" y="250"/>
                  </a:lnTo>
                  <a:lnTo>
                    <a:pt x="2091" y="250"/>
                  </a:lnTo>
                  <a:lnTo>
                    <a:pt x="2091" y="252"/>
                  </a:lnTo>
                  <a:lnTo>
                    <a:pt x="2092" y="252"/>
                  </a:lnTo>
                  <a:lnTo>
                    <a:pt x="2097" y="249"/>
                  </a:lnTo>
                  <a:lnTo>
                    <a:pt x="2097" y="249"/>
                  </a:lnTo>
                  <a:lnTo>
                    <a:pt x="2104" y="243"/>
                  </a:lnTo>
                  <a:lnTo>
                    <a:pt x="2107" y="237"/>
                  </a:lnTo>
                  <a:lnTo>
                    <a:pt x="2107" y="237"/>
                  </a:lnTo>
                  <a:lnTo>
                    <a:pt x="2107" y="234"/>
                  </a:lnTo>
                  <a:lnTo>
                    <a:pt x="2107" y="231"/>
                  </a:lnTo>
                  <a:lnTo>
                    <a:pt x="2105" y="228"/>
                  </a:lnTo>
                  <a:lnTo>
                    <a:pt x="2104" y="225"/>
                  </a:lnTo>
                  <a:close/>
                  <a:moveTo>
                    <a:pt x="2194" y="191"/>
                  </a:moveTo>
                  <a:lnTo>
                    <a:pt x="2194" y="191"/>
                  </a:lnTo>
                  <a:lnTo>
                    <a:pt x="2191" y="188"/>
                  </a:lnTo>
                  <a:lnTo>
                    <a:pt x="2188" y="186"/>
                  </a:lnTo>
                  <a:lnTo>
                    <a:pt x="2181" y="186"/>
                  </a:lnTo>
                  <a:lnTo>
                    <a:pt x="2181" y="186"/>
                  </a:lnTo>
                  <a:lnTo>
                    <a:pt x="2178" y="186"/>
                  </a:lnTo>
                  <a:lnTo>
                    <a:pt x="2175" y="185"/>
                  </a:lnTo>
                  <a:lnTo>
                    <a:pt x="2169" y="176"/>
                  </a:lnTo>
                  <a:lnTo>
                    <a:pt x="2169" y="176"/>
                  </a:lnTo>
                  <a:lnTo>
                    <a:pt x="2166" y="173"/>
                  </a:lnTo>
                  <a:lnTo>
                    <a:pt x="2163" y="172"/>
                  </a:lnTo>
                  <a:lnTo>
                    <a:pt x="2160" y="172"/>
                  </a:lnTo>
                  <a:lnTo>
                    <a:pt x="2156" y="172"/>
                  </a:lnTo>
                  <a:lnTo>
                    <a:pt x="2151" y="175"/>
                  </a:lnTo>
                  <a:lnTo>
                    <a:pt x="2148" y="176"/>
                  </a:lnTo>
                  <a:lnTo>
                    <a:pt x="2139" y="186"/>
                  </a:lnTo>
                  <a:lnTo>
                    <a:pt x="2139" y="186"/>
                  </a:lnTo>
                  <a:lnTo>
                    <a:pt x="2135" y="191"/>
                  </a:lnTo>
                  <a:lnTo>
                    <a:pt x="2134" y="192"/>
                  </a:lnTo>
                  <a:lnTo>
                    <a:pt x="2134" y="195"/>
                  </a:lnTo>
                  <a:lnTo>
                    <a:pt x="2134" y="203"/>
                  </a:lnTo>
                  <a:lnTo>
                    <a:pt x="2134" y="203"/>
                  </a:lnTo>
                  <a:lnTo>
                    <a:pt x="2132" y="210"/>
                  </a:lnTo>
                  <a:lnTo>
                    <a:pt x="2132" y="212"/>
                  </a:lnTo>
                  <a:lnTo>
                    <a:pt x="2139" y="213"/>
                  </a:lnTo>
                  <a:lnTo>
                    <a:pt x="2139" y="213"/>
                  </a:lnTo>
                  <a:lnTo>
                    <a:pt x="2145" y="216"/>
                  </a:lnTo>
                  <a:lnTo>
                    <a:pt x="2147" y="219"/>
                  </a:lnTo>
                  <a:lnTo>
                    <a:pt x="2148" y="222"/>
                  </a:lnTo>
                  <a:lnTo>
                    <a:pt x="2148" y="228"/>
                  </a:lnTo>
                  <a:lnTo>
                    <a:pt x="2148" y="228"/>
                  </a:lnTo>
                  <a:lnTo>
                    <a:pt x="2150" y="231"/>
                  </a:lnTo>
                  <a:lnTo>
                    <a:pt x="2151" y="231"/>
                  </a:lnTo>
                  <a:lnTo>
                    <a:pt x="2157" y="231"/>
                  </a:lnTo>
                  <a:lnTo>
                    <a:pt x="2169" y="226"/>
                  </a:lnTo>
                  <a:lnTo>
                    <a:pt x="2169" y="226"/>
                  </a:lnTo>
                  <a:lnTo>
                    <a:pt x="2174" y="223"/>
                  </a:lnTo>
                  <a:lnTo>
                    <a:pt x="2181" y="220"/>
                  </a:lnTo>
                  <a:lnTo>
                    <a:pt x="2187" y="215"/>
                  </a:lnTo>
                  <a:lnTo>
                    <a:pt x="2193" y="210"/>
                  </a:lnTo>
                  <a:lnTo>
                    <a:pt x="2193" y="210"/>
                  </a:lnTo>
                  <a:lnTo>
                    <a:pt x="2196" y="204"/>
                  </a:lnTo>
                  <a:lnTo>
                    <a:pt x="2197" y="200"/>
                  </a:lnTo>
                  <a:lnTo>
                    <a:pt x="2197" y="197"/>
                  </a:lnTo>
                  <a:lnTo>
                    <a:pt x="2194" y="191"/>
                  </a:lnTo>
                  <a:lnTo>
                    <a:pt x="2194" y="191"/>
                  </a:lnTo>
                  <a:close/>
                  <a:moveTo>
                    <a:pt x="2132" y="145"/>
                  </a:moveTo>
                  <a:lnTo>
                    <a:pt x="2132" y="145"/>
                  </a:lnTo>
                  <a:lnTo>
                    <a:pt x="2132" y="139"/>
                  </a:lnTo>
                  <a:lnTo>
                    <a:pt x="2131" y="133"/>
                  </a:lnTo>
                  <a:lnTo>
                    <a:pt x="2131" y="133"/>
                  </a:lnTo>
                  <a:lnTo>
                    <a:pt x="2129" y="126"/>
                  </a:lnTo>
                  <a:lnTo>
                    <a:pt x="2128" y="120"/>
                  </a:lnTo>
                  <a:lnTo>
                    <a:pt x="2128" y="120"/>
                  </a:lnTo>
                  <a:lnTo>
                    <a:pt x="2128" y="114"/>
                  </a:lnTo>
                  <a:lnTo>
                    <a:pt x="2128" y="106"/>
                  </a:lnTo>
                  <a:lnTo>
                    <a:pt x="2128" y="106"/>
                  </a:lnTo>
                  <a:lnTo>
                    <a:pt x="2125" y="102"/>
                  </a:lnTo>
                  <a:lnTo>
                    <a:pt x="2122" y="98"/>
                  </a:lnTo>
                  <a:lnTo>
                    <a:pt x="2122" y="98"/>
                  </a:lnTo>
                  <a:lnTo>
                    <a:pt x="2114" y="92"/>
                  </a:lnTo>
                  <a:lnTo>
                    <a:pt x="2111" y="92"/>
                  </a:lnTo>
                  <a:lnTo>
                    <a:pt x="2107" y="93"/>
                  </a:lnTo>
                  <a:lnTo>
                    <a:pt x="2105" y="96"/>
                  </a:lnTo>
                  <a:lnTo>
                    <a:pt x="2105" y="96"/>
                  </a:lnTo>
                  <a:lnTo>
                    <a:pt x="2104" y="96"/>
                  </a:lnTo>
                  <a:lnTo>
                    <a:pt x="2102" y="98"/>
                  </a:lnTo>
                  <a:lnTo>
                    <a:pt x="2102" y="100"/>
                  </a:lnTo>
                  <a:lnTo>
                    <a:pt x="2105" y="105"/>
                  </a:lnTo>
                  <a:lnTo>
                    <a:pt x="2105" y="105"/>
                  </a:lnTo>
                  <a:lnTo>
                    <a:pt x="2110" y="111"/>
                  </a:lnTo>
                  <a:lnTo>
                    <a:pt x="2111" y="115"/>
                  </a:lnTo>
                  <a:lnTo>
                    <a:pt x="2113" y="124"/>
                  </a:lnTo>
                  <a:lnTo>
                    <a:pt x="2113" y="124"/>
                  </a:lnTo>
                  <a:lnTo>
                    <a:pt x="2114" y="132"/>
                  </a:lnTo>
                  <a:lnTo>
                    <a:pt x="2114" y="139"/>
                  </a:lnTo>
                  <a:lnTo>
                    <a:pt x="2114" y="139"/>
                  </a:lnTo>
                  <a:lnTo>
                    <a:pt x="2116" y="146"/>
                  </a:lnTo>
                  <a:lnTo>
                    <a:pt x="2120" y="151"/>
                  </a:lnTo>
                  <a:lnTo>
                    <a:pt x="2120" y="151"/>
                  </a:lnTo>
                  <a:lnTo>
                    <a:pt x="2125" y="155"/>
                  </a:lnTo>
                  <a:lnTo>
                    <a:pt x="2128" y="155"/>
                  </a:lnTo>
                  <a:lnTo>
                    <a:pt x="2129" y="155"/>
                  </a:lnTo>
                  <a:lnTo>
                    <a:pt x="2129" y="155"/>
                  </a:lnTo>
                  <a:lnTo>
                    <a:pt x="2131" y="154"/>
                  </a:lnTo>
                  <a:lnTo>
                    <a:pt x="2132" y="151"/>
                  </a:lnTo>
                  <a:lnTo>
                    <a:pt x="2132" y="145"/>
                  </a:lnTo>
                  <a:lnTo>
                    <a:pt x="2132" y="145"/>
                  </a:lnTo>
                  <a:close/>
                  <a:moveTo>
                    <a:pt x="1537" y="751"/>
                  </a:moveTo>
                  <a:lnTo>
                    <a:pt x="1537" y="751"/>
                  </a:lnTo>
                  <a:lnTo>
                    <a:pt x="1531" y="743"/>
                  </a:lnTo>
                  <a:lnTo>
                    <a:pt x="1518" y="730"/>
                  </a:lnTo>
                  <a:lnTo>
                    <a:pt x="1518" y="730"/>
                  </a:lnTo>
                  <a:lnTo>
                    <a:pt x="1513" y="724"/>
                  </a:lnTo>
                  <a:lnTo>
                    <a:pt x="1510" y="720"/>
                  </a:lnTo>
                  <a:lnTo>
                    <a:pt x="1510" y="718"/>
                  </a:lnTo>
                  <a:lnTo>
                    <a:pt x="1507" y="717"/>
                  </a:lnTo>
                  <a:lnTo>
                    <a:pt x="1507" y="717"/>
                  </a:lnTo>
                  <a:lnTo>
                    <a:pt x="1498" y="709"/>
                  </a:lnTo>
                  <a:lnTo>
                    <a:pt x="1486" y="703"/>
                  </a:lnTo>
                  <a:lnTo>
                    <a:pt x="1486" y="703"/>
                  </a:lnTo>
                  <a:lnTo>
                    <a:pt x="1482" y="702"/>
                  </a:lnTo>
                  <a:lnTo>
                    <a:pt x="1479" y="702"/>
                  </a:lnTo>
                  <a:lnTo>
                    <a:pt x="1478" y="703"/>
                  </a:lnTo>
                  <a:lnTo>
                    <a:pt x="1457" y="711"/>
                  </a:lnTo>
                  <a:lnTo>
                    <a:pt x="1457" y="711"/>
                  </a:lnTo>
                  <a:lnTo>
                    <a:pt x="1454" y="714"/>
                  </a:lnTo>
                  <a:lnTo>
                    <a:pt x="1445" y="720"/>
                  </a:lnTo>
                  <a:lnTo>
                    <a:pt x="1445" y="720"/>
                  </a:lnTo>
                  <a:lnTo>
                    <a:pt x="1442" y="720"/>
                  </a:lnTo>
                  <a:lnTo>
                    <a:pt x="1441" y="720"/>
                  </a:lnTo>
                  <a:lnTo>
                    <a:pt x="1438" y="717"/>
                  </a:lnTo>
                  <a:lnTo>
                    <a:pt x="1433" y="711"/>
                  </a:lnTo>
                  <a:lnTo>
                    <a:pt x="1433" y="711"/>
                  </a:lnTo>
                  <a:lnTo>
                    <a:pt x="1424" y="714"/>
                  </a:lnTo>
                  <a:lnTo>
                    <a:pt x="1423" y="715"/>
                  </a:lnTo>
                  <a:lnTo>
                    <a:pt x="1421" y="720"/>
                  </a:lnTo>
                  <a:lnTo>
                    <a:pt x="1421" y="720"/>
                  </a:lnTo>
                  <a:lnTo>
                    <a:pt x="1421" y="725"/>
                  </a:lnTo>
                  <a:lnTo>
                    <a:pt x="1420" y="731"/>
                  </a:lnTo>
                  <a:lnTo>
                    <a:pt x="1420" y="731"/>
                  </a:lnTo>
                  <a:lnTo>
                    <a:pt x="1420" y="736"/>
                  </a:lnTo>
                  <a:lnTo>
                    <a:pt x="1420" y="740"/>
                  </a:lnTo>
                  <a:lnTo>
                    <a:pt x="1420" y="740"/>
                  </a:lnTo>
                  <a:lnTo>
                    <a:pt x="1418" y="745"/>
                  </a:lnTo>
                  <a:lnTo>
                    <a:pt x="1417" y="748"/>
                  </a:lnTo>
                  <a:lnTo>
                    <a:pt x="1417" y="748"/>
                  </a:lnTo>
                  <a:lnTo>
                    <a:pt x="1412" y="751"/>
                  </a:lnTo>
                  <a:lnTo>
                    <a:pt x="1406" y="754"/>
                  </a:lnTo>
                  <a:lnTo>
                    <a:pt x="1406" y="754"/>
                  </a:lnTo>
                  <a:lnTo>
                    <a:pt x="1392" y="760"/>
                  </a:lnTo>
                  <a:lnTo>
                    <a:pt x="1383" y="764"/>
                  </a:lnTo>
                  <a:lnTo>
                    <a:pt x="1377" y="765"/>
                  </a:lnTo>
                  <a:lnTo>
                    <a:pt x="1377" y="765"/>
                  </a:lnTo>
                  <a:lnTo>
                    <a:pt x="1369" y="763"/>
                  </a:lnTo>
                  <a:lnTo>
                    <a:pt x="1362" y="760"/>
                  </a:lnTo>
                  <a:lnTo>
                    <a:pt x="1362" y="760"/>
                  </a:lnTo>
                  <a:lnTo>
                    <a:pt x="1359" y="758"/>
                  </a:lnTo>
                  <a:lnTo>
                    <a:pt x="1358" y="755"/>
                  </a:lnTo>
                  <a:lnTo>
                    <a:pt x="1356" y="754"/>
                  </a:lnTo>
                  <a:lnTo>
                    <a:pt x="1353" y="752"/>
                  </a:lnTo>
                  <a:lnTo>
                    <a:pt x="1353" y="752"/>
                  </a:lnTo>
                  <a:lnTo>
                    <a:pt x="1346" y="754"/>
                  </a:lnTo>
                  <a:lnTo>
                    <a:pt x="1340" y="757"/>
                  </a:lnTo>
                  <a:lnTo>
                    <a:pt x="1328" y="768"/>
                  </a:lnTo>
                  <a:lnTo>
                    <a:pt x="1328" y="768"/>
                  </a:lnTo>
                  <a:lnTo>
                    <a:pt x="1321" y="774"/>
                  </a:lnTo>
                  <a:lnTo>
                    <a:pt x="1313" y="780"/>
                  </a:lnTo>
                  <a:lnTo>
                    <a:pt x="1309" y="788"/>
                  </a:lnTo>
                  <a:lnTo>
                    <a:pt x="1307" y="791"/>
                  </a:lnTo>
                  <a:lnTo>
                    <a:pt x="1307" y="795"/>
                  </a:lnTo>
                  <a:lnTo>
                    <a:pt x="1307" y="795"/>
                  </a:lnTo>
                  <a:lnTo>
                    <a:pt x="1309" y="800"/>
                  </a:lnTo>
                  <a:lnTo>
                    <a:pt x="1313" y="804"/>
                  </a:lnTo>
                  <a:lnTo>
                    <a:pt x="1325" y="814"/>
                  </a:lnTo>
                  <a:lnTo>
                    <a:pt x="1325" y="814"/>
                  </a:lnTo>
                  <a:lnTo>
                    <a:pt x="1329" y="814"/>
                  </a:lnTo>
                  <a:lnTo>
                    <a:pt x="1332" y="816"/>
                  </a:lnTo>
                  <a:lnTo>
                    <a:pt x="1335" y="817"/>
                  </a:lnTo>
                  <a:lnTo>
                    <a:pt x="1335" y="817"/>
                  </a:lnTo>
                  <a:lnTo>
                    <a:pt x="1337" y="820"/>
                  </a:lnTo>
                  <a:lnTo>
                    <a:pt x="1337" y="823"/>
                  </a:lnTo>
                  <a:lnTo>
                    <a:pt x="1337" y="834"/>
                  </a:lnTo>
                  <a:lnTo>
                    <a:pt x="1337" y="834"/>
                  </a:lnTo>
                  <a:lnTo>
                    <a:pt x="1338" y="848"/>
                  </a:lnTo>
                  <a:lnTo>
                    <a:pt x="1338" y="848"/>
                  </a:lnTo>
                  <a:lnTo>
                    <a:pt x="1338" y="856"/>
                  </a:lnTo>
                  <a:lnTo>
                    <a:pt x="1340" y="865"/>
                  </a:lnTo>
                  <a:lnTo>
                    <a:pt x="1340" y="865"/>
                  </a:lnTo>
                  <a:lnTo>
                    <a:pt x="1338" y="878"/>
                  </a:lnTo>
                  <a:lnTo>
                    <a:pt x="1337" y="881"/>
                  </a:lnTo>
                  <a:lnTo>
                    <a:pt x="1334" y="882"/>
                  </a:lnTo>
                  <a:lnTo>
                    <a:pt x="1334" y="882"/>
                  </a:lnTo>
                  <a:lnTo>
                    <a:pt x="1324" y="884"/>
                  </a:lnTo>
                  <a:lnTo>
                    <a:pt x="1319" y="885"/>
                  </a:lnTo>
                  <a:lnTo>
                    <a:pt x="1316" y="888"/>
                  </a:lnTo>
                  <a:lnTo>
                    <a:pt x="1315" y="891"/>
                  </a:lnTo>
                  <a:lnTo>
                    <a:pt x="1315" y="891"/>
                  </a:lnTo>
                  <a:lnTo>
                    <a:pt x="1312" y="894"/>
                  </a:lnTo>
                  <a:lnTo>
                    <a:pt x="1309" y="897"/>
                  </a:lnTo>
                  <a:lnTo>
                    <a:pt x="1303" y="903"/>
                  </a:lnTo>
                  <a:lnTo>
                    <a:pt x="1301" y="906"/>
                  </a:lnTo>
                  <a:lnTo>
                    <a:pt x="1303" y="909"/>
                  </a:lnTo>
                  <a:lnTo>
                    <a:pt x="1306" y="915"/>
                  </a:lnTo>
                  <a:lnTo>
                    <a:pt x="1313" y="922"/>
                  </a:lnTo>
                  <a:lnTo>
                    <a:pt x="1313" y="922"/>
                  </a:lnTo>
                  <a:lnTo>
                    <a:pt x="1318" y="927"/>
                  </a:lnTo>
                  <a:lnTo>
                    <a:pt x="1321" y="928"/>
                  </a:lnTo>
                  <a:lnTo>
                    <a:pt x="1322" y="928"/>
                  </a:lnTo>
                  <a:lnTo>
                    <a:pt x="1322" y="928"/>
                  </a:lnTo>
                  <a:lnTo>
                    <a:pt x="1324" y="933"/>
                  </a:lnTo>
                  <a:lnTo>
                    <a:pt x="1325" y="940"/>
                  </a:lnTo>
                  <a:lnTo>
                    <a:pt x="1325" y="940"/>
                  </a:lnTo>
                  <a:lnTo>
                    <a:pt x="1325" y="949"/>
                  </a:lnTo>
                  <a:lnTo>
                    <a:pt x="1327" y="955"/>
                  </a:lnTo>
                  <a:lnTo>
                    <a:pt x="1328" y="959"/>
                  </a:lnTo>
                  <a:lnTo>
                    <a:pt x="1332" y="964"/>
                  </a:lnTo>
                  <a:lnTo>
                    <a:pt x="1332" y="964"/>
                  </a:lnTo>
                  <a:lnTo>
                    <a:pt x="1335" y="965"/>
                  </a:lnTo>
                  <a:lnTo>
                    <a:pt x="1338" y="965"/>
                  </a:lnTo>
                  <a:lnTo>
                    <a:pt x="1343" y="967"/>
                  </a:lnTo>
                  <a:lnTo>
                    <a:pt x="1346" y="973"/>
                  </a:lnTo>
                  <a:lnTo>
                    <a:pt x="1346" y="973"/>
                  </a:lnTo>
                  <a:lnTo>
                    <a:pt x="1347" y="979"/>
                  </a:lnTo>
                  <a:lnTo>
                    <a:pt x="1349" y="982"/>
                  </a:lnTo>
                  <a:lnTo>
                    <a:pt x="1352" y="983"/>
                  </a:lnTo>
                  <a:lnTo>
                    <a:pt x="1352" y="983"/>
                  </a:lnTo>
                  <a:lnTo>
                    <a:pt x="1365" y="995"/>
                  </a:lnTo>
                  <a:lnTo>
                    <a:pt x="1365" y="995"/>
                  </a:lnTo>
                  <a:lnTo>
                    <a:pt x="1369" y="995"/>
                  </a:lnTo>
                  <a:lnTo>
                    <a:pt x="1371" y="997"/>
                  </a:lnTo>
                  <a:lnTo>
                    <a:pt x="1372" y="998"/>
                  </a:lnTo>
                  <a:lnTo>
                    <a:pt x="1372" y="998"/>
                  </a:lnTo>
                  <a:lnTo>
                    <a:pt x="1374" y="1001"/>
                  </a:lnTo>
                  <a:lnTo>
                    <a:pt x="1377" y="1004"/>
                  </a:lnTo>
                  <a:lnTo>
                    <a:pt x="1386" y="1008"/>
                  </a:lnTo>
                  <a:lnTo>
                    <a:pt x="1386" y="1008"/>
                  </a:lnTo>
                  <a:lnTo>
                    <a:pt x="1395" y="1011"/>
                  </a:lnTo>
                  <a:lnTo>
                    <a:pt x="1401" y="1010"/>
                  </a:lnTo>
                  <a:lnTo>
                    <a:pt x="1401" y="1010"/>
                  </a:lnTo>
                  <a:lnTo>
                    <a:pt x="1404" y="1007"/>
                  </a:lnTo>
                  <a:lnTo>
                    <a:pt x="1405" y="1002"/>
                  </a:lnTo>
                  <a:lnTo>
                    <a:pt x="1406" y="995"/>
                  </a:lnTo>
                  <a:lnTo>
                    <a:pt x="1406" y="995"/>
                  </a:lnTo>
                  <a:lnTo>
                    <a:pt x="1406" y="994"/>
                  </a:lnTo>
                  <a:lnTo>
                    <a:pt x="1405" y="992"/>
                  </a:lnTo>
                  <a:lnTo>
                    <a:pt x="1404" y="991"/>
                  </a:lnTo>
                  <a:lnTo>
                    <a:pt x="1401" y="988"/>
                  </a:lnTo>
                  <a:lnTo>
                    <a:pt x="1401" y="988"/>
                  </a:lnTo>
                  <a:lnTo>
                    <a:pt x="1399" y="980"/>
                  </a:lnTo>
                  <a:lnTo>
                    <a:pt x="1399" y="970"/>
                  </a:lnTo>
                  <a:lnTo>
                    <a:pt x="1399" y="951"/>
                  </a:lnTo>
                  <a:lnTo>
                    <a:pt x="1399" y="951"/>
                  </a:lnTo>
                  <a:lnTo>
                    <a:pt x="1405" y="909"/>
                  </a:lnTo>
                  <a:lnTo>
                    <a:pt x="1405" y="909"/>
                  </a:lnTo>
                  <a:lnTo>
                    <a:pt x="1406" y="902"/>
                  </a:lnTo>
                  <a:lnTo>
                    <a:pt x="1408" y="897"/>
                  </a:lnTo>
                  <a:lnTo>
                    <a:pt x="1411" y="893"/>
                  </a:lnTo>
                  <a:lnTo>
                    <a:pt x="1411" y="893"/>
                  </a:lnTo>
                  <a:lnTo>
                    <a:pt x="1418" y="882"/>
                  </a:lnTo>
                  <a:lnTo>
                    <a:pt x="1424" y="874"/>
                  </a:lnTo>
                  <a:lnTo>
                    <a:pt x="1424" y="874"/>
                  </a:lnTo>
                  <a:lnTo>
                    <a:pt x="1436" y="857"/>
                  </a:lnTo>
                  <a:lnTo>
                    <a:pt x="1436" y="857"/>
                  </a:lnTo>
                  <a:lnTo>
                    <a:pt x="1448" y="842"/>
                  </a:lnTo>
                  <a:lnTo>
                    <a:pt x="1448" y="842"/>
                  </a:lnTo>
                  <a:lnTo>
                    <a:pt x="1452" y="840"/>
                  </a:lnTo>
                  <a:lnTo>
                    <a:pt x="1460" y="835"/>
                  </a:lnTo>
                  <a:lnTo>
                    <a:pt x="1460" y="835"/>
                  </a:lnTo>
                  <a:lnTo>
                    <a:pt x="1464" y="829"/>
                  </a:lnTo>
                  <a:lnTo>
                    <a:pt x="1467" y="826"/>
                  </a:lnTo>
                  <a:lnTo>
                    <a:pt x="1467" y="826"/>
                  </a:lnTo>
                  <a:lnTo>
                    <a:pt x="1479" y="814"/>
                  </a:lnTo>
                  <a:lnTo>
                    <a:pt x="1479" y="814"/>
                  </a:lnTo>
                  <a:lnTo>
                    <a:pt x="1486" y="808"/>
                  </a:lnTo>
                  <a:lnTo>
                    <a:pt x="1494" y="802"/>
                  </a:lnTo>
                  <a:lnTo>
                    <a:pt x="1494" y="802"/>
                  </a:lnTo>
                  <a:lnTo>
                    <a:pt x="1498" y="800"/>
                  </a:lnTo>
                  <a:lnTo>
                    <a:pt x="1504" y="800"/>
                  </a:lnTo>
                  <a:lnTo>
                    <a:pt x="1510" y="801"/>
                  </a:lnTo>
                  <a:lnTo>
                    <a:pt x="1510" y="801"/>
                  </a:lnTo>
                  <a:lnTo>
                    <a:pt x="1516" y="798"/>
                  </a:lnTo>
                  <a:lnTo>
                    <a:pt x="1523" y="795"/>
                  </a:lnTo>
                  <a:lnTo>
                    <a:pt x="1523" y="795"/>
                  </a:lnTo>
                  <a:lnTo>
                    <a:pt x="1528" y="794"/>
                  </a:lnTo>
                  <a:lnTo>
                    <a:pt x="1529" y="791"/>
                  </a:lnTo>
                  <a:lnTo>
                    <a:pt x="1529" y="791"/>
                  </a:lnTo>
                  <a:lnTo>
                    <a:pt x="1532" y="788"/>
                  </a:lnTo>
                  <a:lnTo>
                    <a:pt x="1534" y="786"/>
                  </a:lnTo>
                  <a:lnTo>
                    <a:pt x="1538" y="783"/>
                  </a:lnTo>
                  <a:lnTo>
                    <a:pt x="1538" y="783"/>
                  </a:lnTo>
                  <a:lnTo>
                    <a:pt x="1543" y="780"/>
                  </a:lnTo>
                  <a:lnTo>
                    <a:pt x="1546" y="779"/>
                  </a:lnTo>
                  <a:lnTo>
                    <a:pt x="1550" y="777"/>
                  </a:lnTo>
                  <a:lnTo>
                    <a:pt x="1550" y="777"/>
                  </a:lnTo>
                  <a:lnTo>
                    <a:pt x="1550" y="777"/>
                  </a:lnTo>
                  <a:lnTo>
                    <a:pt x="1550" y="774"/>
                  </a:lnTo>
                  <a:lnTo>
                    <a:pt x="1547" y="768"/>
                  </a:lnTo>
                  <a:lnTo>
                    <a:pt x="1547" y="768"/>
                  </a:lnTo>
                  <a:lnTo>
                    <a:pt x="1537" y="751"/>
                  </a:lnTo>
                  <a:lnTo>
                    <a:pt x="1537" y="751"/>
                  </a:lnTo>
                  <a:close/>
                  <a:moveTo>
                    <a:pt x="2114" y="177"/>
                  </a:moveTo>
                  <a:lnTo>
                    <a:pt x="2114" y="177"/>
                  </a:lnTo>
                  <a:lnTo>
                    <a:pt x="2108" y="176"/>
                  </a:lnTo>
                  <a:lnTo>
                    <a:pt x="2108" y="176"/>
                  </a:lnTo>
                  <a:lnTo>
                    <a:pt x="2099" y="176"/>
                  </a:lnTo>
                  <a:lnTo>
                    <a:pt x="2088" y="188"/>
                  </a:lnTo>
                  <a:lnTo>
                    <a:pt x="2088" y="188"/>
                  </a:lnTo>
                  <a:lnTo>
                    <a:pt x="2082" y="198"/>
                  </a:lnTo>
                  <a:lnTo>
                    <a:pt x="2082" y="198"/>
                  </a:lnTo>
                  <a:lnTo>
                    <a:pt x="2079" y="204"/>
                  </a:lnTo>
                  <a:lnTo>
                    <a:pt x="2077" y="209"/>
                  </a:lnTo>
                  <a:lnTo>
                    <a:pt x="2077" y="212"/>
                  </a:lnTo>
                  <a:lnTo>
                    <a:pt x="2077" y="212"/>
                  </a:lnTo>
                  <a:lnTo>
                    <a:pt x="2082" y="216"/>
                  </a:lnTo>
                  <a:lnTo>
                    <a:pt x="2085" y="217"/>
                  </a:lnTo>
                  <a:lnTo>
                    <a:pt x="2088" y="216"/>
                  </a:lnTo>
                  <a:lnTo>
                    <a:pt x="2088" y="216"/>
                  </a:lnTo>
                  <a:lnTo>
                    <a:pt x="2094" y="210"/>
                  </a:lnTo>
                  <a:lnTo>
                    <a:pt x="2097" y="206"/>
                  </a:lnTo>
                  <a:lnTo>
                    <a:pt x="2097" y="206"/>
                  </a:lnTo>
                  <a:lnTo>
                    <a:pt x="2098" y="203"/>
                  </a:lnTo>
                  <a:lnTo>
                    <a:pt x="2101" y="200"/>
                  </a:lnTo>
                  <a:lnTo>
                    <a:pt x="2101" y="200"/>
                  </a:lnTo>
                  <a:lnTo>
                    <a:pt x="2105" y="198"/>
                  </a:lnTo>
                  <a:lnTo>
                    <a:pt x="2107" y="198"/>
                  </a:lnTo>
                  <a:lnTo>
                    <a:pt x="2108" y="200"/>
                  </a:lnTo>
                  <a:lnTo>
                    <a:pt x="2108" y="200"/>
                  </a:lnTo>
                  <a:lnTo>
                    <a:pt x="2111" y="204"/>
                  </a:lnTo>
                  <a:lnTo>
                    <a:pt x="2113" y="206"/>
                  </a:lnTo>
                  <a:lnTo>
                    <a:pt x="2113" y="206"/>
                  </a:lnTo>
                  <a:lnTo>
                    <a:pt x="2116" y="207"/>
                  </a:lnTo>
                  <a:lnTo>
                    <a:pt x="2117" y="206"/>
                  </a:lnTo>
                  <a:lnTo>
                    <a:pt x="2119" y="203"/>
                  </a:lnTo>
                  <a:lnTo>
                    <a:pt x="2119" y="203"/>
                  </a:lnTo>
                  <a:lnTo>
                    <a:pt x="2120" y="197"/>
                  </a:lnTo>
                  <a:lnTo>
                    <a:pt x="2119" y="194"/>
                  </a:lnTo>
                  <a:lnTo>
                    <a:pt x="2117" y="186"/>
                  </a:lnTo>
                  <a:lnTo>
                    <a:pt x="2117" y="186"/>
                  </a:lnTo>
                  <a:lnTo>
                    <a:pt x="2117" y="182"/>
                  </a:lnTo>
                  <a:lnTo>
                    <a:pt x="2116" y="179"/>
                  </a:lnTo>
                  <a:lnTo>
                    <a:pt x="2114" y="177"/>
                  </a:lnTo>
                  <a:lnTo>
                    <a:pt x="2114" y="177"/>
                  </a:lnTo>
                  <a:close/>
                  <a:moveTo>
                    <a:pt x="2062" y="619"/>
                  </a:moveTo>
                  <a:lnTo>
                    <a:pt x="2062" y="619"/>
                  </a:lnTo>
                  <a:lnTo>
                    <a:pt x="2058" y="616"/>
                  </a:lnTo>
                  <a:lnTo>
                    <a:pt x="2054" y="614"/>
                  </a:lnTo>
                  <a:lnTo>
                    <a:pt x="2043" y="613"/>
                  </a:lnTo>
                  <a:lnTo>
                    <a:pt x="2031" y="614"/>
                  </a:lnTo>
                  <a:lnTo>
                    <a:pt x="2024" y="617"/>
                  </a:lnTo>
                  <a:lnTo>
                    <a:pt x="2024" y="617"/>
                  </a:lnTo>
                  <a:lnTo>
                    <a:pt x="2006" y="628"/>
                  </a:lnTo>
                  <a:lnTo>
                    <a:pt x="1996" y="634"/>
                  </a:lnTo>
                  <a:lnTo>
                    <a:pt x="1987" y="637"/>
                  </a:lnTo>
                  <a:lnTo>
                    <a:pt x="1987" y="637"/>
                  </a:lnTo>
                  <a:lnTo>
                    <a:pt x="1977" y="638"/>
                  </a:lnTo>
                  <a:lnTo>
                    <a:pt x="1959" y="637"/>
                  </a:lnTo>
                  <a:lnTo>
                    <a:pt x="1928" y="634"/>
                  </a:lnTo>
                  <a:lnTo>
                    <a:pt x="1928" y="634"/>
                  </a:lnTo>
                  <a:lnTo>
                    <a:pt x="1923" y="632"/>
                  </a:lnTo>
                  <a:lnTo>
                    <a:pt x="1919" y="629"/>
                  </a:lnTo>
                  <a:lnTo>
                    <a:pt x="1916" y="626"/>
                  </a:lnTo>
                  <a:lnTo>
                    <a:pt x="1914" y="622"/>
                  </a:lnTo>
                  <a:lnTo>
                    <a:pt x="1910" y="614"/>
                  </a:lnTo>
                  <a:lnTo>
                    <a:pt x="1904" y="606"/>
                  </a:lnTo>
                  <a:lnTo>
                    <a:pt x="1904" y="606"/>
                  </a:lnTo>
                  <a:lnTo>
                    <a:pt x="1895" y="594"/>
                  </a:lnTo>
                  <a:lnTo>
                    <a:pt x="1891" y="591"/>
                  </a:lnTo>
                  <a:lnTo>
                    <a:pt x="1885" y="589"/>
                  </a:lnTo>
                  <a:lnTo>
                    <a:pt x="1885" y="589"/>
                  </a:lnTo>
                  <a:lnTo>
                    <a:pt x="1883" y="591"/>
                  </a:lnTo>
                  <a:lnTo>
                    <a:pt x="1879" y="592"/>
                  </a:lnTo>
                  <a:lnTo>
                    <a:pt x="1871" y="598"/>
                  </a:lnTo>
                  <a:lnTo>
                    <a:pt x="1863" y="603"/>
                  </a:lnTo>
                  <a:lnTo>
                    <a:pt x="1858" y="606"/>
                  </a:lnTo>
                  <a:lnTo>
                    <a:pt x="1852" y="606"/>
                  </a:lnTo>
                  <a:lnTo>
                    <a:pt x="1852" y="606"/>
                  </a:lnTo>
                  <a:lnTo>
                    <a:pt x="1848" y="604"/>
                  </a:lnTo>
                  <a:lnTo>
                    <a:pt x="1843" y="603"/>
                  </a:lnTo>
                  <a:lnTo>
                    <a:pt x="1839" y="598"/>
                  </a:lnTo>
                  <a:lnTo>
                    <a:pt x="1836" y="595"/>
                  </a:lnTo>
                  <a:lnTo>
                    <a:pt x="1833" y="594"/>
                  </a:lnTo>
                  <a:lnTo>
                    <a:pt x="1833" y="594"/>
                  </a:lnTo>
                  <a:lnTo>
                    <a:pt x="1823" y="592"/>
                  </a:lnTo>
                  <a:lnTo>
                    <a:pt x="1823" y="592"/>
                  </a:lnTo>
                  <a:lnTo>
                    <a:pt x="1818" y="591"/>
                  </a:lnTo>
                  <a:lnTo>
                    <a:pt x="1815" y="589"/>
                  </a:lnTo>
                  <a:lnTo>
                    <a:pt x="1812" y="583"/>
                  </a:lnTo>
                  <a:lnTo>
                    <a:pt x="1811" y="580"/>
                  </a:lnTo>
                  <a:lnTo>
                    <a:pt x="1809" y="579"/>
                  </a:lnTo>
                  <a:lnTo>
                    <a:pt x="1808" y="579"/>
                  </a:lnTo>
                  <a:lnTo>
                    <a:pt x="1808" y="579"/>
                  </a:lnTo>
                  <a:lnTo>
                    <a:pt x="1802" y="583"/>
                  </a:lnTo>
                  <a:lnTo>
                    <a:pt x="1797" y="586"/>
                  </a:lnTo>
                  <a:lnTo>
                    <a:pt x="1791" y="588"/>
                  </a:lnTo>
                  <a:lnTo>
                    <a:pt x="1791" y="588"/>
                  </a:lnTo>
                  <a:lnTo>
                    <a:pt x="1783" y="591"/>
                  </a:lnTo>
                  <a:lnTo>
                    <a:pt x="1775" y="592"/>
                  </a:lnTo>
                  <a:lnTo>
                    <a:pt x="1775" y="592"/>
                  </a:lnTo>
                  <a:lnTo>
                    <a:pt x="1771" y="594"/>
                  </a:lnTo>
                  <a:lnTo>
                    <a:pt x="1763" y="597"/>
                  </a:lnTo>
                  <a:lnTo>
                    <a:pt x="1763" y="597"/>
                  </a:lnTo>
                  <a:lnTo>
                    <a:pt x="1756" y="598"/>
                  </a:lnTo>
                  <a:lnTo>
                    <a:pt x="1750" y="600"/>
                  </a:lnTo>
                  <a:lnTo>
                    <a:pt x="1744" y="600"/>
                  </a:lnTo>
                  <a:lnTo>
                    <a:pt x="1738" y="601"/>
                  </a:lnTo>
                  <a:lnTo>
                    <a:pt x="1738" y="601"/>
                  </a:lnTo>
                  <a:lnTo>
                    <a:pt x="1735" y="604"/>
                  </a:lnTo>
                  <a:lnTo>
                    <a:pt x="1731" y="607"/>
                  </a:lnTo>
                  <a:lnTo>
                    <a:pt x="1729" y="608"/>
                  </a:lnTo>
                  <a:lnTo>
                    <a:pt x="1728" y="607"/>
                  </a:lnTo>
                  <a:lnTo>
                    <a:pt x="1726" y="606"/>
                  </a:lnTo>
                  <a:lnTo>
                    <a:pt x="1726" y="606"/>
                  </a:lnTo>
                  <a:lnTo>
                    <a:pt x="1725" y="603"/>
                  </a:lnTo>
                  <a:lnTo>
                    <a:pt x="1723" y="603"/>
                  </a:lnTo>
                  <a:lnTo>
                    <a:pt x="1720" y="603"/>
                  </a:lnTo>
                  <a:lnTo>
                    <a:pt x="1720" y="603"/>
                  </a:lnTo>
                  <a:lnTo>
                    <a:pt x="1713" y="604"/>
                  </a:lnTo>
                  <a:lnTo>
                    <a:pt x="1713" y="604"/>
                  </a:lnTo>
                  <a:lnTo>
                    <a:pt x="1706" y="608"/>
                  </a:lnTo>
                  <a:lnTo>
                    <a:pt x="1700" y="611"/>
                  </a:lnTo>
                  <a:lnTo>
                    <a:pt x="1700" y="611"/>
                  </a:lnTo>
                  <a:lnTo>
                    <a:pt x="1695" y="611"/>
                  </a:lnTo>
                  <a:lnTo>
                    <a:pt x="1689" y="611"/>
                  </a:lnTo>
                  <a:lnTo>
                    <a:pt x="1689" y="611"/>
                  </a:lnTo>
                  <a:lnTo>
                    <a:pt x="1685" y="608"/>
                  </a:lnTo>
                  <a:lnTo>
                    <a:pt x="1682" y="606"/>
                  </a:lnTo>
                  <a:lnTo>
                    <a:pt x="1682" y="606"/>
                  </a:lnTo>
                  <a:lnTo>
                    <a:pt x="1679" y="600"/>
                  </a:lnTo>
                  <a:lnTo>
                    <a:pt x="1679" y="600"/>
                  </a:lnTo>
                  <a:lnTo>
                    <a:pt x="1675" y="597"/>
                  </a:lnTo>
                  <a:lnTo>
                    <a:pt x="1670" y="595"/>
                  </a:lnTo>
                  <a:lnTo>
                    <a:pt x="1666" y="597"/>
                  </a:lnTo>
                  <a:lnTo>
                    <a:pt x="1666" y="597"/>
                  </a:lnTo>
                  <a:lnTo>
                    <a:pt x="1663" y="600"/>
                  </a:lnTo>
                  <a:lnTo>
                    <a:pt x="1660" y="603"/>
                  </a:lnTo>
                  <a:lnTo>
                    <a:pt x="1658" y="607"/>
                  </a:lnTo>
                  <a:lnTo>
                    <a:pt x="1658" y="610"/>
                  </a:lnTo>
                  <a:lnTo>
                    <a:pt x="1658" y="610"/>
                  </a:lnTo>
                  <a:lnTo>
                    <a:pt x="1657" y="626"/>
                  </a:lnTo>
                  <a:lnTo>
                    <a:pt x="1649" y="634"/>
                  </a:lnTo>
                  <a:lnTo>
                    <a:pt x="1624" y="641"/>
                  </a:lnTo>
                  <a:lnTo>
                    <a:pt x="1620" y="648"/>
                  </a:lnTo>
                  <a:lnTo>
                    <a:pt x="1620" y="648"/>
                  </a:lnTo>
                  <a:lnTo>
                    <a:pt x="1620" y="650"/>
                  </a:lnTo>
                  <a:lnTo>
                    <a:pt x="1620" y="651"/>
                  </a:lnTo>
                  <a:lnTo>
                    <a:pt x="1617" y="651"/>
                  </a:lnTo>
                  <a:lnTo>
                    <a:pt x="1617" y="651"/>
                  </a:lnTo>
                  <a:lnTo>
                    <a:pt x="1606" y="656"/>
                  </a:lnTo>
                  <a:lnTo>
                    <a:pt x="1600" y="659"/>
                  </a:lnTo>
                  <a:lnTo>
                    <a:pt x="1599" y="660"/>
                  </a:lnTo>
                  <a:lnTo>
                    <a:pt x="1598" y="662"/>
                  </a:lnTo>
                  <a:lnTo>
                    <a:pt x="1598" y="662"/>
                  </a:lnTo>
                  <a:lnTo>
                    <a:pt x="1598" y="665"/>
                  </a:lnTo>
                  <a:lnTo>
                    <a:pt x="1600" y="668"/>
                  </a:lnTo>
                  <a:lnTo>
                    <a:pt x="1605" y="671"/>
                  </a:lnTo>
                  <a:lnTo>
                    <a:pt x="1609" y="675"/>
                  </a:lnTo>
                  <a:lnTo>
                    <a:pt x="1611" y="678"/>
                  </a:lnTo>
                  <a:lnTo>
                    <a:pt x="1611" y="681"/>
                  </a:lnTo>
                  <a:lnTo>
                    <a:pt x="1611" y="681"/>
                  </a:lnTo>
                  <a:lnTo>
                    <a:pt x="1611" y="687"/>
                  </a:lnTo>
                  <a:lnTo>
                    <a:pt x="1611" y="688"/>
                  </a:lnTo>
                  <a:lnTo>
                    <a:pt x="1611" y="690"/>
                  </a:lnTo>
                  <a:lnTo>
                    <a:pt x="1609" y="690"/>
                  </a:lnTo>
                  <a:lnTo>
                    <a:pt x="1609" y="690"/>
                  </a:lnTo>
                  <a:lnTo>
                    <a:pt x="1608" y="691"/>
                  </a:lnTo>
                  <a:lnTo>
                    <a:pt x="1606" y="693"/>
                  </a:lnTo>
                  <a:lnTo>
                    <a:pt x="1605" y="694"/>
                  </a:lnTo>
                  <a:lnTo>
                    <a:pt x="1602" y="694"/>
                  </a:lnTo>
                  <a:lnTo>
                    <a:pt x="1602" y="694"/>
                  </a:lnTo>
                  <a:lnTo>
                    <a:pt x="1598" y="693"/>
                  </a:lnTo>
                  <a:lnTo>
                    <a:pt x="1596" y="690"/>
                  </a:lnTo>
                  <a:lnTo>
                    <a:pt x="1593" y="685"/>
                  </a:lnTo>
                  <a:lnTo>
                    <a:pt x="1593" y="685"/>
                  </a:lnTo>
                  <a:lnTo>
                    <a:pt x="1593" y="680"/>
                  </a:lnTo>
                  <a:lnTo>
                    <a:pt x="1592" y="678"/>
                  </a:lnTo>
                  <a:lnTo>
                    <a:pt x="1590" y="675"/>
                  </a:lnTo>
                  <a:lnTo>
                    <a:pt x="1590" y="675"/>
                  </a:lnTo>
                  <a:lnTo>
                    <a:pt x="1586" y="669"/>
                  </a:lnTo>
                  <a:lnTo>
                    <a:pt x="1583" y="663"/>
                  </a:lnTo>
                  <a:lnTo>
                    <a:pt x="1583" y="663"/>
                  </a:lnTo>
                  <a:lnTo>
                    <a:pt x="1581" y="657"/>
                  </a:lnTo>
                  <a:lnTo>
                    <a:pt x="1581" y="657"/>
                  </a:lnTo>
                  <a:lnTo>
                    <a:pt x="1580" y="657"/>
                  </a:lnTo>
                  <a:lnTo>
                    <a:pt x="1577" y="657"/>
                  </a:lnTo>
                  <a:lnTo>
                    <a:pt x="1572" y="663"/>
                  </a:lnTo>
                  <a:lnTo>
                    <a:pt x="1572" y="663"/>
                  </a:lnTo>
                  <a:lnTo>
                    <a:pt x="1571" y="666"/>
                  </a:lnTo>
                  <a:lnTo>
                    <a:pt x="1571" y="668"/>
                  </a:lnTo>
                  <a:lnTo>
                    <a:pt x="1571" y="669"/>
                  </a:lnTo>
                  <a:lnTo>
                    <a:pt x="1569" y="671"/>
                  </a:lnTo>
                  <a:lnTo>
                    <a:pt x="1569" y="671"/>
                  </a:lnTo>
                  <a:lnTo>
                    <a:pt x="1566" y="671"/>
                  </a:lnTo>
                  <a:lnTo>
                    <a:pt x="1563" y="669"/>
                  </a:lnTo>
                  <a:lnTo>
                    <a:pt x="1558" y="668"/>
                  </a:lnTo>
                  <a:lnTo>
                    <a:pt x="1558" y="668"/>
                  </a:lnTo>
                  <a:lnTo>
                    <a:pt x="1558" y="666"/>
                  </a:lnTo>
                  <a:lnTo>
                    <a:pt x="1558" y="663"/>
                  </a:lnTo>
                  <a:lnTo>
                    <a:pt x="1556" y="662"/>
                  </a:lnTo>
                  <a:lnTo>
                    <a:pt x="1553" y="660"/>
                  </a:lnTo>
                  <a:lnTo>
                    <a:pt x="1553" y="660"/>
                  </a:lnTo>
                  <a:lnTo>
                    <a:pt x="1546" y="662"/>
                  </a:lnTo>
                  <a:lnTo>
                    <a:pt x="1540" y="663"/>
                  </a:lnTo>
                  <a:lnTo>
                    <a:pt x="1540" y="663"/>
                  </a:lnTo>
                  <a:lnTo>
                    <a:pt x="1538" y="665"/>
                  </a:lnTo>
                  <a:lnTo>
                    <a:pt x="1535" y="663"/>
                  </a:lnTo>
                  <a:lnTo>
                    <a:pt x="1534" y="665"/>
                  </a:lnTo>
                  <a:lnTo>
                    <a:pt x="1532" y="668"/>
                  </a:lnTo>
                  <a:lnTo>
                    <a:pt x="1532" y="668"/>
                  </a:lnTo>
                  <a:lnTo>
                    <a:pt x="1529" y="672"/>
                  </a:lnTo>
                  <a:lnTo>
                    <a:pt x="1529" y="675"/>
                  </a:lnTo>
                  <a:lnTo>
                    <a:pt x="1529" y="677"/>
                  </a:lnTo>
                  <a:lnTo>
                    <a:pt x="1529" y="677"/>
                  </a:lnTo>
                  <a:lnTo>
                    <a:pt x="1532" y="681"/>
                  </a:lnTo>
                  <a:lnTo>
                    <a:pt x="1537" y="684"/>
                  </a:lnTo>
                  <a:lnTo>
                    <a:pt x="1537" y="684"/>
                  </a:lnTo>
                  <a:lnTo>
                    <a:pt x="1541" y="685"/>
                  </a:lnTo>
                  <a:lnTo>
                    <a:pt x="1546" y="687"/>
                  </a:lnTo>
                  <a:lnTo>
                    <a:pt x="1546" y="687"/>
                  </a:lnTo>
                  <a:lnTo>
                    <a:pt x="1552" y="688"/>
                  </a:lnTo>
                  <a:lnTo>
                    <a:pt x="1558" y="690"/>
                  </a:lnTo>
                  <a:lnTo>
                    <a:pt x="1558" y="690"/>
                  </a:lnTo>
                  <a:lnTo>
                    <a:pt x="1562" y="691"/>
                  </a:lnTo>
                  <a:lnTo>
                    <a:pt x="1563" y="691"/>
                  </a:lnTo>
                  <a:lnTo>
                    <a:pt x="1563" y="693"/>
                  </a:lnTo>
                  <a:lnTo>
                    <a:pt x="1563" y="693"/>
                  </a:lnTo>
                  <a:lnTo>
                    <a:pt x="1563" y="694"/>
                  </a:lnTo>
                  <a:lnTo>
                    <a:pt x="1562" y="696"/>
                  </a:lnTo>
                  <a:lnTo>
                    <a:pt x="1562" y="696"/>
                  </a:lnTo>
                  <a:lnTo>
                    <a:pt x="1559" y="697"/>
                  </a:lnTo>
                  <a:lnTo>
                    <a:pt x="1553" y="699"/>
                  </a:lnTo>
                  <a:lnTo>
                    <a:pt x="1541" y="699"/>
                  </a:lnTo>
                  <a:lnTo>
                    <a:pt x="1541" y="699"/>
                  </a:lnTo>
                  <a:lnTo>
                    <a:pt x="1535" y="697"/>
                  </a:lnTo>
                  <a:lnTo>
                    <a:pt x="1526" y="699"/>
                  </a:lnTo>
                  <a:lnTo>
                    <a:pt x="1526" y="699"/>
                  </a:lnTo>
                  <a:lnTo>
                    <a:pt x="1521" y="702"/>
                  </a:lnTo>
                  <a:lnTo>
                    <a:pt x="1516" y="706"/>
                  </a:lnTo>
                  <a:lnTo>
                    <a:pt x="1515" y="709"/>
                  </a:lnTo>
                  <a:lnTo>
                    <a:pt x="1516" y="712"/>
                  </a:lnTo>
                  <a:lnTo>
                    <a:pt x="1518" y="715"/>
                  </a:lnTo>
                  <a:lnTo>
                    <a:pt x="1521" y="720"/>
                  </a:lnTo>
                  <a:lnTo>
                    <a:pt x="1521" y="720"/>
                  </a:lnTo>
                  <a:lnTo>
                    <a:pt x="1531" y="724"/>
                  </a:lnTo>
                  <a:lnTo>
                    <a:pt x="1541" y="728"/>
                  </a:lnTo>
                  <a:lnTo>
                    <a:pt x="1541" y="728"/>
                  </a:lnTo>
                  <a:lnTo>
                    <a:pt x="1546" y="730"/>
                  </a:lnTo>
                  <a:lnTo>
                    <a:pt x="1549" y="733"/>
                  </a:lnTo>
                  <a:lnTo>
                    <a:pt x="1552" y="737"/>
                  </a:lnTo>
                  <a:lnTo>
                    <a:pt x="1552" y="737"/>
                  </a:lnTo>
                  <a:lnTo>
                    <a:pt x="1553" y="742"/>
                  </a:lnTo>
                  <a:lnTo>
                    <a:pt x="1553" y="745"/>
                  </a:lnTo>
                  <a:lnTo>
                    <a:pt x="1553" y="751"/>
                  </a:lnTo>
                  <a:lnTo>
                    <a:pt x="1553" y="751"/>
                  </a:lnTo>
                  <a:lnTo>
                    <a:pt x="1555" y="755"/>
                  </a:lnTo>
                  <a:lnTo>
                    <a:pt x="1556" y="758"/>
                  </a:lnTo>
                  <a:lnTo>
                    <a:pt x="1556" y="758"/>
                  </a:lnTo>
                  <a:lnTo>
                    <a:pt x="1552" y="764"/>
                  </a:lnTo>
                  <a:lnTo>
                    <a:pt x="1550" y="768"/>
                  </a:lnTo>
                  <a:lnTo>
                    <a:pt x="1550" y="770"/>
                  </a:lnTo>
                  <a:lnTo>
                    <a:pt x="1552" y="773"/>
                  </a:lnTo>
                  <a:lnTo>
                    <a:pt x="1552" y="773"/>
                  </a:lnTo>
                  <a:lnTo>
                    <a:pt x="1555" y="776"/>
                  </a:lnTo>
                  <a:lnTo>
                    <a:pt x="1560" y="777"/>
                  </a:lnTo>
                  <a:lnTo>
                    <a:pt x="1565" y="779"/>
                  </a:lnTo>
                  <a:lnTo>
                    <a:pt x="1571" y="777"/>
                  </a:lnTo>
                  <a:lnTo>
                    <a:pt x="1571" y="777"/>
                  </a:lnTo>
                  <a:lnTo>
                    <a:pt x="1584" y="771"/>
                  </a:lnTo>
                  <a:lnTo>
                    <a:pt x="1584" y="771"/>
                  </a:lnTo>
                  <a:lnTo>
                    <a:pt x="1592" y="770"/>
                  </a:lnTo>
                  <a:lnTo>
                    <a:pt x="1595" y="770"/>
                  </a:lnTo>
                  <a:lnTo>
                    <a:pt x="1598" y="768"/>
                  </a:lnTo>
                  <a:lnTo>
                    <a:pt x="1598" y="768"/>
                  </a:lnTo>
                  <a:lnTo>
                    <a:pt x="1609" y="763"/>
                  </a:lnTo>
                  <a:lnTo>
                    <a:pt x="1614" y="760"/>
                  </a:lnTo>
                  <a:lnTo>
                    <a:pt x="1617" y="757"/>
                  </a:lnTo>
                  <a:lnTo>
                    <a:pt x="1617" y="757"/>
                  </a:lnTo>
                  <a:lnTo>
                    <a:pt x="1626" y="746"/>
                  </a:lnTo>
                  <a:lnTo>
                    <a:pt x="1629" y="742"/>
                  </a:lnTo>
                  <a:lnTo>
                    <a:pt x="1629" y="742"/>
                  </a:lnTo>
                  <a:lnTo>
                    <a:pt x="1630" y="739"/>
                  </a:lnTo>
                  <a:lnTo>
                    <a:pt x="1633" y="739"/>
                  </a:lnTo>
                  <a:lnTo>
                    <a:pt x="1633" y="739"/>
                  </a:lnTo>
                  <a:lnTo>
                    <a:pt x="1640" y="737"/>
                  </a:lnTo>
                  <a:lnTo>
                    <a:pt x="1640" y="737"/>
                  </a:lnTo>
                  <a:lnTo>
                    <a:pt x="1642" y="737"/>
                  </a:lnTo>
                  <a:lnTo>
                    <a:pt x="1643" y="739"/>
                  </a:lnTo>
                  <a:lnTo>
                    <a:pt x="1646" y="740"/>
                  </a:lnTo>
                  <a:lnTo>
                    <a:pt x="1652" y="740"/>
                  </a:lnTo>
                  <a:lnTo>
                    <a:pt x="1652" y="740"/>
                  </a:lnTo>
                  <a:lnTo>
                    <a:pt x="1658" y="740"/>
                  </a:lnTo>
                  <a:lnTo>
                    <a:pt x="1663" y="740"/>
                  </a:lnTo>
                  <a:lnTo>
                    <a:pt x="1666" y="739"/>
                  </a:lnTo>
                  <a:lnTo>
                    <a:pt x="1666" y="739"/>
                  </a:lnTo>
                  <a:lnTo>
                    <a:pt x="1670" y="736"/>
                  </a:lnTo>
                  <a:lnTo>
                    <a:pt x="1675" y="733"/>
                  </a:lnTo>
                  <a:lnTo>
                    <a:pt x="1677" y="728"/>
                  </a:lnTo>
                  <a:lnTo>
                    <a:pt x="1677" y="721"/>
                  </a:lnTo>
                  <a:lnTo>
                    <a:pt x="1677" y="721"/>
                  </a:lnTo>
                  <a:lnTo>
                    <a:pt x="1685" y="718"/>
                  </a:lnTo>
                  <a:lnTo>
                    <a:pt x="1685" y="718"/>
                  </a:lnTo>
                  <a:lnTo>
                    <a:pt x="1688" y="718"/>
                  </a:lnTo>
                  <a:lnTo>
                    <a:pt x="1689" y="718"/>
                  </a:lnTo>
                  <a:lnTo>
                    <a:pt x="1692" y="718"/>
                  </a:lnTo>
                  <a:lnTo>
                    <a:pt x="1692" y="718"/>
                  </a:lnTo>
                  <a:lnTo>
                    <a:pt x="1697" y="717"/>
                  </a:lnTo>
                  <a:lnTo>
                    <a:pt x="1704" y="715"/>
                  </a:lnTo>
                  <a:lnTo>
                    <a:pt x="1704" y="715"/>
                  </a:lnTo>
                  <a:lnTo>
                    <a:pt x="1722" y="714"/>
                  </a:lnTo>
                  <a:lnTo>
                    <a:pt x="1722" y="714"/>
                  </a:lnTo>
                  <a:lnTo>
                    <a:pt x="1738" y="714"/>
                  </a:lnTo>
                  <a:lnTo>
                    <a:pt x="1738" y="714"/>
                  </a:lnTo>
                  <a:lnTo>
                    <a:pt x="1752" y="714"/>
                  </a:lnTo>
                  <a:lnTo>
                    <a:pt x="1752" y="714"/>
                  </a:lnTo>
                  <a:lnTo>
                    <a:pt x="1756" y="712"/>
                  </a:lnTo>
                  <a:lnTo>
                    <a:pt x="1757" y="712"/>
                  </a:lnTo>
                  <a:lnTo>
                    <a:pt x="1759" y="711"/>
                  </a:lnTo>
                  <a:lnTo>
                    <a:pt x="1759" y="711"/>
                  </a:lnTo>
                  <a:lnTo>
                    <a:pt x="1760" y="708"/>
                  </a:lnTo>
                  <a:lnTo>
                    <a:pt x="1762" y="703"/>
                  </a:lnTo>
                  <a:lnTo>
                    <a:pt x="1762" y="703"/>
                  </a:lnTo>
                  <a:lnTo>
                    <a:pt x="1766" y="705"/>
                  </a:lnTo>
                  <a:lnTo>
                    <a:pt x="1769" y="708"/>
                  </a:lnTo>
                  <a:lnTo>
                    <a:pt x="1774" y="708"/>
                  </a:lnTo>
                  <a:lnTo>
                    <a:pt x="1774" y="708"/>
                  </a:lnTo>
                  <a:lnTo>
                    <a:pt x="1778" y="705"/>
                  </a:lnTo>
                  <a:lnTo>
                    <a:pt x="1781" y="702"/>
                  </a:lnTo>
                  <a:lnTo>
                    <a:pt x="1786" y="699"/>
                  </a:lnTo>
                  <a:lnTo>
                    <a:pt x="1789" y="697"/>
                  </a:lnTo>
                  <a:lnTo>
                    <a:pt x="1789" y="697"/>
                  </a:lnTo>
                  <a:lnTo>
                    <a:pt x="1794" y="697"/>
                  </a:lnTo>
                  <a:lnTo>
                    <a:pt x="1797" y="696"/>
                  </a:lnTo>
                  <a:lnTo>
                    <a:pt x="1806" y="693"/>
                  </a:lnTo>
                  <a:lnTo>
                    <a:pt x="1806" y="693"/>
                  </a:lnTo>
                  <a:lnTo>
                    <a:pt x="1820" y="688"/>
                  </a:lnTo>
                  <a:lnTo>
                    <a:pt x="1826" y="685"/>
                  </a:lnTo>
                  <a:lnTo>
                    <a:pt x="1833" y="685"/>
                  </a:lnTo>
                  <a:lnTo>
                    <a:pt x="1833" y="685"/>
                  </a:lnTo>
                  <a:lnTo>
                    <a:pt x="1839" y="687"/>
                  </a:lnTo>
                  <a:lnTo>
                    <a:pt x="1848" y="690"/>
                  </a:lnTo>
                  <a:lnTo>
                    <a:pt x="1855" y="693"/>
                  </a:lnTo>
                  <a:lnTo>
                    <a:pt x="1863" y="696"/>
                  </a:lnTo>
                  <a:lnTo>
                    <a:pt x="1863" y="696"/>
                  </a:lnTo>
                  <a:lnTo>
                    <a:pt x="1871" y="694"/>
                  </a:lnTo>
                  <a:lnTo>
                    <a:pt x="1889" y="693"/>
                  </a:lnTo>
                  <a:lnTo>
                    <a:pt x="1911" y="691"/>
                  </a:lnTo>
                  <a:lnTo>
                    <a:pt x="1935" y="690"/>
                  </a:lnTo>
                  <a:lnTo>
                    <a:pt x="1935" y="690"/>
                  </a:lnTo>
                  <a:lnTo>
                    <a:pt x="1959" y="691"/>
                  </a:lnTo>
                  <a:lnTo>
                    <a:pt x="1981" y="694"/>
                  </a:lnTo>
                  <a:lnTo>
                    <a:pt x="2006" y="699"/>
                  </a:lnTo>
                  <a:lnTo>
                    <a:pt x="2006" y="699"/>
                  </a:lnTo>
                  <a:lnTo>
                    <a:pt x="2030" y="699"/>
                  </a:lnTo>
                  <a:lnTo>
                    <a:pt x="2042" y="699"/>
                  </a:lnTo>
                  <a:lnTo>
                    <a:pt x="2048" y="697"/>
                  </a:lnTo>
                  <a:lnTo>
                    <a:pt x="2048" y="697"/>
                  </a:lnTo>
                  <a:lnTo>
                    <a:pt x="2055" y="694"/>
                  </a:lnTo>
                  <a:lnTo>
                    <a:pt x="2064" y="685"/>
                  </a:lnTo>
                  <a:lnTo>
                    <a:pt x="2073" y="675"/>
                  </a:lnTo>
                  <a:lnTo>
                    <a:pt x="2080" y="663"/>
                  </a:lnTo>
                  <a:lnTo>
                    <a:pt x="2080" y="663"/>
                  </a:lnTo>
                  <a:lnTo>
                    <a:pt x="2082" y="657"/>
                  </a:lnTo>
                  <a:lnTo>
                    <a:pt x="2082" y="651"/>
                  </a:lnTo>
                  <a:lnTo>
                    <a:pt x="2080" y="644"/>
                  </a:lnTo>
                  <a:lnTo>
                    <a:pt x="2077" y="638"/>
                  </a:lnTo>
                  <a:lnTo>
                    <a:pt x="2070" y="626"/>
                  </a:lnTo>
                  <a:lnTo>
                    <a:pt x="2062" y="619"/>
                  </a:lnTo>
                  <a:lnTo>
                    <a:pt x="2062" y="619"/>
                  </a:lnTo>
                  <a:close/>
                  <a:moveTo>
                    <a:pt x="1295" y="875"/>
                  </a:moveTo>
                  <a:lnTo>
                    <a:pt x="1300" y="884"/>
                  </a:lnTo>
                  <a:lnTo>
                    <a:pt x="1312" y="880"/>
                  </a:lnTo>
                  <a:lnTo>
                    <a:pt x="1312" y="880"/>
                  </a:lnTo>
                  <a:lnTo>
                    <a:pt x="1315" y="880"/>
                  </a:lnTo>
                  <a:lnTo>
                    <a:pt x="1316" y="878"/>
                  </a:lnTo>
                  <a:lnTo>
                    <a:pt x="1319" y="877"/>
                  </a:lnTo>
                  <a:lnTo>
                    <a:pt x="1319" y="877"/>
                  </a:lnTo>
                  <a:lnTo>
                    <a:pt x="1322" y="871"/>
                  </a:lnTo>
                  <a:lnTo>
                    <a:pt x="1322" y="868"/>
                  </a:lnTo>
                  <a:lnTo>
                    <a:pt x="1322" y="860"/>
                  </a:lnTo>
                  <a:lnTo>
                    <a:pt x="1322" y="860"/>
                  </a:lnTo>
                  <a:lnTo>
                    <a:pt x="1325" y="857"/>
                  </a:lnTo>
                  <a:lnTo>
                    <a:pt x="1328" y="856"/>
                  </a:lnTo>
                  <a:lnTo>
                    <a:pt x="1329" y="853"/>
                  </a:lnTo>
                  <a:lnTo>
                    <a:pt x="1327" y="851"/>
                  </a:lnTo>
                  <a:lnTo>
                    <a:pt x="1327" y="851"/>
                  </a:lnTo>
                  <a:lnTo>
                    <a:pt x="1316" y="842"/>
                  </a:lnTo>
                  <a:lnTo>
                    <a:pt x="1312" y="837"/>
                  </a:lnTo>
                  <a:lnTo>
                    <a:pt x="1303" y="835"/>
                  </a:lnTo>
                  <a:lnTo>
                    <a:pt x="1303" y="835"/>
                  </a:lnTo>
                  <a:lnTo>
                    <a:pt x="1300" y="838"/>
                  </a:lnTo>
                  <a:lnTo>
                    <a:pt x="1298" y="841"/>
                  </a:lnTo>
                  <a:lnTo>
                    <a:pt x="1298" y="842"/>
                  </a:lnTo>
                  <a:lnTo>
                    <a:pt x="1298" y="842"/>
                  </a:lnTo>
                  <a:lnTo>
                    <a:pt x="1303" y="853"/>
                  </a:lnTo>
                  <a:lnTo>
                    <a:pt x="1303" y="862"/>
                  </a:lnTo>
                  <a:lnTo>
                    <a:pt x="1295" y="875"/>
                  </a:lnTo>
                  <a:close/>
                  <a:moveTo>
                    <a:pt x="1301" y="995"/>
                  </a:moveTo>
                  <a:lnTo>
                    <a:pt x="1301" y="995"/>
                  </a:lnTo>
                  <a:lnTo>
                    <a:pt x="1307" y="995"/>
                  </a:lnTo>
                  <a:lnTo>
                    <a:pt x="1312" y="994"/>
                  </a:lnTo>
                  <a:lnTo>
                    <a:pt x="1315" y="991"/>
                  </a:lnTo>
                  <a:lnTo>
                    <a:pt x="1321" y="982"/>
                  </a:lnTo>
                  <a:lnTo>
                    <a:pt x="1321" y="982"/>
                  </a:lnTo>
                  <a:lnTo>
                    <a:pt x="1321" y="979"/>
                  </a:lnTo>
                  <a:lnTo>
                    <a:pt x="1319" y="974"/>
                  </a:lnTo>
                  <a:lnTo>
                    <a:pt x="1319" y="974"/>
                  </a:lnTo>
                  <a:lnTo>
                    <a:pt x="1310" y="959"/>
                  </a:lnTo>
                  <a:lnTo>
                    <a:pt x="1306" y="954"/>
                  </a:lnTo>
                  <a:lnTo>
                    <a:pt x="1297" y="962"/>
                  </a:lnTo>
                  <a:lnTo>
                    <a:pt x="1301" y="985"/>
                  </a:lnTo>
                  <a:lnTo>
                    <a:pt x="1301" y="985"/>
                  </a:lnTo>
                  <a:lnTo>
                    <a:pt x="1298" y="989"/>
                  </a:lnTo>
                  <a:lnTo>
                    <a:pt x="1298" y="994"/>
                  </a:lnTo>
                  <a:lnTo>
                    <a:pt x="1298" y="995"/>
                  </a:lnTo>
                  <a:lnTo>
                    <a:pt x="1301" y="995"/>
                  </a:lnTo>
                  <a:lnTo>
                    <a:pt x="1301" y="995"/>
                  </a:lnTo>
                  <a:close/>
                  <a:moveTo>
                    <a:pt x="2259" y="120"/>
                  </a:moveTo>
                  <a:lnTo>
                    <a:pt x="2259" y="120"/>
                  </a:lnTo>
                  <a:lnTo>
                    <a:pt x="2258" y="126"/>
                  </a:lnTo>
                  <a:lnTo>
                    <a:pt x="2256" y="132"/>
                  </a:lnTo>
                  <a:lnTo>
                    <a:pt x="2258" y="136"/>
                  </a:lnTo>
                  <a:lnTo>
                    <a:pt x="2258" y="136"/>
                  </a:lnTo>
                  <a:lnTo>
                    <a:pt x="2259" y="139"/>
                  </a:lnTo>
                  <a:lnTo>
                    <a:pt x="2261" y="140"/>
                  </a:lnTo>
                  <a:lnTo>
                    <a:pt x="2268" y="143"/>
                  </a:lnTo>
                  <a:lnTo>
                    <a:pt x="2276" y="146"/>
                  </a:lnTo>
                  <a:lnTo>
                    <a:pt x="2280" y="130"/>
                  </a:lnTo>
                  <a:lnTo>
                    <a:pt x="2259" y="120"/>
                  </a:lnTo>
                  <a:close/>
                  <a:moveTo>
                    <a:pt x="2248" y="192"/>
                  </a:moveTo>
                  <a:lnTo>
                    <a:pt x="2248" y="192"/>
                  </a:lnTo>
                  <a:lnTo>
                    <a:pt x="2243" y="197"/>
                  </a:lnTo>
                  <a:lnTo>
                    <a:pt x="2242" y="200"/>
                  </a:lnTo>
                  <a:lnTo>
                    <a:pt x="2237" y="201"/>
                  </a:lnTo>
                  <a:lnTo>
                    <a:pt x="2228" y="201"/>
                  </a:lnTo>
                  <a:lnTo>
                    <a:pt x="2228" y="201"/>
                  </a:lnTo>
                  <a:lnTo>
                    <a:pt x="2219" y="200"/>
                  </a:lnTo>
                  <a:lnTo>
                    <a:pt x="2215" y="201"/>
                  </a:lnTo>
                  <a:lnTo>
                    <a:pt x="2215" y="201"/>
                  </a:lnTo>
                  <a:lnTo>
                    <a:pt x="2215" y="203"/>
                  </a:lnTo>
                  <a:lnTo>
                    <a:pt x="2203" y="207"/>
                  </a:lnTo>
                  <a:lnTo>
                    <a:pt x="2203" y="207"/>
                  </a:lnTo>
                  <a:lnTo>
                    <a:pt x="2197" y="210"/>
                  </a:lnTo>
                  <a:lnTo>
                    <a:pt x="2197" y="210"/>
                  </a:lnTo>
                  <a:lnTo>
                    <a:pt x="2197" y="212"/>
                  </a:lnTo>
                  <a:lnTo>
                    <a:pt x="2199" y="213"/>
                  </a:lnTo>
                  <a:lnTo>
                    <a:pt x="2199" y="215"/>
                  </a:lnTo>
                  <a:lnTo>
                    <a:pt x="2197" y="217"/>
                  </a:lnTo>
                  <a:lnTo>
                    <a:pt x="2197" y="217"/>
                  </a:lnTo>
                  <a:lnTo>
                    <a:pt x="2196" y="222"/>
                  </a:lnTo>
                  <a:lnTo>
                    <a:pt x="2197" y="225"/>
                  </a:lnTo>
                  <a:lnTo>
                    <a:pt x="2199" y="228"/>
                  </a:lnTo>
                  <a:lnTo>
                    <a:pt x="2199" y="228"/>
                  </a:lnTo>
                  <a:lnTo>
                    <a:pt x="2203" y="232"/>
                  </a:lnTo>
                  <a:lnTo>
                    <a:pt x="2209" y="234"/>
                  </a:lnTo>
                  <a:lnTo>
                    <a:pt x="2215" y="237"/>
                  </a:lnTo>
                  <a:lnTo>
                    <a:pt x="2215" y="237"/>
                  </a:lnTo>
                  <a:lnTo>
                    <a:pt x="2228" y="240"/>
                  </a:lnTo>
                  <a:lnTo>
                    <a:pt x="2236" y="241"/>
                  </a:lnTo>
                  <a:lnTo>
                    <a:pt x="2243" y="241"/>
                  </a:lnTo>
                  <a:lnTo>
                    <a:pt x="2243" y="241"/>
                  </a:lnTo>
                  <a:lnTo>
                    <a:pt x="2249" y="238"/>
                  </a:lnTo>
                  <a:lnTo>
                    <a:pt x="2253" y="235"/>
                  </a:lnTo>
                  <a:lnTo>
                    <a:pt x="2262" y="225"/>
                  </a:lnTo>
                  <a:lnTo>
                    <a:pt x="2262" y="225"/>
                  </a:lnTo>
                  <a:lnTo>
                    <a:pt x="2264" y="220"/>
                  </a:lnTo>
                  <a:lnTo>
                    <a:pt x="2265" y="216"/>
                  </a:lnTo>
                  <a:lnTo>
                    <a:pt x="2265" y="207"/>
                  </a:lnTo>
                  <a:lnTo>
                    <a:pt x="2264" y="197"/>
                  </a:lnTo>
                  <a:lnTo>
                    <a:pt x="2262" y="189"/>
                  </a:lnTo>
                  <a:lnTo>
                    <a:pt x="2262" y="189"/>
                  </a:lnTo>
                  <a:lnTo>
                    <a:pt x="2259" y="185"/>
                  </a:lnTo>
                  <a:lnTo>
                    <a:pt x="2258" y="185"/>
                  </a:lnTo>
                  <a:lnTo>
                    <a:pt x="2255" y="185"/>
                  </a:lnTo>
                  <a:lnTo>
                    <a:pt x="2252" y="188"/>
                  </a:lnTo>
                  <a:lnTo>
                    <a:pt x="2248" y="192"/>
                  </a:lnTo>
                  <a:lnTo>
                    <a:pt x="2248" y="192"/>
                  </a:lnTo>
                  <a:close/>
                  <a:moveTo>
                    <a:pt x="1008" y="948"/>
                  </a:moveTo>
                  <a:lnTo>
                    <a:pt x="1008" y="948"/>
                  </a:lnTo>
                  <a:lnTo>
                    <a:pt x="1014" y="952"/>
                  </a:lnTo>
                  <a:lnTo>
                    <a:pt x="1020" y="957"/>
                  </a:lnTo>
                  <a:lnTo>
                    <a:pt x="1020" y="957"/>
                  </a:lnTo>
                  <a:lnTo>
                    <a:pt x="1024" y="959"/>
                  </a:lnTo>
                  <a:lnTo>
                    <a:pt x="1032" y="962"/>
                  </a:lnTo>
                  <a:lnTo>
                    <a:pt x="1042" y="967"/>
                  </a:lnTo>
                  <a:lnTo>
                    <a:pt x="1042" y="967"/>
                  </a:lnTo>
                  <a:lnTo>
                    <a:pt x="1047" y="967"/>
                  </a:lnTo>
                  <a:lnTo>
                    <a:pt x="1050" y="965"/>
                  </a:lnTo>
                  <a:lnTo>
                    <a:pt x="1054" y="964"/>
                  </a:lnTo>
                  <a:lnTo>
                    <a:pt x="1057" y="962"/>
                  </a:lnTo>
                  <a:lnTo>
                    <a:pt x="1057" y="962"/>
                  </a:lnTo>
                  <a:lnTo>
                    <a:pt x="1067" y="961"/>
                  </a:lnTo>
                  <a:lnTo>
                    <a:pt x="1067" y="961"/>
                  </a:lnTo>
                  <a:lnTo>
                    <a:pt x="1072" y="961"/>
                  </a:lnTo>
                  <a:lnTo>
                    <a:pt x="1076" y="962"/>
                  </a:lnTo>
                  <a:lnTo>
                    <a:pt x="1076" y="962"/>
                  </a:lnTo>
                  <a:lnTo>
                    <a:pt x="1082" y="962"/>
                  </a:lnTo>
                  <a:lnTo>
                    <a:pt x="1085" y="961"/>
                  </a:lnTo>
                  <a:lnTo>
                    <a:pt x="1087" y="959"/>
                  </a:lnTo>
                  <a:lnTo>
                    <a:pt x="1087" y="959"/>
                  </a:lnTo>
                  <a:lnTo>
                    <a:pt x="1088" y="957"/>
                  </a:lnTo>
                  <a:lnTo>
                    <a:pt x="1090" y="954"/>
                  </a:lnTo>
                  <a:lnTo>
                    <a:pt x="1090" y="942"/>
                  </a:lnTo>
                  <a:lnTo>
                    <a:pt x="1090" y="942"/>
                  </a:lnTo>
                  <a:lnTo>
                    <a:pt x="1090" y="906"/>
                  </a:lnTo>
                  <a:lnTo>
                    <a:pt x="1090" y="906"/>
                  </a:lnTo>
                  <a:lnTo>
                    <a:pt x="1090" y="903"/>
                  </a:lnTo>
                  <a:lnTo>
                    <a:pt x="1088" y="900"/>
                  </a:lnTo>
                  <a:lnTo>
                    <a:pt x="1084" y="897"/>
                  </a:lnTo>
                  <a:lnTo>
                    <a:pt x="1078" y="894"/>
                  </a:lnTo>
                  <a:lnTo>
                    <a:pt x="1073" y="890"/>
                  </a:lnTo>
                  <a:lnTo>
                    <a:pt x="1073" y="890"/>
                  </a:lnTo>
                  <a:lnTo>
                    <a:pt x="1070" y="888"/>
                  </a:lnTo>
                  <a:lnTo>
                    <a:pt x="1067" y="887"/>
                  </a:lnTo>
                  <a:lnTo>
                    <a:pt x="1060" y="887"/>
                  </a:lnTo>
                  <a:lnTo>
                    <a:pt x="1050" y="890"/>
                  </a:lnTo>
                  <a:lnTo>
                    <a:pt x="1039" y="891"/>
                  </a:lnTo>
                  <a:lnTo>
                    <a:pt x="1039" y="891"/>
                  </a:lnTo>
                  <a:lnTo>
                    <a:pt x="1033" y="891"/>
                  </a:lnTo>
                  <a:lnTo>
                    <a:pt x="1029" y="893"/>
                  </a:lnTo>
                  <a:lnTo>
                    <a:pt x="1020" y="899"/>
                  </a:lnTo>
                  <a:lnTo>
                    <a:pt x="1014" y="903"/>
                  </a:lnTo>
                  <a:lnTo>
                    <a:pt x="1013" y="905"/>
                  </a:lnTo>
                  <a:lnTo>
                    <a:pt x="999" y="922"/>
                  </a:lnTo>
                  <a:lnTo>
                    <a:pt x="998" y="933"/>
                  </a:lnTo>
                  <a:lnTo>
                    <a:pt x="1002" y="940"/>
                  </a:lnTo>
                  <a:lnTo>
                    <a:pt x="1002" y="940"/>
                  </a:lnTo>
                  <a:lnTo>
                    <a:pt x="1008" y="948"/>
                  </a:lnTo>
                  <a:lnTo>
                    <a:pt x="1008" y="948"/>
                  </a:lnTo>
                  <a:close/>
                  <a:moveTo>
                    <a:pt x="1532" y="1270"/>
                  </a:moveTo>
                  <a:lnTo>
                    <a:pt x="1532" y="1270"/>
                  </a:lnTo>
                  <a:lnTo>
                    <a:pt x="1538" y="1294"/>
                  </a:lnTo>
                  <a:lnTo>
                    <a:pt x="1547" y="1324"/>
                  </a:lnTo>
                  <a:lnTo>
                    <a:pt x="1547" y="1324"/>
                  </a:lnTo>
                  <a:lnTo>
                    <a:pt x="1538" y="1321"/>
                  </a:lnTo>
                  <a:lnTo>
                    <a:pt x="1538" y="1321"/>
                  </a:lnTo>
                  <a:lnTo>
                    <a:pt x="1532" y="1321"/>
                  </a:lnTo>
                  <a:lnTo>
                    <a:pt x="1523" y="1324"/>
                  </a:lnTo>
                  <a:lnTo>
                    <a:pt x="1513" y="1327"/>
                  </a:lnTo>
                  <a:lnTo>
                    <a:pt x="1504" y="1333"/>
                  </a:lnTo>
                  <a:lnTo>
                    <a:pt x="1504" y="1333"/>
                  </a:lnTo>
                  <a:lnTo>
                    <a:pt x="1501" y="1334"/>
                  </a:lnTo>
                  <a:lnTo>
                    <a:pt x="1500" y="1337"/>
                  </a:lnTo>
                  <a:lnTo>
                    <a:pt x="1500" y="1340"/>
                  </a:lnTo>
                  <a:lnTo>
                    <a:pt x="1501" y="1343"/>
                  </a:lnTo>
                  <a:lnTo>
                    <a:pt x="1506" y="1348"/>
                  </a:lnTo>
                  <a:lnTo>
                    <a:pt x="1510" y="1353"/>
                  </a:lnTo>
                  <a:lnTo>
                    <a:pt x="1510" y="1353"/>
                  </a:lnTo>
                  <a:lnTo>
                    <a:pt x="1515" y="1358"/>
                  </a:lnTo>
                  <a:lnTo>
                    <a:pt x="1516" y="1362"/>
                  </a:lnTo>
                  <a:lnTo>
                    <a:pt x="1518" y="1367"/>
                  </a:lnTo>
                  <a:lnTo>
                    <a:pt x="1518" y="1370"/>
                  </a:lnTo>
                  <a:lnTo>
                    <a:pt x="1518" y="1370"/>
                  </a:lnTo>
                  <a:lnTo>
                    <a:pt x="1518" y="1380"/>
                  </a:lnTo>
                  <a:lnTo>
                    <a:pt x="1518" y="1385"/>
                  </a:lnTo>
                  <a:lnTo>
                    <a:pt x="1521" y="1389"/>
                  </a:lnTo>
                  <a:lnTo>
                    <a:pt x="1521" y="1389"/>
                  </a:lnTo>
                  <a:lnTo>
                    <a:pt x="1523" y="1392"/>
                  </a:lnTo>
                  <a:lnTo>
                    <a:pt x="1522" y="1395"/>
                  </a:lnTo>
                  <a:lnTo>
                    <a:pt x="1519" y="1399"/>
                  </a:lnTo>
                  <a:lnTo>
                    <a:pt x="1519" y="1399"/>
                  </a:lnTo>
                  <a:lnTo>
                    <a:pt x="1516" y="1402"/>
                  </a:lnTo>
                  <a:lnTo>
                    <a:pt x="1510" y="1402"/>
                  </a:lnTo>
                  <a:lnTo>
                    <a:pt x="1510" y="1402"/>
                  </a:lnTo>
                  <a:lnTo>
                    <a:pt x="1504" y="1399"/>
                  </a:lnTo>
                  <a:lnTo>
                    <a:pt x="1504" y="1399"/>
                  </a:lnTo>
                  <a:lnTo>
                    <a:pt x="1488" y="1389"/>
                  </a:lnTo>
                  <a:lnTo>
                    <a:pt x="1488" y="1389"/>
                  </a:lnTo>
                  <a:lnTo>
                    <a:pt x="1482" y="1387"/>
                  </a:lnTo>
                  <a:lnTo>
                    <a:pt x="1476" y="1387"/>
                  </a:lnTo>
                  <a:lnTo>
                    <a:pt x="1470" y="1389"/>
                  </a:lnTo>
                  <a:lnTo>
                    <a:pt x="1467" y="1392"/>
                  </a:lnTo>
                  <a:lnTo>
                    <a:pt x="1467" y="1392"/>
                  </a:lnTo>
                  <a:lnTo>
                    <a:pt x="1463" y="1398"/>
                  </a:lnTo>
                  <a:lnTo>
                    <a:pt x="1458" y="1401"/>
                  </a:lnTo>
                  <a:lnTo>
                    <a:pt x="1458" y="1401"/>
                  </a:lnTo>
                  <a:lnTo>
                    <a:pt x="1444" y="1402"/>
                  </a:lnTo>
                  <a:lnTo>
                    <a:pt x="1421" y="1404"/>
                  </a:lnTo>
                  <a:lnTo>
                    <a:pt x="1421" y="1404"/>
                  </a:lnTo>
                  <a:lnTo>
                    <a:pt x="1417" y="1405"/>
                  </a:lnTo>
                  <a:lnTo>
                    <a:pt x="1415" y="1408"/>
                  </a:lnTo>
                  <a:lnTo>
                    <a:pt x="1415" y="1411"/>
                  </a:lnTo>
                  <a:lnTo>
                    <a:pt x="1415" y="1414"/>
                  </a:lnTo>
                  <a:lnTo>
                    <a:pt x="1412" y="1417"/>
                  </a:lnTo>
                  <a:lnTo>
                    <a:pt x="1412" y="1417"/>
                  </a:lnTo>
                  <a:lnTo>
                    <a:pt x="1408" y="1420"/>
                  </a:lnTo>
                  <a:lnTo>
                    <a:pt x="1402" y="1420"/>
                  </a:lnTo>
                  <a:lnTo>
                    <a:pt x="1390" y="1417"/>
                  </a:lnTo>
                  <a:lnTo>
                    <a:pt x="1390" y="1417"/>
                  </a:lnTo>
                  <a:lnTo>
                    <a:pt x="1383" y="1417"/>
                  </a:lnTo>
                  <a:lnTo>
                    <a:pt x="1377" y="1419"/>
                  </a:lnTo>
                  <a:lnTo>
                    <a:pt x="1371" y="1420"/>
                  </a:lnTo>
                  <a:lnTo>
                    <a:pt x="1365" y="1423"/>
                  </a:lnTo>
                  <a:lnTo>
                    <a:pt x="1365" y="1423"/>
                  </a:lnTo>
                  <a:lnTo>
                    <a:pt x="1361" y="1426"/>
                  </a:lnTo>
                  <a:lnTo>
                    <a:pt x="1358" y="1430"/>
                  </a:lnTo>
                  <a:lnTo>
                    <a:pt x="1353" y="1439"/>
                  </a:lnTo>
                  <a:lnTo>
                    <a:pt x="1353" y="1439"/>
                  </a:lnTo>
                  <a:lnTo>
                    <a:pt x="1352" y="1441"/>
                  </a:lnTo>
                  <a:lnTo>
                    <a:pt x="1349" y="1442"/>
                  </a:lnTo>
                  <a:lnTo>
                    <a:pt x="1341" y="1442"/>
                  </a:lnTo>
                  <a:lnTo>
                    <a:pt x="1322" y="1442"/>
                  </a:lnTo>
                  <a:lnTo>
                    <a:pt x="1322" y="1442"/>
                  </a:lnTo>
                  <a:lnTo>
                    <a:pt x="1298" y="1441"/>
                  </a:lnTo>
                  <a:lnTo>
                    <a:pt x="1285" y="1439"/>
                  </a:lnTo>
                  <a:lnTo>
                    <a:pt x="1276" y="1436"/>
                  </a:lnTo>
                  <a:lnTo>
                    <a:pt x="1276" y="1436"/>
                  </a:lnTo>
                  <a:lnTo>
                    <a:pt x="1263" y="1427"/>
                  </a:lnTo>
                  <a:lnTo>
                    <a:pt x="1241" y="1411"/>
                  </a:lnTo>
                  <a:lnTo>
                    <a:pt x="1241" y="1411"/>
                  </a:lnTo>
                  <a:lnTo>
                    <a:pt x="1207" y="1387"/>
                  </a:lnTo>
                  <a:lnTo>
                    <a:pt x="1187" y="1374"/>
                  </a:lnTo>
                  <a:lnTo>
                    <a:pt x="1170" y="1362"/>
                  </a:lnTo>
                  <a:lnTo>
                    <a:pt x="1170" y="1362"/>
                  </a:lnTo>
                  <a:lnTo>
                    <a:pt x="1137" y="1336"/>
                  </a:lnTo>
                  <a:lnTo>
                    <a:pt x="1103" y="1309"/>
                  </a:lnTo>
                  <a:lnTo>
                    <a:pt x="1103" y="1309"/>
                  </a:lnTo>
                  <a:lnTo>
                    <a:pt x="1054" y="1270"/>
                  </a:lnTo>
                  <a:lnTo>
                    <a:pt x="1013" y="1236"/>
                  </a:lnTo>
                  <a:lnTo>
                    <a:pt x="1013" y="1236"/>
                  </a:lnTo>
                  <a:lnTo>
                    <a:pt x="1001" y="1223"/>
                  </a:lnTo>
                  <a:lnTo>
                    <a:pt x="989" y="1207"/>
                  </a:lnTo>
                  <a:lnTo>
                    <a:pt x="973" y="1185"/>
                  </a:lnTo>
                  <a:lnTo>
                    <a:pt x="973" y="1185"/>
                  </a:lnTo>
                  <a:lnTo>
                    <a:pt x="970" y="1183"/>
                  </a:lnTo>
                  <a:lnTo>
                    <a:pt x="965" y="1182"/>
                  </a:lnTo>
                  <a:lnTo>
                    <a:pt x="958" y="1182"/>
                  </a:lnTo>
                  <a:lnTo>
                    <a:pt x="958" y="1182"/>
                  </a:lnTo>
                  <a:lnTo>
                    <a:pt x="947" y="1182"/>
                  </a:lnTo>
                  <a:lnTo>
                    <a:pt x="942" y="1182"/>
                  </a:lnTo>
                  <a:lnTo>
                    <a:pt x="936" y="1183"/>
                  </a:lnTo>
                  <a:lnTo>
                    <a:pt x="936" y="1183"/>
                  </a:lnTo>
                  <a:lnTo>
                    <a:pt x="930" y="1185"/>
                  </a:lnTo>
                  <a:lnTo>
                    <a:pt x="924" y="1185"/>
                  </a:lnTo>
                  <a:lnTo>
                    <a:pt x="907" y="1182"/>
                  </a:lnTo>
                  <a:lnTo>
                    <a:pt x="907" y="1182"/>
                  </a:lnTo>
                  <a:lnTo>
                    <a:pt x="887" y="1180"/>
                  </a:lnTo>
                  <a:lnTo>
                    <a:pt x="860" y="1176"/>
                  </a:lnTo>
                  <a:lnTo>
                    <a:pt x="860" y="1176"/>
                  </a:lnTo>
                  <a:lnTo>
                    <a:pt x="848" y="1174"/>
                  </a:lnTo>
                  <a:lnTo>
                    <a:pt x="838" y="1170"/>
                  </a:lnTo>
                  <a:lnTo>
                    <a:pt x="829" y="1167"/>
                  </a:lnTo>
                  <a:lnTo>
                    <a:pt x="819" y="1164"/>
                  </a:lnTo>
                  <a:lnTo>
                    <a:pt x="819" y="1164"/>
                  </a:lnTo>
                  <a:lnTo>
                    <a:pt x="808" y="1161"/>
                  </a:lnTo>
                  <a:lnTo>
                    <a:pt x="801" y="1161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93" y="1162"/>
                  </a:lnTo>
                  <a:lnTo>
                    <a:pt x="765" y="1189"/>
                  </a:lnTo>
                  <a:lnTo>
                    <a:pt x="745" y="1208"/>
                  </a:lnTo>
                  <a:lnTo>
                    <a:pt x="734" y="1219"/>
                  </a:lnTo>
                  <a:lnTo>
                    <a:pt x="734" y="1219"/>
                  </a:lnTo>
                  <a:lnTo>
                    <a:pt x="731" y="1222"/>
                  </a:lnTo>
                  <a:lnTo>
                    <a:pt x="728" y="1226"/>
                  </a:lnTo>
                  <a:lnTo>
                    <a:pt x="728" y="1232"/>
                  </a:lnTo>
                  <a:lnTo>
                    <a:pt x="728" y="1236"/>
                  </a:lnTo>
                  <a:lnTo>
                    <a:pt x="728" y="1236"/>
                  </a:lnTo>
                  <a:lnTo>
                    <a:pt x="731" y="1238"/>
                  </a:lnTo>
                  <a:lnTo>
                    <a:pt x="734" y="1239"/>
                  </a:lnTo>
                  <a:lnTo>
                    <a:pt x="739" y="1239"/>
                  </a:lnTo>
                  <a:lnTo>
                    <a:pt x="742" y="1242"/>
                  </a:lnTo>
                  <a:lnTo>
                    <a:pt x="742" y="1242"/>
                  </a:lnTo>
                  <a:lnTo>
                    <a:pt x="743" y="1245"/>
                  </a:lnTo>
                  <a:lnTo>
                    <a:pt x="743" y="1248"/>
                  </a:lnTo>
                  <a:lnTo>
                    <a:pt x="742" y="1256"/>
                  </a:lnTo>
                  <a:lnTo>
                    <a:pt x="737" y="1266"/>
                  </a:lnTo>
                  <a:lnTo>
                    <a:pt x="737" y="1266"/>
                  </a:lnTo>
                  <a:lnTo>
                    <a:pt x="733" y="1279"/>
                  </a:lnTo>
                  <a:lnTo>
                    <a:pt x="730" y="1287"/>
                  </a:lnTo>
                  <a:lnTo>
                    <a:pt x="730" y="1294"/>
                  </a:lnTo>
                  <a:lnTo>
                    <a:pt x="730" y="1294"/>
                  </a:lnTo>
                  <a:lnTo>
                    <a:pt x="731" y="1319"/>
                  </a:lnTo>
                  <a:lnTo>
                    <a:pt x="731" y="1319"/>
                  </a:lnTo>
                  <a:lnTo>
                    <a:pt x="730" y="1322"/>
                  </a:lnTo>
                  <a:lnTo>
                    <a:pt x="727" y="1327"/>
                  </a:lnTo>
                  <a:lnTo>
                    <a:pt x="724" y="1330"/>
                  </a:lnTo>
                  <a:lnTo>
                    <a:pt x="724" y="1330"/>
                  </a:lnTo>
                  <a:lnTo>
                    <a:pt x="718" y="1328"/>
                  </a:lnTo>
                  <a:lnTo>
                    <a:pt x="712" y="1327"/>
                  </a:lnTo>
                  <a:lnTo>
                    <a:pt x="706" y="1324"/>
                  </a:lnTo>
                  <a:lnTo>
                    <a:pt x="706" y="1324"/>
                  </a:lnTo>
                  <a:lnTo>
                    <a:pt x="702" y="1319"/>
                  </a:lnTo>
                  <a:lnTo>
                    <a:pt x="699" y="1315"/>
                  </a:lnTo>
                  <a:lnTo>
                    <a:pt x="693" y="1306"/>
                  </a:lnTo>
                  <a:lnTo>
                    <a:pt x="693" y="1306"/>
                  </a:lnTo>
                  <a:lnTo>
                    <a:pt x="690" y="1305"/>
                  </a:lnTo>
                  <a:lnTo>
                    <a:pt x="687" y="1306"/>
                  </a:lnTo>
                  <a:lnTo>
                    <a:pt x="682" y="1308"/>
                  </a:lnTo>
                  <a:lnTo>
                    <a:pt x="679" y="1309"/>
                  </a:lnTo>
                  <a:lnTo>
                    <a:pt x="679" y="1309"/>
                  </a:lnTo>
                  <a:lnTo>
                    <a:pt x="676" y="1308"/>
                  </a:lnTo>
                  <a:lnTo>
                    <a:pt x="674" y="1305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3" y="1293"/>
                  </a:lnTo>
                  <a:lnTo>
                    <a:pt x="659" y="1293"/>
                  </a:lnTo>
                  <a:lnTo>
                    <a:pt x="656" y="1293"/>
                  </a:lnTo>
                  <a:lnTo>
                    <a:pt x="656" y="1293"/>
                  </a:lnTo>
                  <a:lnTo>
                    <a:pt x="653" y="1294"/>
                  </a:lnTo>
                  <a:lnTo>
                    <a:pt x="651" y="1297"/>
                  </a:lnTo>
                  <a:lnTo>
                    <a:pt x="650" y="1300"/>
                  </a:lnTo>
                  <a:lnTo>
                    <a:pt x="648" y="1300"/>
                  </a:lnTo>
                  <a:lnTo>
                    <a:pt x="647" y="1300"/>
                  </a:lnTo>
                  <a:lnTo>
                    <a:pt x="647" y="1300"/>
                  </a:lnTo>
                  <a:lnTo>
                    <a:pt x="642" y="1299"/>
                  </a:lnTo>
                  <a:lnTo>
                    <a:pt x="641" y="1296"/>
                  </a:lnTo>
                  <a:lnTo>
                    <a:pt x="637" y="1293"/>
                  </a:lnTo>
                  <a:lnTo>
                    <a:pt x="632" y="1290"/>
                  </a:lnTo>
                  <a:lnTo>
                    <a:pt x="632" y="1290"/>
                  </a:lnTo>
                  <a:lnTo>
                    <a:pt x="628" y="1288"/>
                  </a:lnTo>
                  <a:lnTo>
                    <a:pt x="625" y="1290"/>
                  </a:lnTo>
                  <a:lnTo>
                    <a:pt x="622" y="1290"/>
                  </a:lnTo>
                  <a:lnTo>
                    <a:pt x="619" y="1290"/>
                  </a:lnTo>
                  <a:lnTo>
                    <a:pt x="619" y="1290"/>
                  </a:lnTo>
                  <a:lnTo>
                    <a:pt x="614" y="1287"/>
                  </a:lnTo>
                  <a:lnTo>
                    <a:pt x="613" y="1284"/>
                  </a:lnTo>
                  <a:lnTo>
                    <a:pt x="611" y="1281"/>
                  </a:lnTo>
                  <a:lnTo>
                    <a:pt x="614" y="1276"/>
                  </a:lnTo>
                  <a:lnTo>
                    <a:pt x="614" y="1276"/>
                  </a:lnTo>
                  <a:lnTo>
                    <a:pt x="616" y="1272"/>
                  </a:lnTo>
                  <a:lnTo>
                    <a:pt x="616" y="1269"/>
                  </a:lnTo>
                  <a:lnTo>
                    <a:pt x="614" y="1268"/>
                  </a:lnTo>
                  <a:lnTo>
                    <a:pt x="611" y="1263"/>
                  </a:lnTo>
                  <a:lnTo>
                    <a:pt x="611" y="1263"/>
                  </a:lnTo>
                  <a:lnTo>
                    <a:pt x="598" y="1247"/>
                  </a:lnTo>
                  <a:lnTo>
                    <a:pt x="589" y="1236"/>
                  </a:lnTo>
                  <a:lnTo>
                    <a:pt x="580" y="1229"/>
                  </a:lnTo>
                  <a:lnTo>
                    <a:pt x="580" y="1229"/>
                  </a:lnTo>
                  <a:lnTo>
                    <a:pt x="568" y="1219"/>
                  </a:lnTo>
                  <a:lnTo>
                    <a:pt x="561" y="1213"/>
                  </a:lnTo>
                  <a:lnTo>
                    <a:pt x="554" y="1207"/>
                  </a:lnTo>
                  <a:lnTo>
                    <a:pt x="554" y="1207"/>
                  </a:lnTo>
                  <a:lnTo>
                    <a:pt x="548" y="1199"/>
                  </a:lnTo>
                  <a:lnTo>
                    <a:pt x="543" y="1193"/>
                  </a:lnTo>
                  <a:lnTo>
                    <a:pt x="540" y="1189"/>
                  </a:lnTo>
                  <a:lnTo>
                    <a:pt x="537" y="1185"/>
                  </a:lnTo>
                  <a:lnTo>
                    <a:pt x="537" y="1185"/>
                  </a:lnTo>
                  <a:lnTo>
                    <a:pt x="533" y="1185"/>
                  </a:lnTo>
                  <a:lnTo>
                    <a:pt x="527" y="1186"/>
                  </a:lnTo>
                  <a:lnTo>
                    <a:pt x="521" y="1189"/>
                  </a:lnTo>
                  <a:lnTo>
                    <a:pt x="520" y="1192"/>
                  </a:lnTo>
                  <a:lnTo>
                    <a:pt x="520" y="1192"/>
                  </a:lnTo>
                  <a:lnTo>
                    <a:pt x="521" y="1213"/>
                  </a:lnTo>
                  <a:lnTo>
                    <a:pt x="525" y="1228"/>
                  </a:lnTo>
                  <a:lnTo>
                    <a:pt x="528" y="1239"/>
                  </a:lnTo>
                  <a:lnTo>
                    <a:pt x="528" y="1239"/>
                  </a:lnTo>
                  <a:lnTo>
                    <a:pt x="531" y="1248"/>
                  </a:lnTo>
                  <a:lnTo>
                    <a:pt x="533" y="1257"/>
                  </a:lnTo>
                  <a:lnTo>
                    <a:pt x="534" y="1269"/>
                  </a:lnTo>
                  <a:lnTo>
                    <a:pt x="534" y="1269"/>
                  </a:lnTo>
                  <a:lnTo>
                    <a:pt x="534" y="1275"/>
                  </a:lnTo>
                  <a:lnTo>
                    <a:pt x="531" y="1284"/>
                  </a:lnTo>
                  <a:lnTo>
                    <a:pt x="527" y="1291"/>
                  </a:lnTo>
                  <a:lnTo>
                    <a:pt x="524" y="1296"/>
                  </a:lnTo>
                  <a:lnTo>
                    <a:pt x="521" y="1297"/>
                  </a:lnTo>
                  <a:lnTo>
                    <a:pt x="521" y="1297"/>
                  </a:lnTo>
                  <a:lnTo>
                    <a:pt x="515" y="1300"/>
                  </a:lnTo>
                  <a:lnTo>
                    <a:pt x="511" y="1302"/>
                  </a:lnTo>
                  <a:lnTo>
                    <a:pt x="506" y="1303"/>
                  </a:lnTo>
                  <a:lnTo>
                    <a:pt x="502" y="1306"/>
                  </a:lnTo>
                  <a:lnTo>
                    <a:pt x="502" y="1306"/>
                  </a:lnTo>
                  <a:lnTo>
                    <a:pt x="500" y="1309"/>
                  </a:lnTo>
                  <a:lnTo>
                    <a:pt x="499" y="1313"/>
                  </a:lnTo>
                  <a:lnTo>
                    <a:pt x="499" y="1322"/>
                  </a:lnTo>
                  <a:lnTo>
                    <a:pt x="500" y="1333"/>
                  </a:lnTo>
                  <a:lnTo>
                    <a:pt x="503" y="1339"/>
                  </a:lnTo>
                  <a:lnTo>
                    <a:pt x="503" y="1339"/>
                  </a:lnTo>
                  <a:lnTo>
                    <a:pt x="505" y="1343"/>
                  </a:lnTo>
                  <a:lnTo>
                    <a:pt x="502" y="1345"/>
                  </a:lnTo>
                  <a:lnTo>
                    <a:pt x="484" y="1348"/>
                  </a:lnTo>
                  <a:lnTo>
                    <a:pt x="484" y="1348"/>
                  </a:lnTo>
                  <a:lnTo>
                    <a:pt x="474" y="1349"/>
                  </a:lnTo>
                  <a:lnTo>
                    <a:pt x="466" y="1350"/>
                  </a:lnTo>
                  <a:lnTo>
                    <a:pt x="462" y="1353"/>
                  </a:lnTo>
                  <a:lnTo>
                    <a:pt x="459" y="1356"/>
                  </a:lnTo>
                  <a:lnTo>
                    <a:pt x="459" y="1356"/>
                  </a:lnTo>
                  <a:lnTo>
                    <a:pt x="457" y="1361"/>
                  </a:lnTo>
                  <a:lnTo>
                    <a:pt x="454" y="1367"/>
                  </a:lnTo>
                  <a:lnTo>
                    <a:pt x="437" y="1389"/>
                  </a:lnTo>
                  <a:lnTo>
                    <a:pt x="437" y="1389"/>
                  </a:lnTo>
                  <a:lnTo>
                    <a:pt x="428" y="1402"/>
                  </a:lnTo>
                  <a:lnTo>
                    <a:pt x="422" y="1410"/>
                  </a:lnTo>
                  <a:lnTo>
                    <a:pt x="422" y="1413"/>
                  </a:lnTo>
                  <a:lnTo>
                    <a:pt x="422" y="1416"/>
                  </a:lnTo>
                  <a:lnTo>
                    <a:pt x="426" y="1419"/>
                  </a:lnTo>
                  <a:lnTo>
                    <a:pt x="426" y="1419"/>
                  </a:lnTo>
                  <a:lnTo>
                    <a:pt x="429" y="1420"/>
                  </a:lnTo>
                  <a:lnTo>
                    <a:pt x="431" y="1420"/>
                  </a:lnTo>
                  <a:lnTo>
                    <a:pt x="435" y="1419"/>
                  </a:lnTo>
                  <a:lnTo>
                    <a:pt x="441" y="1411"/>
                  </a:lnTo>
                  <a:lnTo>
                    <a:pt x="441" y="1411"/>
                  </a:lnTo>
                  <a:lnTo>
                    <a:pt x="443" y="1410"/>
                  </a:lnTo>
                  <a:lnTo>
                    <a:pt x="444" y="1410"/>
                  </a:lnTo>
                  <a:lnTo>
                    <a:pt x="447" y="1413"/>
                  </a:lnTo>
                  <a:lnTo>
                    <a:pt x="451" y="1414"/>
                  </a:lnTo>
                  <a:lnTo>
                    <a:pt x="451" y="1414"/>
                  </a:lnTo>
                  <a:lnTo>
                    <a:pt x="456" y="1417"/>
                  </a:lnTo>
                  <a:lnTo>
                    <a:pt x="459" y="1420"/>
                  </a:lnTo>
                  <a:lnTo>
                    <a:pt x="462" y="1425"/>
                  </a:lnTo>
                  <a:lnTo>
                    <a:pt x="468" y="1432"/>
                  </a:lnTo>
                  <a:lnTo>
                    <a:pt x="468" y="1432"/>
                  </a:lnTo>
                  <a:lnTo>
                    <a:pt x="471" y="1433"/>
                  </a:lnTo>
                  <a:lnTo>
                    <a:pt x="474" y="1433"/>
                  </a:lnTo>
                  <a:lnTo>
                    <a:pt x="478" y="1432"/>
                  </a:lnTo>
                  <a:lnTo>
                    <a:pt x="481" y="1429"/>
                  </a:lnTo>
                  <a:lnTo>
                    <a:pt x="493" y="1416"/>
                  </a:lnTo>
                  <a:lnTo>
                    <a:pt x="493" y="1416"/>
                  </a:lnTo>
                  <a:lnTo>
                    <a:pt x="497" y="1413"/>
                  </a:lnTo>
                  <a:lnTo>
                    <a:pt x="502" y="1411"/>
                  </a:lnTo>
                  <a:lnTo>
                    <a:pt x="508" y="1411"/>
                  </a:lnTo>
                  <a:lnTo>
                    <a:pt x="508" y="1411"/>
                  </a:lnTo>
                  <a:lnTo>
                    <a:pt x="514" y="1416"/>
                  </a:lnTo>
                  <a:lnTo>
                    <a:pt x="522" y="1422"/>
                  </a:lnTo>
                  <a:lnTo>
                    <a:pt x="539" y="1435"/>
                  </a:lnTo>
                  <a:lnTo>
                    <a:pt x="539" y="1435"/>
                  </a:lnTo>
                  <a:lnTo>
                    <a:pt x="542" y="1439"/>
                  </a:lnTo>
                  <a:lnTo>
                    <a:pt x="543" y="1445"/>
                  </a:lnTo>
                  <a:lnTo>
                    <a:pt x="545" y="1451"/>
                  </a:lnTo>
                  <a:lnTo>
                    <a:pt x="545" y="1451"/>
                  </a:lnTo>
                  <a:lnTo>
                    <a:pt x="450" y="1509"/>
                  </a:lnTo>
                  <a:lnTo>
                    <a:pt x="450" y="1509"/>
                  </a:lnTo>
                  <a:lnTo>
                    <a:pt x="447" y="1512"/>
                  </a:lnTo>
                  <a:lnTo>
                    <a:pt x="445" y="1515"/>
                  </a:lnTo>
                  <a:lnTo>
                    <a:pt x="447" y="1518"/>
                  </a:lnTo>
                  <a:lnTo>
                    <a:pt x="448" y="1521"/>
                  </a:lnTo>
                  <a:lnTo>
                    <a:pt x="451" y="1525"/>
                  </a:lnTo>
                  <a:lnTo>
                    <a:pt x="454" y="1528"/>
                  </a:lnTo>
                  <a:lnTo>
                    <a:pt x="454" y="1528"/>
                  </a:lnTo>
                  <a:lnTo>
                    <a:pt x="451" y="1530"/>
                  </a:lnTo>
                  <a:lnTo>
                    <a:pt x="443" y="1537"/>
                  </a:lnTo>
                  <a:lnTo>
                    <a:pt x="443" y="1537"/>
                  </a:lnTo>
                  <a:lnTo>
                    <a:pt x="428" y="1550"/>
                  </a:lnTo>
                  <a:lnTo>
                    <a:pt x="420" y="1556"/>
                  </a:lnTo>
                  <a:lnTo>
                    <a:pt x="414" y="1561"/>
                  </a:lnTo>
                  <a:lnTo>
                    <a:pt x="414" y="1561"/>
                  </a:lnTo>
                  <a:lnTo>
                    <a:pt x="410" y="1562"/>
                  </a:lnTo>
                  <a:lnTo>
                    <a:pt x="407" y="1561"/>
                  </a:lnTo>
                  <a:lnTo>
                    <a:pt x="406" y="1558"/>
                  </a:lnTo>
                  <a:lnTo>
                    <a:pt x="403" y="1556"/>
                  </a:lnTo>
                  <a:lnTo>
                    <a:pt x="403" y="1556"/>
                  </a:lnTo>
                  <a:lnTo>
                    <a:pt x="394" y="1552"/>
                  </a:lnTo>
                  <a:lnTo>
                    <a:pt x="385" y="1549"/>
                  </a:lnTo>
                  <a:lnTo>
                    <a:pt x="385" y="1549"/>
                  </a:lnTo>
                  <a:lnTo>
                    <a:pt x="371" y="1546"/>
                  </a:lnTo>
                  <a:lnTo>
                    <a:pt x="364" y="1546"/>
                  </a:lnTo>
                  <a:lnTo>
                    <a:pt x="360" y="1546"/>
                  </a:lnTo>
                  <a:lnTo>
                    <a:pt x="360" y="1546"/>
                  </a:lnTo>
                  <a:lnTo>
                    <a:pt x="357" y="1547"/>
                  </a:lnTo>
                  <a:lnTo>
                    <a:pt x="354" y="1547"/>
                  </a:lnTo>
                  <a:lnTo>
                    <a:pt x="354" y="1547"/>
                  </a:lnTo>
                  <a:lnTo>
                    <a:pt x="345" y="1543"/>
                  </a:lnTo>
                  <a:lnTo>
                    <a:pt x="345" y="1543"/>
                  </a:lnTo>
                  <a:lnTo>
                    <a:pt x="339" y="1540"/>
                  </a:lnTo>
                  <a:lnTo>
                    <a:pt x="337" y="1536"/>
                  </a:lnTo>
                  <a:lnTo>
                    <a:pt x="336" y="1527"/>
                  </a:lnTo>
                  <a:lnTo>
                    <a:pt x="336" y="1527"/>
                  </a:lnTo>
                  <a:lnTo>
                    <a:pt x="334" y="1515"/>
                  </a:lnTo>
                  <a:lnTo>
                    <a:pt x="333" y="1510"/>
                  </a:lnTo>
                  <a:lnTo>
                    <a:pt x="330" y="1506"/>
                  </a:lnTo>
                  <a:lnTo>
                    <a:pt x="330" y="1506"/>
                  </a:lnTo>
                  <a:lnTo>
                    <a:pt x="326" y="1502"/>
                  </a:lnTo>
                  <a:lnTo>
                    <a:pt x="318" y="1497"/>
                  </a:lnTo>
                  <a:lnTo>
                    <a:pt x="312" y="1496"/>
                  </a:lnTo>
                  <a:lnTo>
                    <a:pt x="308" y="1494"/>
                  </a:lnTo>
                  <a:lnTo>
                    <a:pt x="308" y="1494"/>
                  </a:lnTo>
                  <a:lnTo>
                    <a:pt x="303" y="1496"/>
                  </a:lnTo>
                  <a:lnTo>
                    <a:pt x="302" y="1497"/>
                  </a:lnTo>
                  <a:lnTo>
                    <a:pt x="299" y="1497"/>
                  </a:lnTo>
                  <a:lnTo>
                    <a:pt x="294" y="1496"/>
                  </a:lnTo>
                  <a:lnTo>
                    <a:pt x="294" y="1496"/>
                  </a:lnTo>
                  <a:lnTo>
                    <a:pt x="293" y="1494"/>
                  </a:lnTo>
                  <a:lnTo>
                    <a:pt x="293" y="1493"/>
                  </a:lnTo>
                  <a:lnTo>
                    <a:pt x="294" y="1490"/>
                  </a:lnTo>
                  <a:lnTo>
                    <a:pt x="299" y="1485"/>
                  </a:lnTo>
                  <a:lnTo>
                    <a:pt x="302" y="1481"/>
                  </a:lnTo>
                  <a:lnTo>
                    <a:pt x="302" y="1481"/>
                  </a:lnTo>
                  <a:lnTo>
                    <a:pt x="303" y="1478"/>
                  </a:lnTo>
                  <a:lnTo>
                    <a:pt x="303" y="1475"/>
                  </a:lnTo>
                  <a:lnTo>
                    <a:pt x="300" y="1469"/>
                  </a:lnTo>
                  <a:lnTo>
                    <a:pt x="296" y="1463"/>
                  </a:lnTo>
                  <a:lnTo>
                    <a:pt x="290" y="1460"/>
                  </a:lnTo>
                  <a:lnTo>
                    <a:pt x="290" y="1460"/>
                  </a:lnTo>
                  <a:lnTo>
                    <a:pt x="281" y="1454"/>
                  </a:lnTo>
                  <a:lnTo>
                    <a:pt x="274" y="1448"/>
                  </a:lnTo>
                  <a:lnTo>
                    <a:pt x="274" y="1448"/>
                  </a:lnTo>
                  <a:lnTo>
                    <a:pt x="271" y="1447"/>
                  </a:lnTo>
                  <a:lnTo>
                    <a:pt x="269" y="1444"/>
                  </a:lnTo>
                  <a:lnTo>
                    <a:pt x="271" y="1438"/>
                  </a:lnTo>
                  <a:lnTo>
                    <a:pt x="271" y="1438"/>
                  </a:lnTo>
                  <a:lnTo>
                    <a:pt x="271" y="1436"/>
                  </a:lnTo>
                  <a:lnTo>
                    <a:pt x="274" y="1435"/>
                  </a:lnTo>
                  <a:lnTo>
                    <a:pt x="283" y="1430"/>
                  </a:lnTo>
                  <a:lnTo>
                    <a:pt x="283" y="1430"/>
                  </a:lnTo>
                  <a:lnTo>
                    <a:pt x="284" y="1429"/>
                  </a:lnTo>
                  <a:lnTo>
                    <a:pt x="286" y="1427"/>
                  </a:lnTo>
                  <a:lnTo>
                    <a:pt x="284" y="1425"/>
                  </a:lnTo>
                  <a:lnTo>
                    <a:pt x="274" y="1417"/>
                  </a:lnTo>
                  <a:lnTo>
                    <a:pt x="274" y="1417"/>
                  </a:lnTo>
                  <a:lnTo>
                    <a:pt x="269" y="1414"/>
                  </a:lnTo>
                  <a:lnTo>
                    <a:pt x="265" y="1414"/>
                  </a:lnTo>
                  <a:lnTo>
                    <a:pt x="262" y="1416"/>
                  </a:lnTo>
                  <a:lnTo>
                    <a:pt x="259" y="1419"/>
                  </a:lnTo>
                  <a:lnTo>
                    <a:pt x="259" y="1419"/>
                  </a:lnTo>
                  <a:lnTo>
                    <a:pt x="256" y="1420"/>
                  </a:lnTo>
                  <a:lnTo>
                    <a:pt x="252" y="1420"/>
                  </a:lnTo>
                  <a:lnTo>
                    <a:pt x="238" y="1420"/>
                  </a:lnTo>
                  <a:lnTo>
                    <a:pt x="238" y="1420"/>
                  </a:lnTo>
                  <a:lnTo>
                    <a:pt x="235" y="1419"/>
                  </a:lnTo>
                  <a:lnTo>
                    <a:pt x="232" y="1417"/>
                  </a:lnTo>
                  <a:lnTo>
                    <a:pt x="226" y="1411"/>
                  </a:lnTo>
                  <a:lnTo>
                    <a:pt x="216" y="1396"/>
                  </a:lnTo>
                  <a:lnTo>
                    <a:pt x="216" y="1396"/>
                  </a:lnTo>
                  <a:lnTo>
                    <a:pt x="212" y="1390"/>
                  </a:lnTo>
                  <a:lnTo>
                    <a:pt x="212" y="1385"/>
                  </a:lnTo>
                  <a:lnTo>
                    <a:pt x="212" y="1374"/>
                  </a:lnTo>
                  <a:lnTo>
                    <a:pt x="212" y="1374"/>
                  </a:lnTo>
                  <a:lnTo>
                    <a:pt x="210" y="1370"/>
                  </a:lnTo>
                  <a:lnTo>
                    <a:pt x="207" y="1368"/>
                  </a:lnTo>
                  <a:lnTo>
                    <a:pt x="204" y="1367"/>
                  </a:lnTo>
                  <a:lnTo>
                    <a:pt x="200" y="1362"/>
                  </a:lnTo>
                  <a:lnTo>
                    <a:pt x="200" y="1362"/>
                  </a:lnTo>
                  <a:lnTo>
                    <a:pt x="197" y="1359"/>
                  </a:lnTo>
                  <a:lnTo>
                    <a:pt x="192" y="1358"/>
                  </a:lnTo>
                  <a:lnTo>
                    <a:pt x="188" y="1361"/>
                  </a:lnTo>
                  <a:lnTo>
                    <a:pt x="188" y="1361"/>
                  </a:lnTo>
                  <a:lnTo>
                    <a:pt x="180" y="1361"/>
                  </a:lnTo>
                  <a:lnTo>
                    <a:pt x="170" y="1359"/>
                  </a:lnTo>
                  <a:lnTo>
                    <a:pt x="170" y="1359"/>
                  </a:lnTo>
                  <a:lnTo>
                    <a:pt x="164" y="1358"/>
                  </a:lnTo>
                  <a:lnTo>
                    <a:pt x="160" y="1356"/>
                  </a:lnTo>
                  <a:lnTo>
                    <a:pt x="149" y="1349"/>
                  </a:lnTo>
                  <a:lnTo>
                    <a:pt x="149" y="1349"/>
                  </a:lnTo>
                  <a:lnTo>
                    <a:pt x="148" y="1346"/>
                  </a:lnTo>
                  <a:lnTo>
                    <a:pt x="146" y="1343"/>
                  </a:lnTo>
                  <a:lnTo>
                    <a:pt x="145" y="1337"/>
                  </a:lnTo>
                  <a:lnTo>
                    <a:pt x="143" y="1322"/>
                  </a:lnTo>
                  <a:lnTo>
                    <a:pt x="143" y="1322"/>
                  </a:lnTo>
                  <a:lnTo>
                    <a:pt x="143" y="1321"/>
                  </a:lnTo>
                  <a:lnTo>
                    <a:pt x="142" y="1319"/>
                  </a:lnTo>
                  <a:lnTo>
                    <a:pt x="137" y="1318"/>
                  </a:lnTo>
                  <a:lnTo>
                    <a:pt x="132" y="1318"/>
                  </a:lnTo>
                  <a:lnTo>
                    <a:pt x="124" y="1316"/>
                  </a:lnTo>
                  <a:lnTo>
                    <a:pt x="124" y="1316"/>
                  </a:lnTo>
                  <a:lnTo>
                    <a:pt x="121" y="1315"/>
                  </a:lnTo>
                  <a:lnTo>
                    <a:pt x="120" y="1313"/>
                  </a:lnTo>
                  <a:lnTo>
                    <a:pt x="117" y="1309"/>
                  </a:lnTo>
                  <a:lnTo>
                    <a:pt x="117" y="1303"/>
                  </a:lnTo>
                  <a:lnTo>
                    <a:pt x="115" y="1299"/>
                  </a:lnTo>
                  <a:lnTo>
                    <a:pt x="115" y="1299"/>
                  </a:lnTo>
                  <a:lnTo>
                    <a:pt x="115" y="1296"/>
                  </a:lnTo>
                  <a:lnTo>
                    <a:pt x="117" y="1293"/>
                  </a:lnTo>
                  <a:lnTo>
                    <a:pt x="121" y="1287"/>
                  </a:lnTo>
                  <a:lnTo>
                    <a:pt x="121" y="1287"/>
                  </a:lnTo>
                  <a:lnTo>
                    <a:pt x="121" y="1285"/>
                  </a:lnTo>
                  <a:lnTo>
                    <a:pt x="120" y="1284"/>
                  </a:lnTo>
                  <a:lnTo>
                    <a:pt x="114" y="1281"/>
                  </a:lnTo>
                  <a:lnTo>
                    <a:pt x="114" y="1281"/>
                  </a:lnTo>
                  <a:lnTo>
                    <a:pt x="111" y="1276"/>
                  </a:lnTo>
                  <a:lnTo>
                    <a:pt x="108" y="1272"/>
                  </a:lnTo>
                  <a:lnTo>
                    <a:pt x="103" y="1269"/>
                  </a:lnTo>
                  <a:lnTo>
                    <a:pt x="102" y="1268"/>
                  </a:lnTo>
                  <a:lnTo>
                    <a:pt x="99" y="1266"/>
                  </a:lnTo>
                  <a:lnTo>
                    <a:pt x="99" y="1266"/>
                  </a:lnTo>
                  <a:lnTo>
                    <a:pt x="93" y="1266"/>
                  </a:lnTo>
                  <a:lnTo>
                    <a:pt x="87" y="1268"/>
                  </a:lnTo>
                  <a:lnTo>
                    <a:pt x="81" y="1268"/>
                  </a:lnTo>
                  <a:lnTo>
                    <a:pt x="77" y="1266"/>
                  </a:lnTo>
                  <a:lnTo>
                    <a:pt x="77" y="1266"/>
                  </a:lnTo>
                  <a:lnTo>
                    <a:pt x="74" y="1263"/>
                  </a:lnTo>
                  <a:lnTo>
                    <a:pt x="74" y="1262"/>
                  </a:lnTo>
                  <a:lnTo>
                    <a:pt x="72" y="1254"/>
                  </a:lnTo>
                  <a:lnTo>
                    <a:pt x="72" y="1247"/>
                  </a:lnTo>
                  <a:lnTo>
                    <a:pt x="71" y="1241"/>
                  </a:lnTo>
                  <a:lnTo>
                    <a:pt x="71" y="1241"/>
                  </a:lnTo>
                  <a:lnTo>
                    <a:pt x="69" y="1238"/>
                  </a:lnTo>
                  <a:lnTo>
                    <a:pt x="68" y="1235"/>
                  </a:lnTo>
                  <a:lnTo>
                    <a:pt x="60" y="1232"/>
                  </a:lnTo>
                  <a:lnTo>
                    <a:pt x="47" y="1229"/>
                  </a:lnTo>
                  <a:lnTo>
                    <a:pt x="47" y="1229"/>
                  </a:lnTo>
                  <a:lnTo>
                    <a:pt x="46" y="1226"/>
                  </a:lnTo>
                  <a:lnTo>
                    <a:pt x="44" y="1223"/>
                  </a:lnTo>
                  <a:lnTo>
                    <a:pt x="40" y="1211"/>
                  </a:lnTo>
                  <a:lnTo>
                    <a:pt x="37" y="1193"/>
                  </a:lnTo>
                  <a:lnTo>
                    <a:pt x="37" y="1193"/>
                  </a:lnTo>
                  <a:lnTo>
                    <a:pt x="35" y="1191"/>
                  </a:lnTo>
                  <a:lnTo>
                    <a:pt x="32" y="1188"/>
                  </a:lnTo>
                  <a:lnTo>
                    <a:pt x="25" y="1186"/>
                  </a:lnTo>
                  <a:lnTo>
                    <a:pt x="16" y="1185"/>
                  </a:lnTo>
                  <a:lnTo>
                    <a:pt x="16" y="1185"/>
                  </a:lnTo>
                  <a:lnTo>
                    <a:pt x="12" y="1183"/>
                  </a:lnTo>
                  <a:lnTo>
                    <a:pt x="9" y="1182"/>
                  </a:lnTo>
                  <a:lnTo>
                    <a:pt x="4" y="1177"/>
                  </a:lnTo>
                  <a:lnTo>
                    <a:pt x="0" y="1171"/>
                  </a:lnTo>
                  <a:lnTo>
                    <a:pt x="0" y="1171"/>
                  </a:lnTo>
                  <a:lnTo>
                    <a:pt x="0" y="1168"/>
                  </a:lnTo>
                  <a:lnTo>
                    <a:pt x="0" y="1162"/>
                  </a:lnTo>
                  <a:lnTo>
                    <a:pt x="1" y="1153"/>
                  </a:lnTo>
                  <a:lnTo>
                    <a:pt x="1" y="1148"/>
                  </a:lnTo>
                  <a:lnTo>
                    <a:pt x="1" y="1148"/>
                  </a:lnTo>
                  <a:lnTo>
                    <a:pt x="1" y="1140"/>
                  </a:lnTo>
                  <a:lnTo>
                    <a:pt x="4" y="1131"/>
                  </a:lnTo>
                  <a:lnTo>
                    <a:pt x="7" y="1124"/>
                  </a:lnTo>
                  <a:lnTo>
                    <a:pt x="10" y="1119"/>
                  </a:lnTo>
                  <a:lnTo>
                    <a:pt x="10" y="1119"/>
                  </a:lnTo>
                  <a:lnTo>
                    <a:pt x="18" y="1115"/>
                  </a:lnTo>
                  <a:lnTo>
                    <a:pt x="22" y="1111"/>
                  </a:lnTo>
                  <a:lnTo>
                    <a:pt x="22" y="1109"/>
                  </a:lnTo>
                  <a:lnTo>
                    <a:pt x="22" y="1108"/>
                  </a:lnTo>
                  <a:lnTo>
                    <a:pt x="22" y="1108"/>
                  </a:lnTo>
                  <a:lnTo>
                    <a:pt x="22" y="1099"/>
                  </a:lnTo>
                  <a:lnTo>
                    <a:pt x="23" y="1090"/>
                  </a:lnTo>
                  <a:lnTo>
                    <a:pt x="23" y="1090"/>
                  </a:lnTo>
                  <a:lnTo>
                    <a:pt x="29" y="1075"/>
                  </a:lnTo>
                  <a:lnTo>
                    <a:pt x="32" y="1069"/>
                  </a:lnTo>
                  <a:lnTo>
                    <a:pt x="35" y="1066"/>
                  </a:lnTo>
                  <a:lnTo>
                    <a:pt x="35" y="1066"/>
                  </a:lnTo>
                  <a:lnTo>
                    <a:pt x="43" y="1062"/>
                  </a:lnTo>
                  <a:lnTo>
                    <a:pt x="56" y="1056"/>
                  </a:lnTo>
                  <a:lnTo>
                    <a:pt x="56" y="1056"/>
                  </a:lnTo>
                  <a:lnTo>
                    <a:pt x="69" y="1051"/>
                  </a:lnTo>
                  <a:lnTo>
                    <a:pt x="77" y="1048"/>
                  </a:lnTo>
                  <a:lnTo>
                    <a:pt x="81" y="1045"/>
                  </a:lnTo>
                  <a:lnTo>
                    <a:pt x="81" y="1045"/>
                  </a:lnTo>
                  <a:lnTo>
                    <a:pt x="92" y="1036"/>
                  </a:lnTo>
                  <a:lnTo>
                    <a:pt x="96" y="1031"/>
                  </a:lnTo>
                  <a:lnTo>
                    <a:pt x="98" y="1029"/>
                  </a:lnTo>
                  <a:lnTo>
                    <a:pt x="98" y="1026"/>
                  </a:lnTo>
                  <a:lnTo>
                    <a:pt x="98" y="1026"/>
                  </a:lnTo>
                  <a:lnTo>
                    <a:pt x="96" y="1017"/>
                  </a:lnTo>
                  <a:lnTo>
                    <a:pt x="96" y="1014"/>
                  </a:lnTo>
                  <a:lnTo>
                    <a:pt x="98" y="1010"/>
                  </a:lnTo>
                  <a:lnTo>
                    <a:pt x="98" y="1010"/>
                  </a:lnTo>
                  <a:lnTo>
                    <a:pt x="100" y="1007"/>
                  </a:lnTo>
                  <a:lnTo>
                    <a:pt x="105" y="1004"/>
                  </a:lnTo>
                  <a:lnTo>
                    <a:pt x="109" y="1002"/>
                  </a:lnTo>
                  <a:lnTo>
                    <a:pt x="112" y="1004"/>
                  </a:lnTo>
                  <a:lnTo>
                    <a:pt x="112" y="1004"/>
                  </a:lnTo>
                  <a:lnTo>
                    <a:pt x="114" y="1004"/>
                  </a:lnTo>
                  <a:lnTo>
                    <a:pt x="118" y="1002"/>
                  </a:lnTo>
                  <a:lnTo>
                    <a:pt x="127" y="995"/>
                  </a:lnTo>
                  <a:lnTo>
                    <a:pt x="132" y="991"/>
                  </a:lnTo>
                  <a:lnTo>
                    <a:pt x="135" y="985"/>
                  </a:lnTo>
                  <a:lnTo>
                    <a:pt x="136" y="980"/>
                  </a:lnTo>
                  <a:lnTo>
                    <a:pt x="135" y="977"/>
                  </a:lnTo>
                  <a:lnTo>
                    <a:pt x="135" y="977"/>
                  </a:lnTo>
                  <a:lnTo>
                    <a:pt x="132" y="971"/>
                  </a:lnTo>
                  <a:lnTo>
                    <a:pt x="127" y="967"/>
                  </a:lnTo>
                  <a:lnTo>
                    <a:pt x="124" y="964"/>
                  </a:lnTo>
                  <a:lnTo>
                    <a:pt x="121" y="961"/>
                  </a:lnTo>
                  <a:lnTo>
                    <a:pt x="121" y="961"/>
                  </a:lnTo>
                  <a:lnTo>
                    <a:pt x="121" y="952"/>
                  </a:lnTo>
                  <a:lnTo>
                    <a:pt x="121" y="937"/>
                  </a:lnTo>
                  <a:lnTo>
                    <a:pt x="121" y="922"/>
                  </a:lnTo>
                  <a:lnTo>
                    <a:pt x="124" y="912"/>
                  </a:lnTo>
                  <a:lnTo>
                    <a:pt x="124" y="912"/>
                  </a:lnTo>
                  <a:lnTo>
                    <a:pt x="129" y="908"/>
                  </a:lnTo>
                  <a:lnTo>
                    <a:pt x="133" y="905"/>
                  </a:lnTo>
                  <a:lnTo>
                    <a:pt x="140" y="902"/>
                  </a:lnTo>
                  <a:lnTo>
                    <a:pt x="148" y="897"/>
                  </a:lnTo>
                  <a:lnTo>
                    <a:pt x="148" y="897"/>
                  </a:lnTo>
                  <a:lnTo>
                    <a:pt x="157" y="891"/>
                  </a:lnTo>
                  <a:lnTo>
                    <a:pt x="164" y="884"/>
                  </a:lnTo>
                  <a:lnTo>
                    <a:pt x="172" y="877"/>
                  </a:lnTo>
                  <a:lnTo>
                    <a:pt x="176" y="869"/>
                  </a:lnTo>
                  <a:lnTo>
                    <a:pt x="176" y="869"/>
                  </a:lnTo>
                  <a:lnTo>
                    <a:pt x="179" y="859"/>
                  </a:lnTo>
                  <a:lnTo>
                    <a:pt x="180" y="857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6" y="863"/>
                  </a:lnTo>
                  <a:lnTo>
                    <a:pt x="192" y="871"/>
                  </a:lnTo>
                  <a:lnTo>
                    <a:pt x="200" y="877"/>
                  </a:lnTo>
                  <a:lnTo>
                    <a:pt x="203" y="878"/>
                  </a:lnTo>
                  <a:lnTo>
                    <a:pt x="206" y="878"/>
                  </a:lnTo>
                  <a:lnTo>
                    <a:pt x="206" y="878"/>
                  </a:lnTo>
                  <a:lnTo>
                    <a:pt x="214" y="874"/>
                  </a:lnTo>
                  <a:lnTo>
                    <a:pt x="222" y="868"/>
                  </a:lnTo>
                  <a:lnTo>
                    <a:pt x="232" y="860"/>
                  </a:lnTo>
                  <a:lnTo>
                    <a:pt x="238" y="860"/>
                  </a:lnTo>
                  <a:lnTo>
                    <a:pt x="238" y="860"/>
                  </a:lnTo>
                  <a:lnTo>
                    <a:pt x="238" y="863"/>
                  </a:lnTo>
                  <a:lnTo>
                    <a:pt x="238" y="868"/>
                  </a:lnTo>
                  <a:lnTo>
                    <a:pt x="243" y="878"/>
                  </a:lnTo>
                  <a:lnTo>
                    <a:pt x="243" y="878"/>
                  </a:lnTo>
                  <a:lnTo>
                    <a:pt x="249" y="885"/>
                  </a:lnTo>
                  <a:lnTo>
                    <a:pt x="253" y="891"/>
                  </a:lnTo>
                  <a:lnTo>
                    <a:pt x="262" y="902"/>
                  </a:lnTo>
                  <a:lnTo>
                    <a:pt x="262" y="902"/>
                  </a:lnTo>
                  <a:lnTo>
                    <a:pt x="268" y="906"/>
                  </a:lnTo>
                  <a:lnTo>
                    <a:pt x="274" y="912"/>
                  </a:lnTo>
                  <a:lnTo>
                    <a:pt x="280" y="917"/>
                  </a:lnTo>
                  <a:lnTo>
                    <a:pt x="284" y="918"/>
                  </a:lnTo>
                  <a:lnTo>
                    <a:pt x="289" y="918"/>
                  </a:lnTo>
                  <a:lnTo>
                    <a:pt x="289" y="918"/>
                  </a:lnTo>
                  <a:lnTo>
                    <a:pt x="294" y="918"/>
                  </a:lnTo>
                  <a:lnTo>
                    <a:pt x="299" y="918"/>
                  </a:lnTo>
                  <a:lnTo>
                    <a:pt x="300" y="915"/>
                  </a:lnTo>
                  <a:lnTo>
                    <a:pt x="300" y="915"/>
                  </a:lnTo>
                  <a:lnTo>
                    <a:pt x="309" y="905"/>
                  </a:lnTo>
                  <a:lnTo>
                    <a:pt x="312" y="899"/>
                  </a:lnTo>
                  <a:lnTo>
                    <a:pt x="317" y="896"/>
                  </a:lnTo>
                  <a:lnTo>
                    <a:pt x="317" y="896"/>
                  </a:lnTo>
                  <a:lnTo>
                    <a:pt x="321" y="894"/>
                  </a:lnTo>
                  <a:lnTo>
                    <a:pt x="324" y="894"/>
                  </a:lnTo>
                  <a:lnTo>
                    <a:pt x="329" y="894"/>
                  </a:lnTo>
                  <a:lnTo>
                    <a:pt x="333" y="893"/>
                  </a:lnTo>
                  <a:lnTo>
                    <a:pt x="333" y="893"/>
                  </a:lnTo>
                  <a:lnTo>
                    <a:pt x="334" y="890"/>
                  </a:lnTo>
                  <a:lnTo>
                    <a:pt x="334" y="885"/>
                  </a:lnTo>
                  <a:lnTo>
                    <a:pt x="333" y="881"/>
                  </a:lnTo>
                  <a:lnTo>
                    <a:pt x="330" y="875"/>
                  </a:lnTo>
                  <a:lnTo>
                    <a:pt x="330" y="875"/>
                  </a:lnTo>
                  <a:lnTo>
                    <a:pt x="327" y="871"/>
                  </a:lnTo>
                  <a:lnTo>
                    <a:pt x="323" y="866"/>
                  </a:lnTo>
                  <a:lnTo>
                    <a:pt x="314" y="859"/>
                  </a:lnTo>
                  <a:lnTo>
                    <a:pt x="314" y="859"/>
                  </a:lnTo>
                  <a:lnTo>
                    <a:pt x="306" y="854"/>
                  </a:lnTo>
                  <a:lnTo>
                    <a:pt x="303" y="851"/>
                  </a:lnTo>
                  <a:lnTo>
                    <a:pt x="302" y="848"/>
                  </a:lnTo>
                  <a:lnTo>
                    <a:pt x="302" y="848"/>
                  </a:lnTo>
                  <a:lnTo>
                    <a:pt x="302" y="842"/>
                  </a:lnTo>
                  <a:lnTo>
                    <a:pt x="305" y="840"/>
                  </a:lnTo>
                  <a:lnTo>
                    <a:pt x="308" y="837"/>
                  </a:lnTo>
                  <a:lnTo>
                    <a:pt x="311" y="831"/>
                  </a:lnTo>
                  <a:lnTo>
                    <a:pt x="311" y="831"/>
                  </a:lnTo>
                  <a:lnTo>
                    <a:pt x="317" y="814"/>
                  </a:lnTo>
                  <a:lnTo>
                    <a:pt x="320" y="808"/>
                  </a:lnTo>
                  <a:lnTo>
                    <a:pt x="324" y="805"/>
                  </a:lnTo>
                  <a:lnTo>
                    <a:pt x="324" y="805"/>
                  </a:lnTo>
                  <a:lnTo>
                    <a:pt x="331" y="801"/>
                  </a:lnTo>
                  <a:lnTo>
                    <a:pt x="337" y="801"/>
                  </a:lnTo>
                  <a:lnTo>
                    <a:pt x="337" y="801"/>
                  </a:lnTo>
                  <a:lnTo>
                    <a:pt x="342" y="801"/>
                  </a:lnTo>
                  <a:lnTo>
                    <a:pt x="343" y="800"/>
                  </a:lnTo>
                  <a:lnTo>
                    <a:pt x="346" y="800"/>
                  </a:lnTo>
                  <a:lnTo>
                    <a:pt x="352" y="798"/>
                  </a:lnTo>
                  <a:lnTo>
                    <a:pt x="352" y="798"/>
                  </a:lnTo>
                  <a:lnTo>
                    <a:pt x="364" y="800"/>
                  </a:lnTo>
                  <a:lnTo>
                    <a:pt x="374" y="801"/>
                  </a:lnTo>
                  <a:lnTo>
                    <a:pt x="374" y="801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6" y="807"/>
                  </a:lnTo>
                  <a:lnTo>
                    <a:pt x="376" y="816"/>
                  </a:lnTo>
                  <a:lnTo>
                    <a:pt x="376" y="816"/>
                  </a:lnTo>
                  <a:lnTo>
                    <a:pt x="377" y="835"/>
                  </a:lnTo>
                  <a:lnTo>
                    <a:pt x="379" y="845"/>
                  </a:lnTo>
                  <a:lnTo>
                    <a:pt x="377" y="853"/>
                  </a:lnTo>
                  <a:lnTo>
                    <a:pt x="377" y="853"/>
                  </a:lnTo>
                  <a:lnTo>
                    <a:pt x="374" y="860"/>
                  </a:lnTo>
                  <a:lnTo>
                    <a:pt x="373" y="865"/>
                  </a:lnTo>
                  <a:lnTo>
                    <a:pt x="371" y="868"/>
                  </a:lnTo>
                  <a:lnTo>
                    <a:pt x="374" y="871"/>
                  </a:lnTo>
                  <a:lnTo>
                    <a:pt x="374" y="871"/>
                  </a:lnTo>
                  <a:lnTo>
                    <a:pt x="379" y="877"/>
                  </a:lnTo>
                  <a:lnTo>
                    <a:pt x="383" y="882"/>
                  </a:lnTo>
                  <a:lnTo>
                    <a:pt x="389" y="894"/>
                  </a:lnTo>
                  <a:lnTo>
                    <a:pt x="389" y="894"/>
                  </a:lnTo>
                  <a:lnTo>
                    <a:pt x="391" y="906"/>
                  </a:lnTo>
                  <a:lnTo>
                    <a:pt x="395" y="927"/>
                  </a:lnTo>
                  <a:lnTo>
                    <a:pt x="395" y="927"/>
                  </a:lnTo>
                  <a:lnTo>
                    <a:pt x="395" y="937"/>
                  </a:lnTo>
                  <a:lnTo>
                    <a:pt x="397" y="942"/>
                  </a:lnTo>
                  <a:lnTo>
                    <a:pt x="397" y="945"/>
                  </a:lnTo>
                  <a:lnTo>
                    <a:pt x="398" y="945"/>
                  </a:lnTo>
                  <a:lnTo>
                    <a:pt x="406" y="948"/>
                  </a:lnTo>
                  <a:lnTo>
                    <a:pt x="406" y="948"/>
                  </a:lnTo>
                  <a:lnTo>
                    <a:pt x="416" y="948"/>
                  </a:lnTo>
                  <a:lnTo>
                    <a:pt x="423" y="946"/>
                  </a:lnTo>
                  <a:lnTo>
                    <a:pt x="431" y="943"/>
                  </a:lnTo>
                  <a:lnTo>
                    <a:pt x="431" y="943"/>
                  </a:lnTo>
                  <a:lnTo>
                    <a:pt x="434" y="943"/>
                  </a:lnTo>
                  <a:lnTo>
                    <a:pt x="437" y="943"/>
                  </a:lnTo>
                  <a:lnTo>
                    <a:pt x="443" y="937"/>
                  </a:lnTo>
                  <a:lnTo>
                    <a:pt x="443" y="937"/>
                  </a:lnTo>
                  <a:lnTo>
                    <a:pt x="448" y="934"/>
                  </a:lnTo>
                  <a:lnTo>
                    <a:pt x="450" y="931"/>
                  </a:lnTo>
                  <a:lnTo>
                    <a:pt x="451" y="927"/>
                  </a:lnTo>
                  <a:lnTo>
                    <a:pt x="451" y="927"/>
                  </a:lnTo>
                  <a:lnTo>
                    <a:pt x="453" y="911"/>
                  </a:lnTo>
                  <a:lnTo>
                    <a:pt x="454" y="900"/>
                  </a:lnTo>
                  <a:lnTo>
                    <a:pt x="456" y="896"/>
                  </a:lnTo>
                  <a:lnTo>
                    <a:pt x="456" y="896"/>
                  </a:lnTo>
                  <a:lnTo>
                    <a:pt x="463" y="890"/>
                  </a:lnTo>
                  <a:lnTo>
                    <a:pt x="472" y="885"/>
                  </a:lnTo>
                  <a:lnTo>
                    <a:pt x="472" y="885"/>
                  </a:lnTo>
                  <a:lnTo>
                    <a:pt x="481" y="882"/>
                  </a:lnTo>
                  <a:lnTo>
                    <a:pt x="485" y="881"/>
                  </a:lnTo>
                  <a:lnTo>
                    <a:pt x="490" y="882"/>
                  </a:lnTo>
                  <a:lnTo>
                    <a:pt x="490" y="882"/>
                  </a:lnTo>
                  <a:lnTo>
                    <a:pt x="494" y="884"/>
                  </a:lnTo>
                  <a:lnTo>
                    <a:pt x="500" y="882"/>
                  </a:lnTo>
                  <a:lnTo>
                    <a:pt x="508" y="882"/>
                  </a:lnTo>
                  <a:lnTo>
                    <a:pt x="514" y="882"/>
                  </a:lnTo>
                  <a:lnTo>
                    <a:pt x="514" y="882"/>
                  </a:lnTo>
                  <a:lnTo>
                    <a:pt x="521" y="885"/>
                  </a:lnTo>
                  <a:lnTo>
                    <a:pt x="524" y="885"/>
                  </a:lnTo>
                  <a:lnTo>
                    <a:pt x="530" y="885"/>
                  </a:lnTo>
                  <a:lnTo>
                    <a:pt x="530" y="885"/>
                  </a:lnTo>
                  <a:lnTo>
                    <a:pt x="546" y="885"/>
                  </a:lnTo>
                  <a:lnTo>
                    <a:pt x="557" y="885"/>
                  </a:lnTo>
                  <a:lnTo>
                    <a:pt x="557" y="885"/>
                  </a:lnTo>
                  <a:lnTo>
                    <a:pt x="562" y="888"/>
                  </a:lnTo>
                  <a:lnTo>
                    <a:pt x="571" y="894"/>
                  </a:lnTo>
                  <a:lnTo>
                    <a:pt x="571" y="894"/>
                  </a:lnTo>
                  <a:lnTo>
                    <a:pt x="576" y="899"/>
                  </a:lnTo>
                  <a:lnTo>
                    <a:pt x="580" y="902"/>
                  </a:lnTo>
                  <a:lnTo>
                    <a:pt x="588" y="902"/>
                  </a:lnTo>
                  <a:lnTo>
                    <a:pt x="599" y="902"/>
                  </a:lnTo>
                  <a:lnTo>
                    <a:pt x="599" y="902"/>
                  </a:lnTo>
                  <a:lnTo>
                    <a:pt x="631" y="902"/>
                  </a:lnTo>
                  <a:lnTo>
                    <a:pt x="631" y="902"/>
                  </a:lnTo>
                  <a:lnTo>
                    <a:pt x="634" y="902"/>
                  </a:lnTo>
                  <a:lnTo>
                    <a:pt x="637" y="903"/>
                  </a:lnTo>
                  <a:lnTo>
                    <a:pt x="638" y="905"/>
                  </a:lnTo>
                  <a:lnTo>
                    <a:pt x="638" y="905"/>
                  </a:lnTo>
                  <a:lnTo>
                    <a:pt x="639" y="908"/>
                  </a:lnTo>
                  <a:lnTo>
                    <a:pt x="641" y="909"/>
                  </a:lnTo>
                  <a:lnTo>
                    <a:pt x="641" y="914"/>
                  </a:lnTo>
                  <a:lnTo>
                    <a:pt x="641" y="914"/>
                  </a:lnTo>
                  <a:lnTo>
                    <a:pt x="642" y="917"/>
                  </a:lnTo>
                  <a:lnTo>
                    <a:pt x="650" y="927"/>
                  </a:lnTo>
                  <a:lnTo>
                    <a:pt x="650" y="927"/>
                  </a:lnTo>
                  <a:lnTo>
                    <a:pt x="653" y="931"/>
                  </a:lnTo>
                  <a:lnTo>
                    <a:pt x="656" y="936"/>
                  </a:lnTo>
                  <a:lnTo>
                    <a:pt x="659" y="939"/>
                  </a:lnTo>
                  <a:lnTo>
                    <a:pt x="659" y="939"/>
                  </a:lnTo>
                  <a:lnTo>
                    <a:pt x="660" y="942"/>
                  </a:lnTo>
                  <a:lnTo>
                    <a:pt x="660" y="946"/>
                  </a:lnTo>
                  <a:lnTo>
                    <a:pt x="657" y="951"/>
                  </a:lnTo>
                  <a:lnTo>
                    <a:pt x="654" y="955"/>
                  </a:lnTo>
                  <a:lnTo>
                    <a:pt x="654" y="955"/>
                  </a:lnTo>
                  <a:lnTo>
                    <a:pt x="650" y="959"/>
                  </a:lnTo>
                  <a:lnTo>
                    <a:pt x="647" y="964"/>
                  </a:lnTo>
                  <a:lnTo>
                    <a:pt x="645" y="970"/>
                  </a:lnTo>
                  <a:lnTo>
                    <a:pt x="645" y="976"/>
                  </a:lnTo>
                  <a:lnTo>
                    <a:pt x="645" y="976"/>
                  </a:lnTo>
                  <a:lnTo>
                    <a:pt x="648" y="982"/>
                  </a:lnTo>
                  <a:lnTo>
                    <a:pt x="650" y="985"/>
                  </a:lnTo>
                  <a:lnTo>
                    <a:pt x="650" y="985"/>
                  </a:lnTo>
                  <a:lnTo>
                    <a:pt x="651" y="986"/>
                  </a:lnTo>
                  <a:lnTo>
                    <a:pt x="650" y="988"/>
                  </a:lnTo>
                  <a:lnTo>
                    <a:pt x="650" y="989"/>
                  </a:lnTo>
                  <a:lnTo>
                    <a:pt x="654" y="992"/>
                  </a:lnTo>
                  <a:lnTo>
                    <a:pt x="674" y="985"/>
                  </a:lnTo>
                  <a:lnTo>
                    <a:pt x="674" y="985"/>
                  </a:lnTo>
                  <a:lnTo>
                    <a:pt x="674" y="985"/>
                  </a:lnTo>
                  <a:lnTo>
                    <a:pt x="682" y="982"/>
                  </a:lnTo>
                  <a:lnTo>
                    <a:pt x="682" y="982"/>
                  </a:lnTo>
                  <a:lnTo>
                    <a:pt x="700" y="973"/>
                  </a:lnTo>
                  <a:lnTo>
                    <a:pt x="700" y="973"/>
                  </a:lnTo>
                  <a:lnTo>
                    <a:pt x="715" y="965"/>
                  </a:lnTo>
                  <a:lnTo>
                    <a:pt x="715" y="965"/>
                  </a:lnTo>
                  <a:lnTo>
                    <a:pt x="722" y="961"/>
                  </a:lnTo>
                  <a:lnTo>
                    <a:pt x="730" y="957"/>
                  </a:lnTo>
                  <a:lnTo>
                    <a:pt x="730" y="957"/>
                  </a:lnTo>
                  <a:lnTo>
                    <a:pt x="740" y="945"/>
                  </a:lnTo>
                  <a:lnTo>
                    <a:pt x="740" y="945"/>
                  </a:lnTo>
                  <a:lnTo>
                    <a:pt x="743" y="940"/>
                  </a:lnTo>
                  <a:lnTo>
                    <a:pt x="746" y="931"/>
                  </a:lnTo>
                  <a:lnTo>
                    <a:pt x="746" y="931"/>
                  </a:lnTo>
                  <a:lnTo>
                    <a:pt x="745" y="928"/>
                  </a:lnTo>
                  <a:lnTo>
                    <a:pt x="743" y="924"/>
                  </a:lnTo>
                  <a:lnTo>
                    <a:pt x="742" y="918"/>
                  </a:lnTo>
                  <a:lnTo>
                    <a:pt x="742" y="915"/>
                  </a:lnTo>
                  <a:lnTo>
                    <a:pt x="742" y="915"/>
                  </a:lnTo>
                  <a:lnTo>
                    <a:pt x="740" y="906"/>
                  </a:lnTo>
                  <a:lnTo>
                    <a:pt x="740" y="906"/>
                  </a:lnTo>
                  <a:lnTo>
                    <a:pt x="742" y="902"/>
                  </a:lnTo>
                  <a:lnTo>
                    <a:pt x="748" y="894"/>
                  </a:lnTo>
                  <a:lnTo>
                    <a:pt x="752" y="888"/>
                  </a:lnTo>
                  <a:lnTo>
                    <a:pt x="756" y="884"/>
                  </a:lnTo>
                  <a:lnTo>
                    <a:pt x="764" y="880"/>
                  </a:lnTo>
                  <a:lnTo>
                    <a:pt x="771" y="875"/>
                  </a:lnTo>
                  <a:lnTo>
                    <a:pt x="771" y="875"/>
                  </a:lnTo>
                  <a:lnTo>
                    <a:pt x="795" y="868"/>
                  </a:lnTo>
                  <a:lnTo>
                    <a:pt x="802" y="865"/>
                  </a:lnTo>
                  <a:lnTo>
                    <a:pt x="810" y="860"/>
                  </a:lnTo>
                  <a:lnTo>
                    <a:pt x="810" y="860"/>
                  </a:lnTo>
                  <a:lnTo>
                    <a:pt x="819" y="856"/>
                  </a:lnTo>
                  <a:lnTo>
                    <a:pt x="823" y="853"/>
                  </a:lnTo>
                  <a:lnTo>
                    <a:pt x="828" y="853"/>
                  </a:lnTo>
                  <a:lnTo>
                    <a:pt x="830" y="850"/>
                  </a:lnTo>
                  <a:lnTo>
                    <a:pt x="830" y="850"/>
                  </a:lnTo>
                  <a:lnTo>
                    <a:pt x="835" y="845"/>
                  </a:lnTo>
                  <a:lnTo>
                    <a:pt x="839" y="834"/>
                  </a:lnTo>
                  <a:lnTo>
                    <a:pt x="839" y="834"/>
                  </a:lnTo>
                  <a:lnTo>
                    <a:pt x="842" y="820"/>
                  </a:lnTo>
                  <a:lnTo>
                    <a:pt x="844" y="813"/>
                  </a:lnTo>
                  <a:lnTo>
                    <a:pt x="844" y="813"/>
                  </a:lnTo>
                  <a:lnTo>
                    <a:pt x="847" y="798"/>
                  </a:lnTo>
                  <a:lnTo>
                    <a:pt x="848" y="792"/>
                  </a:lnTo>
                  <a:lnTo>
                    <a:pt x="848" y="791"/>
                  </a:lnTo>
                  <a:lnTo>
                    <a:pt x="850" y="791"/>
                  </a:lnTo>
                  <a:lnTo>
                    <a:pt x="850" y="791"/>
                  </a:lnTo>
                  <a:lnTo>
                    <a:pt x="854" y="791"/>
                  </a:lnTo>
                  <a:lnTo>
                    <a:pt x="859" y="792"/>
                  </a:lnTo>
                  <a:lnTo>
                    <a:pt x="863" y="797"/>
                  </a:lnTo>
                  <a:lnTo>
                    <a:pt x="866" y="805"/>
                  </a:lnTo>
                  <a:lnTo>
                    <a:pt x="866" y="805"/>
                  </a:lnTo>
                  <a:lnTo>
                    <a:pt x="868" y="816"/>
                  </a:lnTo>
                  <a:lnTo>
                    <a:pt x="872" y="825"/>
                  </a:lnTo>
                  <a:lnTo>
                    <a:pt x="878" y="832"/>
                  </a:lnTo>
                  <a:lnTo>
                    <a:pt x="887" y="841"/>
                  </a:lnTo>
                  <a:lnTo>
                    <a:pt x="887" y="841"/>
                  </a:lnTo>
                  <a:lnTo>
                    <a:pt x="893" y="844"/>
                  </a:lnTo>
                  <a:lnTo>
                    <a:pt x="896" y="848"/>
                  </a:lnTo>
                  <a:lnTo>
                    <a:pt x="900" y="856"/>
                  </a:lnTo>
                  <a:lnTo>
                    <a:pt x="902" y="868"/>
                  </a:lnTo>
                  <a:lnTo>
                    <a:pt x="902" y="868"/>
                  </a:lnTo>
                  <a:lnTo>
                    <a:pt x="903" y="872"/>
                  </a:lnTo>
                  <a:lnTo>
                    <a:pt x="905" y="877"/>
                  </a:lnTo>
                  <a:lnTo>
                    <a:pt x="903" y="882"/>
                  </a:lnTo>
                  <a:lnTo>
                    <a:pt x="902" y="887"/>
                  </a:lnTo>
                  <a:lnTo>
                    <a:pt x="902" y="887"/>
                  </a:lnTo>
                  <a:lnTo>
                    <a:pt x="899" y="890"/>
                  </a:lnTo>
                  <a:lnTo>
                    <a:pt x="896" y="891"/>
                  </a:lnTo>
                  <a:lnTo>
                    <a:pt x="894" y="894"/>
                  </a:lnTo>
                  <a:lnTo>
                    <a:pt x="894" y="903"/>
                  </a:lnTo>
                  <a:lnTo>
                    <a:pt x="894" y="903"/>
                  </a:lnTo>
                  <a:lnTo>
                    <a:pt x="894" y="914"/>
                  </a:lnTo>
                  <a:lnTo>
                    <a:pt x="893" y="917"/>
                  </a:lnTo>
                  <a:lnTo>
                    <a:pt x="891" y="919"/>
                  </a:lnTo>
                  <a:lnTo>
                    <a:pt x="891" y="925"/>
                  </a:lnTo>
                  <a:lnTo>
                    <a:pt x="891" y="925"/>
                  </a:lnTo>
                  <a:lnTo>
                    <a:pt x="891" y="936"/>
                  </a:lnTo>
                  <a:lnTo>
                    <a:pt x="891" y="940"/>
                  </a:lnTo>
                  <a:lnTo>
                    <a:pt x="888" y="943"/>
                  </a:lnTo>
                  <a:lnTo>
                    <a:pt x="888" y="943"/>
                  </a:lnTo>
                  <a:lnTo>
                    <a:pt x="884" y="946"/>
                  </a:lnTo>
                  <a:lnTo>
                    <a:pt x="881" y="951"/>
                  </a:lnTo>
                  <a:lnTo>
                    <a:pt x="876" y="954"/>
                  </a:lnTo>
                  <a:lnTo>
                    <a:pt x="872" y="955"/>
                  </a:lnTo>
                  <a:lnTo>
                    <a:pt x="872" y="955"/>
                  </a:lnTo>
                  <a:lnTo>
                    <a:pt x="868" y="954"/>
                  </a:lnTo>
                  <a:lnTo>
                    <a:pt x="865" y="952"/>
                  </a:lnTo>
                  <a:lnTo>
                    <a:pt x="857" y="943"/>
                  </a:lnTo>
                  <a:lnTo>
                    <a:pt x="857" y="943"/>
                  </a:lnTo>
                  <a:lnTo>
                    <a:pt x="847" y="934"/>
                  </a:lnTo>
                  <a:lnTo>
                    <a:pt x="844" y="933"/>
                  </a:lnTo>
                  <a:lnTo>
                    <a:pt x="836" y="933"/>
                  </a:lnTo>
                  <a:lnTo>
                    <a:pt x="836" y="933"/>
                  </a:lnTo>
                  <a:lnTo>
                    <a:pt x="811" y="933"/>
                  </a:lnTo>
                  <a:lnTo>
                    <a:pt x="811" y="933"/>
                  </a:lnTo>
                  <a:lnTo>
                    <a:pt x="798" y="936"/>
                  </a:lnTo>
                  <a:lnTo>
                    <a:pt x="792" y="937"/>
                  </a:lnTo>
                  <a:lnTo>
                    <a:pt x="789" y="940"/>
                  </a:lnTo>
                  <a:lnTo>
                    <a:pt x="789" y="940"/>
                  </a:lnTo>
                  <a:lnTo>
                    <a:pt x="788" y="943"/>
                  </a:lnTo>
                  <a:lnTo>
                    <a:pt x="788" y="948"/>
                  </a:lnTo>
                  <a:lnTo>
                    <a:pt x="786" y="954"/>
                  </a:lnTo>
                  <a:lnTo>
                    <a:pt x="786" y="954"/>
                  </a:lnTo>
                  <a:lnTo>
                    <a:pt x="786" y="962"/>
                  </a:lnTo>
                  <a:lnTo>
                    <a:pt x="785" y="983"/>
                  </a:lnTo>
                  <a:lnTo>
                    <a:pt x="785" y="983"/>
                  </a:lnTo>
                  <a:lnTo>
                    <a:pt x="783" y="1005"/>
                  </a:lnTo>
                  <a:lnTo>
                    <a:pt x="783" y="1013"/>
                  </a:lnTo>
                  <a:lnTo>
                    <a:pt x="785" y="1022"/>
                  </a:lnTo>
                  <a:lnTo>
                    <a:pt x="785" y="1022"/>
                  </a:lnTo>
                  <a:lnTo>
                    <a:pt x="788" y="1029"/>
                  </a:lnTo>
                  <a:lnTo>
                    <a:pt x="789" y="1031"/>
                  </a:lnTo>
                  <a:lnTo>
                    <a:pt x="791" y="1032"/>
                  </a:lnTo>
                  <a:lnTo>
                    <a:pt x="795" y="1031"/>
                  </a:lnTo>
                  <a:lnTo>
                    <a:pt x="798" y="1031"/>
                  </a:lnTo>
                  <a:lnTo>
                    <a:pt x="798" y="1031"/>
                  </a:lnTo>
                  <a:lnTo>
                    <a:pt x="801" y="1031"/>
                  </a:lnTo>
                  <a:lnTo>
                    <a:pt x="804" y="1032"/>
                  </a:lnTo>
                  <a:lnTo>
                    <a:pt x="819" y="1039"/>
                  </a:lnTo>
                  <a:lnTo>
                    <a:pt x="819" y="1039"/>
                  </a:lnTo>
                  <a:lnTo>
                    <a:pt x="825" y="1041"/>
                  </a:lnTo>
                  <a:lnTo>
                    <a:pt x="829" y="1041"/>
                  </a:lnTo>
                  <a:lnTo>
                    <a:pt x="836" y="1039"/>
                  </a:lnTo>
                  <a:lnTo>
                    <a:pt x="836" y="1039"/>
                  </a:lnTo>
                  <a:lnTo>
                    <a:pt x="845" y="1035"/>
                  </a:lnTo>
                  <a:lnTo>
                    <a:pt x="851" y="1032"/>
                  </a:lnTo>
                  <a:lnTo>
                    <a:pt x="860" y="1026"/>
                  </a:lnTo>
                  <a:lnTo>
                    <a:pt x="860" y="1026"/>
                  </a:lnTo>
                  <a:lnTo>
                    <a:pt x="865" y="1019"/>
                  </a:lnTo>
                  <a:lnTo>
                    <a:pt x="868" y="1016"/>
                  </a:lnTo>
                  <a:lnTo>
                    <a:pt x="873" y="1014"/>
                  </a:lnTo>
                  <a:lnTo>
                    <a:pt x="873" y="1014"/>
                  </a:lnTo>
                  <a:lnTo>
                    <a:pt x="879" y="1013"/>
                  </a:lnTo>
                  <a:lnTo>
                    <a:pt x="884" y="1011"/>
                  </a:lnTo>
                  <a:lnTo>
                    <a:pt x="888" y="1010"/>
                  </a:lnTo>
                  <a:lnTo>
                    <a:pt x="896" y="1013"/>
                  </a:lnTo>
                  <a:lnTo>
                    <a:pt x="896" y="1013"/>
                  </a:lnTo>
                  <a:lnTo>
                    <a:pt x="912" y="1023"/>
                  </a:lnTo>
                  <a:lnTo>
                    <a:pt x="918" y="1025"/>
                  </a:lnTo>
                  <a:lnTo>
                    <a:pt x="922" y="1023"/>
                  </a:lnTo>
                  <a:lnTo>
                    <a:pt x="922" y="1023"/>
                  </a:lnTo>
                  <a:lnTo>
                    <a:pt x="924" y="1020"/>
                  </a:lnTo>
                  <a:lnTo>
                    <a:pt x="927" y="1014"/>
                  </a:lnTo>
                  <a:lnTo>
                    <a:pt x="930" y="1010"/>
                  </a:lnTo>
                  <a:lnTo>
                    <a:pt x="933" y="1008"/>
                  </a:lnTo>
                  <a:lnTo>
                    <a:pt x="937" y="1007"/>
                  </a:lnTo>
                  <a:lnTo>
                    <a:pt x="937" y="1007"/>
                  </a:lnTo>
                  <a:lnTo>
                    <a:pt x="939" y="1007"/>
                  </a:lnTo>
                  <a:lnTo>
                    <a:pt x="942" y="1011"/>
                  </a:lnTo>
                  <a:lnTo>
                    <a:pt x="945" y="1016"/>
                  </a:lnTo>
                  <a:lnTo>
                    <a:pt x="949" y="1019"/>
                  </a:lnTo>
                  <a:lnTo>
                    <a:pt x="949" y="1019"/>
                  </a:lnTo>
                  <a:lnTo>
                    <a:pt x="959" y="1025"/>
                  </a:lnTo>
                  <a:lnTo>
                    <a:pt x="967" y="1026"/>
                  </a:lnTo>
                  <a:lnTo>
                    <a:pt x="976" y="1028"/>
                  </a:lnTo>
                  <a:lnTo>
                    <a:pt x="976" y="1028"/>
                  </a:lnTo>
                  <a:lnTo>
                    <a:pt x="1011" y="1028"/>
                  </a:lnTo>
                  <a:lnTo>
                    <a:pt x="1035" y="1028"/>
                  </a:lnTo>
                  <a:lnTo>
                    <a:pt x="1035" y="1028"/>
                  </a:lnTo>
                  <a:lnTo>
                    <a:pt x="1042" y="1031"/>
                  </a:lnTo>
                  <a:lnTo>
                    <a:pt x="1048" y="1035"/>
                  </a:lnTo>
                  <a:lnTo>
                    <a:pt x="1054" y="1039"/>
                  </a:lnTo>
                  <a:lnTo>
                    <a:pt x="1054" y="1039"/>
                  </a:lnTo>
                  <a:lnTo>
                    <a:pt x="1059" y="1044"/>
                  </a:lnTo>
                  <a:lnTo>
                    <a:pt x="1063" y="1044"/>
                  </a:lnTo>
                  <a:lnTo>
                    <a:pt x="1070" y="1044"/>
                  </a:lnTo>
                  <a:lnTo>
                    <a:pt x="1070" y="1044"/>
                  </a:lnTo>
                  <a:lnTo>
                    <a:pt x="1072" y="1044"/>
                  </a:lnTo>
                  <a:lnTo>
                    <a:pt x="1072" y="1044"/>
                  </a:lnTo>
                  <a:lnTo>
                    <a:pt x="1085" y="1045"/>
                  </a:lnTo>
                  <a:lnTo>
                    <a:pt x="1085" y="1045"/>
                  </a:lnTo>
                  <a:lnTo>
                    <a:pt x="1087" y="1053"/>
                  </a:lnTo>
                  <a:lnTo>
                    <a:pt x="1088" y="1065"/>
                  </a:lnTo>
                  <a:lnTo>
                    <a:pt x="1088" y="1065"/>
                  </a:lnTo>
                  <a:lnTo>
                    <a:pt x="1088" y="1069"/>
                  </a:lnTo>
                  <a:lnTo>
                    <a:pt x="1090" y="1074"/>
                  </a:lnTo>
                  <a:lnTo>
                    <a:pt x="1090" y="1074"/>
                  </a:lnTo>
                  <a:lnTo>
                    <a:pt x="1090" y="1074"/>
                  </a:lnTo>
                  <a:lnTo>
                    <a:pt x="1091" y="1074"/>
                  </a:lnTo>
                  <a:lnTo>
                    <a:pt x="1094" y="1072"/>
                  </a:lnTo>
                  <a:lnTo>
                    <a:pt x="1098" y="1068"/>
                  </a:lnTo>
                  <a:lnTo>
                    <a:pt x="1101" y="1065"/>
                  </a:lnTo>
                  <a:lnTo>
                    <a:pt x="1101" y="1065"/>
                  </a:lnTo>
                  <a:lnTo>
                    <a:pt x="1101" y="1062"/>
                  </a:lnTo>
                  <a:lnTo>
                    <a:pt x="1104" y="1057"/>
                  </a:lnTo>
                  <a:lnTo>
                    <a:pt x="1107" y="1054"/>
                  </a:lnTo>
                  <a:lnTo>
                    <a:pt x="1107" y="1054"/>
                  </a:lnTo>
                  <a:lnTo>
                    <a:pt x="1107" y="1053"/>
                  </a:lnTo>
                  <a:lnTo>
                    <a:pt x="1107" y="1050"/>
                  </a:lnTo>
                  <a:lnTo>
                    <a:pt x="1107" y="1048"/>
                  </a:lnTo>
                  <a:lnTo>
                    <a:pt x="1110" y="1047"/>
                  </a:lnTo>
                  <a:lnTo>
                    <a:pt x="1113" y="1045"/>
                  </a:lnTo>
                  <a:lnTo>
                    <a:pt x="1118" y="1045"/>
                  </a:lnTo>
                  <a:lnTo>
                    <a:pt x="1118" y="1045"/>
                  </a:lnTo>
                  <a:lnTo>
                    <a:pt x="1130" y="1047"/>
                  </a:lnTo>
                  <a:lnTo>
                    <a:pt x="1141" y="1048"/>
                  </a:lnTo>
                  <a:lnTo>
                    <a:pt x="1141" y="1048"/>
                  </a:lnTo>
                  <a:lnTo>
                    <a:pt x="1162" y="1057"/>
                  </a:lnTo>
                  <a:lnTo>
                    <a:pt x="1162" y="1057"/>
                  </a:lnTo>
                  <a:lnTo>
                    <a:pt x="1174" y="1063"/>
                  </a:lnTo>
                  <a:lnTo>
                    <a:pt x="1181" y="1069"/>
                  </a:lnTo>
                  <a:lnTo>
                    <a:pt x="1187" y="1075"/>
                  </a:lnTo>
                  <a:lnTo>
                    <a:pt x="1192" y="1082"/>
                  </a:lnTo>
                  <a:lnTo>
                    <a:pt x="1187" y="1087"/>
                  </a:lnTo>
                  <a:lnTo>
                    <a:pt x="1174" y="1087"/>
                  </a:lnTo>
                  <a:lnTo>
                    <a:pt x="1164" y="1085"/>
                  </a:lnTo>
                  <a:lnTo>
                    <a:pt x="1164" y="1085"/>
                  </a:lnTo>
                  <a:lnTo>
                    <a:pt x="1161" y="1087"/>
                  </a:lnTo>
                  <a:lnTo>
                    <a:pt x="1155" y="1091"/>
                  </a:lnTo>
                  <a:lnTo>
                    <a:pt x="1155" y="1091"/>
                  </a:lnTo>
                  <a:lnTo>
                    <a:pt x="1152" y="1093"/>
                  </a:lnTo>
                  <a:lnTo>
                    <a:pt x="1147" y="1094"/>
                  </a:lnTo>
                  <a:lnTo>
                    <a:pt x="1144" y="1097"/>
                  </a:lnTo>
                  <a:lnTo>
                    <a:pt x="1140" y="1102"/>
                  </a:lnTo>
                  <a:lnTo>
                    <a:pt x="1140" y="1102"/>
                  </a:lnTo>
                  <a:lnTo>
                    <a:pt x="1136" y="1114"/>
                  </a:lnTo>
                  <a:lnTo>
                    <a:pt x="1134" y="1116"/>
                  </a:lnTo>
                  <a:lnTo>
                    <a:pt x="1130" y="1116"/>
                  </a:lnTo>
                  <a:lnTo>
                    <a:pt x="1130" y="1116"/>
                  </a:lnTo>
                  <a:lnTo>
                    <a:pt x="1125" y="1114"/>
                  </a:lnTo>
                  <a:lnTo>
                    <a:pt x="1121" y="1109"/>
                  </a:lnTo>
                  <a:lnTo>
                    <a:pt x="1116" y="1105"/>
                  </a:lnTo>
                  <a:lnTo>
                    <a:pt x="1112" y="1103"/>
                  </a:lnTo>
                  <a:lnTo>
                    <a:pt x="1112" y="1103"/>
                  </a:lnTo>
                  <a:lnTo>
                    <a:pt x="1110" y="1103"/>
                  </a:lnTo>
                  <a:lnTo>
                    <a:pt x="1109" y="1105"/>
                  </a:lnTo>
                  <a:lnTo>
                    <a:pt x="1107" y="1109"/>
                  </a:lnTo>
                  <a:lnTo>
                    <a:pt x="1109" y="1122"/>
                  </a:lnTo>
                  <a:lnTo>
                    <a:pt x="1109" y="1122"/>
                  </a:lnTo>
                  <a:lnTo>
                    <a:pt x="1109" y="1127"/>
                  </a:lnTo>
                  <a:lnTo>
                    <a:pt x="1109" y="1127"/>
                  </a:lnTo>
                  <a:lnTo>
                    <a:pt x="1110" y="1128"/>
                  </a:lnTo>
                  <a:lnTo>
                    <a:pt x="1113" y="1130"/>
                  </a:lnTo>
                  <a:lnTo>
                    <a:pt x="1118" y="1131"/>
                  </a:lnTo>
                  <a:lnTo>
                    <a:pt x="1125" y="1131"/>
                  </a:lnTo>
                  <a:lnTo>
                    <a:pt x="1125" y="1131"/>
                  </a:lnTo>
                  <a:lnTo>
                    <a:pt x="1131" y="1134"/>
                  </a:lnTo>
                  <a:lnTo>
                    <a:pt x="1137" y="1137"/>
                  </a:lnTo>
                  <a:lnTo>
                    <a:pt x="1137" y="1137"/>
                  </a:lnTo>
                  <a:lnTo>
                    <a:pt x="1141" y="1145"/>
                  </a:lnTo>
                  <a:lnTo>
                    <a:pt x="1146" y="1149"/>
                  </a:lnTo>
                  <a:lnTo>
                    <a:pt x="1149" y="1152"/>
                  </a:lnTo>
                  <a:lnTo>
                    <a:pt x="1149" y="1152"/>
                  </a:lnTo>
                  <a:lnTo>
                    <a:pt x="1152" y="1151"/>
                  </a:lnTo>
                  <a:lnTo>
                    <a:pt x="1155" y="1149"/>
                  </a:lnTo>
                  <a:lnTo>
                    <a:pt x="1159" y="1143"/>
                  </a:lnTo>
                  <a:lnTo>
                    <a:pt x="1159" y="1143"/>
                  </a:lnTo>
                  <a:lnTo>
                    <a:pt x="1167" y="1140"/>
                  </a:lnTo>
                  <a:lnTo>
                    <a:pt x="1174" y="1137"/>
                  </a:lnTo>
                  <a:lnTo>
                    <a:pt x="1174" y="1137"/>
                  </a:lnTo>
                  <a:lnTo>
                    <a:pt x="1178" y="1136"/>
                  </a:lnTo>
                  <a:lnTo>
                    <a:pt x="1181" y="1137"/>
                  </a:lnTo>
                  <a:lnTo>
                    <a:pt x="1190" y="1139"/>
                  </a:lnTo>
                  <a:lnTo>
                    <a:pt x="1190" y="1139"/>
                  </a:lnTo>
                  <a:lnTo>
                    <a:pt x="1199" y="1139"/>
                  </a:lnTo>
                  <a:lnTo>
                    <a:pt x="1205" y="1140"/>
                  </a:lnTo>
                  <a:lnTo>
                    <a:pt x="1208" y="1143"/>
                  </a:lnTo>
                  <a:lnTo>
                    <a:pt x="1208" y="1143"/>
                  </a:lnTo>
                  <a:lnTo>
                    <a:pt x="1213" y="1148"/>
                  </a:lnTo>
                  <a:lnTo>
                    <a:pt x="1215" y="1152"/>
                  </a:lnTo>
                  <a:lnTo>
                    <a:pt x="1221" y="1156"/>
                  </a:lnTo>
                  <a:lnTo>
                    <a:pt x="1229" y="1165"/>
                  </a:lnTo>
                  <a:lnTo>
                    <a:pt x="1229" y="1165"/>
                  </a:lnTo>
                  <a:lnTo>
                    <a:pt x="1238" y="1174"/>
                  </a:lnTo>
                  <a:lnTo>
                    <a:pt x="1244" y="1180"/>
                  </a:lnTo>
                  <a:lnTo>
                    <a:pt x="1244" y="1180"/>
                  </a:lnTo>
                  <a:lnTo>
                    <a:pt x="1245" y="1185"/>
                  </a:lnTo>
                  <a:lnTo>
                    <a:pt x="1248" y="1186"/>
                  </a:lnTo>
                  <a:lnTo>
                    <a:pt x="1252" y="1188"/>
                  </a:lnTo>
                  <a:lnTo>
                    <a:pt x="1252" y="1188"/>
                  </a:lnTo>
                  <a:lnTo>
                    <a:pt x="1264" y="1188"/>
                  </a:lnTo>
                  <a:lnTo>
                    <a:pt x="1264" y="1188"/>
                  </a:lnTo>
                  <a:lnTo>
                    <a:pt x="1266" y="1189"/>
                  </a:lnTo>
                  <a:lnTo>
                    <a:pt x="1269" y="1191"/>
                  </a:lnTo>
                  <a:lnTo>
                    <a:pt x="1270" y="1191"/>
                  </a:lnTo>
                  <a:lnTo>
                    <a:pt x="1281" y="1189"/>
                  </a:lnTo>
                  <a:lnTo>
                    <a:pt x="1281" y="1188"/>
                  </a:lnTo>
                  <a:lnTo>
                    <a:pt x="1281" y="1188"/>
                  </a:lnTo>
                  <a:lnTo>
                    <a:pt x="1292" y="1188"/>
                  </a:lnTo>
                  <a:lnTo>
                    <a:pt x="1292" y="1188"/>
                  </a:lnTo>
                  <a:lnTo>
                    <a:pt x="1306" y="1186"/>
                  </a:lnTo>
                  <a:lnTo>
                    <a:pt x="1306" y="1186"/>
                  </a:lnTo>
                  <a:lnTo>
                    <a:pt x="1316" y="1186"/>
                  </a:lnTo>
                  <a:lnTo>
                    <a:pt x="1322" y="1189"/>
                  </a:lnTo>
                  <a:lnTo>
                    <a:pt x="1322" y="1189"/>
                  </a:lnTo>
                  <a:lnTo>
                    <a:pt x="1328" y="1191"/>
                  </a:lnTo>
                  <a:lnTo>
                    <a:pt x="1331" y="1191"/>
                  </a:lnTo>
                  <a:lnTo>
                    <a:pt x="1332" y="1193"/>
                  </a:lnTo>
                  <a:lnTo>
                    <a:pt x="1332" y="1193"/>
                  </a:lnTo>
                  <a:lnTo>
                    <a:pt x="1327" y="1225"/>
                  </a:lnTo>
                  <a:lnTo>
                    <a:pt x="1327" y="1225"/>
                  </a:lnTo>
                  <a:lnTo>
                    <a:pt x="1325" y="1231"/>
                  </a:lnTo>
                  <a:lnTo>
                    <a:pt x="1321" y="1235"/>
                  </a:lnTo>
                  <a:lnTo>
                    <a:pt x="1312" y="1241"/>
                  </a:lnTo>
                  <a:lnTo>
                    <a:pt x="1304" y="1248"/>
                  </a:lnTo>
                  <a:lnTo>
                    <a:pt x="1300" y="1253"/>
                  </a:lnTo>
                  <a:lnTo>
                    <a:pt x="1298" y="1259"/>
                  </a:lnTo>
                  <a:lnTo>
                    <a:pt x="1298" y="1259"/>
                  </a:lnTo>
                  <a:lnTo>
                    <a:pt x="1297" y="1265"/>
                  </a:lnTo>
                  <a:lnTo>
                    <a:pt x="1298" y="1269"/>
                  </a:lnTo>
                  <a:lnTo>
                    <a:pt x="1303" y="1272"/>
                  </a:lnTo>
                  <a:lnTo>
                    <a:pt x="1303" y="1272"/>
                  </a:lnTo>
                  <a:lnTo>
                    <a:pt x="1309" y="1275"/>
                  </a:lnTo>
                  <a:lnTo>
                    <a:pt x="1318" y="1278"/>
                  </a:lnTo>
                  <a:lnTo>
                    <a:pt x="1322" y="1279"/>
                  </a:lnTo>
                  <a:lnTo>
                    <a:pt x="1327" y="1279"/>
                  </a:lnTo>
                  <a:lnTo>
                    <a:pt x="1329" y="1276"/>
                  </a:lnTo>
                  <a:lnTo>
                    <a:pt x="1331" y="1273"/>
                  </a:lnTo>
                  <a:lnTo>
                    <a:pt x="1331" y="1273"/>
                  </a:lnTo>
                  <a:lnTo>
                    <a:pt x="1332" y="1269"/>
                  </a:lnTo>
                  <a:lnTo>
                    <a:pt x="1334" y="1265"/>
                  </a:lnTo>
                  <a:lnTo>
                    <a:pt x="1337" y="1260"/>
                  </a:lnTo>
                  <a:lnTo>
                    <a:pt x="1338" y="1259"/>
                  </a:lnTo>
                  <a:lnTo>
                    <a:pt x="1341" y="1259"/>
                  </a:lnTo>
                  <a:lnTo>
                    <a:pt x="1341" y="1259"/>
                  </a:lnTo>
                  <a:lnTo>
                    <a:pt x="1358" y="1265"/>
                  </a:lnTo>
                  <a:lnTo>
                    <a:pt x="1367" y="1266"/>
                  </a:lnTo>
                  <a:lnTo>
                    <a:pt x="1369" y="1266"/>
                  </a:lnTo>
                  <a:lnTo>
                    <a:pt x="1372" y="1266"/>
                  </a:lnTo>
                  <a:lnTo>
                    <a:pt x="1372" y="1266"/>
                  </a:lnTo>
                  <a:lnTo>
                    <a:pt x="1387" y="1250"/>
                  </a:lnTo>
                  <a:lnTo>
                    <a:pt x="1398" y="1239"/>
                  </a:lnTo>
                  <a:lnTo>
                    <a:pt x="1402" y="1232"/>
                  </a:lnTo>
                  <a:lnTo>
                    <a:pt x="1402" y="1232"/>
                  </a:lnTo>
                  <a:lnTo>
                    <a:pt x="1402" y="1225"/>
                  </a:lnTo>
                  <a:lnTo>
                    <a:pt x="1402" y="1211"/>
                  </a:lnTo>
                  <a:lnTo>
                    <a:pt x="1402" y="1196"/>
                  </a:lnTo>
                  <a:lnTo>
                    <a:pt x="1402" y="1189"/>
                  </a:lnTo>
                  <a:lnTo>
                    <a:pt x="1402" y="1189"/>
                  </a:lnTo>
                  <a:lnTo>
                    <a:pt x="1404" y="1186"/>
                  </a:lnTo>
                  <a:lnTo>
                    <a:pt x="1405" y="1183"/>
                  </a:lnTo>
                  <a:lnTo>
                    <a:pt x="1408" y="1182"/>
                  </a:lnTo>
                  <a:lnTo>
                    <a:pt x="1414" y="1183"/>
                  </a:lnTo>
                  <a:lnTo>
                    <a:pt x="1414" y="1183"/>
                  </a:lnTo>
                  <a:lnTo>
                    <a:pt x="1427" y="1183"/>
                  </a:lnTo>
                  <a:lnTo>
                    <a:pt x="1435" y="1183"/>
                  </a:lnTo>
                  <a:lnTo>
                    <a:pt x="1441" y="1180"/>
                  </a:lnTo>
                  <a:lnTo>
                    <a:pt x="1441" y="1180"/>
                  </a:lnTo>
                  <a:lnTo>
                    <a:pt x="1445" y="1177"/>
                  </a:lnTo>
                  <a:lnTo>
                    <a:pt x="1446" y="1174"/>
                  </a:lnTo>
                  <a:lnTo>
                    <a:pt x="1449" y="1173"/>
                  </a:lnTo>
                  <a:lnTo>
                    <a:pt x="1452" y="1174"/>
                  </a:lnTo>
                  <a:lnTo>
                    <a:pt x="1452" y="1174"/>
                  </a:lnTo>
                  <a:lnTo>
                    <a:pt x="1470" y="1191"/>
                  </a:lnTo>
                  <a:lnTo>
                    <a:pt x="1479" y="1202"/>
                  </a:lnTo>
                  <a:lnTo>
                    <a:pt x="1485" y="1210"/>
                  </a:lnTo>
                  <a:lnTo>
                    <a:pt x="1485" y="1210"/>
                  </a:lnTo>
                  <a:lnTo>
                    <a:pt x="1489" y="1216"/>
                  </a:lnTo>
                  <a:lnTo>
                    <a:pt x="1497" y="1223"/>
                  </a:lnTo>
                  <a:lnTo>
                    <a:pt x="1509" y="1238"/>
                  </a:lnTo>
                  <a:lnTo>
                    <a:pt x="1509" y="1238"/>
                  </a:lnTo>
                  <a:lnTo>
                    <a:pt x="1521" y="1253"/>
                  </a:lnTo>
                  <a:lnTo>
                    <a:pt x="1528" y="1262"/>
                  </a:lnTo>
                  <a:lnTo>
                    <a:pt x="1532" y="1270"/>
                  </a:lnTo>
                  <a:lnTo>
                    <a:pt x="1532" y="1270"/>
                  </a:lnTo>
                  <a:close/>
                  <a:moveTo>
                    <a:pt x="715" y="1122"/>
                  </a:moveTo>
                  <a:lnTo>
                    <a:pt x="715" y="1122"/>
                  </a:lnTo>
                  <a:lnTo>
                    <a:pt x="722" y="1130"/>
                  </a:lnTo>
                  <a:lnTo>
                    <a:pt x="722" y="1130"/>
                  </a:lnTo>
                  <a:lnTo>
                    <a:pt x="715" y="1122"/>
                  </a:lnTo>
                  <a:lnTo>
                    <a:pt x="715" y="1122"/>
                  </a:lnTo>
                  <a:close/>
                  <a:moveTo>
                    <a:pt x="705" y="1071"/>
                  </a:moveTo>
                  <a:lnTo>
                    <a:pt x="705" y="1071"/>
                  </a:lnTo>
                  <a:lnTo>
                    <a:pt x="700" y="1066"/>
                  </a:lnTo>
                  <a:lnTo>
                    <a:pt x="696" y="1063"/>
                  </a:lnTo>
                  <a:lnTo>
                    <a:pt x="691" y="1060"/>
                  </a:lnTo>
                  <a:lnTo>
                    <a:pt x="687" y="1056"/>
                  </a:lnTo>
                  <a:lnTo>
                    <a:pt x="687" y="1056"/>
                  </a:lnTo>
                  <a:lnTo>
                    <a:pt x="685" y="1054"/>
                  </a:lnTo>
                  <a:lnTo>
                    <a:pt x="685" y="1054"/>
                  </a:lnTo>
                  <a:lnTo>
                    <a:pt x="687" y="1056"/>
                  </a:lnTo>
                  <a:lnTo>
                    <a:pt x="687" y="1056"/>
                  </a:lnTo>
                  <a:lnTo>
                    <a:pt x="691" y="1060"/>
                  </a:lnTo>
                  <a:lnTo>
                    <a:pt x="696" y="1063"/>
                  </a:lnTo>
                  <a:lnTo>
                    <a:pt x="700" y="1066"/>
                  </a:lnTo>
                  <a:lnTo>
                    <a:pt x="705" y="1071"/>
                  </a:lnTo>
                  <a:lnTo>
                    <a:pt x="705" y="1071"/>
                  </a:lnTo>
                  <a:close/>
                  <a:moveTo>
                    <a:pt x="789" y="1158"/>
                  </a:moveTo>
                  <a:lnTo>
                    <a:pt x="789" y="1158"/>
                  </a:lnTo>
                  <a:lnTo>
                    <a:pt x="780" y="1146"/>
                  </a:lnTo>
                  <a:lnTo>
                    <a:pt x="780" y="1146"/>
                  </a:lnTo>
                  <a:lnTo>
                    <a:pt x="776" y="1142"/>
                  </a:lnTo>
                  <a:lnTo>
                    <a:pt x="771" y="1139"/>
                  </a:lnTo>
                  <a:lnTo>
                    <a:pt x="758" y="1137"/>
                  </a:lnTo>
                  <a:lnTo>
                    <a:pt x="758" y="1137"/>
                  </a:lnTo>
                  <a:lnTo>
                    <a:pt x="751" y="1137"/>
                  </a:lnTo>
                  <a:lnTo>
                    <a:pt x="745" y="1139"/>
                  </a:lnTo>
                  <a:lnTo>
                    <a:pt x="739" y="1142"/>
                  </a:lnTo>
                  <a:lnTo>
                    <a:pt x="734" y="1142"/>
                  </a:lnTo>
                  <a:lnTo>
                    <a:pt x="734" y="1142"/>
                  </a:lnTo>
                  <a:lnTo>
                    <a:pt x="730" y="1140"/>
                  </a:lnTo>
                  <a:lnTo>
                    <a:pt x="727" y="1137"/>
                  </a:lnTo>
                  <a:lnTo>
                    <a:pt x="727" y="1137"/>
                  </a:lnTo>
                  <a:lnTo>
                    <a:pt x="730" y="1140"/>
                  </a:lnTo>
                  <a:lnTo>
                    <a:pt x="734" y="1142"/>
                  </a:lnTo>
                  <a:lnTo>
                    <a:pt x="734" y="1142"/>
                  </a:lnTo>
                  <a:lnTo>
                    <a:pt x="739" y="1142"/>
                  </a:lnTo>
                  <a:lnTo>
                    <a:pt x="745" y="1139"/>
                  </a:lnTo>
                  <a:lnTo>
                    <a:pt x="751" y="1137"/>
                  </a:lnTo>
                  <a:lnTo>
                    <a:pt x="758" y="1137"/>
                  </a:lnTo>
                  <a:lnTo>
                    <a:pt x="758" y="1137"/>
                  </a:lnTo>
                  <a:lnTo>
                    <a:pt x="771" y="1139"/>
                  </a:lnTo>
                  <a:lnTo>
                    <a:pt x="776" y="1142"/>
                  </a:lnTo>
                  <a:lnTo>
                    <a:pt x="780" y="1146"/>
                  </a:lnTo>
                  <a:lnTo>
                    <a:pt x="780" y="1146"/>
                  </a:lnTo>
                  <a:lnTo>
                    <a:pt x="789" y="1158"/>
                  </a:lnTo>
                  <a:lnTo>
                    <a:pt x="789" y="1158"/>
                  </a:lnTo>
                  <a:close/>
                  <a:moveTo>
                    <a:pt x="1420" y="1171"/>
                  </a:moveTo>
                  <a:lnTo>
                    <a:pt x="1420" y="1171"/>
                  </a:lnTo>
                  <a:lnTo>
                    <a:pt x="1424" y="1171"/>
                  </a:lnTo>
                  <a:lnTo>
                    <a:pt x="1429" y="1168"/>
                  </a:lnTo>
                  <a:lnTo>
                    <a:pt x="1435" y="1165"/>
                  </a:lnTo>
                  <a:lnTo>
                    <a:pt x="1438" y="1161"/>
                  </a:lnTo>
                  <a:lnTo>
                    <a:pt x="1438" y="1161"/>
                  </a:lnTo>
                  <a:lnTo>
                    <a:pt x="1439" y="1156"/>
                  </a:lnTo>
                  <a:lnTo>
                    <a:pt x="1439" y="1145"/>
                  </a:lnTo>
                  <a:lnTo>
                    <a:pt x="1436" y="1111"/>
                  </a:lnTo>
                  <a:lnTo>
                    <a:pt x="1432" y="1065"/>
                  </a:lnTo>
                  <a:lnTo>
                    <a:pt x="1432" y="1065"/>
                  </a:lnTo>
                  <a:lnTo>
                    <a:pt x="1427" y="1065"/>
                  </a:lnTo>
                  <a:lnTo>
                    <a:pt x="1417" y="1066"/>
                  </a:lnTo>
                  <a:lnTo>
                    <a:pt x="1412" y="1068"/>
                  </a:lnTo>
                  <a:lnTo>
                    <a:pt x="1406" y="1071"/>
                  </a:lnTo>
                  <a:lnTo>
                    <a:pt x="1404" y="1074"/>
                  </a:lnTo>
                  <a:lnTo>
                    <a:pt x="1401" y="1079"/>
                  </a:lnTo>
                  <a:lnTo>
                    <a:pt x="1401" y="1079"/>
                  </a:lnTo>
                  <a:lnTo>
                    <a:pt x="1399" y="1084"/>
                  </a:lnTo>
                  <a:lnTo>
                    <a:pt x="1399" y="1091"/>
                  </a:lnTo>
                  <a:lnTo>
                    <a:pt x="1401" y="1105"/>
                  </a:lnTo>
                  <a:lnTo>
                    <a:pt x="1406" y="1134"/>
                  </a:lnTo>
                  <a:lnTo>
                    <a:pt x="1406" y="1134"/>
                  </a:lnTo>
                  <a:lnTo>
                    <a:pt x="1406" y="1146"/>
                  </a:lnTo>
                  <a:lnTo>
                    <a:pt x="1406" y="1155"/>
                  </a:lnTo>
                  <a:lnTo>
                    <a:pt x="1405" y="1164"/>
                  </a:lnTo>
                  <a:lnTo>
                    <a:pt x="1405" y="1164"/>
                  </a:lnTo>
                  <a:lnTo>
                    <a:pt x="1406" y="1167"/>
                  </a:lnTo>
                  <a:lnTo>
                    <a:pt x="1411" y="1170"/>
                  </a:lnTo>
                  <a:lnTo>
                    <a:pt x="1420" y="1171"/>
                  </a:lnTo>
                  <a:lnTo>
                    <a:pt x="1420" y="117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2" name="Freeform 91">
              <a:extLst>
                <a:ext uri="{FF2B5EF4-FFF2-40B4-BE49-F238E27FC236}">
                  <a16:creationId xmlns:a16="http://schemas.microsoft.com/office/drawing/2014/main" id="{E3EF4BAC-F137-5F44-A939-D2DC8F51D2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6700" y="6634163"/>
              <a:ext cx="1725613" cy="1196975"/>
            </a:xfrm>
            <a:custGeom>
              <a:avLst/>
              <a:gdLst>
                <a:gd name="T0" fmla="*/ 1033 w 1087"/>
                <a:gd name="T1" fmla="*/ 623 h 754"/>
                <a:gd name="T2" fmla="*/ 1030 w 1087"/>
                <a:gd name="T3" fmla="*/ 603 h 754"/>
                <a:gd name="T4" fmla="*/ 964 w 1087"/>
                <a:gd name="T5" fmla="*/ 563 h 754"/>
                <a:gd name="T6" fmla="*/ 945 w 1087"/>
                <a:gd name="T7" fmla="*/ 537 h 754"/>
                <a:gd name="T8" fmla="*/ 926 w 1087"/>
                <a:gd name="T9" fmla="*/ 518 h 754"/>
                <a:gd name="T10" fmla="*/ 936 w 1087"/>
                <a:gd name="T11" fmla="*/ 456 h 754"/>
                <a:gd name="T12" fmla="*/ 935 w 1087"/>
                <a:gd name="T13" fmla="*/ 413 h 754"/>
                <a:gd name="T14" fmla="*/ 979 w 1087"/>
                <a:gd name="T15" fmla="*/ 338 h 754"/>
                <a:gd name="T16" fmla="*/ 996 w 1087"/>
                <a:gd name="T17" fmla="*/ 283 h 754"/>
                <a:gd name="T18" fmla="*/ 1037 w 1087"/>
                <a:gd name="T19" fmla="*/ 258 h 754"/>
                <a:gd name="T20" fmla="*/ 1076 w 1087"/>
                <a:gd name="T21" fmla="*/ 226 h 754"/>
                <a:gd name="T22" fmla="*/ 1028 w 1087"/>
                <a:gd name="T23" fmla="*/ 146 h 754"/>
                <a:gd name="T24" fmla="*/ 996 w 1087"/>
                <a:gd name="T25" fmla="*/ 151 h 754"/>
                <a:gd name="T26" fmla="*/ 948 w 1087"/>
                <a:gd name="T27" fmla="*/ 185 h 754"/>
                <a:gd name="T28" fmla="*/ 920 w 1087"/>
                <a:gd name="T29" fmla="*/ 232 h 754"/>
                <a:gd name="T30" fmla="*/ 874 w 1087"/>
                <a:gd name="T31" fmla="*/ 269 h 754"/>
                <a:gd name="T32" fmla="*/ 861 w 1087"/>
                <a:gd name="T33" fmla="*/ 269 h 754"/>
                <a:gd name="T34" fmla="*/ 827 w 1087"/>
                <a:gd name="T35" fmla="*/ 234 h 754"/>
                <a:gd name="T36" fmla="*/ 754 w 1087"/>
                <a:gd name="T37" fmla="*/ 238 h 754"/>
                <a:gd name="T38" fmla="*/ 751 w 1087"/>
                <a:gd name="T39" fmla="*/ 194 h 754"/>
                <a:gd name="T40" fmla="*/ 770 w 1087"/>
                <a:gd name="T41" fmla="*/ 155 h 754"/>
                <a:gd name="T42" fmla="*/ 787 w 1087"/>
                <a:gd name="T43" fmla="*/ 83 h 754"/>
                <a:gd name="T44" fmla="*/ 790 w 1087"/>
                <a:gd name="T45" fmla="*/ 41 h 754"/>
                <a:gd name="T46" fmla="*/ 787 w 1087"/>
                <a:gd name="T47" fmla="*/ 6 h 754"/>
                <a:gd name="T48" fmla="*/ 747 w 1087"/>
                <a:gd name="T49" fmla="*/ 19 h 754"/>
                <a:gd name="T50" fmla="*/ 667 w 1087"/>
                <a:gd name="T51" fmla="*/ 56 h 754"/>
                <a:gd name="T52" fmla="*/ 591 w 1087"/>
                <a:gd name="T53" fmla="*/ 102 h 754"/>
                <a:gd name="T54" fmla="*/ 542 w 1087"/>
                <a:gd name="T55" fmla="*/ 124 h 754"/>
                <a:gd name="T56" fmla="*/ 499 w 1087"/>
                <a:gd name="T57" fmla="*/ 146 h 754"/>
                <a:gd name="T58" fmla="*/ 449 w 1087"/>
                <a:gd name="T59" fmla="*/ 167 h 754"/>
                <a:gd name="T60" fmla="*/ 375 w 1087"/>
                <a:gd name="T61" fmla="*/ 184 h 754"/>
                <a:gd name="T62" fmla="*/ 295 w 1087"/>
                <a:gd name="T63" fmla="*/ 186 h 754"/>
                <a:gd name="T64" fmla="*/ 214 w 1087"/>
                <a:gd name="T65" fmla="*/ 169 h 754"/>
                <a:gd name="T66" fmla="*/ 186 w 1087"/>
                <a:gd name="T67" fmla="*/ 179 h 754"/>
                <a:gd name="T68" fmla="*/ 117 w 1087"/>
                <a:gd name="T69" fmla="*/ 161 h 754"/>
                <a:gd name="T70" fmla="*/ 43 w 1087"/>
                <a:gd name="T71" fmla="*/ 155 h 754"/>
                <a:gd name="T72" fmla="*/ 0 w 1087"/>
                <a:gd name="T73" fmla="*/ 207 h 754"/>
                <a:gd name="T74" fmla="*/ 26 w 1087"/>
                <a:gd name="T75" fmla="*/ 229 h 754"/>
                <a:gd name="T76" fmla="*/ 67 w 1087"/>
                <a:gd name="T77" fmla="*/ 244 h 754"/>
                <a:gd name="T78" fmla="*/ 58 w 1087"/>
                <a:gd name="T79" fmla="*/ 277 h 754"/>
                <a:gd name="T80" fmla="*/ 97 w 1087"/>
                <a:gd name="T81" fmla="*/ 269 h 754"/>
                <a:gd name="T82" fmla="*/ 128 w 1087"/>
                <a:gd name="T83" fmla="*/ 261 h 754"/>
                <a:gd name="T84" fmla="*/ 154 w 1087"/>
                <a:gd name="T85" fmla="*/ 303 h 754"/>
                <a:gd name="T86" fmla="*/ 181 w 1087"/>
                <a:gd name="T87" fmla="*/ 296 h 754"/>
                <a:gd name="T88" fmla="*/ 190 w 1087"/>
                <a:gd name="T89" fmla="*/ 373 h 754"/>
                <a:gd name="T90" fmla="*/ 212 w 1087"/>
                <a:gd name="T91" fmla="*/ 391 h 754"/>
                <a:gd name="T92" fmla="*/ 209 w 1087"/>
                <a:gd name="T93" fmla="*/ 416 h 754"/>
                <a:gd name="T94" fmla="*/ 217 w 1087"/>
                <a:gd name="T95" fmla="*/ 460 h 754"/>
                <a:gd name="T96" fmla="*/ 248 w 1087"/>
                <a:gd name="T97" fmla="*/ 492 h 754"/>
                <a:gd name="T98" fmla="*/ 368 w 1087"/>
                <a:gd name="T99" fmla="*/ 472 h 754"/>
                <a:gd name="T100" fmla="*/ 465 w 1087"/>
                <a:gd name="T101" fmla="*/ 468 h 754"/>
                <a:gd name="T102" fmla="*/ 529 w 1087"/>
                <a:gd name="T103" fmla="*/ 492 h 754"/>
                <a:gd name="T104" fmla="*/ 569 w 1087"/>
                <a:gd name="T105" fmla="*/ 532 h 754"/>
                <a:gd name="T106" fmla="*/ 633 w 1087"/>
                <a:gd name="T107" fmla="*/ 592 h 754"/>
                <a:gd name="T108" fmla="*/ 704 w 1087"/>
                <a:gd name="T109" fmla="*/ 650 h 754"/>
                <a:gd name="T110" fmla="*/ 793 w 1087"/>
                <a:gd name="T111" fmla="*/ 751 h 754"/>
                <a:gd name="T112" fmla="*/ 889 w 1087"/>
                <a:gd name="T113" fmla="*/ 736 h 754"/>
                <a:gd name="T114" fmla="*/ 1001 w 1087"/>
                <a:gd name="T115" fmla="*/ 742 h 754"/>
                <a:gd name="T116" fmla="*/ 1040 w 1087"/>
                <a:gd name="T117" fmla="*/ 70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7" h="754">
                  <a:moveTo>
                    <a:pt x="1041" y="669"/>
                  </a:moveTo>
                  <a:lnTo>
                    <a:pt x="1041" y="669"/>
                  </a:lnTo>
                  <a:lnTo>
                    <a:pt x="1046" y="662"/>
                  </a:lnTo>
                  <a:lnTo>
                    <a:pt x="1052" y="653"/>
                  </a:lnTo>
                  <a:lnTo>
                    <a:pt x="1052" y="653"/>
                  </a:lnTo>
                  <a:lnTo>
                    <a:pt x="1046" y="643"/>
                  </a:lnTo>
                  <a:lnTo>
                    <a:pt x="1038" y="628"/>
                  </a:lnTo>
                  <a:lnTo>
                    <a:pt x="1038" y="628"/>
                  </a:lnTo>
                  <a:lnTo>
                    <a:pt x="1037" y="625"/>
                  </a:lnTo>
                  <a:lnTo>
                    <a:pt x="1036" y="623"/>
                  </a:lnTo>
                  <a:lnTo>
                    <a:pt x="1034" y="623"/>
                  </a:lnTo>
                  <a:lnTo>
                    <a:pt x="1033" y="623"/>
                  </a:lnTo>
                  <a:lnTo>
                    <a:pt x="1030" y="626"/>
                  </a:lnTo>
                  <a:lnTo>
                    <a:pt x="1025" y="628"/>
                  </a:lnTo>
                  <a:lnTo>
                    <a:pt x="1025" y="628"/>
                  </a:lnTo>
                  <a:lnTo>
                    <a:pt x="1024" y="628"/>
                  </a:lnTo>
                  <a:lnTo>
                    <a:pt x="1022" y="626"/>
                  </a:lnTo>
                  <a:lnTo>
                    <a:pt x="1022" y="622"/>
                  </a:lnTo>
                  <a:lnTo>
                    <a:pt x="1022" y="617"/>
                  </a:lnTo>
                  <a:lnTo>
                    <a:pt x="1025" y="613"/>
                  </a:lnTo>
                  <a:lnTo>
                    <a:pt x="1025" y="613"/>
                  </a:lnTo>
                  <a:lnTo>
                    <a:pt x="1028" y="610"/>
                  </a:lnTo>
                  <a:lnTo>
                    <a:pt x="1030" y="607"/>
                  </a:lnTo>
                  <a:lnTo>
                    <a:pt x="1030" y="603"/>
                  </a:lnTo>
                  <a:lnTo>
                    <a:pt x="1027" y="598"/>
                  </a:lnTo>
                  <a:lnTo>
                    <a:pt x="1027" y="598"/>
                  </a:lnTo>
                  <a:lnTo>
                    <a:pt x="1022" y="589"/>
                  </a:lnTo>
                  <a:lnTo>
                    <a:pt x="1013" y="580"/>
                  </a:lnTo>
                  <a:lnTo>
                    <a:pt x="997" y="560"/>
                  </a:lnTo>
                  <a:lnTo>
                    <a:pt x="997" y="560"/>
                  </a:lnTo>
                  <a:lnTo>
                    <a:pt x="991" y="554"/>
                  </a:lnTo>
                  <a:lnTo>
                    <a:pt x="985" y="551"/>
                  </a:lnTo>
                  <a:lnTo>
                    <a:pt x="979" y="551"/>
                  </a:lnTo>
                  <a:lnTo>
                    <a:pt x="975" y="554"/>
                  </a:lnTo>
                  <a:lnTo>
                    <a:pt x="975" y="554"/>
                  </a:lnTo>
                  <a:lnTo>
                    <a:pt x="964" y="563"/>
                  </a:lnTo>
                  <a:lnTo>
                    <a:pt x="961" y="564"/>
                  </a:lnTo>
                  <a:lnTo>
                    <a:pt x="960" y="563"/>
                  </a:lnTo>
                  <a:lnTo>
                    <a:pt x="959" y="561"/>
                  </a:lnTo>
                  <a:lnTo>
                    <a:pt x="959" y="561"/>
                  </a:lnTo>
                  <a:lnTo>
                    <a:pt x="956" y="558"/>
                  </a:lnTo>
                  <a:lnTo>
                    <a:pt x="956" y="555"/>
                  </a:lnTo>
                  <a:lnTo>
                    <a:pt x="956" y="546"/>
                  </a:lnTo>
                  <a:lnTo>
                    <a:pt x="956" y="546"/>
                  </a:lnTo>
                  <a:lnTo>
                    <a:pt x="956" y="542"/>
                  </a:lnTo>
                  <a:lnTo>
                    <a:pt x="953" y="539"/>
                  </a:lnTo>
                  <a:lnTo>
                    <a:pt x="950" y="537"/>
                  </a:lnTo>
                  <a:lnTo>
                    <a:pt x="945" y="537"/>
                  </a:lnTo>
                  <a:lnTo>
                    <a:pt x="945" y="537"/>
                  </a:lnTo>
                  <a:lnTo>
                    <a:pt x="942" y="539"/>
                  </a:lnTo>
                  <a:lnTo>
                    <a:pt x="939" y="542"/>
                  </a:lnTo>
                  <a:lnTo>
                    <a:pt x="933" y="551"/>
                  </a:lnTo>
                  <a:lnTo>
                    <a:pt x="933" y="551"/>
                  </a:lnTo>
                  <a:lnTo>
                    <a:pt x="932" y="554"/>
                  </a:lnTo>
                  <a:lnTo>
                    <a:pt x="929" y="551"/>
                  </a:lnTo>
                  <a:lnTo>
                    <a:pt x="927" y="537"/>
                  </a:lnTo>
                  <a:lnTo>
                    <a:pt x="927" y="537"/>
                  </a:lnTo>
                  <a:lnTo>
                    <a:pt x="926" y="527"/>
                  </a:lnTo>
                  <a:lnTo>
                    <a:pt x="926" y="518"/>
                  </a:lnTo>
                  <a:lnTo>
                    <a:pt x="926" y="518"/>
                  </a:lnTo>
                  <a:lnTo>
                    <a:pt x="926" y="502"/>
                  </a:lnTo>
                  <a:lnTo>
                    <a:pt x="926" y="489"/>
                  </a:lnTo>
                  <a:lnTo>
                    <a:pt x="926" y="489"/>
                  </a:lnTo>
                  <a:lnTo>
                    <a:pt x="929" y="480"/>
                  </a:lnTo>
                  <a:lnTo>
                    <a:pt x="930" y="474"/>
                  </a:lnTo>
                  <a:lnTo>
                    <a:pt x="930" y="468"/>
                  </a:lnTo>
                  <a:lnTo>
                    <a:pt x="930" y="468"/>
                  </a:lnTo>
                  <a:lnTo>
                    <a:pt x="929" y="463"/>
                  </a:lnTo>
                  <a:lnTo>
                    <a:pt x="930" y="459"/>
                  </a:lnTo>
                  <a:lnTo>
                    <a:pt x="932" y="458"/>
                  </a:lnTo>
                  <a:lnTo>
                    <a:pt x="936" y="456"/>
                  </a:lnTo>
                  <a:lnTo>
                    <a:pt x="936" y="456"/>
                  </a:lnTo>
                  <a:lnTo>
                    <a:pt x="938" y="456"/>
                  </a:lnTo>
                  <a:lnTo>
                    <a:pt x="939" y="453"/>
                  </a:lnTo>
                  <a:lnTo>
                    <a:pt x="941" y="447"/>
                  </a:lnTo>
                  <a:lnTo>
                    <a:pt x="939" y="441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2" y="431"/>
                  </a:lnTo>
                  <a:lnTo>
                    <a:pt x="929" y="426"/>
                  </a:lnTo>
                  <a:lnTo>
                    <a:pt x="929" y="423"/>
                  </a:lnTo>
                  <a:lnTo>
                    <a:pt x="929" y="420"/>
                  </a:lnTo>
                  <a:lnTo>
                    <a:pt x="929" y="420"/>
                  </a:lnTo>
                  <a:lnTo>
                    <a:pt x="935" y="413"/>
                  </a:lnTo>
                  <a:lnTo>
                    <a:pt x="945" y="406"/>
                  </a:lnTo>
                  <a:lnTo>
                    <a:pt x="966" y="389"/>
                  </a:lnTo>
                  <a:lnTo>
                    <a:pt x="966" y="389"/>
                  </a:lnTo>
                  <a:lnTo>
                    <a:pt x="970" y="383"/>
                  </a:lnTo>
                  <a:lnTo>
                    <a:pt x="972" y="378"/>
                  </a:lnTo>
                  <a:lnTo>
                    <a:pt x="973" y="369"/>
                  </a:lnTo>
                  <a:lnTo>
                    <a:pt x="973" y="369"/>
                  </a:lnTo>
                  <a:lnTo>
                    <a:pt x="975" y="358"/>
                  </a:lnTo>
                  <a:lnTo>
                    <a:pt x="978" y="345"/>
                  </a:lnTo>
                  <a:lnTo>
                    <a:pt x="978" y="345"/>
                  </a:lnTo>
                  <a:lnTo>
                    <a:pt x="978" y="342"/>
                  </a:lnTo>
                  <a:lnTo>
                    <a:pt x="979" y="338"/>
                  </a:lnTo>
                  <a:lnTo>
                    <a:pt x="985" y="329"/>
                  </a:lnTo>
                  <a:lnTo>
                    <a:pt x="993" y="321"/>
                  </a:lnTo>
                  <a:lnTo>
                    <a:pt x="999" y="317"/>
                  </a:lnTo>
                  <a:lnTo>
                    <a:pt x="999" y="317"/>
                  </a:lnTo>
                  <a:lnTo>
                    <a:pt x="1004" y="312"/>
                  </a:lnTo>
                  <a:lnTo>
                    <a:pt x="1009" y="308"/>
                  </a:lnTo>
                  <a:lnTo>
                    <a:pt x="1009" y="303"/>
                  </a:lnTo>
                  <a:lnTo>
                    <a:pt x="1004" y="299"/>
                  </a:lnTo>
                  <a:lnTo>
                    <a:pt x="1004" y="299"/>
                  </a:lnTo>
                  <a:lnTo>
                    <a:pt x="1001" y="295"/>
                  </a:lnTo>
                  <a:lnTo>
                    <a:pt x="999" y="289"/>
                  </a:lnTo>
                  <a:lnTo>
                    <a:pt x="996" y="283"/>
                  </a:lnTo>
                  <a:lnTo>
                    <a:pt x="991" y="278"/>
                  </a:lnTo>
                  <a:lnTo>
                    <a:pt x="991" y="278"/>
                  </a:lnTo>
                  <a:lnTo>
                    <a:pt x="990" y="275"/>
                  </a:lnTo>
                  <a:lnTo>
                    <a:pt x="988" y="272"/>
                  </a:lnTo>
                  <a:lnTo>
                    <a:pt x="988" y="269"/>
                  </a:lnTo>
                  <a:lnTo>
                    <a:pt x="991" y="268"/>
                  </a:lnTo>
                  <a:lnTo>
                    <a:pt x="996" y="265"/>
                  </a:lnTo>
                  <a:lnTo>
                    <a:pt x="1003" y="263"/>
                  </a:lnTo>
                  <a:lnTo>
                    <a:pt x="1003" y="263"/>
                  </a:lnTo>
                  <a:lnTo>
                    <a:pt x="1019" y="261"/>
                  </a:lnTo>
                  <a:lnTo>
                    <a:pt x="1030" y="259"/>
                  </a:lnTo>
                  <a:lnTo>
                    <a:pt x="1037" y="258"/>
                  </a:lnTo>
                  <a:lnTo>
                    <a:pt x="1037" y="258"/>
                  </a:lnTo>
                  <a:lnTo>
                    <a:pt x="1049" y="255"/>
                  </a:lnTo>
                  <a:lnTo>
                    <a:pt x="1064" y="253"/>
                  </a:lnTo>
                  <a:lnTo>
                    <a:pt x="1078" y="252"/>
                  </a:lnTo>
                  <a:lnTo>
                    <a:pt x="1083" y="252"/>
                  </a:lnTo>
                  <a:lnTo>
                    <a:pt x="1086" y="250"/>
                  </a:lnTo>
                  <a:lnTo>
                    <a:pt x="1086" y="250"/>
                  </a:lnTo>
                  <a:lnTo>
                    <a:pt x="1087" y="247"/>
                  </a:lnTo>
                  <a:lnTo>
                    <a:pt x="1087" y="246"/>
                  </a:lnTo>
                  <a:lnTo>
                    <a:pt x="1086" y="240"/>
                  </a:lnTo>
                  <a:lnTo>
                    <a:pt x="1081" y="234"/>
                  </a:lnTo>
                  <a:lnTo>
                    <a:pt x="1076" y="226"/>
                  </a:lnTo>
                  <a:lnTo>
                    <a:pt x="1076" y="226"/>
                  </a:lnTo>
                  <a:lnTo>
                    <a:pt x="1061" y="213"/>
                  </a:lnTo>
                  <a:lnTo>
                    <a:pt x="1049" y="197"/>
                  </a:lnTo>
                  <a:lnTo>
                    <a:pt x="1049" y="197"/>
                  </a:lnTo>
                  <a:lnTo>
                    <a:pt x="1044" y="188"/>
                  </a:lnTo>
                  <a:lnTo>
                    <a:pt x="1044" y="181"/>
                  </a:lnTo>
                  <a:lnTo>
                    <a:pt x="1044" y="181"/>
                  </a:lnTo>
                  <a:lnTo>
                    <a:pt x="1043" y="169"/>
                  </a:lnTo>
                  <a:lnTo>
                    <a:pt x="1040" y="163"/>
                  </a:lnTo>
                  <a:lnTo>
                    <a:pt x="1037" y="157"/>
                  </a:lnTo>
                  <a:lnTo>
                    <a:pt x="1037" y="157"/>
                  </a:lnTo>
                  <a:lnTo>
                    <a:pt x="1028" y="146"/>
                  </a:lnTo>
                  <a:lnTo>
                    <a:pt x="1024" y="142"/>
                  </a:lnTo>
                  <a:lnTo>
                    <a:pt x="1019" y="139"/>
                  </a:lnTo>
                  <a:lnTo>
                    <a:pt x="1019" y="139"/>
                  </a:lnTo>
                  <a:lnTo>
                    <a:pt x="1015" y="138"/>
                  </a:lnTo>
                  <a:lnTo>
                    <a:pt x="1012" y="136"/>
                  </a:lnTo>
                  <a:lnTo>
                    <a:pt x="1009" y="133"/>
                  </a:lnTo>
                  <a:lnTo>
                    <a:pt x="1004" y="133"/>
                  </a:lnTo>
                  <a:lnTo>
                    <a:pt x="1004" y="133"/>
                  </a:lnTo>
                  <a:lnTo>
                    <a:pt x="1003" y="133"/>
                  </a:lnTo>
                  <a:lnTo>
                    <a:pt x="1000" y="135"/>
                  </a:lnTo>
                  <a:lnTo>
                    <a:pt x="999" y="139"/>
                  </a:lnTo>
                  <a:lnTo>
                    <a:pt x="996" y="151"/>
                  </a:lnTo>
                  <a:lnTo>
                    <a:pt x="996" y="151"/>
                  </a:lnTo>
                  <a:lnTo>
                    <a:pt x="994" y="157"/>
                  </a:lnTo>
                  <a:lnTo>
                    <a:pt x="991" y="161"/>
                  </a:lnTo>
                  <a:lnTo>
                    <a:pt x="985" y="166"/>
                  </a:lnTo>
                  <a:lnTo>
                    <a:pt x="985" y="166"/>
                  </a:lnTo>
                  <a:lnTo>
                    <a:pt x="984" y="167"/>
                  </a:lnTo>
                  <a:lnTo>
                    <a:pt x="981" y="169"/>
                  </a:lnTo>
                  <a:lnTo>
                    <a:pt x="967" y="172"/>
                  </a:lnTo>
                  <a:lnTo>
                    <a:pt x="967" y="172"/>
                  </a:lnTo>
                  <a:lnTo>
                    <a:pt x="961" y="173"/>
                  </a:lnTo>
                  <a:lnTo>
                    <a:pt x="956" y="176"/>
                  </a:lnTo>
                  <a:lnTo>
                    <a:pt x="948" y="185"/>
                  </a:lnTo>
                  <a:lnTo>
                    <a:pt x="948" y="185"/>
                  </a:lnTo>
                  <a:lnTo>
                    <a:pt x="945" y="191"/>
                  </a:lnTo>
                  <a:lnTo>
                    <a:pt x="944" y="197"/>
                  </a:lnTo>
                  <a:lnTo>
                    <a:pt x="942" y="204"/>
                  </a:lnTo>
                  <a:lnTo>
                    <a:pt x="941" y="209"/>
                  </a:lnTo>
                  <a:lnTo>
                    <a:pt x="941" y="209"/>
                  </a:lnTo>
                  <a:lnTo>
                    <a:pt x="933" y="216"/>
                  </a:lnTo>
                  <a:lnTo>
                    <a:pt x="927" y="221"/>
                  </a:lnTo>
                  <a:lnTo>
                    <a:pt x="927" y="221"/>
                  </a:lnTo>
                  <a:lnTo>
                    <a:pt x="924" y="226"/>
                  </a:lnTo>
                  <a:lnTo>
                    <a:pt x="920" y="232"/>
                  </a:lnTo>
                  <a:lnTo>
                    <a:pt x="920" y="232"/>
                  </a:lnTo>
                  <a:lnTo>
                    <a:pt x="910" y="240"/>
                  </a:lnTo>
                  <a:lnTo>
                    <a:pt x="896" y="249"/>
                  </a:lnTo>
                  <a:lnTo>
                    <a:pt x="896" y="249"/>
                  </a:lnTo>
                  <a:lnTo>
                    <a:pt x="892" y="252"/>
                  </a:lnTo>
                  <a:lnTo>
                    <a:pt x="890" y="255"/>
                  </a:lnTo>
                  <a:lnTo>
                    <a:pt x="889" y="263"/>
                  </a:lnTo>
                  <a:lnTo>
                    <a:pt x="889" y="263"/>
                  </a:lnTo>
                  <a:lnTo>
                    <a:pt x="889" y="265"/>
                  </a:lnTo>
                  <a:lnTo>
                    <a:pt x="887" y="266"/>
                  </a:lnTo>
                  <a:lnTo>
                    <a:pt x="883" y="269"/>
                  </a:lnTo>
                  <a:lnTo>
                    <a:pt x="879" y="269"/>
                  </a:lnTo>
                  <a:lnTo>
                    <a:pt x="874" y="269"/>
                  </a:lnTo>
                  <a:lnTo>
                    <a:pt x="874" y="269"/>
                  </a:lnTo>
                  <a:lnTo>
                    <a:pt x="873" y="269"/>
                  </a:lnTo>
                  <a:lnTo>
                    <a:pt x="873" y="268"/>
                  </a:lnTo>
                  <a:lnTo>
                    <a:pt x="873" y="265"/>
                  </a:lnTo>
                  <a:lnTo>
                    <a:pt x="873" y="261"/>
                  </a:lnTo>
                  <a:lnTo>
                    <a:pt x="873" y="258"/>
                  </a:lnTo>
                  <a:lnTo>
                    <a:pt x="873" y="258"/>
                  </a:lnTo>
                  <a:lnTo>
                    <a:pt x="871" y="256"/>
                  </a:lnTo>
                  <a:lnTo>
                    <a:pt x="870" y="258"/>
                  </a:lnTo>
                  <a:lnTo>
                    <a:pt x="867" y="261"/>
                  </a:lnTo>
                  <a:lnTo>
                    <a:pt x="861" y="269"/>
                  </a:lnTo>
                  <a:lnTo>
                    <a:pt x="861" y="269"/>
                  </a:lnTo>
                  <a:lnTo>
                    <a:pt x="859" y="271"/>
                  </a:lnTo>
                  <a:lnTo>
                    <a:pt x="856" y="271"/>
                  </a:lnTo>
                  <a:lnTo>
                    <a:pt x="852" y="271"/>
                  </a:lnTo>
                  <a:lnTo>
                    <a:pt x="847" y="269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2" y="258"/>
                  </a:lnTo>
                  <a:lnTo>
                    <a:pt x="837" y="244"/>
                  </a:lnTo>
                  <a:lnTo>
                    <a:pt x="837" y="244"/>
                  </a:lnTo>
                  <a:lnTo>
                    <a:pt x="836" y="240"/>
                  </a:lnTo>
                  <a:lnTo>
                    <a:pt x="831" y="237"/>
                  </a:lnTo>
                  <a:lnTo>
                    <a:pt x="827" y="234"/>
                  </a:lnTo>
                  <a:lnTo>
                    <a:pt x="822" y="232"/>
                  </a:lnTo>
                  <a:lnTo>
                    <a:pt x="810" y="231"/>
                  </a:lnTo>
                  <a:lnTo>
                    <a:pt x="806" y="231"/>
                  </a:lnTo>
                  <a:lnTo>
                    <a:pt x="800" y="232"/>
                  </a:lnTo>
                  <a:lnTo>
                    <a:pt x="800" y="232"/>
                  </a:lnTo>
                  <a:lnTo>
                    <a:pt x="788" y="237"/>
                  </a:lnTo>
                  <a:lnTo>
                    <a:pt x="784" y="238"/>
                  </a:lnTo>
                  <a:lnTo>
                    <a:pt x="779" y="238"/>
                  </a:lnTo>
                  <a:lnTo>
                    <a:pt x="779" y="238"/>
                  </a:lnTo>
                  <a:lnTo>
                    <a:pt x="768" y="240"/>
                  </a:lnTo>
                  <a:lnTo>
                    <a:pt x="754" y="238"/>
                  </a:lnTo>
                  <a:lnTo>
                    <a:pt x="754" y="238"/>
                  </a:lnTo>
                  <a:lnTo>
                    <a:pt x="753" y="238"/>
                  </a:lnTo>
                  <a:lnTo>
                    <a:pt x="751" y="237"/>
                  </a:lnTo>
                  <a:lnTo>
                    <a:pt x="751" y="231"/>
                  </a:lnTo>
                  <a:lnTo>
                    <a:pt x="751" y="225"/>
                  </a:lnTo>
                  <a:lnTo>
                    <a:pt x="751" y="219"/>
                  </a:lnTo>
                  <a:lnTo>
                    <a:pt x="751" y="219"/>
                  </a:lnTo>
                  <a:lnTo>
                    <a:pt x="750" y="215"/>
                  </a:lnTo>
                  <a:lnTo>
                    <a:pt x="751" y="209"/>
                  </a:lnTo>
                  <a:lnTo>
                    <a:pt x="751" y="204"/>
                  </a:lnTo>
                  <a:lnTo>
                    <a:pt x="751" y="197"/>
                  </a:lnTo>
                  <a:lnTo>
                    <a:pt x="751" y="197"/>
                  </a:lnTo>
                  <a:lnTo>
                    <a:pt x="751" y="194"/>
                  </a:lnTo>
                  <a:lnTo>
                    <a:pt x="753" y="191"/>
                  </a:lnTo>
                  <a:lnTo>
                    <a:pt x="757" y="186"/>
                  </a:lnTo>
                  <a:lnTo>
                    <a:pt x="762" y="185"/>
                  </a:lnTo>
                  <a:lnTo>
                    <a:pt x="769" y="184"/>
                  </a:lnTo>
                  <a:lnTo>
                    <a:pt x="769" y="184"/>
                  </a:lnTo>
                  <a:lnTo>
                    <a:pt x="772" y="182"/>
                  </a:lnTo>
                  <a:lnTo>
                    <a:pt x="773" y="181"/>
                  </a:lnTo>
                  <a:lnTo>
                    <a:pt x="775" y="17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3" y="161"/>
                  </a:lnTo>
                  <a:lnTo>
                    <a:pt x="770" y="155"/>
                  </a:lnTo>
                  <a:lnTo>
                    <a:pt x="766" y="148"/>
                  </a:lnTo>
                  <a:lnTo>
                    <a:pt x="762" y="139"/>
                  </a:lnTo>
                  <a:lnTo>
                    <a:pt x="762" y="139"/>
                  </a:lnTo>
                  <a:lnTo>
                    <a:pt x="762" y="133"/>
                  </a:lnTo>
                  <a:lnTo>
                    <a:pt x="763" y="127"/>
                  </a:lnTo>
                  <a:lnTo>
                    <a:pt x="768" y="120"/>
                  </a:lnTo>
                  <a:lnTo>
                    <a:pt x="773" y="112"/>
                  </a:lnTo>
                  <a:lnTo>
                    <a:pt x="784" y="98"/>
                  </a:lnTo>
                  <a:lnTo>
                    <a:pt x="790" y="90"/>
                  </a:lnTo>
                  <a:lnTo>
                    <a:pt x="790" y="90"/>
                  </a:lnTo>
                  <a:lnTo>
                    <a:pt x="790" y="87"/>
                  </a:lnTo>
                  <a:lnTo>
                    <a:pt x="787" y="83"/>
                  </a:lnTo>
                  <a:lnTo>
                    <a:pt x="787" y="78"/>
                  </a:lnTo>
                  <a:lnTo>
                    <a:pt x="787" y="74"/>
                  </a:lnTo>
                  <a:lnTo>
                    <a:pt x="787" y="74"/>
                  </a:lnTo>
                  <a:lnTo>
                    <a:pt x="790" y="69"/>
                  </a:lnTo>
                  <a:lnTo>
                    <a:pt x="794" y="65"/>
                  </a:lnTo>
                  <a:lnTo>
                    <a:pt x="796" y="62"/>
                  </a:lnTo>
                  <a:lnTo>
                    <a:pt x="797" y="59"/>
                  </a:lnTo>
                  <a:lnTo>
                    <a:pt x="797" y="59"/>
                  </a:lnTo>
                  <a:lnTo>
                    <a:pt x="794" y="55"/>
                  </a:lnTo>
                  <a:lnTo>
                    <a:pt x="793" y="50"/>
                  </a:lnTo>
                  <a:lnTo>
                    <a:pt x="790" y="46"/>
                  </a:lnTo>
                  <a:lnTo>
                    <a:pt x="790" y="41"/>
                  </a:lnTo>
                  <a:lnTo>
                    <a:pt x="790" y="41"/>
                  </a:lnTo>
                  <a:lnTo>
                    <a:pt x="791" y="40"/>
                  </a:lnTo>
                  <a:lnTo>
                    <a:pt x="796" y="35"/>
                  </a:lnTo>
                  <a:lnTo>
                    <a:pt x="807" y="25"/>
                  </a:lnTo>
                  <a:lnTo>
                    <a:pt x="822" y="13"/>
                  </a:lnTo>
                  <a:lnTo>
                    <a:pt x="822" y="13"/>
                  </a:lnTo>
                  <a:lnTo>
                    <a:pt x="818" y="13"/>
                  </a:lnTo>
                  <a:lnTo>
                    <a:pt x="806" y="13"/>
                  </a:lnTo>
                  <a:lnTo>
                    <a:pt x="806" y="13"/>
                  </a:lnTo>
                  <a:lnTo>
                    <a:pt x="802" y="15"/>
                  </a:lnTo>
                  <a:lnTo>
                    <a:pt x="796" y="13"/>
                  </a:lnTo>
                  <a:lnTo>
                    <a:pt x="787" y="6"/>
                  </a:lnTo>
                  <a:lnTo>
                    <a:pt x="787" y="6"/>
                  </a:lnTo>
                  <a:lnTo>
                    <a:pt x="781" y="3"/>
                  </a:lnTo>
                  <a:lnTo>
                    <a:pt x="778" y="0"/>
                  </a:lnTo>
                  <a:lnTo>
                    <a:pt x="773" y="0"/>
                  </a:lnTo>
                  <a:lnTo>
                    <a:pt x="768" y="0"/>
                  </a:lnTo>
                  <a:lnTo>
                    <a:pt x="768" y="0"/>
                  </a:lnTo>
                  <a:lnTo>
                    <a:pt x="765" y="1"/>
                  </a:lnTo>
                  <a:lnTo>
                    <a:pt x="762" y="3"/>
                  </a:lnTo>
                  <a:lnTo>
                    <a:pt x="757" y="7"/>
                  </a:lnTo>
                  <a:lnTo>
                    <a:pt x="753" y="13"/>
                  </a:lnTo>
                  <a:lnTo>
                    <a:pt x="747" y="19"/>
                  </a:lnTo>
                  <a:lnTo>
                    <a:pt x="747" y="19"/>
                  </a:lnTo>
                  <a:lnTo>
                    <a:pt x="730" y="31"/>
                  </a:lnTo>
                  <a:lnTo>
                    <a:pt x="708" y="46"/>
                  </a:lnTo>
                  <a:lnTo>
                    <a:pt x="708" y="46"/>
                  </a:lnTo>
                  <a:lnTo>
                    <a:pt x="701" y="50"/>
                  </a:lnTo>
                  <a:lnTo>
                    <a:pt x="695" y="52"/>
                  </a:lnTo>
                  <a:lnTo>
                    <a:pt x="691" y="53"/>
                  </a:lnTo>
                  <a:lnTo>
                    <a:pt x="686" y="52"/>
                  </a:lnTo>
                  <a:lnTo>
                    <a:pt x="686" y="52"/>
                  </a:lnTo>
                  <a:lnTo>
                    <a:pt x="682" y="52"/>
                  </a:lnTo>
                  <a:lnTo>
                    <a:pt x="682" y="52"/>
                  </a:lnTo>
                  <a:lnTo>
                    <a:pt x="674" y="53"/>
                  </a:lnTo>
                  <a:lnTo>
                    <a:pt x="667" y="56"/>
                  </a:lnTo>
                  <a:lnTo>
                    <a:pt x="653" y="65"/>
                  </a:lnTo>
                  <a:lnTo>
                    <a:pt x="653" y="65"/>
                  </a:lnTo>
                  <a:lnTo>
                    <a:pt x="649" y="68"/>
                  </a:lnTo>
                  <a:lnTo>
                    <a:pt x="646" y="68"/>
                  </a:lnTo>
                  <a:lnTo>
                    <a:pt x="639" y="69"/>
                  </a:lnTo>
                  <a:lnTo>
                    <a:pt x="639" y="69"/>
                  </a:lnTo>
                  <a:lnTo>
                    <a:pt x="631" y="72"/>
                  </a:lnTo>
                  <a:lnTo>
                    <a:pt x="622" y="77"/>
                  </a:lnTo>
                  <a:lnTo>
                    <a:pt x="602" y="90"/>
                  </a:lnTo>
                  <a:lnTo>
                    <a:pt x="602" y="90"/>
                  </a:lnTo>
                  <a:lnTo>
                    <a:pt x="594" y="96"/>
                  </a:lnTo>
                  <a:lnTo>
                    <a:pt x="591" y="102"/>
                  </a:lnTo>
                  <a:lnTo>
                    <a:pt x="591" y="108"/>
                  </a:lnTo>
                  <a:lnTo>
                    <a:pt x="593" y="115"/>
                  </a:lnTo>
                  <a:lnTo>
                    <a:pt x="593" y="115"/>
                  </a:lnTo>
                  <a:lnTo>
                    <a:pt x="594" y="118"/>
                  </a:lnTo>
                  <a:lnTo>
                    <a:pt x="593" y="121"/>
                  </a:lnTo>
                  <a:lnTo>
                    <a:pt x="591" y="123"/>
                  </a:lnTo>
                  <a:lnTo>
                    <a:pt x="590" y="124"/>
                  </a:lnTo>
                  <a:lnTo>
                    <a:pt x="571" y="126"/>
                  </a:lnTo>
                  <a:lnTo>
                    <a:pt x="571" y="126"/>
                  </a:lnTo>
                  <a:lnTo>
                    <a:pt x="559" y="126"/>
                  </a:lnTo>
                  <a:lnTo>
                    <a:pt x="550" y="124"/>
                  </a:lnTo>
                  <a:lnTo>
                    <a:pt x="542" y="124"/>
                  </a:lnTo>
                  <a:lnTo>
                    <a:pt x="539" y="126"/>
                  </a:lnTo>
                  <a:lnTo>
                    <a:pt x="538" y="127"/>
                  </a:lnTo>
                  <a:lnTo>
                    <a:pt x="538" y="127"/>
                  </a:lnTo>
                  <a:lnTo>
                    <a:pt x="532" y="132"/>
                  </a:lnTo>
                  <a:lnTo>
                    <a:pt x="526" y="135"/>
                  </a:lnTo>
                  <a:lnTo>
                    <a:pt x="522" y="136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3" y="136"/>
                  </a:lnTo>
                  <a:lnTo>
                    <a:pt x="507" y="138"/>
                  </a:lnTo>
                  <a:lnTo>
                    <a:pt x="501" y="142"/>
                  </a:lnTo>
                  <a:lnTo>
                    <a:pt x="499" y="146"/>
                  </a:lnTo>
                  <a:lnTo>
                    <a:pt x="499" y="146"/>
                  </a:lnTo>
                  <a:lnTo>
                    <a:pt x="498" y="149"/>
                  </a:lnTo>
                  <a:lnTo>
                    <a:pt x="497" y="151"/>
                  </a:lnTo>
                  <a:lnTo>
                    <a:pt x="489" y="151"/>
                  </a:lnTo>
                  <a:lnTo>
                    <a:pt x="489" y="151"/>
                  </a:lnTo>
                  <a:lnTo>
                    <a:pt x="477" y="152"/>
                  </a:lnTo>
                  <a:lnTo>
                    <a:pt x="473" y="154"/>
                  </a:lnTo>
                  <a:lnTo>
                    <a:pt x="468" y="157"/>
                  </a:lnTo>
                  <a:lnTo>
                    <a:pt x="468" y="157"/>
                  </a:lnTo>
                  <a:lnTo>
                    <a:pt x="461" y="161"/>
                  </a:lnTo>
                  <a:lnTo>
                    <a:pt x="449" y="167"/>
                  </a:lnTo>
                  <a:lnTo>
                    <a:pt x="449" y="167"/>
                  </a:lnTo>
                  <a:lnTo>
                    <a:pt x="433" y="178"/>
                  </a:lnTo>
                  <a:lnTo>
                    <a:pt x="424" y="181"/>
                  </a:lnTo>
                  <a:lnTo>
                    <a:pt x="421" y="182"/>
                  </a:lnTo>
                  <a:lnTo>
                    <a:pt x="418" y="181"/>
                  </a:lnTo>
                  <a:lnTo>
                    <a:pt x="418" y="181"/>
                  </a:lnTo>
                  <a:lnTo>
                    <a:pt x="406" y="176"/>
                  </a:lnTo>
                  <a:lnTo>
                    <a:pt x="400" y="175"/>
                  </a:lnTo>
                  <a:lnTo>
                    <a:pt x="393" y="173"/>
                  </a:lnTo>
                  <a:lnTo>
                    <a:pt x="393" y="173"/>
                  </a:lnTo>
                  <a:lnTo>
                    <a:pt x="387" y="175"/>
                  </a:lnTo>
                  <a:lnTo>
                    <a:pt x="383" y="178"/>
                  </a:lnTo>
                  <a:lnTo>
                    <a:pt x="375" y="184"/>
                  </a:lnTo>
                  <a:lnTo>
                    <a:pt x="375" y="184"/>
                  </a:lnTo>
                  <a:lnTo>
                    <a:pt x="371" y="185"/>
                  </a:lnTo>
                  <a:lnTo>
                    <a:pt x="365" y="185"/>
                  </a:lnTo>
                  <a:lnTo>
                    <a:pt x="359" y="185"/>
                  </a:lnTo>
                  <a:lnTo>
                    <a:pt x="353" y="186"/>
                  </a:lnTo>
                  <a:lnTo>
                    <a:pt x="353" y="186"/>
                  </a:lnTo>
                  <a:lnTo>
                    <a:pt x="325" y="195"/>
                  </a:lnTo>
                  <a:lnTo>
                    <a:pt x="325" y="195"/>
                  </a:lnTo>
                  <a:lnTo>
                    <a:pt x="320" y="195"/>
                  </a:lnTo>
                  <a:lnTo>
                    <a:pt x="313" y="194"/>
                  </a:lnTo>
                  <a:lnTo>
                    <a:pt x="304" y="191"/>
                  </a:lnTo>
                  <a:lnTo>
                    <a:pt x="295" y="186"/>
                  </a:lnTo>
                  <a:lnTo>
                    <a:pt x="295" y="186"/>
                  </a:lnTo>
                  <a:lnTo>
                    <a:pt x="283" y="178"/>
                  </a:lnTo>
                  <a:lnTo>
                    <a:pt x="279" y="175"/>
                  </a:lnTo>
                  <a:lnTo>
                    <a:pt x="271" y="172"/>
                  </a:lnTo>
                  <a:lnTo>
                    <a:pt x="271" y="172"/>
                  </a:lnTo>
                  <a:lnTo>
                    <a:pt x="258" y="164"/>
                  </a:lnTo>
                  <a:lnTo>
                    <a:pt x="252" y="161"/>
                  </a:lnTo>
                  <a:lnTo>
                    <a:pt x="249" y="161"/>
                  </a:lnTo>
                  <a:lnTo>
                    <a:pt x="249" y="161"/>
                  </a:lnTo>
                  <a:lnTo>
                    <a:pt x="233" y="166"/>
                  </a:lnTo>
                  <a:lnTo>
                    <a:pt x="223" y="169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08" y="169"/>
                  </a:lnTo>
                  <a:lnTo>
                    <a:pt x="203" y="167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3" y="163"/>
                  </a:lnTo>
                  <a:lnTo>
                    <a:pt x="190" y="164"/>
                  </a:lnTo>
                  <a:lnTo>
                    <a:pt x="189" y="167"/>
                  </a:lnTo>
                  <a:lnTo>
                    <a:pt x="189" y="172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6" y="179"/>
                  </a:lnTo>
                  <a:lnTo>
                    <a:pt x="183" y="181"/>
                  </a:lnTo>
                  <a:lnTo>
                    <a:pt x="175" y="179"/>
                  </a:lnTo>
                  <a:lnTo>
                    <a:pt x="166" y="175"/>
                  </a:lnTo>
                  <a:lnTo>
                    <a:pt x="156" y="169"/>
                  </a:lnTo>
                  <a:lnTo>
                    <a:pt x="156" y="169"/>
                  </a:lnTo>
                  <a:lnTo>
                    <a:pt x="149" y="164"/>
                  </a:lnTo>
                  <a:lnTo>
                    <a:pt x="143" y="161"/>
                  </a:lnTo>
                  <a:lnTo>
                    <a:pt x="138" y="161"/>
                  </a:lnTo>
                  <a:lnTo>
                    <a:pt x="131" y="161"/>
                  </a:lnTo>
                  <a:lnTo>
                    <a:pt x="131" y="161"/>
                  </a:lnTo>
                  <a:lnTo>
                    <a:pt x="122" y="161"/>
                  </a:lnTo>
                  <a:lnTo>
                    <a:pt x="117" y="161"/>
                  </a:lnTo>
                  <a:lnTo>
                    <a:pt x="113" y="158"/>
                  </a:lnTo>
                  <a:lnTo>
                    <a:pt x="109" y="154"/>
                  </a:lnTo>
                  <a:lnTo>
                    <a:pt x="109" y="154"/>
                  </a:lnTo>
                  <a:lnTo>
                    <a:pt x="103" y="148"/>
                  </a:lnTo>
                  <a:lnTo>
                    <a:pt x="98" y="146"/>
                  </a:lnTo>
                  <a:lnTo>
                    <a:pt x="91" y="145"/>
                  </a:lnTo>
                  <a:lnTo>
                    <a:pt x="91" y="145"/>
                  </a:lnTo>
                  <a:lnTo>
                    <a:pt x="80" y="145"/>
                  </a:lnTo>
                  <a:lnTo>
                    <a:pt x="70" y="146"/>
                  </a:lnTo>
                  <a:lnTo>
                    <a:pt x="51" y="152"/>
                  </a:lnTo>
                  <a:lnTo>
                    <a:pt x="51" y="152"/>
                  </a:lnTo>
                  <a:lnTo>
                    <a:pt x="43" y="155"/>
                  </a:lnTo>
                  <a:lnTo>
                    <a:pt x="37" y="160"/>
                  </a:lnTo>
                  <a:lnTo>
                    <a:pt x="29" y="170"/>
                  </a:lnTo>
                  <a:lnTo>
                    <a:pt x="29" y="170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6" y="189"/>
                  </a:lnTo>
                  <a:lnTo>
                    <a:pt x="6" y="191"/>
                  </a:lnTo>
                  <a:lnTo>
                    <a:pt x="3" y="195"/>
                  </a:lnTo>
                  <a:lnTo>
                    <a:pt x="3" y="195"/>
                  </a:lnTo>
                  <a:lnTo>
                    <a:pt x="2" y="200"/>
                  </a:lnTo>
                  <a:lnTo>
                    <a:pt x="0" y="204"/>
                  </a:lnTo>
                  <a:lnTo>
                    <a:pt x="0" y="207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9" y="213"/>
                  </a:lnTo>
                  <a:lnTo>
                    <a:pt x="12" y="216"/>
                  </a:lnTo>
                  <a:lnTo>
                    <a:pt x="14" y="219"/>
                  </a:lnTo>
                  <a:lnTo>
                    <a:pt x="14" y="219"/>
                  </a:lnTo>
                  <a:lnTo>
                    <a:pt x="15" y="223"/>
                  </a:lnTo>
                  <a:lnTo>
                    <a:pt x="18" y="228"/>
                  </a:lnTo>
                  <a:lnTo>
                    <a:pt x="21" y="231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6" y="229"/>
                  </a:lnTo>
                  <a:lnTo>
                    <a:pt x="27" y="228"/>
                  </a:lnTo>
                  <a:lnTo>
                    <a:pt x="30" y="226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49" y="234"/>
                  </a:lnTo>
                  <a:lnTo>
                    <a:pt x="57" y="235"/>
                  </a:lnTo>
                  <a:lnTo>
                    <a:pt x="57" y="235"/>
                  </a:lnTo>
                  <a:lnTo>
                    <a:pt x="61" y="237"/>
                  </a:lnTo>
                  <a:lnTo>
                    <a:pt x="66" y="238"/>
                  </a:lnTo>
                  <a:lnTo>
                    <a:pt x="69" y="241"/>
                  </a:lnTo>
                  <a:lnTo>
                    <a:pt x="69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3" y="250"/>
                  </a:lnTo>
                  <a:lnTo>
                    <a:pt x="55" y="255"/>
                  </a:lnTo>
                  <a:lnTo>
                    <a:pt x="48" y="259"/>
                  </a:lnTo>
                  <a:lnTo>
                    <a:pt x="45" y="262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8" y="266"/>
                  </a:lnTo>
                  <a:lnTo>
                    <a:pt x="51" y="269"/>
                  </a:lnTo>
                  <a:lnTo>
                    <a:pt x="55" y="272"/>
                  </a:lnTo>
                  <a:lnTo>
                    <a:pt x="58" y="277"/>
                  </a:lnTo>
                  <a:lnTo>
                    <a:pt x="58" y="277"/>
                  </a:lnTo>
                  <a:lnTo>
                    <a:pt x="61" y="283"/>
                  </a:lnTo>
                  <a:lnTo>
                    <a:pt x="64" y="286"/>
                  </a:lnTo>
                  <a:lnTo>
                    <a:pt x="67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75" y="281"/>
                  </a:lnTo>
                  <a:lnTo>
                    <a:pt x="79" y="281"/>
                  </a:lnTo>
                  <a:lnTo>
                    <a:pt x="79" y="281"/>
                  </a:lnTo>
                  <a:lnTo>
                    <a:pt x="83" y="280"/>
                  </a:lnTo>
                  <a:lnTo>
                    <a:pt x="88" y="278"/>
                  </a:lnTo>
                  <a:lnTo>
                    <a:pt x="94" y="274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103" y="261"/>
                  </a:lnTo>
                  <a:lnTo>
                    <a:pt x="106" y="256"/>
                  </a:lnTo>
                  <a:lnTo>
                    <a:pt x="109" y="256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5" y="255"/>
                  </a:lnTo>
                  <a:lnTo>
                    <a:pt x="126" y="255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9"/>
                  </a:lnTo>
                  <a:lnTo>
                    <a:pt x="128" y="275"/>
                  </a:lnTo>
                  <a:lnTo>
                    <a:pt x="131" y="280"/>
                  </a:lnTo>
                  <a:lnTo>
                    <a:pt x="134" y="284"/>
                  </a:lnTo>
                  <a:lnTo>
                    <a:pt x="134" y="284"/>
                  </a:lnTo>
                  <a:lnTo>
                    <a:pt x="137" y="289"/>
                  </a:lnTo>
                  <a:lnTo>
                    <a:pt x="140" y="295"/>
                  </a:lnTo>
                  <a:lnTo>
                    <a:pt x="141" y="299"/>
                  </a:lnTo>
                  <a:lnTo>
                    <a:pt x="146" y="302"/>
                  </a:lnTo>
                  <a:lnTo>
                    <a:pt x="146" y="302"/>
                  </a:lnTo>
                  <a:lnTo>
                    <a:pt x="153" y="303"/>
                  </a:lnTo>
                  <a:lnTo>
                    <a:pt x="154" y="303"/>
                  </a:lnTo>
                  <a:lnTo>
                    <a:pt x="156" y="301"/>
                  </a:lnTo>
                  <a:lnTo>
                    <a:pt x="156" y="301"/>
                  </a:lnTo>
                  <a:lnTo>
                    <a:pt x="157" y="290"/>
                  </a:lnTo>
                  <a:lnTo>
                    <a:pt x="159" y="284"/>
                  </a:lnTo>
                  <a:lnTo>
                    <a:pt x="159" y="283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8" y="281"/>
                  </a:lnTo>
                  <a:lnTo>
                    <a:pt x="174" y="284"/>
                  </a:lnTo>
                  <a:lnTo>
                    <a:pt x="178" y="290"/>
                  </a:lnTo>
                  <a:lnTo>
                    <a:pt x="181" y="296"/>
                  </a:lnTo>
                  <a:lnTo>
                    <a:pt x="181" y="296"/>
                  </a:lnTo>
                  <a:lnTo>
                    <a:pt x="184" y="315"/>
                  </a:lnTo>
                  <a:lnTo>
                    <a:pt x="186" y="324"/>
                  </a:lnTo>
                  <a:lnTo>
                    <a:pt x="189" y="332"/>
                  </a:lnTo>
                  <a:lnTo>
                    <a:pt x="189" y="332"/>
                  </a:lnTo>
                  <a:lnTo>
                    <a:pt x="190" y="335"/>
                  </a:lnTo>
                  <a:lnTo>
                    <a:pt x="193" y="341"/>
                  </a:lnTo>
                  <a:lnTo>
                    <a:pt x="193" y="345"/>
                  </a:lnTo>
                  <a:lnTo>
                    <a:pt x="193" y="352"/>
                  </a:lnTo>
                  <a:lnTo>
                    <a:pt x="193" y="352"/>
                  </a:lnTo>
                  <a:lnTo>
                    <a:pt x="190" y="366"/>
                  </a:lnTo>
                  <a:lnTo>
                    <a:pt x="189" y="370"/>
                  </a:lnTo>
                  <a:lnTo>
                    <a:pt x="190" y="373"/>
                  </a:lnTo>
                  <a:lnTo>
                    <a:pt x="190" y="373"/>
                  </a:lnTo>
                  <a:lnTo>
                    <a:pt x="191" y="375"/>
                  </a:lnTo>
                  <a:lnTo>
                    <a:pt x="193" y="375"/>
                  </a:lnTo>
                  <a:lnTo>
                    <a:pt x="197" y="373"/>
                  </a:lnTo>
                  <a:lnTo>
                    <a:pt x="202" y="373"/>
                  </a:lnTo>
                  <a:lnTo>
                    <a:pt x="205" y="373"/>
                  </a:lnTo>
                  <a:lnTo>
                    <a:pt x="206" y="375"/>
                  </a:lnTo>
                  <a:lnTo>
                    <a:pt x="206" y="375"/>
                  </a:lnTo>
                  <a:lnTo>
                    <a:pt x="208" y="378"/>
                  </a:lnTo>
                  <a:lnTo>
                    <a:pt x="208" y="382"/>
                  </a:lnTo>
                  <a:lnTo>
                    <a:pt x="209" y="386"/>
                  </a:lnTo>
                  <a:lnTo>
                    <a:pt x="212" y="391"/>
                  </a:lnTo>
                  <a:lnTo>
                    <a:pt x="212" y="391"/>
                  </a:lnTo>
                  <a:lnTo>
                    <a:pt x="221" y="398"/>
                  </a:lnTo>
                  <a:lnTo>
                    <a:pt x="227" y="403"/>
                  </a:lnTo>
                  <a:lnTo>
                    <a:pt x="227" y="403"/>
                  </a:lnTo>
                  <a:lnTo>
                    <a:pt x="227" y="406"/>
                  </a:lnTo>
                  <a:lnTo>
                    <a:pt x="226" y="409"/>
                  </a:lnTo>
                  <a:lnTo>
                    <a:pt x="224" y="410"/>
                  </a:lnTo>
                  <a:lnTo>
                    <a:pt x="220" y="412"/>
                  </a:lnTo>
                  <a:lnTo>
                    <a:pt x="220" y="412"/>
                  </a:lnTo>
                  <a:lnTo>
                    <a:pt x="217" y="413"/>
                  </a:lnTo>
                  <a:lnTo>
                    <a:pt x="212" y="415"/>
                  </a:lnTo>
                  <a:lnTo>
                    <a:pt x="209" y="416"/>
                  </a:lnTo>
                  <a:lnTo>
                    <a:pt x="209" y="419"/>
                  </a:lnTo>
                  <a:lnTo>
                    <a:pt x="209" y="420"/>
                  </a:lnTo>
                  <a:lnTo>
                    <a:pt x="209" y="420"/>
                  </a:lnTo>
                  <a:lnTo>
                    <a:pt x="212" y="423"/>
                  </a:lnTo>
                  <a:lnTo>
                    <a:pt x="214" y="425"/>
                  </a:lnTo>
                  <a:lnTo>
                    <a:pt x="217" y="428"/>
                  </a:lnTo>
                  <a:lnTo>
                    <a:pt x="217" y="435"/>
                  </a:lnTo>
                  <a:lnTo>
                    <a:pt x="217" y="435"/>
                  </a:lnTo>
                  <a:lnTo>
                    <a:pt x="214" y="450"/>
                  </a:lnTo>
                  <a:lnTo>
                    <a:pt x="214" y="456"/>
                  </a:lnTo>
                  <a:lnTo>
                    <a:pt x="215" y="458"/>
                  </a:lnTo>
                  <a:lnTo>
                    <a:pt x="217" y="460"/>
                  </a:lnTo>
                  <a:lnTo>
                    <a:pt x="217" y="460"/>
                  </a:lnTo>
                  <a:lnTo>
                    <a:pt x="221" y="462"/>
                  </a:lnTo>
                  <a:lnTo>
                    <a:pt x="226" y="463"/>
                  </a:lnTo>
                  <a:lnTo>
                    <a:pt x="230" y="463"/>
                  </a:lnTo>
                  <a:lnTo>
                    <a:pt x="236" y="466"/>
                  </a:lnTo>
                  <a:lnTo>
                    <a:pt x="236" y="466"/>
                  </a:lnTo>
                  <a:lnTo>
                    <a:pt x="245" y="474"/>
                  </a:lnTo>
                  <a:lnTo>
                    <a:pt x="246" y="477"/>
                  </a:lnTo>
                  <a:lnTo>
                    <a:pt x="246" y="481"/>
                  </a:lnTo>
                  <a:lnTo>
                    <a:pt x="246" y="481"/>
                  </a:lnTo>
                  <a:lnTo>
                    <a:pt x="246" y="489"/>
                  </a:lnTo>
                  <a:lnTo>
                    <a:pt x="248" y="492"/>
                  </a:lnTo>
                  <a:lnTo>
                    <a:pt x="251" y="496"/>
                  </a:lnTo>
                  <a:lnTo>
                    <a:pt x="251" y="496"/>
                  </a:lnTo>
                  <a:lnTo>
                    <a:pt x="263" y="508"/>
                  </a:lnTo>
                  <a:lnTo>
                    <a:pt x="276" y="518"/>
                  </a:lnTo>
                  <a:lnTo>
                    <a:pt x="276" y="518"/>
                  </a:lnTo>
                  <a:lnTo>
                    <a:pt x="323" y="490"/>
                  </a:lnTo>
                  <a:lnTo>
                    <a:pt x="323" y="490"/>
                  </a:lnTo>
                  <a:lnTo>
                    <a:pt x="345" y="477"/>
                  </a:lnTo>
                  <a:lnTo>
                    <a:pt x="356" y="474"/>
                  </a:lnTo>
                  <a:lnTo>
                    <a:pt x="362" y="472"/>
                  </a:lnTo>
                  <a:lnTo>
                    <a:pt x="368" y="472"/>
                  </a:lnTo>
                  <a:lnTo>
                    <a:pt x="368" y="472"/>
                  </a:lnTo>
                  <a:lnTo>
                    <a:pt x="393" y="475"/>
                  </a:lnTo>
                  <a:lnTo>
                    <a:pt x="418" y="481"/>
                  </a:lnTo>
                  <a:lnTo>
                    <a:pt x="418" y="481"/>
                  </a:lnTo>
                  <a:lnTo>
                    <a:pt x="440" y="487"/>
                  </a:lnTo>
                  <a:lnTo>
                    <a:pt x="448" y="487"/>
                  </a:lnTo>
                  <a:lnTo>
                    <a:pt x="452" y="486"/>
                  </a:lnTo>
                  <a:lnTo>
                    <a:pt x="455" y="484"/>
                  </a:lnTo>
                  <a:lnTo>
                    <a:pt x="455" y="484"/>
                  </a:lnTo>
                  <a:lnTo>
                    <a:pt x="458" y="481"/>
                  </a:lnTo>
                  <a:lnTo>
                    <a:pt x="461" y="478"/>
                  </a:lnTo>
                  <a:lnTo>
                    <a:pt x="464" y="471"/>
                  </a:lnTo>
                  <a:lnTo>
                    <a:pt x="465" y="468"/>
                  </a:lnTo>
                  <a:lnTo>
                    <a:pt x="468" y="466"/>
                  </a:lnTo>
                  <a:lnTo>
                    <a:pt x="471" y="466"/>
                  </a:lnTo>
                  <a:lnTo>
                    <a:pt x="476" y="468"/>
                  </a:lnTo>
                  <a:lnTo>
                    <a:pt x="476" y="468"/>
                  </a:lnTo>
                  <a:lnTo>
                    <a:pt x="485" y="474"/>
                  </a:lnTo>
                  <a:lnTo>
                    <a:pt x="492" y="480"/>
                  </a:lnTo>
                  <a:lnTo>
                    <a:pt x="498" y="484"/>
                  </a:lnTo>
                  <a:lnTo>
                    <a:pt x="504" y="487"/>
                  </a:lnTo>
                  <a:lnTo>
                    <a:pt x="504" y="487"/>
                  </a:lnTo>
                  <a:lnTo>
                    <a:pt x="513" y="490"/>
                  </a:lnTo>
                  <a:lnTo>
                    <a:pt x="522" y="490"/>
                  </a:lnTo>
                  <a:lnTo>
                    <a:pt x="529" y="492"/>
                  </a:lnTo>
                  <a:lnTo>
                    <a:pt x="532" y="493"/>
                  </a:lnTo>
                  <a:lnTo>
                    <a:pt x="532" y="493"/>
                  </a:lnTo>
                  <a:lnTo>
                    <a:pt x="538" y="499"/>
                  </a:lnTo>
                  <a:lnTo>
                    <a:pt x="544" y="505"/>
                  </a:lnTo>
                  <a:lnTo>
                    <a:pt x="551" y="509"/>
                  </a:lnTo>
                  <a:lnTo>
                    <a:pt x="551" y="509"/>
                  </a:lnTo>
                  <a:lnTo>
                    <a:pt x="559" y="512"/>
                  </a:lnTo>
                  <a:lnTo>
                    <a:pt x="563" y="517"/>
                  </a:lnTo>
                  <a:lnTo>
                    <a:pt x="566" y="521"/>
                  </a:lnTo>
                  <a:lnTo>
                    <a:pt x="568" y="526"/>
                  </a:lnTo>
                  <a:lnTo>
                    <a:pt x="568" y="526"/>
                  </a:lnTo>
                  <a:lnTo>
                    <a:pt x="569" y="532"/>
                  </a:lnTo>
                  <a:lnTo>
                    <a:pt x="571" y="536"/>
                  </a:lnTo>
                  <a:lnTo>
                    <a:pt x="575" y="539"/>
                  </a:lnTo>
                  <a:lnTo>
                    <a:pt x="581" y="542"/>
                  </a:lnTo>
                  <a:lnTo>
                    <a:pt x="581" y="542"/>
                  </a:lnTo>
                  <a:lnTo>
                    <a:pt x="588" y="543"/>
                  </a:lnTo>
                  <a:lnTo>
                    <a:pt x="593" y="548"/>
                  </a:lnTo>
                  <a:lnTo>
                    <a:pt x="599" y="554"/>
                  </a:lnTo>
                  <a:lnTo>
                    <a:pt x="605" y="561"/>
                  </a:lnTo>
                  <a:lnTo>
                    <a:pt x="605" y="561"/>
                  </a:lnTo>
                  <a:lnTo>
                    <a:pt x="616" y="577"/>
                  </a:lnTo>
                  <a:lnTo>
                    <a:pt x="624" y="586"/>
                  </a:lnTo>
                  <a:lnTo>
                    <a:pt x="633" y="592"/>
                  </a:lnTo>
                  <a:lnTo>
                    <a:pt x="633" y="592"/>
                  </a:lnTo>
                  <a:lnTo>
                    <a:pt x="642" y="598"/>
                  </a:lnTo>
                  <a:lnTo>
                    <a:pt x="649" y="604"/>
                  </a:lnTo>
                  <a:lnTo>
                    <a:pt x="653" y="610"/>
                  </a:lnTo>
                  <a:lnTo>
                    <a:pt x="658" y="617"/>
                  </a:lnTo>
                  <a:lnTo>
                    <a:pt x="658" y="617"/>
                  </a:lnTo>
                  <a:lnTo>
                    <a:pt x="661" y="622"/>
                  </a:lnTo>
                  <a:lnTo>
                    <a:pt x="665" y="625"/>
                  </a:lnTo>
                  <a:lnTo>
                    <a:pt x="676" y="632"/>
                  </a:lnTo>
                  <a:lnTo>
                    <a:pt x="699" y="647"/>
                  </a:lnTo>
                  <a:lnTo>
                    <a:pt x="699" y="647"/>
                  </a:lnTo>
                  <a:lnTo>
                    <a:pt x="704" y="650"/>
                  </a:lnTo>
                  <a:lnTo>
                    <a:pt x="708" y="654"/>
                  </a:lnTo>
                  <a:lnTo>
                    <a:pt x="716" y="668"/>
                  </a:lnTo>
                  <a:lnTo>
                    <a:pt x="723" y="680"/>
                  </a:lnTo>
                  <a:lnTo>
                    <a:pt x="730" y="690"/>
                  </a:lnTo>
                  <a:lnTo>
                    <a:pt x="730" y="690"/>
                  </a:lnTo>
                  <a:lnTo>
                    <a:pt x="738" y="699"/>
                  </a:lnTo>
                  <a:lnTo>
                    <a:pt x="745" y="708"/>
                  </a:lnTo>
                  <a:lnTo>
                    <a:pt x="757" y="723"/>
                  </a:lnTo>
                  <a:lnTo>
                    <a:pt x="757" y="723"/>
                  </a:lnTo>
                  <a:lnTo>
                    <a:pt x="766" y="731"/>
                  </a:lnTo>
                  <a:lnTo>
                    <a:pt x="778" y="742"/>
                  </a:lnTo>
                  <a:lnTo>
                    <a:pt x="793" y="751"/>
                  </a:lnTo>
                  <a:lnTo>
                    <a:pt x="799" y="752"/>
                  </a:lnTo>
                  <a:lnTo>
                    <a:pt x="805" y="754"/>
                  </a:lnTo>
                  <a:lnTo>
                    <a:pt x="805" y="754"/>
                  </a:lnTo>
                  <a:lnTo>
                    <a:pt x="818" y="751"/>
                  </a:lnTo>
                  <a:lnTo>
                    <a:pt x="833" y="748"/>
                  </a:lnTo>
                  <a:lnTo>
                    <a:pt x="847" y="743"/>
                  </a:lnTo>
                  <a:lnTo>
                    <a:pt x="855" y="739"/>
                  </a:lnTo>
                  <a:lnTo>
                    <a:pt x="855" y="739"/>
                  </a:lnTo>
                  <a:lnTo>
                    <a:pt x="859" y="736"/>
                  </a:lnTo>
                  <a:lnTo>
                    <a:pt x="864" y="736"/>
                  </a:lnTo>
                  <a:lnTo>
                    <a:pt x="873" y="734"/>
                  </a:lnTo>
                  <a:lnTo>
                    <a:pt x="889" y="736"/>
                  </a:lnTo>
                  <a:lnTo>
                    <a:pt x="889" y="736"/>
                  </a:lnTo>
                  <a:lnTo>
                    <a:pt x="896" y="736"/>
                  </a:lnTo>
                  <a:lnTo>
                    <a:pt x="908" y="734"/>
                  </a:lnTo>
                  <a:lnTo>
                    <a:pt x="920" y="731"/>
                  </a:lnTo>
                  <a:lnTo>
                    <a:pt x="930" y="730"/>
                  </a:lnTo>
                  <a:lnTo>
                    <a:pt x="930" y="730"/>
                  </a:lnTo>
                  <a:lnTo>
                    <a:pt x="944" y="733"/>
                  </a:lnTo>
                  <a:lnTo>
                    <a:pt x="960" y="736"/>
                  </a:lnTo>
                  <a:lnTo>
                    <a:pt x="988" y="742"/>
                  </a:lnTo>
                  <a:lnTo>
                    <a:pt x="988" y="742"/>
                  </a:lnTo>
                  <a:lnTo>
                    <a:pt x="994" y="743"/>
                  </a:lnTo>
                  <a:lnTo>
                    <a:pt x="1001" y="742"/>
                  </a:lnTo>
                  <a:lnTo>
                    <a:pt x="1007" y="742"/>
                  </a:lnTo>
                  <a:lnTo>
                    <a:pt x="1012" y="742"/>
                  </a:lnTo>
                  <a:lnTo>
                    <a:pt x="1012" y="742"/>
                  </a:lnTo>
                  <a:lnTo>
                    <a:pt x="1018" y="734"/>
                  </a:lnTo>
                  <a:lnTo>
                    <a:pt x="1022" y="730"/>
                  </a:lnTo>
                  <a:lnTo>
                    <a:pt x="1027" y="726"/>
                  </a:lnTo>
                  <a:lnTo>
                    <a:pt x="1027" y="726"/>
                  </a:lnTo>
                  <a:lnTo>
                    <a:pt x="1030" y="723"/>
                  </a:lnTo>
                  <a:lnTo>
                    <a:pt x="1033" y="718"/>
                  </a:lnTo>
                  <a:lnTo>
                    <a:pt x="1038" y="706"/>
                  </a:lnTo>
                  <a:lnTo>
                    <a:pt x="1038" y="706"/>
                  </a:lnTo>
                  <a:lnTo>
                    <a:pt x="1040" y="700"/>
                  </a:lnTo>
                  <a:lnTo>
                    <a:pt x="1040" y="694"/>
                  </a:lnTo>
                  <a:lnTo>
                    <a:pt x="1037" y="686"/>
                  </a:lnTo>
                  <a:lnTo>
                    <a:pt x="1037" y="686"/>
                  </a:lnTo>
                  <a:lnTo>
                    <a:pt x="1037" y="681"/>
                  </a:lnTo>
                  <a:lnTo>
                    <a:pt x="1038" y="677"/>
                  </a:lnTo>
                  <a:lnTo>
                    <a:pt x="1041" y="669"/>
                  </a:lnTo>
                  <a:lnTo>
                    <a:pt x="1041" y="669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3" name="Freeform 92">
              <a:extLst>
                <a:ext uri="{FF2B5EF4-FFF2-40B4-BE49-F238E27FC236}">
                  <a16:creationId xmlns:a16="http://schemas.microsoft.com/office/drawing/2014/main" id="{F0CB9DC3-9F95-814B-BD9F-F805682E3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175" y="7377113"/>
              <a:ext cx="933450" cy="744537"/>
            </a:xfrm>
            <a:custGeom>
              <a:avLst/>
              <a:gdLst>
                <a:gd name="T0" fmla="*/ 581 w 588"/>
                <a:gd name="T1" fmla="*/ 286 h 469"/>
                <a:gd name="T2" fmla="*/ 588 w 588"/>
                <a:gd name="T3" fmla="*/ 266 h 469"/>
                <a:gd name="T4" fmla="*/ 573 w 588"/>
                <a:gd name="T5" fmla="*/ 231 h 469"/>
                <a:gd name="T6" fmla="*/ 579 w 588"/>
                <a:gd name="T7" fmla="*/ 219 h 469"/>
                <a:gd name="T8" fmla="*/ 578 w 588"/>
                <a:gd name="T9" fmla="*/ 195 h 469"/>
                <a:gd name="T10" fmla="*/ 557 w 588"/>
                <a:gd name="T11" fmla="*/ 154 h 469"/>
                <a:gd name="T12" fmla="*/ 525 w 588"/>
                <a:gd name="T13" fmla="*/ 109 h 469"/>
                <a:gd name="T14" fmla="*/ 513 w 588"/>
                <a:gd name="T15" fmla="*/ 96 h 469"/>
                <a:gd name="T16" fmla="*/ 496 w 588"/>
                <a:gd name="T17" fmla="*/ 83 h 469"/>
                <a:gd name="T18" fmla="*/ 464 w 588"/>
                <a:gd name="T19" fmla="*/ 93 h 469"/>
                <a:gd name="T20" fmla="*/ 449 w 588"/>
                <a:gd name="T21" fmla="*/ 90 h 469"/>
                <a:gd name="T22" fmla="*/ 384 w 588"/>
                <a:gd name="T23" fmla="*/ 80 h 469"/>
                <a:gd name="T24" fmla="*/ 332 w 588"/>
                <a:gd name="T25" fmla="*/ 101 h 469"/>
                <a:gd name="T26" fmla="*/ 313 w 588"/>
                <a:gd name="T27" fmla="*/ 126 h 469"/>
                <a:gd name="T28" fmla="*/ 276 w 588"/>
                <a:gd name="T29" fmla="*/ 104 h 469"/>
                <a:gd name="T30" fmla="*/ 279 w 588"/>
                <a:gd name="T31" fmla="*/ 80 h 469"/>
                <a:gd name="T32" fmla="*/ 276 w 588"/>
                <a:gd name="T33" fmla="*/ 62 h 469"/>
                <a:gd name="T34" fmla="*/ 265 w 588"/>
                <a:gd name="T35" fmla="*/ 52 h 469"/>
                <a:gd name="T36" fmla="*/ 243 w 588"/>
                <a:gd name="T37" fmla="*/ 24 h 469"/>
                <a:gd name="T38" fmla="*/ 233 w 588"/>
                <a:gd name="T39" fmla="*/ 1 h 469"/>
                <a:gd name="T40" fmla="*/ 220 w 588"/>
                <a:gd name="T41" fmla="*/ 19 h 469"/>
                <a:gd name="T42" fmla="*/ 194 w 588"/>
                <a:gd name="T43" fmla="*/ 24 h 469"/>
                <a:gd name="T44" fmla="*/ 171 w 588"/>
                <a:gd name="T45" fmla="*/ 18 h 469"/>
                <a:gd name="T46" fmla="*/ 150 w 588"/>
                <a:gd name="T47" fmla="*/ 32 h 469"/>
                <a:gd name="T48" fmla="*/ 134 w 588"/>
                <a:gd name="T49" fmla="*/ 37 h 469"/>
                <a:gd name="T50" fmla="*/ 107 w 588"/>
                <a:gd name="T51" fmla="*/ 43 h 469"/>
                <a:gd name="T52" fmla="*/ 67 w 588"/>
                <a:gd name="T53" fmla="*/ 35 h 469"/>
                <a:gd name="T54" fmla="*/ 49 w 588"/>
                <a:gd name="T55" fmla="*/ 43 h 469"/>
                <a:gd name="T56" fmla="*/ 39 w 588"/>
                <a:gd name="T57" fmla="*/ 27 h 469"/>
                <a:gd name="T58" fmla="*/ 24 w 588"/>
                <a:gd name="T59" fmla="*/ 32 h 469"/>
                <a:gd name="T60" fmla="*/ 6 w 588"/>
                <a:gd name="T61" fmla="*/ 38 h 469"/>
                <a:gd name="T62" fmla="*/ 8 w 588"/>
                <a:gd name="T63" fmla="*/ 81 h 469"/>
                <a:gd name="T64" fmla="*/ 49 w 588"/>
                <a:gd name="T65" fmla="*/ 333 h 469"/>
                <a:gd name="T66" fmla="*/ 64 w 588"/>
                <a:gd name="T67" fmla="*/ 376 h 469"/>
                <a:gd name="T68" fmla="*/ 107 w 588"/>
                <a:gd name="T69" fmla="*/ 352 h 469"/>
                <a:gd name="T70" fmla="*/ 137 w 588"/>
                <a:gd name="T71" fmla="*/ 370 h 469"/>
                <a:gd name="T72" fmla="*/ 163 w 588"/>
                <a:gd name="T73" fmla="*/ 412 h 469"/>
                <a:gd name="T74" fmla="*/ 203 w 588"/>
                <a:gd name="T75" fmla="*/ 425 h 469"/>
                <a:gd name="T76" fmla="*/ 267 w 588"/>
                <a:gd name="T77" fmla="*/ 415 h 469"/>
                <a:gd name="T78" fmla="*/ 304 w 588"/>
                <a:gd name="T79" fmla="*/ 432 h 469"/>
                <a:gd name="T80" fmla="*/ 319 w 588"/>
                <a:gd name="T81" fmla="*/ 469 h 469"/>
                <a:gd name="T82" fmla="*/ 365 w 588"/>
                <a:gd name="T83" fmla="*/ 460 h 469"/>
                <a:gd name="T84" fmla="*/ 365 w 588"/>
                <a:gd name="T85" fmla="*/ 438 h 469"/>
                <a:gd name="T86" fmla="*/ 332 w 588"/>
                <a:gd name="T87" fmla="*/ 416 h 469"/>
                <a:gd name="T88" fmla="*/ 348 w 588"/>
                <a:gd name="T89" fmla="*/ 404 h 469"/>
                <a:gd name="T90" fmla="*/ 368 w 588"/>
                <a:gd name="T91" fmla="*/ 395 h 469"/>
                <a:gd name="T92" fmla="*/ 409 w 588"/>
                <a:gd name="T93" fmla="*/ 394 h 469"/>
                <a:gd name="T94" fmla="*/ 425 w 588"/>
                <a:gd name="T95" fmla="*/ 389 h 469"/>
                <a:gd name="T96" fmla="*/ 445 w 588"/>
                <a:gd name="T97" fmla="*/ 388 h 469"/>
                <a:gd name="T98" fmla="*/ 455 w 588"/>
                <a:gd name="T99" fmla="*/ 378 h 469"/>
                <a:gd name="T100" fmla="*/ 476 w 588"/>
                <a:gd name="T101" fmla="*/ 364 h 469"/>
                <a:gd name="T102" fmla="*/ 485 w 588"/>
                <a:gd name="T103" fmla="*/ 355 h 469"/>
                <a:gd name="T104" fmla="*/ 480 w 588"/>
                <a:gd name="T105" fmla="*/ 336 h 469"/>
                <a:gd name="T106" fmla="*/ 499 w 588"/>
                <a:gd name="T107" fmla="*/ 338 h 469"/>
                <a:gd name="T108" fmla="*/ 533 w 588"/>
                <a:gd name="T109" fmla="*/ 348 h 469"/>
                <a:gd name="T110" fmla="*/ 553 w 588"/>
                <a:gd name="T111" fmla="*/ 348 h 469"/>
                <a:gd name="T112" fmla="*/ 559 w 588"/>
                <a:gd name="T113" fmla="*/ 321 h 469"/>
                <a:gd name="T114" fmla="*/ 566 w 588"/>
                <a:gd name="T115" fmla="*/ 29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8" h="469">
                  <a:moveTo>
                    <a:pt x="566" y="298"/>
                  </a:moveTo>
                  <a:lnTo>
                    <a:pt x="566" y="298"/>
                  </a:lnTo>
                  <a:lnTo>
                    <a:pt x="585" y="293"/>
                  </a:lnTo>
                  <a:lnTo>
                    <a:pt x="585" y="293"/>
                  </a:lnTo>
                  <a:lnTo>
                    <a:pt x="582" y="287"/>
                  </a:lnTo>
                  <a:lnTo>
                    <a:pt x="581" y="286"/>
                  </a:lnTo>
                  <a:lnTo>
                    <a:pt x="581" y="283"/>
                  </a:lnTo>
                  <a:lnTo>
                    <a:pt x="581" y="283"/>
                  </a:lnTo>
                  <a:lnTo>
                    <a:pt x="582" y="277"/>
                  </a:lnTo>
                  <a:lnTo>
                    <a:pt x="587" y="269"/>
                  </a:lnTo>
                  <a:lnTo>
                    <a:pt x="587" y="269"/>
                  </a:lnTo>
                  <a:lnTo>
                    <a:pt x="588" y="266"/>
                  </a:lnTo>
                  <a:lnTo>
                    <a:pt x="588" y="262"/>
                  </a:lnTo>
                  <a:lnTo>
                    <a:pt x="585" y="253"/>
                  </a:lnTo>
                  <a:lnTo>
                    <a:pt x="582" y="244"/>
                  </a:lnTo>
                  <a:lnTo>
                    <a:pt x="579" y="238"/>
                  </a:lnTo>
                  <a:lnTo>
                    <a:pt x="579" y="238"/>
                  </a:lnTo>
                  <a:lnTo>
                    <a:pt x="573" y="231"/>
                  </a:lnTo>
                  <a:lnTo>
                    <a:pt x="570" y="228"/>
                  </a:lnTo>
                  <a:lnTo>
                    <a:pt x="569" y="225"/>
                  </a:lnTo>
                  <a:lnTo>
                    <a:pt x="569" y="225"/>
                  </a:lnTo>
                  <a:lnTo>
                    <a:pt x="572" y="222"/>
                  </a:lnTo>
                  <a:lnTo>
                    <a:pt x="575" y="221"/>
                  </a:lnTo>
                  <a:lnTo>
                    <a:pt x="579" y="219"/>
                  </a:lnTo>
                  <a:lnTo>
                    <a:pt x="582" y="216"/>
                  </a:lnTo>
                  <a:lnTo>
                    <a:pt x="582" y="216"/>
                  </a:lnTo>
                  <a:lnTo>
                    <a:pt x="585" y="212"/>
                  </a:lnTo>
                  <a:lnTo>
                    <a:pt x="584" y="206"/>
                  </a:lnTo>
                  <a:lnTo>
                    <a:pt x="582" y="201"/>
                  </a:lnTo>
                  <a:lnTo>
                    <a:pt x="578" y="195"/>
                  </a:lnTo>
                  <a:lnTo>
                    <a:pt x="578" y="195"/>
                  </a:lnTo>
                  <a:lnTo>
                    <a:pt x="566" y="178"/>
                  </a:lnTo>
                  <a:lnTo>
                    <a:pt x="560" y="169"/>
                  </a:lnTo>
                  <a:lnTo>
                    <a:pt x="559" y="161"/>
                  </a:lnTo>
                  <a:lnTo>
                    <a:pt x="559" y="161"/>
                  </a:lnTo>
                  <a:lnTo>
                    <a:pt x="557" y="154"/>
                  </a:lnTo>
                  <a:lnTo>
                    <a:pt x="551" y="144"/>
                  </a:lnTo>
                  <a:lnTo>
                    <a:pt x="541" y="126"/>
                  </a:lnTo>
                  <a:lnTo>
                    <a:pt x="541" y="126"/>
                  </a:lnTo>
                  <a:lnTo>
                    <a:pt x="533" y="114"/>
                  </a:lnTo>
                  <a:lnTo>
                    <a:pt x="529" y="111"/>
                  </a:lnTo>
                  <a:lnTo>
                    <a:pt x="525" y="109"/>
                  </a:lnTo>
                  <a:lnTo>
                    <a:pt x="525" y="109"/>
                  </a:lnTo>
                  <a:lnTo>
                    <a:pt x="520" y="108"/>
                  </a:lnTo>
                  <a:lnTo>
                    <a:pt x="517" y="107"/>
                  </a:lnTo>
                  <a:lnTo>
                    <a:pt x="516" y="102"/>
                  </a:lnTo>
                  <a:lnTo>
                    <a:pt x="513" y="96"/>
                  </a:lnTo>
                  <a:lnTo>
                    <a:pt x="513" y="96"/>
                  </a:lnTo>
                  <a:lnTo>
                    <a:pt x="510" y="90"/>
                  </a:lnTo>
                  <a:lnTo>
                    <a:pt x="505" y="84"/>
                  </a:lnTo>
                  <a:lnTo>
                    <a:pt x="501" y="80"/>
                  </a:lnTo>
                  <a:lnTo>
                    <a:pt x="501" y="80"/>
                  </a:lnTo>
                  <a:lnTo>
                    <a:pt x="499" y="81"/>
                  </a:lnTo>
                  <a:lnTo>
                    <a:pt x="496" y="83"/>
                  </a:lnTo>
                  <a:lnTo>
                    <a:pt x="485" y="84"/>
                  </a:lnTo>
                  <a:lnTo>
                    <a:pt x="485" y="84"/>
                  </a:lnTo>
                  <a:lnTo>
                    <a:pt x="477" y="84"/>
                  </a:lnTo>
                  <a:lnTo>
                    <a:pt x="471" y="86"/>
                  </a:lnTo>
                  <a:lnTo>
                    <a:pt x="468" y="89"/>
                  </a:lnTo>
                  <a:lnTo>
                    <a:pt x="464" y="93"/>
                  </a:lnTo>
                  <a:lnTo>
                    <a:pt x="464" y="93"/>
                  </a:lnTo>
                  <a:lnTo>
                    <a:pt x="459" y="96"/>
                  </a:lnTo>
                  <a:lnTo>
                    <a:pt x="456" y="98"/>
                  </a:lnTo>
                  <a:lnTo>
                    <a:pt x="453" y="95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5" y="86"/>
                  </a:lnTo>
                  <a:lnTo>
                    <a:pt x="437" y="84"/>
                  </a:lnTo>
                  <a:lnTo>
                    <a:pt x="428" y="81"/>
                  </a:lnTo>
                  <a:lnTo>
                    <a:pt x="413" y="81"/>
                  </a:lnTo>
                  <a:lnTo>
                    <a:pt x="413" y="81"/>
                  </a:lnTo>
                  <a:lnTo>
                    <a:pt x="384" y="80"/>
                  </a:lnTo>
                  <a:lnTo>
                    <a:pt x="372" y="81"/>
                  </a:lnTo>
                  <a:lnTo>
                    <a:pt x="363" y="83"/>
                  </a:lnTo>
                  <a:lnTo>
                    <a:pt x="363" y="83"/>
                  </a:lnTo>
                  <a:lnTo>
                    <a:pt x="354" y="87"/>
                  </a:lnTo>
                  <a:lnTo>
                    <a:pt x="342" y="93"/>
                  </a:lnTo>
                  <a:lnTo>
                    <a:pt x="332" y="101"/>
                  </a:lnTo>
                  <a:lnTo>
                    <a:pt x="325" y="107"/>
                  </a:lnTo>
                  <a:lnTo>
                    <a:pt x="325" y="107"/>
                  </a:lnTo>
                  <a:lnTo>
                    <a:pt x="322" y="112"/>
                  </a:lnTo>
                  <a:lnTo>
                    <a:pt x="317" y="120"/>
                  </a:lnTo>
                  <a:lnTo>
                    <a:pt x="314" y="124"/>
                  </a:lnTo>
                  <a:lnTo>
                    <a:pt x="313" y="126"/>
                  </a:lnTo>
                  <a:lnTo>
                    <a:pt x="311" y="127"/>
                  </a:lnTo>
                  <a:lnTo>
                    <a:pt x="311" y="127"/>
                  </a:lnTo>
                  <a:lnTo>
                    <a:pt x="304" y="124"/>
                  </a:lnTo>
                  <a:lnTo>
                    <a:pt x="295" y="118"/>
                  </a:lnTo>
                  <a:lnTo>
                    <a:pt x="276" y="104"/>
                  </a:lnTo>
                  <a:lnTo>
                    <a:pt x="276" y="104"/>
                  </a:lnTo>
                  <a:lnTo>
                    <a:pt x="271" y="101"/>
                  </a:lnTo>
                  <a:lnTo>
                    <a:pt x="270" y="98"/>
                  </a:lnTo>
                  <a:lnTo>
                    <a:pt x="270" y="95"/>
                  </a:lnTo>
                  <a:lnTo>
                    <a:pt x="270" y="93"/>
                  </a:lnTo>
                  <a:lnTo>
                    <a:pt x="274" y="87"/>
                  </a:lnTo>
                  <a:lnTo>
                    <a:pt x="279" y="80"/>
                  </a:lnTo>
                  <a:lnTo>
                    <a:pt x="279" y="80"/>
                  </a:lnTo>
                  <a:lnTo>
                    <a:pt x="283" y="72"/>
                  </a:lnTo>
                  <a:lnTo>
                    <a:pt x="282" y="68"/>
                  </a:lnTo>
                  <a:lnTo>
                    <a:pt x="280" y="64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1" y="61"/>
                  </a:lnTo>
                  <a:lnTo>
                    <a:pt x="270" y="59"/>
                  </a:lnTo>
                  <a:lnTo>
                    <a:pt x="268" y="56"/>
                  </a:lnTo>
                  <a:lnTo>
                    <a:pt x="268" y="56"/>
                  </a:lnTo>
                  <a:lnTo>
                    <a:pt x="268" y="53"/>
                  </a:lnTo>
                  <a:lnTo>
                    <a:pt x="265" y="52"/>
                  </a:lnTo>
                  <a:lnTo>
                    <a:pt x="257" y="43"/>
                  </a:lnTo>
                  <a:lnTo>
                    <a:pt x="257" y="43"/>
                  </a:lnTo>
                  <a:lnTo>
                    <a:pt x="248" y="32"/>
                  </a:lnTo>
                  <a:lnTo>
                    <a:pt x="245" y="28"/>
                  </a:lnTo>
                  <a:lnTo>
                    <a:pt x="243" y="24"/>
                  </a:lnTo>
                  <a:lnTo>
                    <a:pt x="243" y="24"/>
                  </a:lnTo>
                  <a:lnTo>
                    <a:pt x="240" y="9"/>
                  </a:lnTo>
                  <a:lnTo>
                    <a:pt x="239" y="4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4" y="0"/>
                  </a:lnTo>
                  <a:lnTo>
                    <a:pt x="233" y="1"/>
                  </a:lnTo>
                  <a:lnTo>
                    <a:pt x="231" y="4"/>
                  </a:lnTo>
                  <a:lnTo>
                    <a:pt x="230" y="10"/>
                  </a:lnTo>
                  <a:lnTo>
                    <a:pt x="228" y="15"/>
                  </a:lnTo>
                  <a:lnTo>
                    <a:pt x="228" y="15"/>
                  </a:lnTo>
                  <a:lnTo>
                    <a:pt x="224" y="18"/>
                  </a:lnTo>
                  <a:lnTo>
                    <a:pt x="220" y="19"/>
                  </a:lnTo>
                  <a:lnTo>
                    <a:pt x="215" y="21"/>
                  </a:lnTo>
                  <a:lnTo>
                    <a:pt x="212" y="22"/>
                  </a:lnTo>
                  <a:lnTo>
                    <a:pt x="212" y="22"/>
                  </a:lnTo>
                  <a:lnTo>
                    <a:pt x="209" y="24"/>
                  </a:lnTo>
                  <a:lnTo>
                    <a:pt x="205" y="24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88" y="24"/>
                  </a:lnTo>
                  <a:lnTo>
                    <a:pt x="184" y="22"/>
                  </a:lnTo>
                  <a:lnTo>
                    <a:pt x="175" y="18"/>
                  </a:lnTo>
                  <a:lnTo>
                    <a:pt x="175" y="18"/>
                  </a:lnTo>
                  <a:lnTo>
                    <a:pt x="171" y="18"/>
                  </a:lnTo>
                  <a:lnTo>
                    <a:pt x="169" y="18"/>
                  </a:lnTo>
                  <a:lnTo>
                    <a:pt x="163" y="24"/>
                  </a:lnTo>
                  <a:lnTo>
                    <a:pt x="163" y="24"/>
                  </a:lnTo>
                  <a:lnTo>
                    <a:pt x="157" y="29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43" y="32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2"/>
                  </a:lnTo>
                  <a:lnTo>
                    <a:pt x="135" y="34"/>
                  </a:lnTo>
                  <a:lnTo>
                    <a:pt x="134" y="37"/>
                  </a:lnTo>
                  <a:lnTo>
                    <a:pt x="132" y="41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2" y="47"/>
                  </a:lnTo>
                  <a:lnTo>
                    <a:pt x="117" y="47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3" y="34"/>
                  </a:lnTo>
                  <a:lnTo>
                    <a:pt x="68" y="34"/>
                  </a:lnTo>
                  <a:lnTo>
                    <a:pt x="67" y="35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3" y="41"/>
                  </a:lnTo>
                  <a:lnTo>
                    <a:pt x="60" y="41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5" y="41"/>
                  </a:lnTo>
                  <a:lnTo>
                    <a:pt x="42" y="37"/>
                  </a:lnTo>
                  <a:lnTo>
                    <a:pt x="40" y="32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36" y="25"/>
                  </a:lnTo>
                  <a:lnTo>
                    <a:pt x="31" y="24"/>
                  </a:lnTo>
                  <a:lnTo>
                    <a:pt x="27" y="25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4" y="32"/>
                  </a:lnTo>
                  <a:lnTo>
                    <a:pt x="23" y="35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6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3" y="47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8" y="81"/>
                  </a:lnTo>
                  <a:lnTo>
                    <a:pt x="14" y="127"/>
                  </a:lnTo>
                  <a:lnTo>
                    <a:pt x="26" y="203"/>
                  </a:lnTo>
                  <a:lnTo>
                    <a:pt x="26" y="203"/>
                  </a:lnTo>
                  <a:lnTo>
                    <a:pt x="37" y="266"/>
                  </a:lnTo>
                  <a:lnTo>
                    <a:pt x="45" y="306"/>
                  </a:lnTo>
                  <a:lnTo>
                    <a:pt x="49" y="333"/>
                  </a:lnTo>
                  <a:lnTo>
                    <a:pt x="49" y="333"/>
                  </a:lnTo>
                  <a:lnTo>
                    <a:pt x="54" y="349"/>
                  </a:lnTo>
                  <a:lnTo>
                    <a:pt x="57" y="364"/>
                  </a:lnTo>
                  <a:lnTo>
                    <a:pt x="58" y="370"/>
                  </a:lnTo>
                  <a:lnTo>
                    <a:pt x="61" y="375"/>
                  </a:lnTo>
                  <a:lnTo>
                    <a:pt x="64" y="376"/>
                  </a:lnTo>
                  <a:lnTo>
                    <a:pt x="68" y="375"/>
                  </a:lnTo>
                  <a:lnTo>
                    <a:pt x="68" y="375"/>
                  </a:lnTo>
                  <a:lnTo>
                    <a:pt x="89" y="366"/>
                  </a:lnTo>
                  <a:lnTo>
                    <a:pt x="100" y="360"/>
                  </a:lnTo>
                  <a:lnTo>
                    <a:pt x="107" y="352"/>
                  </a:lnTo>
                  <a:lnTo>
                    <a:pt x="107" y="352"/>
                  </a:lnTo>
                  <a:lnTo>
                    <a:pt x="113" y="345"/>
                  </a:lnTo>
                  <a:lnTo>
                    <a:pt x="117" y="342"/>
                  </a:lnTo>
                  <a:lnTo>
                    <a:pt x="120" y="339"/>
                  </a:lnTo>
                  <a:lnTo>
                    <a:pt x="120" y="339"/>
                  </a:lnTo>
                  <a:lnTo>
                    <a:pt x="129" y="355"/>
                  </a:lnTo>
                  <a:lnTo>
                    <a:pt x="137" y="370"/>
                  </a:lnTo>
                  <a:lnTo>
                    <a:pt x="143" y="385"/>
                  </a:lnTo>
                  <a:lnTo>
                    <a:pt x="143" y="385"/>
                  </a:lnTo>
                  <a:lnTo>
                    <a:pt x="147" y="395"/>
                  </a:lnTo>
                  <a:lnTo>
                    <a:pt x="153" y="404"/>
                  </a:lnTo>
                  <a:lnTo>
                    <a:pt x="159" y="409"/>
                  </a:lnTo>
                  <a:lnTo>
                    <a:pt x="163" y="412"/>
                  </a:lnTo>
                  <a:lnTo>
                    <a:pt x="166" y="412"/>
                  </a:lnTo>
                  <a:lnTo>
                    <a:pt x="166" y="412"/>
                  </a:lnTo>
                  <a:lnTo>
                    <a:pt x="181" y="415"/>
                  </a:lnTo>
                  <a:lnTo>
                    <a:pt x="194" y="422"/>
                  </a:lnTo>
                  <a:lnTo>
                    <a:pt x="194" y="422"/>
                  </a:lnTo>
                  <a:lnTo>
                    <a:pt x="203" y="425"/>
                  </a:lnTo>
                  <a:lnTo>
                    <a:pt x="212" y="428"/>
                  </a:lnTo>
                  <a:lnTo>
                    <a:pt x="220" y="431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46" y="423"/>
                  </a:lnTo>
                  <a:lnTo>
                    <a:pt x="267" y="415"/>
                  </a:lnTo>
                  <a:lnTo>
                    <a:pt x="267" y="415"/>
                  </a:lnTo>
                  <a:lnTo>
                    <a:pt x="271" y="415"/>
                  </a:lnTo>
                  <a:lnTo>
                    <a:pt x="274" y="415"/>
                  </a:lnTo>
                  <a:lnTo>
                    <a:pt x="283" y="418"/>
                  </a:lnTo>
                  <a:lnTo>
                    <a:pt x="294" y="423"/>
                  </a:lnTo>
                  <a:lnTo>
                    <a:pt x="304" y="432"/>
                  </a:lnTo>
                  <a:lnTo>
                    <a:pt x="304" y="432"/>
                  </a:lnTo>
                  <a:lnTo>
                    <a:pt x="310" y="440"/>
                  </a:lnTo>
                  <a:lnTo>
                    <a:pt x="313" y="449"/>
                  </a:lnTo>
                  <a:lnTo>
                    <a:pt x="316" y="459"/>
                  </a:lnTo>
                  <a:lnTo>
                    <a:pt x="319" y="469"/>
                  </a:lnTo>
                  <a:lnTo>
                    <a:pt x="319" y="469"/>
                  </a:lnTo>
                  <a:lnTo>
                    <a:pt x="329" y="466"/>
                  </a:lnTo>
                  <a:lnTo>
                    <a:pt x="344" y="465"/>
                  </a:lnTo>
                  <a:lnTo>
                    <a:pt x="344" y="465"/>
                  </a:lnTo>
                  <a:lnTo>
                    <a:pt x="351" y="465"/>
                  </a:lnTo>
                  <a:lnTo>
                    <a:pt x="359" y="463"/>
                  </a:lnTo>
                  <a:lnTo>
                    <a:pt x="365" y="460"/>
                  </a:lnTo>
                  <a:lnTo>
                    <a:pt x="366" y="459"/>
                  </a:lnTo>
                  <a:lnTo>
                    <a:pt x="368" y="455"/>
                  </a:lnTo>
                  <a:lnTo>
                    <a:pt x="368" y="455"/>
                  </a:lnTo>
                  <a:lnTo>
                    <a:pt x="368" y="449"/>
                  </a:lnTo>
                  <a:lnTo>
                    <a:pt x="368" y="443"/>
                  </a:lnTo>
                  <a:lnTo>
                    <a:pt x="365" y="438"/>
                  </a:lnTo>
                  <a:lnTo>
                    <a:pt x="357" y="434"/>
                  </a:lnTo>
                  <a:lnTo>
                    <a:pt x="357" y="434"/>
                  </a:lnTo>
                  <a:lnTo>
                    <a:pt x="341" y="425"/>
                  </a:lnTo>
                  <a:lnTo>
                    <a:pt x="335" y="420"/>
                  </a:lnTo>
                  <a:lnTo>
                    <a:pt x="332" y="416"/>
                  </a:lnTo>
                  <a:lnTo>
                    <a:pt x="332" y="416"/>
                  </a:lnTo>
                  <a:lnTo>
                    <a:pt x="332" y="413"/>
                  </a:lnTo>
                  <a:lnTo>
                    <a:pt x="334" y="409"/>
                  </a:lnTo>
                  <a:lnTo>
                    <a:pt x="338" y="404"/>
                  </a:lnTo>
                  <a:lnTo>
                    <a:pt x="342" y="404"/>
                  </a:lnTo>
                  <a:lnTo>
                    <a:pt x="342" y="404"/>
                  </a:lnTo>
                  <a:lnTo>
                    <a:pt x="348" y="404"/>
                  </a:lnTo>
                  <a:lnTo>
                    <a:pt x="351" y="403"/>
                  </a:lnTo>
                  <a:lnTo>
                    <a:pt x="353" y="400"/>
                  </a:lnTo>
                  <a:lnTo>
                    <a:pt x="353" y="400"/>
                  </a:lnTo>
                  <a:lnTo>
                    <a:pt x="356" y="398"/>
                  </a:lnTo>
                  <a:lnTo>
                    <a:pt x="360" y="395"/>
                  </a:lnTo>
                  <a:lnTo>
                    <a:pt x="368" y="395"/>
                  </a:lnTo>
                  <a:lnTo>
                    <a:pt x="376" y="395"/>
                  </a:lnTo>
                  <a:lnTo>
                    <a:pt x="376" y="395"/>
                  </a:lnTo>
                  <a:lnTo>
                    <a:pt x="397" y="395"/>
                  </a:lnTo>
                  <a:lnTo>
                    <a:pt x="406" y="395"/>
                  </a:lnTo>
                  <a:lnTo>
                    <a:pt x="409" y="394"/>
                  </a:lnTo>
                  <a:lnTo>
                    <a:pt x="409" y="394"/>
                  </a:lnTo>
                  <a:lnTo>
                    <a:pt x="409" y="394"/>
                  </a:lnTo>
                  <a:lnTo>
                    <a:pt x="412" y="391"/>
                  </a:lnTo>
                  <a:lnTo>
                    <a:pt x="416" y="389"/>
                  </a:lnTo>
                  <a:lnTo>
                    <a:pt x="422" y="389"/>
                  </a:lnTo>
                  <a:lnTo>
                    <a:pt x="425" y="389"/>
                  </a:lnTo>
                  <a:lnTo>
                    <a:pt x="425" y="389"/>
                  </a:lnTo>
                  <a:lnTo>
                    <a:pt x="428" y="391"/>
                  </a:lnTo>
                  <a:lnTo>
                    <a:pt x="431" y="391"/>
                  </a:lnTo>
                  <a:lnTo>
                    <a:pt x="439" y="388"/>
                  </a:lnTo>
                  <a:lnTo>
                    <a:pt x="439" y="388"/>
                  </a:lnTo>
                  <a:lnTo>
                    <a:pt x="440" y="388"/>
                  </a:lnTo>
                  <a:lnTo>
                    <a:pt x="445" y="388"/>
                  </a:lnTo>
                  <a:lnTo>
                    <a:pt x="452" y="389"/>
                  </a:lnTo>
                  <a:lnTo>
                    <a:pt x="452" y="389"/>
                  </a:lnTo>
                  <a:lnTo>
                    <a:pt x="452" y="389"/>
                  </a:lnTo>
                  <a:lnTo>
                    <a:pt x="453" y="388"/>
                  </a:lnTo>
                  <a:lnTo>
                    <a:pt x="453" y="383"/>
                  </a:lnTo>
                  <a:lnTo>
                    <a:pt x="455" y="378"/>
                  </a:lnTo>
                  <a:lnTo>
                    <a:pt x="456" y="376"/>
                  </a:lnTo>
                  <a:lnTo>
                    <a:pt x="459" y="375"/>
                  </a:lnTo>
                  <a:lnTo>
                    <a:pt x="459" y="375"/>
                  </a:lnTo>
                  <a:lnTo>
                    <a:pt x="470" y="370"/>
                  </a:lnTo>
                  <a:lnTo>
                    <a:pt x="473" y="367"/>
                  </a:lnTo>
                  <a:lnTo>
                    <a:pt x="476" y="364"/>
                  </a:lnTo>
                  <a:lnTo>
                    <a:pt x="476" y="364"/>
                  </a:lnTo>
                  <a:lnTo>
                    <a:pt x="479" y="361"/>
                  </a:lnTo>
                  <a:lnTo>
                    <a:pt x="483" y="358"/>
                  </a:lnTo>
                  <a:lnTo>
                    <a:pt x="485" y="357"/>
                  </a:lnTo>
                  <a:lnTo>
                    <a:pt x="485" y="355"/>
                  </a:lnTo>
                  <a:lnTo>
                    <a:pt x="485" y="355"/>
                  </a:lnTo>
                  <a:lnTo>
                    <a:pt x="482" y="351"/>
                  </a:lnTo>
                  <a:lnTo>
                    <a:pt x="480" y="348"/>
                  </a:lnTo>
                  <a:lnTo>
                    <a:pt x="480" y="345"/>
                  </a:lnTo>
                  <a:lnTo>
                    <a:pt x="480" y="345"/>
                  </a:lnTo>
                  <a:lnTo>
                    <a:pt x="480" y="341"/>
                  </a:lnTo>
                  <a:lnTo>
                    <a:pt x="480" y="336"/>
                  </a:lnTo>
                  <a:lnTo>
                    <a:pt x="482" y="335"/>
                  </a:lnTo>
                  <a:lnTo>
                    <a:pt x="485" y="333"/>
                  </a:lnTo>
                  <a:lnTo>
                    <a:pt x="486" y="333"/>
                  </a:lnTo>
                  <a:lnTo>
                    <a:pt x="490" y="335"/>
                  </a:lnTo>
                  <a:lnTo>
                    <a:pt x="490" y="335"/>
                  </a:lnTo>
                  <a:lnTo>
                    <a:pt x="499" y="338"/>
                  </a:lnTo>
                  <a:lnTo>
                    <a:pt x="505" y="341"/>
                  </a:lnTo>
                  <a:lnTo>
                    <a:pt x="514" y="346"/>
                  </a:lnTo>
                  <a:lnTo>
                    <a:pt x="514" y="346"/>
                  </a:lnTo>
                  <a:lnTo>
                    <a:pt x="519" y="349"/>
                  </a:lnTo>
                  <a:lnTo>
                    <a:pt x="523" y="349"/>
                  </a:lnTo>
                  <a:lnTo>
                    <a:pt x="533" y="348"/>
                  </a:lnTo>
                  <a:lnTo>
                    <a:pt x="533" y="348"/>
                  </a:lnTo>
                  <a:lnTo>
                    <a:pt x="538" y="348"/>
                  </a:lnTo>
                  <a:lnTo>
                    <a:pt x="544" y="348"/>
                  </a:lnTo>
                  <a:lnTo>
                    <a:pt x="548" y="349"/>
                  </a:lnTo>
                  <a:lnTo>
                    <a:pt x="553" y="348"/>
                  </a:lnTo>
                  <a:lnTo>
                    <a:pt x="553" y="348"/>
                  </a:lnTo>
                  <a:lnTo>
                    <a:pt x="557" y="345"/>
                  </a:lnTo>
                  <a:lnTo>
                    <a:pt x="559" y="342"/>
                  </a:lnTo>
                  <a:lnTo>
                    <a:pt x="560" y="336"/>
                  </a:lnTo>
                  <a:lnTo>
                    <a:pt x="560" y="330"/>
                  </a:lnTo>
                  <a:lnTo>
                    <a:pt x="560" y="330"/>
                  </a:lnTo>
                  <a:lnTo>
                    <a:pt x="559" y="321"/>
                  </a:lnTo>
                  <a:lnTo>
                    <a:pt x="559" y="312"/>
                  </a:lnTo>
                  <a:lnTo>
                    <a:pt x="559" y="312"/>
                  </a:lnTo>
                  <a:lnTo>
                    <a:pt x="560" y="303"/>
                  </a:lnTo>
                  <a:lnTo>
                    <a:pt x="562" y="301"/>
                  </a:lnTo>
                  <a:lnTo>
                    <a:pt x="566" y="298"/>
                  </a:lnTo>
                  <a:lnTo>
                    <a:pt x="566" y="29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4" name="Freeform 93">
              <a:extLst>
                <a:ext uri="{FF2B5EF4-FFF2-40B4-BE49-F238E27FC236}">
                  <a16:creationId xmlns:a16="http://schemas.microsoft.com/office/drawing/2014/main" id="{90A5B3FC-F7ED-1244-81E6-C6B6B58206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8575" y="3627438"/>
              <a:ext cx="1385888" cy="1033462"/>
            </a:xfrm>
            <a:custGeom>
              <a:avLst/>
              <a:gdLst>
                <a:gd name="T0" fmla="*/ 233 w 873"/>
                <a:gd name="T1" fmla="*/ 391 h 651"/>
                <a:gd name="T2" fmla="*/ 296 w 873"/>
                <a:gd name="T3" fmla="*/ 392 h 651"/>
                <a:gd name="T4" fmla="*/ 463 w 873"/>
                <a:gd name="T5" fmla="*/ 545 h 651"/>
                <a:gd name="T6" fmla="*/ 611 w 873"/>
                <a:gd name="T7" fmla="*/ 648 h 651"/>
                <a:gd name="T8" fmla="*/ 687 w 873"/>
                <a:gd name="T9" fmla="*/ 635 h 651"/>
                <a:gd name="T10" fmla="*/ 738 w 873"/>
                <a:gd name="T11" fmla="*/ 626 h 651"/>
                <a:gd name="T12" fmla="*/ 784 w 873"/>
                <a:gd name="T13" fmla="*/ 610 h 651"/>
                <a:gd name="T14" fmla="*/ 830 w 873"/>
                <a:gd name="T15" fmla="*/ 608 h 651"/>
                <a:gd name="T16" fmla="*/ 844 w 873"/>
                <a:gd name="T17" fmla="*/ 594 h 651"/>
                <a:gd name="T18" fmla="*/ 827 w 873"/>
                <a:gd name="T19" fmla="*/ 552 h 651"/>
                <a:gd name="T20" fmla="*/ 864 w 873"/>
                <a:gd name="T21" fmla="*/ 530 h 651"/>
                <a:gd name="T22" fmla="*/ 823 w 873"/>
                <a:gd name="T23" fmla="*/ 432 h 651"/>
                <a:gd name="T24" fmla="*/ 771 w 873"/>
                <a:gd name="T25" fmla="*/ 386 h 651"/>
                <a:gd name="T26" fmla="*/ 728 w 873"/>
                <a:gd name="T27" fmla="*/ 398 h 651"/>
                <a:gd name="T28" fmla="*/ 698 w 873"/>
                <a:gd name="T29" fmla="*/ 475 h 651"/>
                <a:gd name="T30" fmla="*/ 657 w 873"/>
                <a:gd name="T31" fmla="*/ 482 h 651"/>
                <a:gd name="T32" fmla="*/ 623 w 873"/>
                <a:gd name="T33" fmla="*/ 474 h 651"/>
                <a:gd name="T34" fmla="*/ 658 w 873"/>
                <a:gd name="T35" fmla="*/ 402 h 651"/>
                <a:gd name="T36" fmla="*/ 618 w 873"/>
                <a:gd name="T37" fmla="*/ 397 h 651"/>
                <a:gd name="T38" fmla="*/ 578 w 873"/>
                <a:gd name="T39" fmla="*/ 397 h 651"/>
                <a:gd name="T40" fmla="*/ 539 w 873"/>
                <a:gd name="T41" fmla="*/ 357 h 651"/>
                <a:gd name="T42" fmla="*/ 500 w 873"/>
                <a:gd name="T43" fmla="*/ 346 h 651"/>
                <a:gd name="T44" fmla="*/ 463 w 873"/>
                <a:gd name="T45" fmla="*/ 346 h 651"/>
                <a:gd name="T46" fmla="*/ 435 w 873"/>
                <a:gd name="T47" fmla="*/ 331 h 651"/>
                <a:gd name="T48" fmla="*/ 456 w 873"/>
                <a:gd name="T49" fmla="*/ 325 h 651"/>
                <a:gd name="T50" fmla="*/ 481 w 873"/>
                <a:gd name="T51" fmla="*/ 300 h 651"/>
                <a:gd name="T52" fmla="*/ 488 w 873"/>
                <a:gd name="T53" fmla="*/ 266 h 651"/>
                <a:gd name="T54" fmla="*/ 433 w 873"/>
                <a:gd name="T55" fmla="*/ 259 h 651"/>
                <a:gd name="T56" fmla="*/ 417 w 873"/>
                <a:gd name="T57" fmla="*/ 283 h 651"/>
                <a:gd name="T58" fmla="*/ 398 w 873"/>
                <a:gd name="T59" fmla="*/ 253 h 651"/>
                <a:gd name="T60" fmla="*/ 361 w 873"/>
                <a:gd name="T61" fmla="*/ 237 h 651"/>
                <a:gd name="T62" fmla="*/ 268 w 873"/>
                <a:gd name="T63" fmla="*/ 220 h 651"/>
                <a:gd name="T64" fmla="*/ 244 w 873"/>
                <a:gd name="T65" fmla="*/ 234 h 651"/>
                <a:gd name="T66" fmla="*/ 191 w 873"/>
                <a:gd name="T67" fmla="*/ 228 h 651"/>
                <a:gd name="T68" fmla="*/ 145 w 873"/>
                <a:gd name="T69" fmla="*/ 248 h 651"/>
                <a:gd name="T70" fmla="*/ 111 w 873"/>
                <a:gd name="T71" fmla="*/ 231 h 651"/>
                <a:gd name="T72" fmla="*/ 115 w 873"/>
                <a:gd name="T73" fmla="*/ 149 h 651"/>
                <a:gd name="T74" fmla="*/ 183 w 873"/>
                <a:gd name="T75" fmla="*/ 152 h 651"/>
                <a:gd name="T76" fmla="*/ 214 w 873"/>
                <a:gd name="T77" fmla="*/ 152 h 651"/>
                <a:gd name="T78" fmla="*/ 220 w 873"/>
                <a:gd name="T79" fmla="*/ 103 h 651"/>
                <a:gd name="T80" fmla="*/ 226 w 873"/>
                <a:gd name="T81" fmla="*/ 65 h 651"/>
                <a:gd name="T82" fmla="*/ 189 w 873"/>
                <a:gd name="T83" fmla="*/ 6 h 651"/>
                <a:gd name="T84" fmla="*/ 168 w 873"/>
                <a:gd name="T85" fmla="*/ 29 h 651"/>
                <a:gd name="T86" fmla="*/ 136 w 873"/>
                <a:gd name="T87" fmla="*/ 69 h 651"/>
                <a:gd name="T88" fmla="*/ 66 w 873"/>
                <a:gd name="T89" fmla="*/ 115 h 651"/>
                <a:gd name="T90" fmla="*/ 66 w 873"/>
                <a:gd name="T91" fmla="*/ 154 h 651"/>
                <a:gd name="T92" fmla="*/ 0 w 873"/>
                <a:gd name="T93" fmla="*/ 194 h 651"/>
                <a:gd name="T94" fmla="*/ 19 w 873"/>
                <a:gd name="T95" fmla="*/ 269 h 651"/>
                <a:gd name="T96" fmla="*/ 40 w 873"/>
                <a:gd name="T97" fmla="*/ 328 h 651"/>
                <a:gd name="T98" fmla="*/ 77 w 873"/>
                <a:gd name="T99" fmla="*/ 346 h 651"/>
                <a:gd name="T100" fmla="*/ 134 w 873"/>
                <a:gd name="T101" fmla="*/ 370 h 651"/>
                <a:gd name="T102" fmla="*/ 376 w 873"/>
                <a:gd name="T103" fmla="*/ 174 h 651"/>
                <a:gd name="T104" fmla="*/ 411 w 873"/>
                <a:gd name="T105" fmla="*/ 170 h 651"/>
                <a:gd name="T106" fmla="*/ 414 w 873"/>
                <a:gd name="T107" fmla="*/ 109 h 651"/>
                <a:gd name="T108" fmla="*/ 365 w 873"/>
                <a:gd name="T109" fmla="*/ 100 h 651"/>
                <a:gd name="T110" fmla="*/ 334 w 873"/>
                <a:gd name="T111" fmla="*/ 157 h 651"/>
                <a:gd name="T112" fmla="*/ 732 w 873"/>
                <a:gd name="T113" fmla="*/ 343 h 651"/>
                <a:gd name="T114" fmla="*/ 750 w 873"/>
                <a:gd name="T115" fmla="*/ 380 h 651"/>
                <a:gd name="T116" fmla="*/ 753 w 873"/>
                <a:gd name="T117" fmla="*/ 274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3" h="651">
                  <a:moveTo>
                    <a:pt x="145" y="373"/>
                  </a:moveTo>
                  <a:lnTo>
                    <a:pt x="145" y="373"/>
                  </a:lnTo>
                  <a:lnTo>
                    <a:pt x="155" y="376"/>
                  </a:lnTo>
                  <a:lnTo>
                    <a:pt x="164" y="379"/>
                  </a:lnTo>
                  <a:lnTo>
                    <a:pt x="174" y="383"/>
                  </a:lnTo>
                  <a:lnTo>
                    <a:pt x="186" y="385"/>
                  </a:lnTo>
                  <a:lnTo>
                    <a:pt x="186" y="385"/>
                  </a:lnTo>
                  <a:lnTo>
                    <a:pt x="213" y="389"/>
                  </a:lnTo>
                  <a:lnTo>
                    <a:pt x="233" y="391"/>
                  </a:lnTo>
                  <a:lnTo>
                    <a:pt x="233" y="391"/>
                  </a:lnTo>
                  <a:lnTo>
                    <a:pt x="250" y="394"/>
                  </a:lnTo>
                  <a:lnTo>
                    <a:pt x="256" y="394"/>
                  </a:lnTo>
                  <a:lnTo>
                    <a:pt x="262" y="392"/>
                  </a:lnTo>
                  <a:lnTo>
                    <a:pt x="262" y="392"/>
                  </a:lnTo>
                  <a:lnTo>
                    <a:pt x="268" y="391"/>
                  </a:lnTo>
                  <a:lnTo>
                    <a:pt x="273" y="391"/>
                  </a:lnTo>
                  <a:lnTo>
                    <a:pt x="284" y="391"/>
                  </a:lnTo>
                  <a:lnTo>
                    <a:pt x="284" y="391"/>
                  </a:lnTo>
                  <a:lnTo>
                    <a:pt x="291" y="391"/>
                  </a:lnTo>
                  <a:lnTo>
                    <a:pt x="296" y="392"/>
                  </a:lnTo>
                  <a:lnTo>
                    <a:pt x="299" y="394"/>
                  </a:lnTo>
                  <a:lnTo>
                    <a:pt x="299" y="394"/>
                  </a:lnTo>
                  <a:lnTo>
                    <a:pt x="315" y="416"/>
                  </a:lnTo>
                  <a:lnTo>
                    <a:pt x="327" y="432"/>
                  </a:lnTo>
                  <a:lnTo>
                    <a:pt x="339" y="445"/>
                  </a:lnTo>
                  <a:lnTo>
                    <a:pt x="339" y="445"/>
                  </a:lnTo>
                  <a:lnTo>
                    <a:pt x="380" y="479"/>
                  </a:lnTo>
                  <a:lnTo>
                    <a:pt x="429" y="518"/>
                  </a:lnTo>
                  <a:lnTo>
                    <a:pt x="429" y="518"/>
                  </a:lnTo>
                  <a:lnTo>
                    <a:pt x="463" y="545"/>
                  </a:lnTo>
                  <a:lnTo>
                    <a:pt x="496" y="571"/>
                  </a:lnTo>
                  <a:lnTo>
                    <a:pt x="496" y="571"/>
                  </a:lnTo>
                  <a:lnTo>
                    <a:pt x="513" y="583"/>
                  </a:lnTo>
                  <a:lnTo>
                    <a:pt x="533" y="596"/>
                  </a:lnTo>
                  <a:lnTo>
                    <a:pt x="567" y="620"/>
                  </a:lnTo>
                  <a:lnTo>
                    <a:pt x="567" y="620"/>
                  </a:lnTo>
                  <a:lnTo>
                    <a:pt x="589" y="636"/>
                  </a:lnTo>
                  <a:lnTo>
                    <a:pt x="602" y="645"/>
                  </a:lnTo>
                  <a:lnTo>
                    <a:pt x="602" y="645"/>
                  </a:lnTo>
                  <a:lnTo>
                    <a:pt x="611" y="648"/>
                  </a:lnTo>
                  <a:lnTo>
                    <a:pt x="624" y="650"/>
                  </a:lnTo>
                  <a:lnTo>
                    <a:pt x="648" y="651"/>
                  </a:lnTo>
                  <a:lnTo>
                    <a:pt x="648" y="651"/>
                  </a:lnTo>
                  <a:lnTo>
                    <a:pt x="667" y="651"/>
                  </a:lnTo>
                  <a:lnTo>
                    <a:pt x="675" y="651"/>
                  </a:lnTo>
                  <a:lnTo>
                    <a:pt x="678" y="650"/>
                  </a:lnTo>
                  <a:lnTo>
                    <a:pt x="679" y="648"/>
                  </a:lnTo>
                  <a:lnTo>
                    <a:pt x="679" y="648"/>
                  </a:lnTo>
                  <a:lnTo>
                    <a:pt x="684" y="639"/>
                  </a:lnTo>
                  <a:lnTo>
                    <a:pt x="687" y="635"/>
                  </a:lnTo>
                  <a:lnTo>
                    <a:pt x="691" y="632"/>
                  </a:lnTo>
                  <a:lnTo>
                    <a:pt x="691" y="632"/>
                  </a:lnTo>
                  <a:lnTo>
                    <a:pt x="697" y="629"/>
                  </a:lnTo>
                  <a:lnTo>
                    <a:pt x="703" y="628"/>
                  </a:lnTo>
                  <a:lnTo>
                    <a:pt x="709" y="626"/>
                  </a:lnTo>
                  <a:lnTo>
                    <a:pt x="716" y="626"/>
                  </a:lnTo>
                  <a:lnTo>
                    <a:pt x="716" y="626"/>
                  </a:lnTo>
                  <a:lnTo>
                    <a:pt x="728" y="629"/>
                  </a:lnTo>
                  <a:lnTo>
                    <a:pt x="734" y="629"/>
                  </a:lnTo>
                  <a:lnTo>
                    <a:pt x="738" y="626"/>
                  </a:lnTo>
                  <a:lnTo>
                    <a:pt x="738" y="626"/>
                  </a:lnTo>
                  <a:lnTo>
                    <a:pt x="741" y="623"/>
                  </a:lnTo>
                  <a:lnTo>
                    <a:pt x="741" y="620"/>
                  </a:lnTo>
                  <a:lnTo>
                    <a:pt x="741" y="617"/>
                  </a:lnTo>
                  <a:lnTo>
                    <a:pt x="743" y="614"/>
                  </a:lnTo>
                  <a:lnTo>
                    <a:pt x="747" y="613"/>
                  </a:lnTo>
                  <a:lnTo>
                    <a:pt x="747" y="613"/>
                  </a:lnTo>
                  <a:lnTo>
                    <a:pt x="770" y="611"/>
                  </a:lnTo>
                  <a:lnTo>
                    <a:pt x="784" y="610"/>
                  </a:lnTo>
                  <a:lnTo>
                    <a:pt x="784" y="610"/>
                  </a:lnTo>
                  <a:lnTo>
                    <a:pt x="789" y="607"/>
                  </a:lnTo>
                  <a:lnTo>
                    <a:pt x="793" y="601"/>
                  </a:lnTo>
                  <a:lnTo>
                    <a:pt x="793" y="601"/>
                  </a:lnTo>
                  <a:lnTo>
                    <a:pt x="796" y="598"/>
                  </a:lnTo>
                  <a:lnTo>
                    <a:pt x="802" y="596"/>
                  </a:lnTo>
                  <a:lnTo>
                    <a:pt x="808" y="596"/>
                  </a:lnTo>
                  <a:lnTo>
                    <a:pt x="814" y="598"/>
                  </a:lnTo>
                  <a:lnTo>
                    <a:pt x="814" y="598"/>
                  </a:lnTo>
                  <a:lnTo>
                    <a:pt x="830" y="608"/>
                  </a:lnTo>
                  <a:lnTo>
                    <a:pt x="830" y="608"/>
                  </a:lnTo>
                  <a:lnTo>
                    <a:pt x="836" y="611"/>
                  </a:lnTo>
                  <a:lnTo>
                    <a:pt x="836" y="611"/>
                  </a:lnTo>
                  <a:lnTo>
                    <a:pt x="842" y="611"/>
                  </a:lnTo>
                  <a:lnTo>
                    <a:pt x="845" y="608"/>
                  </a:lnTo>
                  <a:lnTo>
                    <a:pt x="845" y="608"/>
                  </a:lnTo>
                  <a:lnTo>
                    <a:pt x="848" y="604"/>
                  </a:lnTo>
                  <a:lnTo>
                    <a:pt x="849" y="601"/>
                  </a:lnTo>
                  <a:lnTo>
                    <a:pt x="847" y="598"/>
                  </a:lnTo>
                  <a:lnTo>
                    <a:pt x="847" y="598"/>
                  </a:lnTo>
                  <a:lnTo>
                    <a:pt x="844" y="594"/>
                  </a:lnTo>
                  <a:lnTo>
                    <a:pt x="844" y="589"/>
                  </a:lnTo>
                  <a:lnTo>
                    <a:pt x="844" y="579"/>
                  </a:lnTo>
                  <a:lnTo>
                    <a:pt x="844" y="579"/>
                  </a:lnTo>
                  <a:lnTo>
                    <a:pt x="844" y="576"/>
                  </a:lnTo>
                  <a:lnTo>
                    <a:pt x="842" y="571"/>
                  </a:lnTo>
                  <a:lnTo>
                    <a:pt x="841" y="567"/>
                  </a:lnTo>
                  <a:lnTo>
                    <a:pt x="836" y="562"/>
                  </a:lnTo>
                  <a:lnTo>
                    <a:pt x="836" y="562"/>
                  </a:lnTo>
                  <a:lnTo>
                    <a:pt x="832" y="557"/>
                  </a:lnTo>
                  <a:lnTo>
                    <a:pt x="827" y="552"/>
                  </a:lnTo>
                  <a:lnTo>
                    <a:pt x="826" y="549"/>
                  </a:lnTo>
                  <a:lnTo>
                    <a:pt x="826" y="546"/>
                  </a:lnTo>
                  <a:lnTo>
                    <a:pt x="827" y="543"/>
                  </a:lnTo>
                  <a:lnTo>
                    <a:pt x="830" y="542"/>
                  </a:lnTo>
                  <a:lnTo>
                    <a:pt x="830" y="542"/>
                  </a:lnTo>
                  <a:lnTo>
                    <a:pt x="839" y="536"/>
                  </a:lnTo>
                  <a:lnTo>
                    <a:pt x="849" y="533"/>
                  </a:lnTo>
                  <a:lnTo>
                    <a:pt x="858" y="530"/>
                  </a:lnTo>
                  <a:lnTo>
                    <a:pt x="864" y="530"/>
                  </a:lnTo>
                  <a:lnTo>
                    <a:pt x="864" y="530"/>
                  </a:lnTo>
                  <a:lnTo>
                    <a:pt x="873" y="533"/>
                  </a:lnTo>
                  <a:lnTo>
                    <a:pt x="873" y="533"/>
                  </a:lnTo>
                  <a:lnTo>
                    <a:pt x="864" y="503"/>
                  </a:lnTo>
                  <a:lnTo>
                    <a:pt x="858" y="479"/>
                  </a:lnTo>
                  <a:lnTo>
                    <a:pt x="858" y="479"/>
                  </a:lnTo>
                  <a:lnTo>
                    <a:pt x="854" y="471"/>
                  </a:lnTo>
                  <a:lnTo>
                    <a:pt x="847" y="462"/>
                  </a:lnTo>
                  <a:lnTo>
                    <a:pt x="835" y="447"/>
                  </a:lnTo>
                  <a:lnTo>
                    <a:pt x="835" y="447"/>
                  </a:lnTo>
                  <a:lnTo>
                    <a:pt x="823" y="432"/>
                  </a:lnTo>
                  <a:lnTo>
                    <a:pt x="815" y="425"/>
                  </a:lnTo>
                  <a:lnTo>
                    <a:pt x="811" y="419"/>
                  </a:lnTo>
                  <a:lnTo>
                    <a:pt x="811" y="419"/>
                  </a:lnTo>
                  <a:lnTo>
                    <a:pt x="805" y="411"/>
                  </a:lnTo>
                  <a:lnTo>
                    <a:pt x="796" y="400"/>
                  </a:lnTo>
                  <a:lnTo>
                    <a:pt x="778" y="383"/>
                  </a:lnTo>
                  <a:lnTo>
                    <a:pt x="778" y="383"/>
                  </a:lnTo>
                  <a:lnTo>
                    <a:pt x="775" y="382"/>
                  </a:lnTo>
                  <a:lnTo>
                    <a:pt x="772" y="383"/>
                  </a:lnTo>
                  <a:lnTo>
                    <a:pt x="771" y="386"/>
                  </a:lnTo>
                  <a:lnTo>
                    <a:pt x="767" y="389"/>
                  </a:lnTo>
                  <a:lnTo>
                    <a:pt x="767" y="389"/>
                  </a:lnTo>
                  <a:lnTo>
                    <a:pt x="761" y="392"/>
                  </a:lnTo>
                  <a:lnTo>
                    <a:pt x="753" y="392"/>
                  </a:lnTo>
                  <a:lnTo>
                    <a:pt x="740" y="392"/>
                  </a:lnTo>
                  <a:lnTo>
                    <a:pt x="740" y="392"/>
                  </a:lnTo>
                  <a:lnTo>
                    <a:pt x="734" y="391"/>
                  </a:lnTo>
                  <a:lnTo>
                    <a:pt x="731" y="392"/>
                  </a:lnTo>
                  <a:lnTo>
                    <a:pt x="730" y="395"/>
                  </a:lnTo>
                  <a:lnTo>
                    <a:pt x="728" y="398"/>
                  </a:lnTo>
                  <a:lnTo>
                    <a:pt x="728" y="398"/>
                  </a:lnTo>
                  <a:lnTo>
                    <a:pt x="728" y="405"/>
                  </a:lnTo>
                  <a:lnTo>
                    <a:pt x="728" y="420"/>
                  </a:lnTo>
                  <a:lnTo>
                    <a:pt x="728" y="434"/>
                  </a:lnTo>
                  <a:lnTo>
                    <a:pt x="728" y="441"/>
                  </a:lnTo>
                  <a:lnTo>
                    <a:pt x="728" y="441"/>
                  </a:lnTo>
                  <a:lnTo>
                    <a:pt x="724" y="448"/>
                  </a:lnTo>
                  <a:lnTo>
                    <a:pt x="713" y="459"/>
                  </a:lnTo>
                  <a:lnTo>
                    <a:pt x="698" y="475"/>
                  </a:lnTo>
                  <a:lnTo>
                    <a:pt x="698" y="475"/>
                  </a:lnTo>
                  <a:lnTo>
                    <a:pt x="695" y="475"/>
                  </a:lnTo>
                  <a:lnTo>
                    <a:pt x="693" y="475"/>
                  </a:lnTo>
                  <a:lnTo>
                    <a:pt x="684" y="474"/>
                  </a:lnTo>
                  <a:lnTo>
                    <a:pt x="667" y="468"/>
                  </a:lnTo>
                  <a:lnTo>
                    <a:pt x="667" y="468"/>
                  </a:lnTo>
                  <a:lnTo>
                    <a:pt x="664" y="468"/>
                  </a:lnTo>
                  <a:lnTo>
                    <a:pt x="663" y="469"/>
                  </a:lnTo>
                  <a:lnTo>
                    <a:pt x="660" y="474"/>
                  </a:lnTo>
                  <a:lnTo>
                    <a:pt x="658" y="478"/>
                  </a:lnTo>
                  <a:lnTo>
                    <a:pt x="657" y="482"/>
                  </a:lnTo>
                  <a:lnTo>
                    <a:pt x="657" y="482"/>
                  </a:lnTo>
                  <a:lnTo>
                    <a:pt x="655" y="485"/>
                  </a:lnTo>
                  <a:lnTo>
                    <a:pt x="653" y="488"/>
                  </a:lnTo>
                  <a:lnTo>
                    <a:pt x="648" y="488"/>
                  </a:lnTo>
                  <a:lnTo>
                    <a:pt x="644" y="487"/>
                  </a:lnTo>
                  <a:lnTo>
                    <a:pt x="635" y="484"/>
                  </a:lnTo>
                  <a:lnTo>
                    <a:pt x="629" y="481"/>
                  </a:lnTo>
                  <a:lnTo>
                    <a:pt x="629" y="481"/>
                  </a:lnTo>
                  <a:lnTo>
                    <a:pt x="624" y="478"/>
                  </a:lnTo>
                  <a:lnTo>
                    <a:pt x="623" y="474"/>
                  </a:lnTo>
                  <a:lnTo>
                    <a:pt x="624" y="468"/>
                  </a:lnTo>
                  <a:lnTo>
                    <a:pt x="624" y="468"/>
                  </a:lnTo>
                  <a:lnTo>
                    <a:pt x="626" y="462"/>
                  </a:lnTo>
                  <a:lnTo>
                    <a:pt x="630" y="457"/>
                  </a:lnTo>
                  <a:lnTo>
                    <a:pt x="638" y="450"/>
                  </a:lnTo>
                  <a:lnTo>
                    <a:pt x="647" y="444"/>
                  </a:lnTo>
                  <a:lnTo>
                    <a:pt x="651" y="440"/>
                  </a:lnTo>
                  <a:lnTo>
                    <a:pt x="653" y="434"/>
                  </a:lnTo>
                  <a:lnTo>
                    <a:pt x="653" y="434"/>
                  </a:lnTo>
                  <a:lnTo>
                    <a:pt x="658" y="402"/>
                  </a:lnTo>
                  <a:lnTo>
                    <a:pt x="658" y="402"/>
                  </a:lnTo>
                  <a:lnTo>
                    <a:pt x="657" y="400"/>
                  </a:lnTo>
                  <a:lnTo>
                    <a:pt x="654" y="400"/>
                  </a:lnTo>
                  <a:lnTo>
                    <a:pt x="648" y="398"/>
                  </a:lnTo>
                  <a:lnTo>
                    <a:pt x="648" y="398"/>
                  </a:lnTo>
                  <a:lnTo>
                    <a:pt x="642" y="395"/>
                  </a:lnTo>
                  <a:lnTo>
                    <a:pt x="632" y="395"/>
                  </a:lnTo>
                  <a:lnTo>
                    <a:pt x="632" y="395"/>
                  </a:lnTo>
                  <a:lnTo>
                    <a:pt x="618" y="397"/>
                  </a:lnTo>
                  <a:lnTo>
                    <a:pt x="618" y="397"/>
                  </a:lnTo>
                  <a:lnTo>
                    <a:pt x="607" y="397"/>
                  </a:lnTo>
                  <a:lnTo>
                    <a:pt x="607" y="398"/>
                  </a:lnTo>
                  <a:lnTo>
                    <a:pt x="596" y="400"/>
                  </a:lnTo>
                  <a:lnTo>
                    <a:pt x="596" y="400"/>
                  </a:lnTo>
                  <a:lnTo>
                    <a:pt x="595" y="400"/>
                  </a:lnTo>
                  <a:lnTo>
                    <a:pt x="592" y="398"/>
                  </a:lnTo>
                  <a:lnTo>
                    <a:pt x="590" y="397"/>
                  </a:lnTo>
                  <a:lnTo>
                    <a:pt x="590" y="397"/>
                  </a:lnTo>
                  <a:lnTo>
                    <a:pt x="578" y="397"/>
                  </a:lnTo>
                  <a:lnTo>
                    <a:pt x="578" y="397"/>
                  </a:lnTo>
                  <a:lnTo>
                    <a:pt x="574" y="395"/>
                  </a:lnTo>
                  <a:lnTo>
                    <a:pt x="571" y="394"/>
                  </a:lnTo>
                  <a:lnTo>
                    <a:pt x="570" y="389"/>
                  </a:lnTo>
                  <a:lnTo>
                    <a:pt x="570" y="389"/>
                  </a:lnTo>
                  <a:lnTo>
                    <a:pt x="564" y="383"/>
                  </a:lnTo>
                  <a:lnTo>
                    <a:pt x="555" y="374"/>
                  </a:lnTo>
                  <a:lnTo>
                    <a:pt x="555" y="374"/>
                  </a:lnTo>
                  <a:lnTo>
                    <a:pt x="547" y="365"/>
                  </a:lnTo>
                  <a:lnTo>
                    <a:pt x="541" y="361"/>
                  </a:lnTo>
                  <a:lnTo>
                    <a:pt x="539" y="357"/>
                  </a:lnTo>
                  <a:lnTo>
                    <a:pt x="534" y="352"/>
                  </a:lnTo>
                  <a:lnTo>
                    <a:pt x="534" y="352"/>
                  </a:lnTo>
                  <a:lnTo>
                    <a:pt x="531" y="349"/>
                  </a:lnTo>
                  <a:lnTo>
                    <a:pt x="525" y="348"/>
                  </a:lnTo>
                  <a:lnTo>
                    <a:pt x="516" y="348"/>
                  </a:lnTo>
                  <a:lnTo>
                    <a:pt x="516" y="348"/>
                  </a:lnTo>
                  <a:lnTo>
                    <a:pt x="507" y="346"/>
                  </a:lnTo>
                  <a:lnTo>
                    <a:pt x="504" y="345"/>
                  </a:lnTo>
                  <a:lnTo>
                    <a:pt x="500" y="346"/>
                  </a:lnTo>
                  <a:lnTo>
                    <a:pt x="500" y="346"/>
                  </a:lnTo>
                  <a:lnTo>
                    <a:pt x="493" y="349"/>
                  </a:lnTo>
                  <a:lnTo>
                    <a:pt x="485" y="352"/>
                  </a:lnTo>
                  <a:lnTo>
                    <a:pt x="485" y="352"/>
                  </a:lnTo>
                  <a:lnTo>
                    <a:pt x="481" y="358"/>
                  </a:lnTo>
                  <a:lnTo>
                    <a:pt x="478" y="360"/>
                  </a:lnTo>
                  <a:lnTo>
                    <a:pt x="475" y="361"/>
                  </a:lnTo>
                  <a:lnTo>
                    <a:pt x="475" y="361"/>
                  </a:lnTo>
                  <a:lnTo>
                    <a:pt x="472" y="358"/>
                  </a:lnTo>
                  <a:lnTo>
                    <a:pt x="467" y="354"/>
                  </a:lnTo>
                  <a:lnTo>
                    <a:pt x="463" y="346"/>
                  </a:lnTo>
                  <a:lnTo>
                    <a:pt x="463" y="346"/>
                  </a:lnTo>
                  <a:lnTo>
                    <a:pt x="457" y="343"/>
                  </a:lnTo>
                  <a:lnTo>
                    <a:pt x="451" y="340"/>
                  </a:lnTo>
                  <a:lnTo>
                    <a:pt x="451" y="340"/>
                  </a:lnTo>
                  <a:lnTo>
                    <a:pt x="444" y="340"/>
                  </a:lnTo>
                  <a:lnTo>
                    <a:pt x="439" y="339"/>
                  </a:lnTo>
                  <a:lnTo>
                    <a:pt x="436" y="337"/>
                  </a:lnTo>
                  <a:lnTo>
                    <a:pt x="435" y="336"/>
                  </a:lnTo>
                  <a:lnTo>
                    <a:pt x="435" y="336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3" y="318"/>
                  </a:lnTo>
                  <a:lnTo>
                    <a:pt x="435" y="314"/>
                  </a:lnTo>
                  <a:lnTo>
                    <a:pt x="436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42" y="314"/>
                  </a:lnTo>
                  <a:lnTo>
                    <a:pt x="447" y="318"/>
                  </a:lnTo>
                  <a:lnTo>
                    <a:pt x="451" y="323"/>
                  </a:lnTo>
                  <a:lnTo>
                    <a:pt x="456" y="325"/>
                  </a:lnTo>
                  <a:lnTo>
                    <a:pt x="456" y="325"/>
                  </a:lnTo>
                  <a:lnTo>
                    <a:pt x="460" y="325"/>
                  </a:lnTo>
                  <a:lnTo>
                    <a:pt x="462" y="323"/>
                  </a:lnTo>
                  <a:lnTo>
                    <a:pt x="466" y="311"/>
                  </a:lnTo>
                  <a:lnTo>
                    <a:pt x="466" y="311"/>
                  </a:lnTo>
                  <a:lnTo>
                    <a:pt x="470" y="306"/>
                  </a:lnTo>
                  <a:lnTo>
                    <a:pt x="473" y="303"/>
                  </a:lnTo>
                  <a:lnTo>
                    <a:pt x="478" y="302"/>
                  </a:lnTo>
                  <a:lnTo>
                    <a:pt x="481" y="300"/>
                  </a:lnTo>
                  <a:lnTo>
                    <a:pt x="481" y="300"/>
                  </a:lnTo>
                  <a:lnTo>
                    <a:pt x="487" y="296"/>
                  </a:lnTo>
                  <a:lnTo>
                    <a:pt x="490" y="294"/>
                  </a:lnTo>
                  <a:lnTo>
                    <a:pt x="500" y="296"/>
                  </a:lnTo>
                  <a:lnTo>
                    <a:pt x="513" y="296"/>
                  </a:lnTo>
                  <a:lnTo>
                    <a:pt x="518" y="291"/>
                  </a:lnTo>
                  <a:lnTo>
                    <a:pt x="513" y="284"/>
                  </a:lnTo>
                  <a:lnTo>
                    <a:pt x="513" y="284"/>
                  </a:lnTo>
                  <a:lnTo>
                    <a:pt x="507" y="278"/>
                  </a:lnTo>
                  <a:lnTo>
                    <a:pt x="500" y="272"/>
                  </a:lnTo>
                  <a:lnTo>
                    <a:pt x="488" y="266"/>
                  </a:lnTo>
                  <a:lnTo>
                    <a:pt x="488" y="266"/>
                  </a:lnTo>
                  <a:lnTo>
                    <a:pt x="467" y="257"/>
                  </a:lnTo>
                  <a:lnTo>
                    <a:pt x="467" y="257"/>
                  </a:lnTo>
                  <a:lnTo>
                    <a:pt x="456" y="256"/>
                  </a:lnTo>
                  <a:lnTo>
                    <a:pt x="444" y="254"/>
                  </a:lnTo>
                  <a:lnTo>
                    <a:pt x="444" y="254"/>
                  </a:lnTo>
                  <a:lnTo>
                    <a:pt x="439" y="254"/>
                  </a:lnTo>
                  <a:lnTo>
                    <a:pt x="436" y="256"/>
                  </a:lnTo>
                  <a:lnTo>
                    <a:pt x="433" y="257"/>
                  </a:lnTo>
                  <a:lnTo>
                    <a:pt x="433" y="259"/>
                  </a:lnTo>
                  <a:lnTo>
                    <a:pt x="433" y="262"/>
                  </a:lnTo>
                  <a:lnTo>
                    <a:pt x="433" y="263"/>
                  </a:lnTo>
                  <a:lnTo>
                    <a:pt x="433" y="263"/>
                  </a:lnTo>
                  <a:lnTo>
                    <a:pt x="430" y="266"/>
                  </a:lnTo>
                  <a:lnTo>
                    <a:pt x="427" y="271"/>
                  </a:lnTo>
                  <a:lnTo>
                    <a:pt x="427" y="274"/>
                  </a:lnTo>
                  <a:lnTo>
                    <a:pt x="427" y="274"/>
                  </a:lnTo>
                  <a:lnTo>
                    <a:pt x="424" y="277"/>
                  </a:lnTo>
                  <a:lnTo>
                    <a:pt x="420" y="281"/>
                  </a:lnTo>
                  <a:lnTo>
                    <a:pt x="417" y="283"/>
                  </a:lnTo>
                  <a:lnTo>
                    <a:pt x="416" y="283"/>
                  </a:lnTo>
                  <a:lnTo>
                    <a:pt x="416" y="283"/>
                  </a:lnTo>
                  <a:lnTo>
                    <a:pt x="416" y="283"/>
                  </a:lnTo>
                  <a:lnTo>
                    <a:pt x="414" y="278"/>
                  </a:lnTo>
                  <a:lnTo>
                    <a:pt x="414" y="274"/>
                  </a:lnTo>
                  <a:lnTo>
                    <a:pt x="414" y="274"/>
                  </a:lnTo>
                  <a:lnTo>
                    <a:pt x="413" y="262"/>
                  </a:lnTo>
                  <a:lnTo>
                    <a:pt x="411" y="254"/>
                  </a:lnTo>
                  <a:lnTo>
                    <a:pt x="411" y="254"/>
                  </a:lnTo>
                  <a:lnTo>
                    <a:pt x="398" y="253"/>
                  </a:lnTo>
                  <a:lnTo>
                    <a:pt x="398" y="253"/>
                  </a:lnTo>
                  <a:lnTo>
                    <a:pt x="396" y="253"/>
                  </a:lnTo>
                  <a:lnTo>
                    <a:pt x="396" y="253"/>
                  </a:lnTo>
                  <a:lnTo>
                    <a:pt x="389" y="253"/>
                  </a:lnTo>
                  <a:lnTo>
                    <a:pt x="385" y="253"/>
                  </a:lnTo>
                  <a:lnTo>
                    <a:pt x="380" y="248"/>
                  </a:lnTo>
                  <a:lnTo>
                    <a:pt x="380" y="248"/>
                  </a:lnTo>
                  <a:lnTo>
                    <a:pt x="374" y="244"/>
                  </a:lnTo>
                  <a:lnTo>
                    <a:pt x="368" y="240"/>
                  </a:lnTo>
                  <a:lnTo>
                    <a:pt x="361" y="237"/>
                  </a:lnTo>
                  <a:lnTo>
                    <a:pt x="361" y="237"/>
                  </a:lnTo>
                  <a:lnTo>
                    <a:pt x="337" y="237"/>
                  </a:lnTo>
                  <a:lnTo>
                    <a:pt x="302" y="237"/>
                  </a:lnTo>
                  <a:lnTo>
                    <a:pt x="302" y="237"/>
                  </a:lnTo>
                  <a:lnTo>
                    <a:pt x="293" y="235"/>
                  </a:lnTo>
                  <a:lnTo>
                    <a:pt x="285" y="234"/>
                  </a:lnTo>
                  <a:lnTo>
                    <a:pt x="275" y="228"/>
                  </a:lnTo>
                  <a:lnTo>
                    <a:pt x="275" y="228"/>
                  </a:lnTo>
                  <a:lnTo>
                    <a:pt x="271" y="225"/>
                  </a:lnTo>
                  <a:lnTo>
                    <a:pt x="268" y="220"/>
                  </a:lnTo>
                  <a:lnTo>
                    <a:pt x="265" y="216"/>
                  </a:lnTo>
                  <a:lnTo>
                    <a:pt x="263" y="216"/>
                  </a:lnTo>
                  <a:lnTo>
                    <a:pt x="263" y="216"/>
                  </a:lnTo>
                  <a:lnTo>
                    <a:pt x="259" y="217"/>
                  </a:lnTo>
                  <a:lnTo>
                    <a:pt x="256" y="219"/>
                  </a:lnTo>
                  <a:lnTo>
                    <a:pt x="253" y="223"/>
                  </a:lnTo>
                  <a:lnTo>
                    <a:pt x="250" y="229"/>
                  </a:lnTo>
                  <a:lnTo>
                    <a:pt x="248" y="232"/>
                  </a:lnTo>
                  <a:lnTo>
                    <a:pt x="248" y="232"/>
                  </a:lnTo>
                  <a:lnTo>
                    <a:pt x="244" y="234"/>
                  </a:lnTo>
                  <a:lnTo>
                    <a:pt x="238" y="232"/>
                  </a:lnTo>
                  <a:lnTo>
                    <a:pt x="222" y="222"/>
                  </a:lnTo>
                  <a:lnTo>
                    <a:pt x="222" y="222"/>
                  </a:lnTo>
                  <a:lnTo>
                    <a:pt x="214" y="219"/>
                  </a:lnTo>
                  <a:lnTo>
                    <a:pt x="210" y="220"/>
                  </a:lnTo>
                  <a:lnTo>
                    <a:pt x="205" y="222"/>
                  </a:lnTo>
                  <a:lnTo>
                    <a:pt x="199" y="223"/>
                  </a:lnTo>
                  <a:lnTo>
                    <a:pt x="199" y="223"/>
                  </a:lnTo>
                  <a:lnTo>
                    <a:pt x="194" y="225"/>
                  </a:lnTo>
                  <a:lnTo>
                    <a:pt x="191" y="228"/>
                  </a:lnTo>
                  <a:lnTo>
                    <a:pt x="186" y="235"/>
                  </a:lnTo>
                  <a:lnTo>
                    <a:pt x="186" y="235"/>
                  </a:lnTo>
                  <a:lnTo>
                    <a:pt x="177" y="241"/>
                  </a:lnTo>
                  <a:lnTo>
                    <a:pt x="171" y="244"/>
                  </a:lnTo>
                  <a:lnTo>
                    <a:pt x="162" y="248"/>
                  </a:lnTo>
                  <a:lnTo>
                    <a:pt x="162" y="248"/>
                  </a:lnTo>
                  <a:lnTo>
                    <a:pt x="155" y="250"/>
                  </a:lnTo>
                  <a:lnTo>
                    <a:pt x="151" y="250"/>
                  </a:lnTo>
                  <a:lnTo>
                    <a:pt x="145" y="248"/>
                  </a:lnTo>
                  <a:lnTo>
                    <a:pt x="145" y="248"/>
                  </a:lnTo>
                  <a:lnTo>
                    <a:pt x="130" y="241"/>
                  </a:lnTo>
                  <a:lnTo>
                    <a:pt x="127" y="240"/>
                  </a:lnTo>
                  <a:lnTo>
                    <a:pt x="124" y="240"/>
                  </a:lnTo>
                  <a:lnTo>
                    <a:pt x="124" y="240"/>
                  </a:lnTo>
                  <a:lnTo>
                    <a:pt x="121" y="240"/>
                  </a:lnTo>
                  <a:lnTo>
                    <a:pt x="117" y="241"/>
                  </a:lnTo>
                  <a:lnTo>
                    <a:pt x="115" y="240"/>
                  </a:lnTo>
                  <a:lnTo>
                    <a:pt x="114" y="238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9" y="222"/>
                  </a:lnTo>
                  <a:lnTo>
                    <a:pt x="109" y="214"/>
                  </a:lnTo>
                  <a:lnTo>
                    <a:pt x="111" y="192"/>
                  </a:lnTo>
                  <a:lnTo>
                    <a:pt x="111" y="192"/>
                  </a:lnTo>
                  <a:lnTo>
                    <a:pt x="112" y="171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4" y="157"/>
                  </a:lnTo>
                  <a:lnTo>
                    <a:pt x="114" y="152"/>
                  </a:lnTo>
                  <a:lnTo>
                    <a:pt x="115" y="149"/>
                  </a:lnTo>
                  <a:lnTo>
                    <a:pt x="115" y="149"/>
                  </a:lnTo>
                  <a:lnTo>
                    <a:pt x="118" y="146"/>
                  </a:lnTo>
                  <a:lnTo>
                    <a:pt x="124" y="145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70" y="142"/>
                  </a:lnTo>
                  <a:lnTo>
                    <a:pt x="173" y="143"/>
                  </a:lnTo>
                  <a:lnTo>
                    <a:pt x="183" y="152"/>
                  </a:lnTo>
                  <a:lnTo>
                    <a:pt x="183" y="152"/>
                  </a:lnTo>
                  <a:lnTo>
                    <a:pt x="191" y="161"/>
                  </a:lnTo>
                  <a:lnTo>
                    <a:pt x="194" y="163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202" y="163"/>
                  </a:lnTo>
                  <a:lnTo>
                    <a:pt x="207" y="160"/>
                  </a:lnTo>
                  <a:lnTo>
                    <a:pt x="210" y="155"/>
                  </a:lnTo>
                  <a:lnTo>
                    <a:pt x="214" y="152"/>
                  </a:lnTo>
                  <a:lnTo>
                    <a:pt x="214" y="152"/>
                  </a:lnTo>
                  <a:lnTo>
                    <a:pt x="217" y="149"/>
                  </a:lnTo>
                  <a:lnTo>
                    <a:pt x="217" y="145"/>
                  </a:lnTo>
                  <a:lnTo>
                    <a:pt x="217" y="134"/>
                  </a:lnTo>
                  <a:lnTo>
                    <a:pt x="217" y="134"/>
                  </a:lnTo>
                  <a:lnTo>
                    <a:pt x="217" y="128"/>
                  </a:lnTo>
                  <a:lnTo>
                    <a:pt x="219" y="126"/>
                  </a:lnTo>
                  <a:lnTo>
                    <a:pt x="220" y="123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03"/>
                  </a:lnTo>
                  <a:lnTo>
                    <a:pt x="222" y="100"/>
                  </a:lnTo>
                  <a:lnTo>
                    <a:pt x="225" y="99"/>
                  </a:lnTo>
                  <a:lnTo>
                    <a:pt x="228" y="96"/>
                  </a:lnTo>
                  <a:lnTo>
                    <a:pt x="228" y="96"/>
                  </a:lnTo>
                  <a:lnTo>
                    <a:pt x="229" y="91"/>
                  </a:lnTo>
                  <a:lnTo>
                    <a:pt x="231" y="86"/>
                  </a:lnTo>
                  <a:lnTo>
                    <a:pt x="229" y="81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26" y="65"/>
                  </a:lnTo>
                  <a:lnTo>
                    <a:pt x="222" y="57"/>
                  </a:lnTo>
                  <a:lnTo>
                    <a:pt x="219" y="53"/>
                  </a:lnTo>
                  <a:lnTo>
                    <a:pt x="213" y="50"/>
                  </a:lnTo>
                  <a:lnTo>
                    <a:pt x="213" y="50"/>
                  </a:lnTo>
                  <a:lnTo>
                    <a:pt x="204" y="41"/>
                  </a:lnTo>
                  <a:lnTo>
                    <a:pt x="198" y="34"/>
                  </a:lnTo>
                  <a:lnTo>
                    <a:pt x="194" y="25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89" y="6"/>
                  </a:lnTo>
                  <a:lnTo>
                    <a:pt x="185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4" y="0"/>
                  </a:lnTo>
                  <a:lnTo>
                    <a:pt x="174" y="1"/>
                  </a:lnTo>
                  <a:lnTo>
                    <a:pt x="173" y="7"/>
                  </a:lnTo>
                  <a:lnTo>
                    <a:pt x="170" y="22"/>
                  </a:lnTo>
                  <a:lnTo>
                    <a:pt x="170" y="22"/>
                  </a:lnTo>
                  <a:lnTo>
                    <a:pt x="168" y="29"/>
                  </a:lnTo>
                  <a:lnTo>
                    <a:pt x="165" y="43"/>
                  </a:lnTo>
                  <a:lnTo>
                    <a:pt x="165" y="43"/>
                  </a:lnTo>
                  <a:lnTo>
                    <a:pt x="161" y="54"/>
                  </a:lnTo>
                  <a:lnTo>
                    <a:pt x="156" y="59"/>
                  </a:lnTo>
                  <a:lnTo>
                    <a:pt x="156" y="59"/>
                  </a:lnTo>
                  <a:lnTo>
                    <a:pt x="154" y="62"/>
                  </a:lnTo>
                  <a:lnTo>
                    <a:pt x="149" y="62"/>
                  </a:lnTo>
                  <a:lnTo>
                    <a:pt x="145" y="65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28" y="74"/>
                  </a:lnTo>
                  <a:lnTo>
                    <a:pt x="121" y="77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0" y="89"/>
                  </a:lnTo>
                  <a:lnTo>
                    <a:pt x="82" y="93"/>
                  </a:lnTo>
                  <a:lnTo>
                    <a:pt x="78" y="97"/>
                  </a:lnTo>
                  <a:lnTo>
                    <a:pt x="74" y="103"/>
                  </a:lnTo>
                  <a:lnTo>
                    <a:pt x="68" y="111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7"/>
                  </a:lnTo>
                  <a:lnTo>
                    <a:pt x="69" y="133"/>
                  </a:lnTo>
                  <a:lnTo>
                    <a:pt x="71" y="137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69" y="149"/>
                  </a:lnTo>
                  <a:lnTo>
                    <a:pt x="66" y="154"/>
                  </a:lnTo>
                  <a:lnTo>
                    <a:pt x="66" y="154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48" y="170"/>
                  </a:lnTo>
                  <a:lnTo>
                    <a:pt x="41" y="174"/>
                  </a:lnTo>
                  <a:lnTo>
                    <a:pt x="41" y="174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8" y="191"/>
                  </a:lnTo>
                  <a:lnTo>
                    <a:pt x="0" y="194"/>
                  </a:lnTo>
                  <a:lnTo>
                    <a:pt x="0" y="194"/>
                  </a:lnTo>
                  <a:lnTo>
                    <a:pt x="1" y="201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5" y="241"/>
                  </a:lnTo>
                  <a:lnTo>
                    <a:pt x="8" y="254"/>
                  </a:lnTo>
                  <a:lnTo>
                    <a:pt x="10" y="260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9" y="269"/>
                  </a:lnTo>
                  <a:lnTo>
                    <a:pt x="23" y="274"/>
                  </a:lnTo>
                  <a:lnTo>
                    <a:pt x="29" y="278"/>
                  </a:lnTo>
                  <a:lnTo>
                    <a:pt x="32" y="284"/>
                  </a:lnTo>
                  <a:lnTo>
                    <a:pt x="32" y="284"/>
                  </a:lnTo>
                  <a:lnTo>
                    <a:pt x="35" y="293"/>
                  </a:lnTo>
                  <a:lnTo>
                    <a:pt x="35" y="303"/>
                  </a:lnTo>
                  <a:lnTo>
                    <a:pt x="35" y="314"/>
                  </a:lnTo>
                  <a:lnTo>
                    <a:pt x="37" y="323"/>
                  </a:lnTo>
                  <a:lnTo>
                    <a:pt x="37" y="323"/>
                  </a:lnTo>
                  <a:lnTo>
                    <a:pt x="40" y="328"/>
                  </a:lnTo>
                  <a:lnTo>
                    <a:pt x="42" y="333"/>
                  </a:lnTo>
                  <a:lnTo>
                    <a:pt x="48" y="340"/>
                  </a:lnTo>
                  <a:lnTo>
                    <a:pt x="48" y="340"/>
                  </a:lnTo>
                  <a:lnTo>
                    <a:pt x="53" y="348"/>
                  </a:lnTo>
                  <a:lnTo>
                    <a:pt x="56" y="349"/>
                  </a:lnTo>
                  <a:lnTo>
                    <a:pt x="60" y="351"/>
                  </a:lnTo>
                  <a:lnTo>
                    <a:pt x="60" y="351"/>
                  </a:lnTo>
                  <a:lnTo>
                    <a:pt x="65" y="351"/>
                  </a:lnTo>
                  <a:lnTo>
                    <a:pt x="71" y="348"/>
                  </a:lnTo>
                  <a:lnTo>
                    <a:pt x="77" y="346"/>
                  </a:lnTo>
                  <a:lnTo>
                    <a:pt x="84" y="346"/>
                  </a:lnTo>
                  <a:lnTo>
                    <a:pt x="84" y="346"/>
                  </a:lnTo>
                  <a:lnTo>
                    <a:pt x="97" y="348"/>
                  </a:lnTo>
                  <a:lnTo>
                    <a:pt x="102" y="351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19" y="371"/>
                  </a:lnTo>
                  <a:lnTo>
                    <a:pt x="119" y="371"/>
                  </a:lnTo>
                  <a:lnTo>
                    <a:pt x="127" y="370"/>
                  </a:lnTo>
                  <a:lnTo>
                    <a:pt x="134" y="370"/>
                  </a:lnTo>
                  <a:lnTo>
                    <a:pt x="145" y="373"/>
                  </a:lnTo>
                  <a:lnTo>
                    <a:pt x="145" y="373"/>
                  </a:lnTo>
                  <a:close/>
                  <a:moveTo>
                    <a:pt x="346" y="166"/>
                  </a:moveTo>
                  <a:lnTo>
                    <a:pt x="346" y="166"/>
                  </a:lnTo>
                  <a:lnTo>
                    <a:pt x="350" y="168"/>
                  </a:lnTo>
                  <a:lnTo>
                    <a:pt x="358" y="171"/>
                  </a:lnTo>
                  <a:lnTo>
                    <a:pt x="368" y="176"/>
                  </a:lnTo>
                  <a:lnTo>
                    <a:pt x="368" y="176"/>
                  </a:lnTo>
                  <a:lnTo>
                    <a:pt x="373" y="176"/>
                  </a:lnTo>
                  <a:lnTo>
                    <a:pt x="376" y="174"/>
                  </a:lnTo>
                  <a:lnTo>
                    <a:pt x="380" y="173"/>
                  </a:lnTo>
                  <a:lnTo>
                    <a:pt x="383" y="171"/>
                  </a:lnTo>
                  <a:lnTo>
                    <a:pt x="383" y="171"/>
                  </a:lnTo>
                  <a:lnTo>
                    <a:pt x="393" y="170"/>
                  </a:lnTo>
                  <a:lnTo>
                    <a:pt x="393" y="170"/>
                  </a:lnTo>
                  <a:lnTo>
                    <a:pt x="398" y="170"/>
                  </a:lnTo>
                  <a:lnTo>
                    <a:pt x="402" y="171"/>
                  </a:lnTo>
                  <a:lnTo>
                    <a:pt x="402" y="171"/>
                  </a:lnTo>
                  <a:lnTo>
                    <a:pt x="408" y="171"/>
                  </a:lnTo>
                  <a:lnTo>
                    <a:pt x="411" y="170"/>
                  </a:lnTo>
                  <a:lnTo>
                    <a:pt x="413" y="168"/>
                  </a:lnTo>
                  <a:lnTo>
                    <a:pt x="413" y="168"/>
                  </a:lnTo>
                  <a:lnTo>
                    <a:pt x="414" y="166"/>
                  </a:lnTo>
                  <a:lnTo>
                    <a:pt x="416" y="163"/>
                  </a:lnTo>
                  <a:lnTo>
                    <a:pt x="416" y="151"/>
                  </a:lnTo>
                  <a:lnTo>
                    <a:pt x="416" y="151"/>
                  </a:lnTo>
                  <a:lnTo>
                    <a:pt x="416" y="115"/>
                  </a:lnTo>
                  <a:lnTo>
                    <a:pt x="416" y="115"/>
                  </a:lnTo>
                  <a:lnTo>
                    <a:pt x="416" y="112"/>
                  </a:lnTo>
                  <a:lnTo>
                    <a:pt x="414" y="109"/>
                  </a:lnTo>
                  <a:lnTo>
                    <a:pt x="410" y="106"/>
                  </a:lnTo>
                  <a:lnTo>
                    <a:pt x="404" y="103"/>
                  </a:lnTo>
                  <a:lnTo>
                    <a:pt x="399" y="99"/>
                  </a:lnTo>
                  <a:lnTo>
                    <a:pt x="399" y="99"/>
                  </a:lnTo>
                  <a:lnTo>
                    <a:pt x="396" y="97"/>
                  </a:lnTo>
                  <a:lnTo>
                    <a:pt x="393" y="96"/>
                  </a:lnTo>
                  <a:lnTo>
                    <a:pt x="386" y="96"/>
                  </a:lnTo>
                  <a:lnTo>
                    <a:pt x="376" y="99"/>
                  </a:lnTo>
                  <a:lnTo>
                    <a:pt x="365" y="100"/>
                  </a:lnTo>
                  <a:lnTo>
                    <a:pt x="365" y="100"/>
                  </a:lnTo>
                  <a:lnTo>
                    <a:pt x="359" y="100"/>
                  </a:lnTo>
                  <a:lnTo>
                    <a:pt x="355" y="102"/>
                  </a:lnTo>
                  <a:lnTo>
                    <a:pt x="346" y="108"/>
                  </a:lnTo>
                  <a:lnTo>
                    <a:pt x="340" y="112"/>
                  </a:lnTo>
                  <a:lnTo>
                    <a:pt x="339" y="114"/>
                  </a:lnTo>
                  <a:lnTo>
                    <a:pt x="325" y="131"/>
                  </a:lnTo>
                  <a:lnTo>
                    <a:pt x="324" y="142"/>
                  </a:lnTo>
                  <a:lnTo>
                    <a:pt x="328" y="149"/>
                  </a:lnTo>
                  <a:lnTo>
                    <a:pt x="328" y="149"/>
                  </a:lnTo>
                  <a:lnTo>
                    <a:pt x="334" y="157"/>
                  </a:lnTo>
                  <a:lnTo>
                    <a:pt x="334" y="157"/>
                  </a:lnTo>
                  <a:lnTo>
                    <a:pt x="340" y="161"/>
                  </a:lnTo>
                  <a:lnTo>
                    <a:pt x="346" y="166"/>
                  </a:lnTo>
                  <a:lnTo>
                    <a:pt x="346" y="166"/>
                  </a:lnTo>
                  <a:close/>
                  <a:moveTo>
                    <a:pt x="727" y="288"/>
                  </a:moveTo>
                  <a:lnTo>
                    <a:pt x="727" y="288"/>
                  </a:lnTo>
                  <a:lnTo>
                    <a:pt x="725" y="293"/>
                  </a:lnTo>
                  <a:lnTo>
                    <a:pt x="725" y="300"/>
                  </a:lnTo>
                  <a:lnTo>
                    <a:pt x="727" y="314"/>
                  </a:lnTo>
                  <a:lnTo>
                    <a:pt x="732" y="343"/>
                  </a:lnTo>
                  <a:lnTo>
                    <a:pt x="732" y="343"/>
                  </a:lnTo>
                  <a:lnTo>
                    <a:pt x="732" y="355"/>
                  </a:lnTo>
                  <a:lnTo>
                    <a:pt x="732" y="364"/>
                  </a:lnTo>
                  <a:lnTo>
                    <a:pt x="731" y="373"/>
                  </a:lnTo>
                  <a:lnTo>
                    <a:pt x="731" y="373"/>
                  </a:lnTo>
                  <a:lnTo>
                    <a:pt x="732" y="376"/>
                  </a:lnTo>
                  <a:lnTo>
                    <a:pt x="737" y="379"/>
                  </a:lnTo>
                  <a:lnTo>
                    <a:pt x="746" y="380"/>
                  </a:lnTo>
                  <a:lnTo>
                    <a:pt x="746" y="380"/>
                  </a:lnTo>
                  <a:lnTo>
                    <a:pt x="750" y="380"/>
                  </a:lnTo>
                  <a:lnTo>
                    <a:pt x="755" y="377"/>
                  </a:lnTo>
                  <a:lnTo>
                    <a:pt x="761" y="374"/>
                  </a:lnTo>
                  <a:lnTo>
                    <a:pt x="764" y="370"/>
                  </a:lnTo>
                  <a:lnTo>
                    <a:pt x="764" y="370"/>
                  </a:lnTo>
                  <a:lnTo>
                    <a:pt x="765" y="365"/>
                  </a:lnTo>
                  <a:lnTo>
                    <a:pt x="765" y="354"/>
                  </a:lnTo>
                  <a:lnTo>
                    <a:pt x="762" y="320"/>
                  </a:lnTo>
                  <a:lnTo>
                    <a:pt x="758" y="274"/>
                  </a:lnTo>
                  <a:lnTo>
                    <a:pt x="758" y="274"/>
                  </a:lnTo>
                  <a:lnTo>
                    <a:pt x="753" y="274"/>
                  </a:lnTo>
                  <a:lnTo>
                    <a:pt x="743" y="275"/>
                  </a:lnTo>
                  <a:lnTo>
                    <a:pt x="738" y="277"/>
                  </a:lnTo>
                  <a:lnTo>
                    <a:pt x="732" y="280"/>
                  </a:lnTo>
                  <a:lnTo>
                    <a:pt x="730" y="283"/>
                  </a:lnTo>
                  <a:lnTo>
                    <a:pt x="727" y="288"/>
                  </a:lnTo>
                  <a:lnTo>
                    <a:pt x="727" y="28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5" name="Freeform 94">
              <a:extLst>
                <a:ext uri="{FF2B5EF4-FFF2-40B4-BE49-F238E27FC236}">
                  <a16:creationId xmlns:a16="http://schemas.microsoft.com/office/drawing/2014/main" id="{B0C42C53-8B5B-674C-A5A1-66E5D46CF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288" y="3257550"/>
              <a:ext cx="69850" cy="122237"/>
            </a:xfrm>
            <a:custGeom>
              <a:avLst/>
              <a:gdLst>
                <a:gd name="T0" fmla="*/ 18 w 44"/>
                <a:gd name="T1" fmla="*/ 0 h 77"/>
                <a:gd name="T2" fmla="*/ 18 w 44"/>
                <a:gd name="T3" fmla="*/ 0 h 77"/>
                <a:gd name="T4" fmla="*/ 22 w 44"/>
                <a:gd name="T5" fmla="*/ 3 h 77"/>
                <a:gd name="T6" fmla="*/ 25 w 44"/>
                <a:gd name="T7" fmla="*/ 5 h 77"/>
                <a:gd name="T8" fmla="*/ 31 w 44"/>
                <a:gd name="T9" fmla="*/ 6 h 77"/>
                <a:gd name="T10" fmla="*/ 31 w 44"/>
                <a:gd name="T11" fmla="*/ 6 h 77"/>
                <a:gd name="T12" fmla="*/ 35 w 44"/>
                <a:gd name="T13" fmla="*/ 8 h 77"/>
                <a:gd name="T14" fmla="*/ 41 w 44"/>
                <a:gd name="T15" fmla="*/ 10 h 77"/>
                <a:gd name="T16" fmla="*/ 44 w 44"/>
                <a:gd name="T17" fmla="*/ 15 h 77"/>
                <a:gd name="T18" fmla="*/ 44 w 44"/>
                <a:gd name="T19" fmla="*/ 24 h 77"/>
                <a:gd name="T20" fmla="*/ 44 w 44"/>
                <a:gd name="T21" fmla="*/ 24 h 77"/>
                <a:gd name="T22" fmla="*/ 43 w 44"/>
                <a:gd name="T23" fmla="*/ 36 h 77"/>
                <a:gd name="T24" fmla="*/ 40 w 44"/>
                <a:gd name="T25" fmla="*/ 49 h 77"/>
                <a:gd name="T26" fmla="*/ 40 w 44"/>
                <a:gd name="T27" fmla="*/ 49 h 77"/>
                <a:gd name="T28" fmla="*/ 37 w 44"/>
                <a:gd name="T29" fmla="*/ 55 h 77"/>
                <a:gd name="T30" fmla="*/ 34 w 44"/>
                <a:gd name="T31" fmla="*/ 59 h 77"/>
                <a:gd name="T32" fmla="*/ 31 w 44"/>
                <a:gd name="T33" fmla="*/ 61 h 77"/>
                <a:gd name="T34" fmla="*/ 28 w 44"/>
                <a:gd name="T35" fmla="*/ 67 h 77"/>
                <a:gd name="T36" fmla="*/ 28 w 44"/>
                <a:gd name="T37" fmla="*/ 67 h 77"/>
                <a:gd name="T38" fmla="*/ 27 w 44"/>
                <a:gd name="T39" fmla="*/ 77 h 77"/>
                <a:gd name="T40" fmla="*/ 27 w 44"/>
                <a:gd name="T41" fmla="*/ 77 h 77"/>
                <a:gd name="T42" fmla="*/ 24 w 44"/>
                <a:gd name="T43" fmla="*/ 70 h 77"/>
                <a:gd name="T44" fmla="*/ 24 w 44"/>
                <a:gd name="T45" fmla="*/ 62 h 77"/>
                <a:gd name="T46" fmla="*/ 22 w 44"/>
                <a:gd name="T47" fmla="*/ 55 h 77"/>
                <a:gd name="T48" fmla="*/ 22 w 44"/>
                <a:gd name="T49" fmla="*/ 55 h 77"/>
                <a:gd name="T50" fmla="*/ 24 w 44"/>
                <a:gd name="T51" fmla="*/ 45 h 77"/>
                <a:gd name="T52" fmla="*/ 24 w 44"/>
                <a:gd name="T53" fmla="*/ 33 h 77"/>
                <a:gd name="T54" fmla="*/ 24 w 44"/>
                <a:gd name="T55" fmla="*/ 27 h 77"/>
                <a:gd name="T56" fmla="*/ 21 w 44"/>
                <a:gd name="T57" fmla="*/ 22 h 77"/>
                <a:gd name="T58" fmla="*/ 18 w 44"/>
                <a:gd name="T59" fmla="*/ 18 h 77"/>
                <a:gd name="T60" fmla="*/ 13 w 44"/>
                <a:gd name="T61" fmla="*/ 15 h 77"/>
                <a:gd name="T62" fmla="*/ 13 w 44"/>
                <a:gd name="T63" fmla="*/ 15 h 77"/>
                <a:gd name="T64" fmla="*/ 0 w 44"/>
                <a:gd name="T65" fmla="*/ 10 h 77"/>
                <a:gd name="T66" fmla="*/ 0 w 44"/>
                <a:gd name="T67" fmla="*/ 9 h 77"/>
                <a:gd name="T68" fmla="*/ 0 w 44"/>
                <a:gd name="T69" fmla="*/ 9 h 77"/>
                <a:gd name="T70" fmla="*/ 0 w 44"/>
                <a:gd name="T71" fmla="*/ 9 h 77"/>
                <a:gd name="T72" fmla="*/ 0 w 44"/>
                <a:gd name="T73" fmla="*/ 6 h 77"/>
                <a:gd name="T74" fmla="*/ 0 w 44"/>
                <a:gd name="T75" fmla="*/ 5 h 77"/>
                <a:gd name="T76" fmla="*/ 3 w 44"/>
                <a:gd name="T77" fmla="*/ 3 h 77"/>
                <a:gd name="T78" fmla="*/ 3 w 44"/>
                <a:gd name="T79" fmla="*/ 3 h 77"/>
                <a:gd name="T80" fmla="*/ 12 w 44"/>
                <a:gd name="T81" fmla="*/ 3 h 77"/>
                <a:gd name="T82" fmla="*/ 16 w 44"/>
                <a:gd name="T83" fmla="*/ 2 h 77"/>
                <a:gd name="T84" fmla="*/ 18 w 44"/>
                <a:gd name="T85" fmla="*/ 0 h 77"/>
                <a:gd name="T86" fmla="*/ 18 w 44"/>
                <a:gd name="T8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" h="77">
                  <a:moveTo>
                    <a:pt x="18" y="0"/>
                  </a:moveTo>
                  <a:lnTo>
                    <a:pt x="18" y="0"/>
                  </a:lnTo>
                  <a:lnTo>
                    <a:pt x="22" y="3"/>
                  </a:lnTo>
                  <a:lnTo>
                    <a:pt x="25" y="5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5" y="8"/>
                  </a:lnTo>
                  <a:lnTo>
                    <a:pt x="41" y="10"/>
                  </a:lnTo>
                  <a:lnTo>
                    <a:pt x="44" y="15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3" y="36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37" y="55"/>
                  </a:lnTo>
                  <a:lnTo>
                    <a:pt x="34" y="59"/>
                  </a:lnTo>
                  <a:lnTo>
                    <a:pt x="31" y="61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4" y="70"/>
                  </a:lnTo>
                  <a:lnTo>
                    <a:pt x="24" y="62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4" y="45"/>
                  </a:lnTo>
                  <a:lnTo>
                    <a:pt x="24" y="33"/>
                  </a:lnTo>
                  <a:lnTo>
                    <a:pt x="24" y="27"/>
                  </a:lnTo>
                  <a:lnTo>
                    <a:pt x="21" y="22"/>
                  </a:lnTo>
                  <a:lnTo>
                    <a:pt x="18" y="18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12" y="3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6" name="Freeform 95">
              <a:extLst>
                <a:ext uri="{FF2B5EF4-FFF2-40B4-BE49-F238E27FC236}">
                  <a16:creationId xmlns:a16="http://schemas.microsoft.com/office/drawing/2014/main" id="{B159B4D4-DF06-4F4A-88DF-14A9D00E5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38975" y="3170238"/>
              <a:ext cx="63500" cy="66675"/>
            </a:xfrm>
            <a:custGeom>
              <a:avLst/>
              <a:gdLst>
                <a:gd name="T0" fmla="*/ 7 w 40"/>
                <a:gd name="T1" fmla="*/ 42 h 42"/>
                <a:gd name="T2" fmla="*/ 7 w 40"/>
                <a:gd name="T3" fmla="*/ 42 h 42"/>
                <a:gd name="T4" fmla="*/ 7 w 40"/>
                <a:gd name="T5" fmla="*/ 37 h 42"/>
                <a:gd name="T6" fmla="*/ 6 w 40"/>
                <a:gd name="T7" fmla="*/ 33 h 42"/>
                <a:gd name="T8" fmla="*/ 3 w 40"/>
                <a:gd name="T9" fmla="*/ 30 h 42"/>
                <a:gd name="T10" fmla="*/ 3 w 40"/>
                <a:gd name="T11" fmla="*/ 30 h 42"/>
                <a:gd name="T12" fmla="*/ 1 w 40"/>
                <a:gd name="T13" fmla="*/ 27 h 42"/>
                <a:gd name="T14" fmla="*/ 0 w 40"/>
                <a:gd name="T15" fmla="*/ 25 h 42"/>
                <a:gd name="T16" fmla="*/ 1 w 40"/>
                <a:gd name="T17" fmla="*/ 18 h 42"/>
                <a:gd name="T18" fmla="*/ 1 w 40"/>
                <a:gd name="T19" fmla="*/ 18 h 42"/>
                <a:gd name="T20" fmla="*/ 4 w 40"/>
                <a:gd name="T21" fmla="*/ 11 h 42"/>
                <a:gd name="T22" fmla="*/ 9 w 40"/>
                <a:gd name="T23" fmla="*/ 5 h 42"/>
                <a:gd name="T24" fmla="*/ 9 w 40"/>
                <a:gd name="T25" fmla="*/ 5 h 42"/>
                <a:gd name="T26" fmla="*/ 15 w 40"/>
                <a:gd name="T27" fmla="*/ 2 h 42"/>
                <a:gd name="T28" fmla="*/ 19 w 40"/>
                <a:gd name="T29" fmla="*/ 0 h 42"/>
                <a:gd name="T30" fmla="*/ 24 w 40"/>
                <a:gd name="T31" fmla="*/ 2 h 42"/>
                <a:gd name="T32" fmla="*/ 24 w 40"/>
                <a:gd name="T33" fmla="*/ 2 h 42"/>
                <a:gd name="T34" fmla="*/ 30 w 40"/>
                <a:gd name="T35" fmla="*/ 5 h 42"/>
                <a:gd name="T36" fmla="*/ 34 w 40"/>
                <a:gd name="T37" fmla="*/ 8 h 42"/>
                <a:gd name="T38" fmla="*/ 34 w 40"/>
                <a:gd name="T39" fmla="*/ 8 h 42"/>
                <a:gd name="T40" fmla="*/ 39 w 40"/>
                <a:gd name="T41" fmla="*/ 12 h 42"/>
                <a:gd name="T42" fmla="*/ 40 w 40"/>
                <a:gd name="T43" fmla="*/ 14 h 42"/>
                <a:gd name="T44" fmla="*/ 40 w 40"/>
                <a:gd name="T45" fmla="*/ 14 h 42"/>
                <a:gd name="T46" fmla="*/ 37 w 40"/>
                <a:gd name="T47" fmla="*/ 17 h 42"/>
                <a:gd name="T48" fmla="*/ 31 w 40"/>
                <a:gd name="T49" fmla="*/ 21 h 42"/>
                <a:gd name="T50" fmla="*/ 31 w 40"/>
                <a:gd name="T51" fmla="*/ 21 h 42"/>
                <a:gd name="T52" fmla="*/ 25 w 40"/>
                <a:gd name="T53" fmla="*/ 24 h 42"/>
                <a:gd name="T54" fmla="*/ 21 w 40"/>
                <a:gd name="T55" fmla="*/ 27 h 42"/>
                <a:gd name="T56" fmla="*/ 21 w 40"/>
                <a:gd name="T57" fmla="*/ 27 h 42"/>
                <a:gd name="T58" fmla="*/ 18 w 40"/>
                <a:gd name="T59" fmla="*/ 31 h 42"/>
                <a:gd name="T60" fmla="*/ 16 w 40"/>
                <a:gd name="T61" fmla="*/ 33 h 42"/>
                <a:gd name="T62" fmla="*/ 16 w 40"/>
                <a:gd name="T63" fmla="*/ 36 h 42"/>
                <a:gd name="T64" fmla="*/ 16 w 40"/>
                <a:gd name="T65" fmla="*/ 36 h 42"/>
                <a:gd name="T66" fmla="*/ 15 w 40"/>
                <a:gd name="T67" fmla="*/ 39 h 42"/>
                <a:gd name="T68" fmla="*/ 12 w 40"/>
                <a:gd name="T69" fmla="*/ 40 h 42"/>
                <a:gd name="T70" fmla="*/ 7 w 40"/>
                <a:gd name="T71" fmla="*/ 42 h 42"/>
                <a:gd name="T72" fmla="*/ 7 w 40"/>
                <a:gd name="T7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" h="42">
                  <a:moveTo>
                    <a:pt x="7" y="42"/>
                  </a:moveTo>
                  <a:lnTo>
                    <a:pt x="7" y="42"/>
                  </a:lnTo>
                  <a:lnTo>
                    <a:pt x="7" y="37"/>
                  </a:lnTo>
                  <a:lnTo>
                    <a:pt x="6" y="33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" y="27"/>
                  </a:lnTo>
                  <a:lnTo>
                    <a:pt x="0" y="25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4" y="11"/>
                  </a:lnTo>
                  <a:lnTo>
                    <a:pt x="9" y="5"/>
                  </a:lnTo>
                  <a:lnTo>
                    <a:pt x="9" y="5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30" y="5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9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7" y="17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25" y="24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18" y="31"/>
                  </a:lnTo>
                  <a:lnTo>
                    <a:pt x="16" y="33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5" y="39"/>
                  </a:lnTo>
                  <a:lnTo>
                    <a:pt x="12" y="40"/>
                  </a:lnTo>
                  <a:lnTo>
                    <a:pt x="7" y="42"/>
                  </a:lnTo>
                  <a:lnTo>
                    <a:pt x="7" y="4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7" name="Freeform 96">
              <a:extLst>
                <a:ext uri="{FF2B5EF4-FFF2-40B4-BE49-F238E27FC236}">
                  <a16:creationId xmlns:a16="http://schemas.microsoft.com/office/drawing/2014/main" id="{F5596A98-5A6A-A745-ACEA-79F62A794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3236913"/>
              <a:ext cx="6350" cy="20637"/>
            </a:xfrm>
            <a:custGeom>
              <a:avLst/>
              <a:gdLst>
                <a:gd name="T0" fmla="*/ 0 w 4"/>
                <a:gd name="T1" fmla="*/ 13 h 13"/>
                <a:gd name="T2" fmla="*/ 0 w 4"/>
                <a:gd name="T3" fmla="*/ 13 h 13"/>
                <a:gd name="T4" fmla="*/ 0 w 4"/>
                <a:gd name="T5" fmla="*/ 13 h 13"/>
                <a:gd name="T6" fmla="*/ 1 w 4"/>
                <a:gd name="T7" fmla="*/ 13 h 13"/>
                <a:gd name="T8" fmla="*/ 3 w 4"/>
                <a:gd name="T9" fmla="*/ 7 h 13"/>
                <a:gd name="T10" fmla="*/ 4 w 4"/>
                <a:gd name="T11" fmla="*/ 0 h 13"/>
                <a:gd name="T12" fmla="*/ 0 w 4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3" y="7"/>
                  </a:lnTo>
                  <a:lnTo>
                    <a:pt x="4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8" name="Freeform 97">
              <a:extLst>
                <a:ext uri="{FF2B5EF4-FFF2-40B4-BE49-F238E27FC236}">
                  <a16:creationId xmlns:a16="http://schemas.microsoft.com/office/drawing/2014/main" id="{EB823E3A-E09C-A443-BCFC-981DCF045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3738" y="3236913"/>
              <a:ext cx="6350" cy="20637"/>
            </a:xfrm>
            <a:custGeom>
              <a:avLst/>
              <a:gdLst>
                <a:gd name="T0" fmla="*/ 0 w 4"/>
                <a:gd name="T1" fmla="*/ 13 h 13"/>
                <a:gd name="T2" fmla="*/ 0 w 4"/>
                <a:gd name="T3" fmla="*/ 13 h 13"/>
                <a:gd name="T4" fmla="*/ 0 w 4"/>
                <a:gd name="T5" fmla="*/ 13 h 13"/>
                <a:gd name="T6" fmla="*/ 1 w 4"/>
                <a:gd name="T7" fmla="*/ 13 h 13"/>
                <a:gd name="T8" fmla="*/ 3 w 4"/>
                <a:gd name="T9" fmla="*/ 7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3" y="7"/>
                  </a:lnTo>
                  <a:lnTo>
                    <a:pt x="4" y="0"/>
                  </a:lnTo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19" name="Freeform 98">
              <a:extLst>
                <a:ext uri="{FF2B5EF4-FFF2-40B4-BE49-F238E27FC236}">
                  <a16:creationId xmlns:a16="http://schemas.microsoft.com/office/drawing/2014/main" id="{4BC9F2F8-41C1-9E4E-A15D-3DB617B01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925" y="3257550"/>
              <a:ext cx="47625" cy="103187"/>
            </a:xfrm>
            <a:custGeom>
              <a:avLst/>
              <a:gdLst>
                <a:gd name="T0" fmla="*/ 9 w 30"/>
                <a:gd name="T1" fmla="*/ 8 h 65"/>
                <a:gd name="T2" fmla="*/ 9 w 30"/>
                <a:gd name="T3" fmla="*/ 8 h 65"/>
                <a:gd name="T4" fmla="*/ 8 w 30"/>
                <a:gd name="T5" fmla="*/ 25 h 65"/>
                <a:gd name="T6" fmla="*/ 8 w 30"/>
                <a:gd name="T7" fmla="*/ 25 h 65"/>
                <a:gd name="T8" fmla="*/ 6 w 30"/>
                <a:gd name="T9" fmla="*/ 30 h 65"/>
                <a:gd name="T10" fmla="*/ 3 w 30"/>
                <a:gd name="T11" fmla="*/ 34 h 65"/>
                <a:gd name="T12" fmla="*/ 3 w 30"/>
                <a:gd name="T13" fmla="*/ 34 h 65"/>
                <a:gd name="T14" fmla="*/ 0 w 30"/>
                <a:gd name="T15" fmla="*/ 39 h 65"/>
                <a:gd name="T16" fmla="*/ 0 w 30"/>
                <a:gd name="T17" fmla="*/ 42 h 65"/>
                <a:gd name="T18" fmla="*/ 0 w 30"/>
                <a:gd name="T19" fmla="*/ 46 h 65"/>
                <a:gd name="T20" fmla="*/ 0 w 30"/>
                <a:gd name="T21" fmla="*/ 46 h 65"/>
                <a:gd name="T22" fmla="*/ 0 w 30"/>
                <a:gd name="T23" fmla="*/ 55 h 65"/>
                <a:gd name="T24" fmla="*/ 2 w 30"/>
                <a:gd name="T25" fmla="*/ 58 h 65"/>
                <a:gd name="T26" fmla="*/ 5 w 30"/>
                <a:gd name="T27" fmla="*/ 61 h 65"/>
                <a:gd name="T28" fmla="*/ 5 w 30"/>
                <a:gd name="T29" fmla="*/ 61 h 65"/>
                <a:gd name="T30" fmla="*/ 9 w 30"/>
                <a:gd name="T31" fmla="*/ 64 h 65"/>
                <a:gd name="T32" fmla="*/ 11 w 30"/>
                <a:gd name="T33" fmla="*/ 65 h 65"/>
                <a:gd name="T34" fmla="*/ 12 w 30"/>
                <a:gd name="T35" fmla="*/ 64 h 65"/>
                <a:gd name="T36" fmla="*/ 13 w 30"/>
                <a:gd name="T37" fmla="*/ 59 h 65"/>
                <a:gd name="T38" fmla="*/ 13 w 30"/>
                <a:gd name="T39" fmla="*/ 59 h 65"/>
                <a:gd name="T40" fmla="*/ 12 w 30"/>
                <a:gd name="T41" fmla="*/ 53 h 65"/>
                <a:gd name="T42" fmla="*/ 11 w 30"/>
                <a:gd name="T43" fmla="*/ 50 h 65"/>
                <a:gd name="T44" fmla="*/ 11 w 30"/>
                <a:gd name="T45" fmla="*/ 49 h 65"/>
                <a:gd name="T46" fmla="*/ 13 w 30"/>
                <a:gd name="T47" fmla="*/ 48 h 65"/>
                <a:gd name="T48" fmla="*/ 13 w 30"/>
                <a:gd name="T49" fmla="*/ 48 h 65"/>
                <a:gd name="T50" fmla="*/ 18 w 30"/>
                <a:gd name="T51" fmla="*/ 48 h 65"/>
                <a:gd name="T52" fmla="*/ 21 w 30"/>
                <a:gd name="T53" fmla="*/ 49 h 65"/>
                <a:gd name="T54" fmla="*/ 21 w 30"/>
                <a:gd name="T55" fmla="*/ 49 h 65"/>
                <a:gd name="T56" fmla="*/ 21 w 30"/>
                <a:gd name="T57" fmla="*/ 45 h 65"/>
                <a:gd name="T58" fmla="*/ 21 w 30"/>
                <a:gd name="T59" fmla="*/ 45 h 65"/>
                <a:gd name="T60" fmla="*/ 21 w 30"/>
                <a:gd name="T61" fmla="*/ 36 h 65"/>
                <a:gd name="T62" fmla="*/ 22 w 30"/>
                <a:gd name="T63" fmla="*/ 31 h 65"/>
                <a:gd name="T64" fmla="*/ 22 w 30"/>
                <a:gd name="T65" fmla="*/ 31 h 65"/>
                <a:gd name="T66" fmla="*/ 27 w 30"/>
                <a:gd name="T67" fmla="*/ 19 h 65"/>
                <a:gd name="T68" fmla="*/ 27 w 30"/>
                <a:gd name="T69" fmla="*/ 19 h 65"/>
                <a:gd name="T70" fmla="*/ 30 w 30"/>
                <a:gd name="T71" fmla="*/ 15 h 65"/>
                <a:gd name="T72" fmla="*/ 30 w 30"/>
                <a:gd name="T73" fmla="*/ 9 h 65"/>
                <a:gd name="T74" fmla="*/ 30 w 30"/>
                <a:gd name="T75" fmla="*/ 9 h 65"/>
                <a:gd name="T76" fmla="*/ 28 w 30"/>
                <a:gd name="T77" fmla="*/ 3 h 65"/>
                <a:gd name="T78" fmla="*/ 27 w 30"/>
                <a:gd name="T79" fmla="*/ 2 h 65"/>
                <a:gd name="T80" fmla="*/ 24 w 30"/>
                <a:gd name="T81" fmla="*/ 0 h 65"/>
                <a:gd name="T82" fmla="*/ 24 w 30"/>
                <a:gd name="T83" fmla="*/ 0 h 65"/>
                <a:gd name="T84" fmla="*/ 15 w 30"/>
                <a:gd name="T85" fmla="*/ 0 h 65"/>
                <a:gd name="T86" fmla="*/ 9 w 30"/>
                <a:gd name="T87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" h="65">
                  <a:moveTo>
                    <a:pt x="9" y="8"/>
                  </a:moveTo>
                  <a:lnTo>
                    <a:pt x="9" y="8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9" y="64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2" y="53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8" y="48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36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30" y="15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9" y="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0" name="Freeform 99">
              <a:extLst>
                <a:ext uri="{FF2B5EF4-FFF2-40B4-BE49-F238E27FC236}">
                  <a16:creationId xmlns:a16="http://schemas.microsoft.com/office/drawing/2014/main" id="{798EFF66-E5D7-D946-B29C-8FF6513E2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5975" y="3178175"/>
              <a:ext cx="73025" cy="69850"/>
            </a:xfrm>
            <a:custGeom>
              <a:avLst/>
              <a:gdLst>
                <a:gd name="T0" fmla="*/ 15 w 46"/>
                <a:gd name="T1" fmla="*/ 0 h 44"/>
                <a:gd name="T2" fmla="*/ 15 w 46"/>
                <a:gd name="T3" fmla="*/ 0 h 44"/>
                <a:gd name="T4" fmla="*/ 16 w 46"/>
                <a:gd name="T5" fmla="*/ 1 h 44"/>
                <a:gd name="T6" fmla="*/ 18 w 46"/>
                <a:gd name="T7" fmla="*/ 1 h 44"/>
                <a:gd name="T8" fmla="*/ 19 w 46"/>
                <a:gd name="T9" fmla="*/ 4 h 44"/>
                <a:gd name="T10" fmla="*/ 19 w 46"/>
                <a:gd name="T11" fmla="*/ 9 h 44"/>
                <a:gd name="T12" fmla="*/ 19 w 46"/>
                <a:gd name="T13" fmla="*/ 9 h 44"/>
                <a:gd name="T14" fmla="*/ 18 w 46"/>
                <a:gd name="T15" fmla="*/ 18 h 44"/>
                <a:gd name="T16" fmla="*/ 16 w 46"/>
                <a:gd name="T17" fmla="*/ 20 h 44"/>
                <a:gd name="T18" fmla="*/ 13 w 46"/>
                <a:gd name="T19" fmla="*/ 22 h 44"/>
                <a:gd name="T20" fmla="*/ 13 w 46"/>
                <a:gd name="T21" fmla="*/ 22 h 44"/>
                <a:gd name="T22" fmla="*/ 10 w 46"/>
                <a:gd name="T23" fmla="*/ 22 h 44"/>
                <a:gd name="T24" fmla="*/ 6 w 46"/>
                <a:gd name="T25" fmla="*/ 20 h 44"/>
                <a:gd name="T26" fmla="*/ 3 w 46"/>
                <a:gd name="T27" fmla="*/ 22 h 44"/>
                <a:gd name="T28" fmla="*/ 1 w 46"/>
                <a:gd name="T29" fmla="*/ 23 h 44"/>
                <a:gd name="T30" fmla="*/ 1 w 46"/>
                <a:gd name="T31" fmla="*/ 23 h 44"/>
                <a:gd name="T32" fmla="*/ 0 w 46"/>
                <a:gd name="T33" fmla="*/ 31 h 44"/>
                <a:gd name="T34" fmla="*/ 0 w 46"/>
                <a:gd name="T35" fmla="*/ 32 h 44"/>
                <a:gd name="T36" fmla="*/ 1 w 46"/>
                <a:gd name="T37" fmla="*/ 35 h 44"/>
                <a:gd name="T38" fmla="*/ 1 w 46"/>
                <a:gd name="T39" fmla="*/ 35 h 44"/>
                <a:gd name="T40" fmla="*/ 4 w 46"/>
                <a:gd name="T41" fmla="*/ 40 h 44"/>
                <a:gd name="T42" fmla="*/ 7 w 46"/>
                <a:gd name="T43" fmla="*/ 43 h 44"/>
                <a:gd name="T44" fmla="*/ 9 w 46"/>
                <a:gd name="T45" fmla="*/ 44 h 44"/>
                <a:gd name="T46" fmla="*/ 12 w 46"/>
                <a:gd name="T47" fmla="*/ 43 h 44"/>
                <a:gd name="T48" fmla="*/ 12 w 46"/>
                <a:gd name="T49" fmla="*/ 43 h 44"/>
                <a:gd name="T50" fmla="*/ 16 w 46"/>
                <a:gd name="T51" fmla="*/ 38 h 44"/>
                <a:gd name="T52" fmla="*/ 18 w 46"/>
                <a:gd name="T53" fmla="*/ 34 h 44"/>
                <a:gd name="T54" fmla="*/ 19 w 46"/>
                <a:gd name="T55" fmla="*/ 31 h 44"/>
                <a:gd name="T56" fmla="*/ 19 w 46"/>
                <a:gd name="T57" fmla="*/ 31 h 44"/>
                <a:gd name="T58" fmla="*/ 22 w 46"/>
                <a:gd name="T59" fmla="*/ 29 h 44"/>
                <a:gd name="T60" fmla="*/ 30 w 46"/>
                <a:gd name="T61" fmla="*/ 29 h 44"/>
                <a:gd name="T62" fmla="*/ 30 w 46"/>
                <a:gd name="T63" fmla="*/ 29 h 44"/>
                <a:gd name="T64" fmla="*/ 37 w 46"/>
                <a:gd name="T65" fmla="*/ 31 h 44"/>
                <a:gd name="T66" fmla="*/ 40 w 46"/>
                <a:gd name="T67" fmla="*/ 32 h 44"/>
                <a:gd name="T68" fmla="*/ 43 w 46"/>
                <a:gd name="T69" fmla="*/ 31 h 44"/>
                <a:gd name="T70" fmla="*/ 43 w 46"/>
                <a:gd name="T71" fmla="*/ 31 h 44"/>
                <a:gd name="T72" fmla="*/ 44 w 46"/>
                <a:gd name="T73" fmla="*/ 31 h 44"/>
                <a:gd name="T74" fmla="*/ 46 w 46"/>
                <a:gd name="T75" fmla="*/ 29 h 44"/>
                <a:gd name="T76" fmla="*/ 44 w 46"/>
                <a:gd name="T77" fmla="*/ 25 h 44"/>
                <a:gd name="T78" fmla="*/ 40 w 46"/>
                <a:gd name="T79" fmla="*/ 19 h 44"/>
                <a:gd name="T80" fmla="*/ 40 w 46"/>
                <a:gd name="T81" fmla="*/ 19 h 44"/>
                <a:gd name="T82" fmla="*/ 40 w 46"/>
                <a:gd name="T83" fmla="*/ 15 h 44"/>
                <a:gd name="T84" fmla="*/ 40 w 46"/>
                <a:gd name="T85" fmla="*/ 10 h 44"/>
                <a:gd name="T86" fmla="*/ 40 w 46"/>
                <a:gd name="T87" fmla="*/ 10 h 44"/>
                <a:gd name="T88" fmla="*/ 40 w 46"/>
                <a:gd name="T89" fmla="*/ 6 h 44"/>
                <a:gd name="T90" fmla="*/ 37 w 46"/>
                <a:gd name="T91" fmla="*/ 3 h 44"/>
                <a:gd name="T92" fmla="*/ 37 w 46"/>
                <a:gd name="T93" fmla="*/ 3 h 44"/>
                <a:gd name="T94" fmla="*/ 27 w 46"/>
                <a:gd name="T95" fmla="*/ 1 h 44"/>
                <a:gd name="T96" fmla="*/ 27 w 46"/>
                <a:gd name="T97" fmla="*/ 1 h 44"/>
                <a:gd name="T98" fmla="*/ 21 w 46"/>
                <a:gd name="T99" fmla="*/ 0 h 44"/>
                <a:gd name="T100" fmla="*/ 16 w 46"/>
                <a:gd name="T101" fmla="*/ 0 h 44"/>
                <a:gd name="T102" fmla="*/ 15 w 46"/>
                <a:gd name="T103" fmla="*/ 0 h 44"/>
                <a:gd name="T104" fmla="*/ 15 w 46"/>
                <a:gd name="T10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6" h="44">
                  <a:moveTo>
                    <a:pt x="15" y="0"/>
                  </a:moveTo>
                  <a:lnTo>
                    <a:pt x="15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9" y="4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8" y="18"/>
                  </a:lnTo>
                  <a:lnTo>
                    <a:pt x="16" y="20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3" y="22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4" y="40"/>
                  </a:lnTo>
                  <a:lnTo>
                    <a:pt x="7" y="43"/>
                  </a:lnTo>
                  <a:lnTo>
                    <a:pt x="9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6" y="38"/>
                  </a:lnTo>
                  <a:lnTo>
                    <a:pt x="18" y="34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2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7" y="31"/>
                  </a:lnTo>
                  <a:lnTo>
                    <a:pt x="40" y="32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6" y="29"/>
                  </a:lnTo>
                  <a:lnTo>
                    <a:pt x="44" y="25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5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1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1" name="Freeform 100">
              <a:extLst>
                <a:ext uri="{FF2B5EF4-FFF2-40B4-BE49-F238E27FC236}">
                  <a16:creationId xmlns:a16="http://schemas.microsoft.com/office/drawing/2014/main" id="{4EC7F805-7EBC-5047-AAA1-6AFFA32FA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0000" y="3468688"/>
              <a:ext cx="38100" cy="41275"/>
            </a:xfrm>
            <a:custGeom>
              <a:avLst/>
              <a:gdLst>
                <a:gd name="T0" fmla="*/ 2 w 24"/>
                <a:gd name="T1" fmla="*/ 12 h 26"/>
                <a:gd name="T2" fmla="*/ 2 w 24"/>
                <a:gd name="T3" fmla="*/ 12 h 26"/>
                <a:gd name="T4" fmla="*/ 5 w 24"/>
                <a:gd name="T5" fmla="*/ 9 h 26"/>
                <a:gd name="T6" fmla="*/ 8 w 24"/>
                <a:gd name="T7" fmla="*/ 6 h 26"/>
                <a:gd name="T8" fmla="*/ 11 w 24"/>
                <a:gd name="T9" fmla="*/ 5 h 26"/>
                <a:gd name="T10" fmla="*/ 11 w 24"/>
                <a:gd name="T11" fmla="*/ 5 h 26"/>
                <a:gd name="T12" fmla="*/ 15 w 24"/>
                <a:gd name="T13" fmla="*/ 3 h 26"/>
                <a:gd name="T14" fmla="*/ 18 w 24"/>
                <a:gd name="T15" fmla="*/ 0 h 26"/>
                <a:gd name="T16" fmla="*/ 18 w 24"/>
                <a:gd name="T17" fmla="*/ 0 h 26"/>
                <a:gd name="T18" fmla="*/ 21 w 24"/>
                <a:gd name="T19" fmla="*/ 2 h 26"/>
                <a:gd name="T20" fmla="*/ 22 w 24"/>
                <a:gd name="T21" fmla="*/ 5 h 26"/>
                <a:gd name="T22" fmla="*/ 24 w 24"/>
                <a:gd name="T23" fmla="*/ 6 h 26"/>
                <a:gd name="T24" fmla="*/ 24 w 24"/>
                <a:gd name="T25" fmla="*/ 6 h 26"/>
                <a:gd name="T26" fmla="*/ 21 w 24"/>
                <a:gd name="T27" fmla="*/ 12 h 26"/>
                <a:gd name="T28" fmla="*/ 18 w 24"/>
                <a:gd name="T29" fmla="*/ 18 h 26"/>
                <a:gd name="T30" fmla="*/ 18 w 24"/>
                <a:gd name="T31" fmla="*/ 18 h 26"/>
                <a:gd name="T32" fmla="*/ 18 w 24"/>
                <a:gd name="T33" fmla="*/ 21 h 26"/>
                <a:gd name="T34" fmla="*/ 18 w 24"/>
                <a:gd name="T35" fmla="*/ 24 h 26"/>
                <a:gd name="T36" fmla="*/ 16 w 24"/>
                <a:gd name="T37" fmla="*/ 26 h 26"/>
                <a:gd name="T38" fmla="*/ 13 w 24"/>
                <a:gd name="T39" fmla="*/ 26 h 26"/>
                <a:gd name="T40" fmla="*/ 13 w 24"/>
                <a:gd name="T41" fmla="*/ 26 h 26"/>
                <a:gd name="T42" fmla="*/ 8 w 24"/>
                <a:gd name="T43" fmla="*/ 24 h 26"/>
                <a:gd name="T44" fmla="*/ 5 w 24"/>
                <a:gd name="T45" fmla="*/ 23 h 26"/>
                <a:gd name="T46" fmla="*/ 0 w 24"/>
                <a:gd name="T47" fmla="*/ 21 h 26"/>
                <a:gd name="T48" fmla="*/ 2 w 24"/>
                <a:gd name="T4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26">
                  <a:moveTo>
                    <a:pt x="2" y="12"/>
                  </a:moveTo>
                  <a:lnTo>
                    <a:pt x="2" y="12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5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2"/>
                  </a:lnTo>
                  <a:lnTo>
                    <a:pt x="22" y="5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1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1"/>
                  </a:lnTo>
                  <a:lnTo>
                    <a:pt x="18" y="24"/>
                  </a:lnTo>
                  <a:lnTo>
                    <a:pt x="16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8" y="24"/>
                  </a:lnTo>
                  <a:lnTo>
                    <a:pt x="5" y="23"/>
                  </a:lnTo>
                  <a:lnTo>
                    <a:pt x="0" y="21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2" name="Freeform 101">
              <a:extLst>
                <a:ext uri="{FF2B5EF4-FFF2-40B4-BE49-F238E27FC236}">
                  <a16:creationId xmlns:a16="http://schemas.microsoft.com/office/drawing/2014/main" id="{51F4CB4F-E89C-034A-B362-522006541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0663" y="3436938"/>
              <a:ext cx="38100" cy="34925"/>
            </a:xfrm>
            <a:custGeom>
              <a:avLst/>
              <a:gdLst>
                <a:gd name="T0" fmla="*/ 0 w 24"/>
                <a:gd name="T1" fmla="*/ 7 h 22"/>
                <a:gd name="T2" fmla="*/ 0 w 24"/>
                <a:gd name="T3" fmla="*/ 7 h 22"/>
                <a:gd name="T4" fmla="*/ 0 w 24"/>
                <a:gd name="T5" fmla="*/ 10 h 22"/>
                <a:gd name="T6" fmla="*/ 0 w 24"/>
                <a:gd name="T7" fmla="*/ 14 h 22"/>
                <a:gd name="T8" fmla="*/ 3 w 24"/>
                <a:gd name="T9" fmla="*/ 16 h 22"/>
                <a:gd name="T10" fmla="*/ 3 w 24"/>
                <a:gd name="T11" fmla="*/ 16 h 22"/>
                <a:gd name="T12" fmla="*/ 11 w 24"/>
                <a:gd name="T13" fmla="*/ 20 h 22"/>
                <a:gd name="T14" fmla="*/ 15 w 24"/>
                <a:gd name="T15" fmla="*/ 22 h 22"/>
                <a:gd name="T16" fmla="*/ 15 w 24"/>
                <a:gd name="T17" fmla="*/ 22 h 22"/>
                <a:gd name="T18" fmla="*/ 21 w 24"/>
                <a:gd name="T19" fmla="*/ 20 h 22"/>
                <a:gd name="T20" fmla="*/ 23 w 24"/>
                <a:gd name="T21" fmla="*/ 19 h 22"/>
                <a:gd name="T22" fmla="*/ 24 w 24"/>
                <a:gd name="T23" fmla="*/ 17 h 22"/>
                <a:gd name="T24" fmla="*/ 24 w 24"/>
                <a:gd name="T25" fmla="*/ 17 h 22"/>
                <a:gd name="T26" fmla="*/ 21 w 24"/>
                <a:gd name="T27" fmla="*/ 13 h 22"/>
                <a:gd name="T28" fmla="*/ 20 w 24"/>
                <a:gd name="T29" fmla="*/ 12 h 22"/>
                <a:gd name="T30" fmla="*/ 20 w 24"/>
                <a:gd name="T31" fmla="*/ 12 h 22"/>
                <a:gd name="T32" fmla="*/ 14 w 24"/>
                <a:gd name="T33" fmla="*/ 9 h 22"/>
                <a:gd name="T34" fmla="*/ 14 w 24"/>
                <a:gd name="T35" fmla="*/ 9 h 22"/>
                <a:gd name="T36" fmla="*/ 12 w 24"/>
                <a:gd name="T37" fmla="*/ 9 h 22"/>
                <a:gd name="T38" fmla="*/ 11 w 24"/>
                <a:gd name="T39" fmla="*/ 7 h 22"/>
                <a:gd name="T40" fmla="*/ 11 w 24"/>
                <a:gd name="T41" fmla="*/ 7 h 22"/>
                <a:gd name="T42" fmla="*/ 5 w 24"/>
                <a:gd name="T43" fmla="*/ 1 h 22"/>
                <a:gd name="T44" fmla="*/ 5 w 24"/>
                <a:gd name="T45" fmla="*/ 1 h 22"/>
                <a:gd name="T46" fmla="*/ 3 w 24"/>
                <a:gd name="T47" fmla="*/ 0 h 22"/>
                <a:gd name="T48" fmla="*/ 3 w 24"/>
                <a:gd name="T49" fmla="*/ 0 h 22"/>
                <a:gd name="T50" fmla="*/ 2 w 24"/>
                <a:gd name="T51" fmla="*/ 0 h 22"/>
                <a:gd name="T52" fmla="*/ 2 w 24"/>
                <a:gd name="T53" fmla="*/ 0 h 22"/>
                <a:gd name="T54" fmla="*/ 0 w 24"/>
                <a:gd name="T55" fmla="*/ 4 h 22"/>
                <a:gd name="T56" fmla="*/ 0 w 24"/>
                <a:gd name="T57" fmla="*/ 7 h 22"/>
                <a:gd name="T58" fmla="*/ 0 w 24"/>
                <a:gd name="T5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" h="22">
                  <a:moveTo>
                    <a:pt x="0" y="7"/>
                  </a:moveTo>
                  <a:lnTo>
                    <a:pt x="0" y="7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11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21" y="20"/>
                  </a:lnTo>
                  <a:lnTo>
                    <a:pt x="23" y="19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1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2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5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3" name="Freeform 102">
              <a:extLst>
                <a:ext uri="{FF2B5EF4-FFF2-40B4-BE49-F238E27FC236}">
                  <a16:creationId xmlns:a16="http://schemas.microsoft.com/office/drawing/2014/main" id="{EFBD12D6-EF95-574E-9378-2D804B9F6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5" y="3532188"/>
              <a:ext cx="263525" cy="273050"/>
            </a:xfrm>
            <a:custGeom>
              <a:avLst/>
              <a:gdLst>
                <a:gd name="T0" fmla="*/ 56 w 166"/>
                <a:gd name="T1" fmla="*/ 66 h 172"/>
                <a:gd name="T2" fmla="*/ 67 w 166"/>
                <a:gd name="T3" fmla="*/ 60 h 172"/>
                <a:gd name="T4" fmla="*/ 81 w 166"/>
                <a:gd name="T5" fmla="*/ 48 h 172"/>
                <a:gd name="T6" fmla="*/ 83 w 166"/>
                <a:gd name="T7" fmla="*/ 40 h 172"/>
                <a:gd name="T8" fmla="*/ 86 w 166"/>
                <a:gd name="T9" fmla="*/ 20 h 172"/>
                <a:gd name="T10" fmla="*/ 89 w 166"/>
                <a:gd name="T11" fmla="*/ 2 h 172"/>
                <a:gd name="T12" fmla="*/ 92 w 166"/>
                <a:gd name="T13" fmla="*/ 0 h 172"/>
                <a:gd name="T14" fmla="*/ 102 w 166"/>
                <a:gd name="T15" fmla="*/ 15 h 172"/>
                <a:gd name="T16" fmla="*/ 105 w 166"/>
                <a:gd name="T17" fmla="*/ 17 h 172"/>
                <a:gd name="T18" fmla="*/ 118 w 166"/>
                <a:gd name="T19" fmla="*/ 8 h 172"/>
                <a:gd name="T20" fmla="*/ 121 w 166"/>
                <a:gd name="T21" fmla="*/ 3 h 172"/>
                <a:gd name="T22" fmla="*/ 129 w 166"/>
                <a:gd name="T23" fmla="*/ 3 h 172"/>
                <a:gd name="T24" fmla="*/ 133 w 166"/>
                <a:gd name="T25" fmla="*/ 8 h 172"/>
                <a:gd name="T26" fmla="*/ 136 w 166"/>
                <a:gd name="T27" fmla="*/ 17 h 172"/>
                <a:gd name="T28" fmla="*/ 142 w 166"/>
                <a:gd name="T29" fmla="*/ 20 h 172"/>
                <a:gd name="T30" fmla="*/ 154 w 166"/>
                <a:gd name="T31" fmla="*/ 21 h 172"/>
                <a:gd name="T32" fmla="*/ 161 w 166"/>
                <a:gd name="T33" fmla="*/ 23 h 172"/>
                <a:gd name="T34" fmla="*/ 166 w 166"/>
                <a:gd name="T35" fmla="*/ 26 h 172"/>
                <a:gd name="T36" fmla="*/ 166 w 166"/>
                <a:gd name="T37" fmla="*/ 39 h 172"/>
                <a:gd name="T38" fmla="*/ 155 w 166"/>
                <a:gd name="T39" fmla="*/ 58 h 172"/>
                <a:gd name="T40" fmla="*/ 154 w 166"/>
                <a:gd name="T41" fmla="*/ 70 h 172"/>
                <a:gd name="T42" fmla="*/ 154 w 166"/>
                <a:gd name="T43" fmla="*/ 109 h 172"/>
                <a:gd name="T44" fmla="*/ 148 w 166"/>
                <a:gd name="T45" fmla="*/ 138 h 172"/>
                <a:gd name="T46" fmla="*/ 135 w 166"/>
                <a:gd name="T47" fmla="*/ 151 h 172"/>
                <a:gd name="T48" fmla="*/ 120 w 166"/>
                <a:gd name="T49" fmla="*/ 168 h 172"/>
                <a:gd name="T50" fmla="*/ 104 w 166"/>
                <a:gd name="T51" fmla="*/ 172 h 172"/>
                <a:gd name="T52" fmla="*/ 101 w 166"/>
                <a:gd name="T53" fmla="*/ 157 h 172"/>
                <a:gd name="T54" fmla="*/ 95 w 166"/>
                <a:gd name="T55" fmla="*/ 159 h 172"/>
                <a:gd name="T56" fmla="*/ 86 w 166"/>
                <a:gd name="T57" fmla="*/ 169 h 172"/>
                <a:gd name="T58" fmla="*/ 77 w 166"/>
                <a:gd name="T59" fmla="*/ 172 h 172"/>
                <a:gd name="T60" fmla="*/ 62 w 166"/>
                <a:gd name="T61" fmla="*/ 169 h 172"/>
                <a:gd name="T62" fmla="*/ 61 w 166"/>
                <a:gd name="T63" fmla="*/ 162 h 172"/>
                <a:gd name="T64" fmla="*/ 55 w 166"/>
                <a:gd name="T65" fmla="*/ 159 h 172"/>
                <a:gd name="T66" fmla="*/ 50 w 166"/>
                <a:gd name="T67" fmla="*/ 154 h 172"/>
                <a:gd name="T68" fmla="*/ 47 w 166"/>
                <a:gd name="T69" fmla="*/ 138 h 172"/>
                <a:gd name="T70" fmla="*/ 37 w 166"/>
                <a:gd name="T71" fmla="*/ 135 h 172"/>
                <a:gd name="T72" fmla="*/ 31 w 166"/>
                <a:gd name="T73" fmla="*/ 141 h 172"/>
                <a:gd name="T74" fmla="*/ 25 w 166"/>
                <a:gd name="T75" fmla="*/ 149 h 172"/>
                <a:gd name="T76" fmla="*/ 7 w 166"/>
                <a:gd name="T77" fmla="*/ 147 h 172"/>
                <a:gd name="T78" fmla="*/ 1 w 166"/>
                <a:gd name="T79" fmla="*/ 143 h 172"/>
                <a:gd name="T80" fmla="*/ 0 w 166"/>
                <a:gd name="T81" fmla="*/ 132 h 172"/>
                <a:gd name="T82" fmla="*/ 6 w 166"/>
                <a:gd name="T83" fmla="*/ 125 h 172"/>
                <a:gd name="T84" fmla="*/ 16 w 166"/>
                <a:gd name="T85" fmla="*/ 117 h 172"/>
                <a:gd name="T86" fmla="*/ 25 w 166"/>
                <a:gd name="T87" fmla="*/ 111 h 172"/>
                <a:gd name="T88" fmla="*/ 37 w 166"/>
                <a:gd name="T89" fmla="*/ 100 h 172"/>
                <a:gd name="T90" fmla="*/ 44 w 166"/>
                <a:gd name="T91" fmla="*/ 80 h 172"/>
                <a:gd name="T92" fmla="*/ 49 w 166"/>
                <a:gd name="T93" fmla="*/ 73 h 172"/>
                <a:gd name="T94" fmla="*/ 55 w 166"/>
                <a:gd name="T95" fmla="*/ 7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6" h="172">
                  <a:moveTo>
                    <a:pt x="55" y="70"/>
                  </a:moveTo>
                  <a:lnTo>
                    <a:pt x="55" y="70"/>
                  </a:lnTo>
                  <a:lnTo>
                    <a:pt x="56" y="66"/>
                  </a:lnTo>
                  <a:lnTo>
                    <a:pt x="61" y="63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77" y="54"/>
                  </a:lnTo>
                  <a:lnTo>
                    <a:pt x="80" y="52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3" y="43"/>
                  </a:lnTo>
                  <a:lnTo>
                    <a:pt x="83" y="40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6" y="20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9" y="2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4" y="17"/>
                  </a:lnTo>
                  <a:lnTo>
                    <a:pt x="105" y="17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5"/>
                  </a:lnTo>
                  <a:lnTo>
                    <a:pt x="121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9" y="3"/>
                  </a:lnTo>
                  <a:lnTo>
                    <a:pt x="130" y="5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5" y="12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2" y="20"/>
                  </a:lnTo>
                  <a:lnTo>
                    <a:pt x="145" y="21"/>
                  </a:lnTo>
                  <a:lnTo>
                    <a:pt x="145" y="21"/>
                  </a:lnTo>
                  <a:lnTo>
                    <a:pt x="154" y="21"/>
                  </a:lnTo>
                  <a:lnTo>
                    <a:pt x="154" y="21"/>
                  </a:lnTo>
                  <a:lnTo>
                    <a:pt x="158" y="21"/>
                  </a:lnTo>
                  <a:lnTo>
                    <a:pt x="161" y="23"/>
                  </a:lnTo>
                  <a:lnTo>
                    <a:pt x="161" y="23"/>
                  </a:lnTo>
                  <a:lnTo>
                    <a:pt x="163" y="24"/>
                  </a:lnTo>
                  <a:lnTo>
                    <a:pt x="166" y="26"/>
                  </a:lnTo>
                  <a:lnTo>
                    <a:pt x="166" y="30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3" y="46"/>
                  </a:lnTo>
                  <a:lnTo>
                    <a:pt x="160" y="51"/>
                  </a:lnTo>
                  <a:lnTo>
                    <a:pt x="155" y="58"/>
                  </a:lnTo>
                  <a:lnTo>
                    <a:pt x="155" y="63"/>
                  </a:lnTo>
                  <a:lnTo>
                    <a:pt x="154" y="70"/>
                  </a:lnTo>
                  <a:lnTo>
                    <a:pt x="154" y="70"/>
                  </a:lnTo>
                  <a:lnTo>
                    <a:pt x="154" y="92"/>
                  </a:lnTo>
                  <a:lnTo>
                    <a:pt x="154" y="109"/>
                  </a:lnTo>
                  <a:lnTo>
                    <a:pt x="154" y="109"/>
                  </a:lnTo>
                  <a:lnTo>
                    <a:pt x="153" y="126"/>
                  </a:lnTo>
                  <a:lnTo>
                    <a:pt x="150" y="132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35" y="151"/>
                  </a:lnTo>
                  <a:lnTo>
                    <a:pt x="135" y="151"/>
                  </a:lnTo>
                  <a:lnTo>
                    <a:pt x="127" y="162"/>
                  </a:lnTo>
                  <a:lnTo>
                    <a:pt x="124" y="165"/>
                  </a:lnTo>
                  <a:lnTo>
                    <a:pt x="120" y="168"/>
                  </a:lnTo>
                  <a:lnTo>
                    <a:pt x="120" y="168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1" y="157"/>
                  </a:lnTo>
                  <a:lnTo>
                    <a:pt x="99" y="156"/>
                  </a:lnTo>
                  <a:lnTo>
                    <a:pt x="99" y="156"/>
                  </a:lnTo>
                  <a:lnTo>
                    <a:pt x="95" y="159"/>
                  </a:lnTo>
                  <a:lnTo>
                    <a:pt x="95" y="159"/>
                  </a:lnTo>
                  <a:lnTo>
                    <a:pt x="89" y="168"/>
                  </a:lnTo>
                  <a:lnTo>
                    <a:pt x="86" y="169"/>
                  </a:lnTo>
                  <a:lnTo>
                    <a:pt x="81" y="172"/>
                  </a:lnTo>
                  <a:lnTo>
                    <a:pt x="81" y="172"/>
                  </a:lnTo>
                  <a:lnTo>
                    <a:pt x="77" y="172"/>
                  </a:lnTo>
                  <a:lnTo>
                    <a:pt x="71" y="172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1" y="168"/>
                  </a:lnTo>
                  <a:lnTo>
                    <a:pt x="61" y="165"/>
                  </a:lnTo>
                  <a:lnTo>
                    <a:pt x="61" y="162"/>
                  </a:lnTo>
                  <a:lnTo>
                    <a:pt x="61" y="160"/>
                  </a:lnTo>
                  <a:lnTo>
                    <a:pt x="61" y="160"/>
                  </a:lnTo>
                  <a:lnTo>
                    <a:pt x="55" y="159"/>
                  </a:lnTo>
                  <a:lnTo>
                    <a:pt x="52" y="157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0" y="144"/>
                  </a:lnTo>
                  <a:lnTo>
                    <a:pt x="49" y="140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1" y="135"/>
                  </a:lnTo>
                  <a:lnTo>
                    <a:pt x="37" y="135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1" y="141"/>
                  </a:lnTo>
                  <a:lnTo>
                    <a:pt x="30" y="144"/>
                  </a:lnTo>
                  <a:lnTo>
                    <a:pt x="27" y="147"/>
                  </a:lnTo>
                  <a:lnTo>
                    <a:pt x="25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7" y="147"/>
                  </a:lnTo>
                  <a:lnTo>
                    <a:pt x="3" y="146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0" y="135"/>
                  </a:lnTo>
                  <a:lnTo>
                    <a:pt x="0" y="132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6" y="125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6" y="117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5" y="111"/>
                  </a:lnTo>
                  <a:lnTo>
                    <a:pt x="28" y="110"/>
                  </a:lnTo>
                  <a:lnTo>
                    <a:pt x="33" y="107"/>
                  </a:lnTo>
                  <a:lnTo>
                    <a:pt x="37" y="100"/>
                  </a:lnTo>
                  <a:lnTo>
                    <a:pt x="37" y="100"/>
                  </a:lnTo>
                  <a:lnTo>
                    <a:pt x="43" y="86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6" y="76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55" y="70"/>
                  </a:lnTo>
                  <a:lnTo>
                    <a:pt x="55" y="7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4" name="Freeform 103">
              <a:extLst>
                <a:ext uri="{FF2B5EF4-FFF2-40B4-BE49-F238E27FC236}">
                  <a16:creationId xmlns:a16="http://schemas.microsoft.com/office/drawing/2014/main" id="{A5BEAD29-74F8-B942-97FD-435189AA3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4675" y="3502025"/>
              <a:ext cx="171450" cy="190500"/>
            </a:xfrm>
            <a:custGeom>
              <a:avLst/>
              <a:gdLst>
                <a:gd name="T0" fmla="*/ 108 w 108"/>
                <a:gd name="T1" fmla="*/ 31 h 120"/>
                <a:gd name="T2" fmla="*/ 105 w 108"/>
                <a:gd name="T3" fmla="*/ 24 h 120"/>
                <a:gd name="T4" fmla="*/ 101 w 108"/>
                <a:gd name="T5" fmla="*/ 18 h 120"/>
                <a:gd name="T6" fmla="*/ 87 w 108"/>
                <a:gd name="T7" fmla="*/ 3 h 120"/>
                <a:gd name="T8" fmla="*/ 84 w 108"/>
                <a:gd name="T9" fmla="*/ 2 h 120"/>
                <a:gd name="T10" fmla="*/ 71 w 108"/>
                <a:gd name="T11" fmla="*/ 0 h 120"/>
                <a:gd name="T12" fmla="*/ 69 w 108"/>
                <a:gd name="T13" fmla="*/ 3 h 120"/>
                <a:gd name="T14" fmla="*/ 68 w 108"/>
                <a:gd name="T15" fmla="*/ 9 h 120"/>
                <a:gd name="T16" fmla="*/ 65 w 108"/>
                <a:gd name="T17" fmla="*/ 16 h 120"/>
                <a:gd name="T18" fmla="*/ 61 w 108"/>
                <a:gd name="T19" fmla="*/ 21 h 120"/>
                <a:gd name="T20" fmla="*/ 53 w 108"/>
                <a:gd name="T21" fmla="*/ 27 h 120"/>
                <a:gd name="T22" fmla="*/ 47 w 108"/>
                <a:gd name="T23" fmla="*/ 34 h 120"/>
                <a:gd name="T24" fmla="*/ 44 w 108"/>
                <a:gd name="T25" fmla="*/ 37 h 120"/>
                <a:gd name="T26" fmla="*/ 37 w 108"/>
                <a:gd name="T27" fmla="*/ 37 h 120"/>
                <a:gd name="T28" fmla="*/ 32 w 108"/>
                <a:gd name="T29" fmla="*/ 43 h 120"/>
                <a:gd name="T30" fmla="*/ 32 w 108"/>
                <a:gd name="T31" fmla="*/ 51 h 120"/>
                <a:gd name="T32" fmla="*/ 31 w 108"/>
                <a:gd name="T33" fmla="*/ 52 h 120"/>
                <a:gd name="T34" fmla="*/ 26 w 108"/>
                <a:gd name="T35" fmla="*/ 56 h 120"/>
                <a:gd name="T36" fmla="*/ 24 w 108"/>
                <a:gd name="T37" fmla="*/ 58 h 120"/>
                <a:gd name="T38" fmla="*/ 19 w 108"/>
                <a:gd name="T39" fmla="*/ 56 h 120"/>
                <a:gd name="T40" fmla="*/ 10 w 108"/>
                <a:gd name="T41" fmla="*/ 61 h 120"/>
                <a:gd name="T42" fmla="*/ 6 w 108"/>
                <a:gd name="T43" fmla="*/ 65 h 120"/>
                <a:gd name="T44" fmla="*/ 3 w 108"/>
                <a:gd name="T45" fmla="*/ 73 h 120"/>
                <a:gd name="T46" fmla="*/ 1 w 108"/>
                <a:gd name="T47" fmla="*/ 80 h 120"/>
                <a:gd name="T48" fmla="*/ 0 w 108"/>
                <a:gd name="T49" fmla="*/ 105 h 120"/>
                <a:gd name="T50" fmla="*/ 1 w 108"/>
                <a:gd name="T51" fmla="*/ 116 h 120"/>
                <a:gd name="T52" fmla="*/ 6 w 108"/>
                <a:gd name="T53" fmla="*/ 119 h 120"/>
                <a:gd name="T54" fmla="*/ 12 w 108"/>
                <a:gd name="T55" fmla="*/ 120 h 120"/>
                <a:gd name="T56" fmla="*/ 15 w 108"/>
                <a:gd name="T57" fmla="*/ 116 h 120"/>
                <a:gd name="T58" fmla="*/ 18 w 108"/>
                <a:gd name="T59" fmla="*/ 110 h 120"/>
                <a:gd name="T60" fmla="*/ 21 w 108"/>
                <a:gd name="T61" fmla="*/ 105 h 120"/>
                <a:gd name="T62" fmla="*/ 26 w 108"/>
                <a:gd name="T63" fmla="*/ 92 h 120"/>
                <a:gd name="T64" fmla="*/ 25 w 108"/>
                <a:gd name="T65" fmla="*/ 77 h 120"/>
                <a:gd name="T66" fmla="*/ 25 w 108"/>
                <a:gd name="T67" fmla="*/ 71 h 120"/>
                <a:gd name="T68" fmla="*/ 25 w 108"/>
                <a:gd name="T69" fmla="*/ 68 h 120"/>
                <a:gd name="T70" fmla="*/ 28 w 108"/>
                <a:gd name="T71" fmla="*/ 65 h 120"/>
                <a:gd name="T72" fmla="*/ 32 w 108"/>
                <a:gd name="T73" fmla="*/ 65 h 120"/>
                <a:gd name="T74" fmla="*/ 41 w 108"/>
                <a:gd name="T75" fmla="*/ 65 h 120"/>
                <a:gd name="T76" fmla="*/ 49 w 108"/>
                <a:gd name="T77" fmla="*/ 68 h 120"/>
                <a:gd name="T78" fmla="*/ 58 w 108"/>
                <a:gd name="T79" fmla="*/ 68 h 120"/>
                <a:gd name="T80" fmla="*/ 65 w 108"/>
                <a:gd name="T81" fmla="*/ 65 h 120"/>
                <a:gd name="T82" fmla="*/ 75 w 108"/>
                <a:gd name="T83" fmla="*/ 59 h 120"/>
                <a:gd name="T84" fmla="*/ 84 w 108"/>
                <a:gd name="T85" fmla="*/ 53 h 120"/>
                <a:gd name="T86" fmla="*/ 92 w 108"/>
                <a:gd name="T87" fmla="*/ 48 h 120"/>
                <a:gd name="T88" fmla="*/ 102 w 108"/>
                <a:gd name="T89" fmla="*/ 39 h 120"/>
                <a:gd name="T90" fmla="*/ 106 w 108"/>
                <a:gd name="T91" fmla="*/ 34 h 120"/>
                <a:gd name="T92" fmla="*/ 108 w 108"/>
                <a:gd name="T93" fmla="*/ 3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" h="120">
                  <a:moveTo>
                    <a:pt x="108" y="31"/>
                  </a:moveTo>
                  <a:lnTo>
                    <a:pt x="108" y="31"/>
                  </a:lnTo>
                  <a:lnTo>
                    <a:pt x="108" y="28"/>
                  </a:lnTo>
                  <a:lnTo>
                    <a:pt x="105" y="24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90" y="6"/>
                  </a:lnTo>
                  <a:lnTo>
                    <a:pt x="87" y="3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71" y="0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68" y="12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1" y="21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0" y="30"/>
                  </a:lnTo>
                  <a:lnTo>
                    <a:pt x="47" y="34"/>
                  </a:lnTo>
                  <a:lnTo>
                    <a:pt x="47" y="36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37" y="37"/>
                  </a:lnTo>
                  <a:lnTo>
                    <a:pt x="34" y="39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9" y="55"/>
                  </a:lnTo>
                  <a:lnTo>
                    <a:pt x="26" y="56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1" y="58"/>
                  </a:lnTo>
                  <a:lnTo>
                    <a:pt x="19" y="56"/>
                  </a:lnTo>
                  <a:lnTo>
                    <a:pt x="15" y="58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6" y="65"/>
                  </a:lnTo>
                  <a:lnTo>
                    <a:pt x="4" y="68"/>
                  </a:lnTo>
                  <a:lnTo>
                    <a:pt x="3" y="73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0" y="93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1" y="116"/>
                  </a:lnTo>
                  <a:lnTo>
                    <a:pt x="3" y="117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12" y="120"/>
                  </a:lnTo>
                  <a:lnTo>
                    <a:pt x="13" y="120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8" y="110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5" y="99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8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5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9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2" y="67"/>
                  </a:lnTo>
                  <a:lnTo>
                    <a:pt x="65" y="65"/>
                  </a:lnTo>
                  <a:lnTo>
                    <a:pt x="69" y="62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84" y="53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8" y="42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08" y="3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5" name="Freeform 104">
              <a:extLst>
                <a:ext uri="{FF2B5EF4-FFF2-40B4-BE49-F238E27FC236}">
                  <a16:creationId xmlns:a16="http://schemas.microsoft.com/office/drawing/2014/main" id="{6B6D50B4-A85C-FD4A-9F9E-1E6A3FC95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9700" y="3700463"/>
              <a:ext cx="239713" cy="300037"/>
            </a:xfrm>
            <a:custGeom>
              <a:avLst/>
              <a:gdLst>
                <a:gd name="T0" fmla="*/ 16 w 151"/>
                <a:gd name="T1" fmla="*/ 188 h 189"/>
                <a:gd name="T2" fmla="*/ 32 w 151"/>
                <a:gd name="T3" fmla="*/ 188 h 189"/>
                <a:gd name="T4" fmla="*/ 57 w 151"/>
                <a:gd name="T5" fmla="*/ 185 h 189"/>
                <a:gd name="T6" fmla="*/ 63 w 151"/>
                <a:gd name="T7" fmla="*/ 179 h 189"/>
                <a:gd name="T8" fmla="*/ 66 w 151"/>
                <a:gd name="T9" fmla="*/ 170 h 189"/>
                <a:gd name="T10" fmla="*/ 71 w 151"/>
                <a:gd name="T11" fmla="*/ 157 h 189"/>
                <a:gd name="T12" fmla="*/ 88 w 151"/>
                <a:gd name="T13" fmla="*/ 134 h 189"/>
                <a:gd name="T14" fmla="*/ 91 w 151"/>
                <a:gd name="T15" fmla="*/ 125 h 189"/>
                <a:gd name="T16" fmla="*/ 87 w 151"/>
                <a:gd name="T17" fmla="*/ 111 h 189"/>
                <a:gd name="T18" fmla="*/ 94 w 151"/>
                <a:gd name="T19" fmla="*/ 108 h 189"/>
                <a:gd name="T20" fmla="*/ 128 w 151"/>
                <a:gd name="T21" fmla="*/ 99 h 189"/>
                <a:gd name="T22" fmla="*/ 146 w 151"/>
                <a:gd name="T23" fmla="*/ 82 h 189"/>
                <a:gd name="T24" fmla="*/ 149 w 151"/>
                <a:gd name="T25" fmla="*/ 62 h 189"/>
                <a:gd name="T26" fmla="*/ 151 w 151"/>
                <a:gd name="T27" fmla="*/ 47 h 189"/>
                <a:gd name="T28" fmla="*/ 149 w 151"/>
                <a:gd name="T29" fmla="*/ 8 h 189"/>
                <a:gd name="T30" fmla="*/ 145 w 151"/>
                <a:gd name="T31" fmla="*/ 0 h 189"/>
                <a:gd name="T32" fmla="*/ 140 w 151"/>
                <a:gd name="T33" fmla="*/ 4 h 189"/>
                <a:gd name="T34" fmla="*/ 133 w 151"/>
                <a:gd name="T35" fmla="*/ 25 h 189"/>
                <a:gd name="T36" fmla="*/ 130 w 151"/>
                <a:gd name="T37" fmla="*/ 34 h 189"/>
                <a:gd name="T38" fmla="*/ 133 w 151"/>
                <a:gd name="T39" fmla="*/ 47 h 189"/>
                <a:gd name="T40" fmla="*/ 133 w 151"/>
                <a:gd name="T41" fmla="*/ 71 h 189"/>
                <a:gd name="T42" fmla="*/ 127 w 151"/>
                <a:gd name="T43" fmla="*/ 85 h 189"/>
                <a:gd name="T44" fmla="*/ 111 w 151"/>
                <a:gd name="T45" fmla="*/ 90 h 189"/>
                <a:gd name="T46" fmla="*/ 97 w 151"/>
                <a:gd name="T47" fmla="*/ 84 h 189"/>
                <a:gd name="T48" fmla="*/ 96 w 151"/>
                <a:gd name="T49" fmla="*/ 75 h 189"/>
                <a:gd name="T50" fmla="*/ 99 w 151"/>
                <a:gd name="T51" fmla="*/ 66 h 189"/>
                <a:gd name="T52" fmla="*/ 109 w 151"/>
                <a:gd name="T53" fmla="*/ 50 h 189"/>
                <a:gd name="T54" fmla="*/ 115 w 151"/>
                <a:gd name="T55" fmla="*/ 31 h 189"/>
                <a:gd name="T56" fmla="*/ 111 w 151"/>
                <a:gd name="T57" fmla="*/ 29 h 189"/>
                <a:gd name="T58" fmla="*/ 102 w 151"/>
                <a:gd name="T59" fmla="*/ 37 h 189"/>
                <a:gd name="T60" fmla="*/ 87 w 151"/>
                <a:gd name="T61" fmla="*/ 51 h 189"/>
                <a:gd name="T62" fmla="*/ 81 w 151"/>
                <a:gd name="T63" fmla="*/ 53 h 189"/>
                <a:gd name="T64" fmla="*/ 78 w 151"/>
                <a:gd name="T65" fmla="*/ 48 h 189"/>
                <a:gd name="T66" fmla="*/ 71 w 151"/>
                <a:gd name="T67" fmla="*/ 35 h 189"/>
                <a:gd name="T68" fmla="*/ 66 w 151"/>
                <a:gd name="T69" fmla="*/ 38 h 189"/>
                <a:gd name="T70" fmla="*/ 68 w 151"/>
                <a:gd name="T71" fmla="*/ 62 h 189"/>
                <a:gd name="T72" fmla="*/ 66 w 151"/>
                <a:gd name="T73" fmla="*/ 69 h 189"/>
                <a:gd name="T74" fmla="*/ 59 w 151"/>
                <a:gd name="T75" fmla="*/ 71 h 189"/>
                <a:gd name="T76" fmla="*/ 50 w 151"/>
                <a:gd name="T77" fmla="*/ 66 h 189"/>
                <a:gd name="T78" fmla="*/ 42 w 151"/>
                <a:gd name="T79" fmla="*/ 65 h 189"/>
                <a:gd name="T80" fmla="*/ 34 w 151"/>
                <a:gd name="T81" fmla="*/ 81 h 189"/>
                <a:gd name="T82" fmla="*/ 34 w 151"/>
                <a:gd name="T83" fmla="*/ 112 h 189"/>
                <a:gd name="T84" fmla="*/ 35 w 151"/>
                <a:gd name="T85" fmla="*/ 133 h 189"/>
                <a:gd name="T86" fmla="*/ 29 w 151"/>
                <a:gd name="T87" fmla="*/ 148 h 189"/>
                <a:gd name="T88" fmla="*/ 20 w 151"/>
                <a:gd name="T89" fmla="*/ 157 h 189"/>
                <a:gd name="T90" fmla="*/ 0 w 151"/>
                <a:gd name="T91" fmla="*/ 17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1" h="189">
                  <a:moveTo>
                    <a:pt x="10" y="186"/>
                  </a:moveTo>
                  <a:lnTo>
                    <a:pt x="10" y="186"/>
                  </a:lnTo>
                  <a:lnTo>
                    <a:pt x="16" y="188"/>
                  </a:lnTo>
                  <a:lnTo>
                    <a:pt x="23" y="189"/>
                  </a:lnTo>
                  <a:lnTo>
                    <a:pt x="32" y="188"/>
                  </a:lnTo>
                  <a:lnTo>
                    <a:pt x="32" y="188"/>
                  </a:lnTo>
                  <a:lnTo>
                    <a:pt x="53" y="185"/>
                  </a:lnTo>
                  <a:lnTo>
                    <a:pt x="53" y="185"/>
                  </a:lnTo>
                  <a:lnTo>
                    <a:pt x="57" y="185"/>
                  </a:lnTo>
                  <a:lnTo>
                    <a:pt x="59" y="186"/>
                  </a:lnTo>
                  <a:lnTo>
                    <a:pt x="60" y="185"/>
                  </a:lnTo>
                  <a:lnTo>
                    <a:pt x="63" y="179"/>
                  </a:lnTo>
                  <a:lnTo>
                    <a:pt x="63" y="179"/>
                  </a:lnTo>
                  <a:lnTo>
                    <a:pt x="65" y="174"/>
                  </a:lnTo>
                  <a:lnTo>
                    <a:pt x="66" y="170"/>
                  </a:lnTo>
                  <a:lnTo>
                    <a:pt x="68" y="164"/>
                  </a:lnTo>
                  <a:lnTo>
                    <a:pt x="71" y="157"/>
                  </a:lnTo>
                  <a:lnTo>
                    <a:pt x="71" y="157"/>
                  </a:lnTo>
                  <a:lnTo>
                    <a:pt x="77" y="148"/>
                  </a:lnTo>
                  <a:lnTo>
                    <a:pt x="82" y="140"/>
                  </a:lnTo>
                  <a:lnTo>
                    <a:pt x="88" y="134"/>
                  </a:lnTo>
                  <a:lnTo>
                    <a:pt x="90" y="130"/>
                  </a:lnTo>
                  <a:lnTo>
                    <a:pt x="91" y="125"/>
                  </a:lnTo>
                  <a:lnTo>
                    <a:pt x="91" y="125"/>
                  </a:lnTo>
                  <a:lnTo>
                    <a:pt x="90" y="118"/>
                  </a:lnTo>
                  <a:lnTo>
                    <a:pt x="87" y="112"/>
                  </a:lnTo>
                  <a:lnTo>
                    <a:pt x="87" y="111"/>
                  </a:lnTo>
                  <a:lnTo>
                    <a:pt x="88" y="109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112" y="106"/>
                  </a:lnTo>
                  <a:lnTo>
                    <a:pt x="119" y="105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42" y="87"/>
                  </a:lnTo>
                  <a:lnTo>
                    <a:pt x="146" y="82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9" y="62"/>
                  </a:lnTo>
                  <a:lnTo>
                    <a:pt x="149" y="56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25"/>
                  </a:lnTo>
                  <a:lnTo>
                    <a:pt x="151" y="25"/>
                  </a:lnTo>
                  <a:lnTo>
                    <a:pt x="149" y="8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39" y="13"/>
                  </a:lnTo>
                  <a:lnTo>
                    <a:pt x="137" y="19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0" y="31"/>
                  </a:lnTo>
                  <a:lnTo>
                    <a:pt x="130" y="34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33" y="47"/>
                  </a:lnTo>
                  <a:lnTo>
                    <a:pt x="133" y="62"/>
                  </a:lnTo>
                  <a:lnTo>
                    <a:pt x="133" y="62"/>
                  </a:lnTo>
                  <a:lnTo>
                    <a:pt x="133" y="71"/>
                  </a:lnTo>
                  <a:lnTo>
                    <a:pt x="133" y="78"/>
                  </a:lnTo>
                  <a:lnTo>
                    <a:pt x="130" y="82"/>
                  </a:lnTo>
                  <a:lnTo>
                    <a:pt x="127" y="85"/>
                  </a:lnTo>
                  <a:lnTo>
                    <a:pt x="127" y="85"/>
                  </a:lnTo>
                  <a:lnTo>
                    <a:pt x="115" y="90"/>
                  </a:lnTo>
                  <a:lnTo>
                    <a:pt x="111" y="90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97" y="84"/>
                  </a:lnTo>
                  <a:lnTo>
                    <a:pt x="96" y="81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7" y="71"/>
                  </a:lnTo>
                  <a:lnTo>
                    <a:pt x="97" y="68"/>
                  </a:lnTo>
                  <a:lnTo>
                    <a:pt x="99" y="66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9" y="50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5" y="31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1" y="29"/>
                  </a:lnTo>
                  <a:lnTo>
                    <a:pt x="106" y="32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94" y="45"/>
                  </a:lnTo>
                  <a:lnTo>
                    <a:pt x="91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4" y="53"/>
                  </a:lnTo>
                  <a:lnTo>
                    <a:pt x="81" y="53"/>
                  </a:lnTo>
                  <a:lnTo>
                    <a:pt x="79" y="53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1" y="35"/>
                  </a:lnTo>
                  <a:lnTo>
                    <a:pt x="68" y="35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8" y="51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6"/>
                  </a:lnTo>
                  <a:lnTo>
                    <a:pt x="66" y="69"/>
                  </a:lnTo>
                  <a:lnTo>
                    <a:pt x="63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4" y="69"/>
                  </a:lnTo>
                  <a:lnTo>
                    <a:pt x="51" y="68"/>
                  </a:lnTo>
                  <a:lnTo>
                    <a:pt x="50" y="66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2" y="65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4" y="81"/>
                  </a:lnTo>
                  <a:lnTo>
                    <a:pt x="34" y="91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5" y="120"/>
                  </a:lnTo>
                  <a:lnTo>
                    <a:pt x="35" y="127"/>
                  </a:lnTo>
                  <a:lnTo>
                    <a:pt x="35" y="133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29" y="148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0" y="157"/>
                  </a:lnTo>
                  <a:lnTo>
                    <a:pt x="17" y="158"/>
                  </a:lnTo>
                  <a:lnTo>
                    <a:pt x="13" y="160"/>
                  </a:lnTo>
                  <a:lnTo>
                    <a:pt x="0" y="174"/>
                  </a:lnTo>
                  <a:lnTo>
                    <a:pt x="10" y="186"/>
                  </a:lnTo>
                  <a:lnTo>
                    <a:pt x="10" y="18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6" name="Freeform 105">
              <a:extLst>
                <a:ext uri="{FF2B5EF4-FFF2-40B4-BE49-F238E27FC236}">
                  <a16:creationId xmlns:a16="http://schemas.microsoft.com/office/drawing/2014/main" id="{08747F6A-BCCE-2F48-BC1A-CD28E3EB6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1000" y="3584575"/>
              <a:ext cx="42863" cy="68262"/>
            </a:xfrm>
            <a:custGeom>
              <a:avLst/>
              <a:gdLst>
                <a:gd name="T0" fmla="*/ 2 w 27"/>
                <a:gd name="T1" fmla="*/ 7 h 43"/>
                <a:gd name="T2" fmla="*/ 2 w 27"/>
                <a:gd name="T3" fmla="*/ 7 h 43"/>
                <a:gd name="T4" fmla="*/ 3 w 27"/>
                <a:gd name="T5" fmla="*/ 1 h 43"/>
                <a:gd name="T6" fmla="*/ 4 w 27"/>
                <a:gd name="T7" fmla="*/ 0 h 43"/>
                <a:gd name="T8" fmla="*/ 9 w 27"/>
                <a:gd name="T9" fmla="*/ 0 h 43"/>
                <a:gd name="T10" fmla="*/ 9 w 27"/>
                <a:gd name="T11" fmla="*/ 0 h 43"/>
                <a:gd name="T12" fmla="*/ 15 w 27"/>
                <a:gd name="T13" fmla="*/ 1 h 43"/>
                <a:gd name="T14" fmla="*/ 21 w 27"/>
                <a:gd name="T15" fmla="*/ 7 h 43"/>
                <a:gd name="T16" fmla="*/ 21 w 27"/>
                <a:gd name="T17" fmla="*/ 7 h 43"/>
                <a:gd name="T18" fmla="*/ 27 w 27"/>
                <a:gd name="T19" fmla="*/ 16 h 43"/>
                <a:gd name="T20" fmla="*/ 27 w 27"/>
                <a:gd name="T21" fmla="*/ 19 h 43"/>
                <a:gd name="T22" fmla="*/ 25 w 27"/>
                <a:gd name="T23" fmla="*/ 21 h 43"/>
                <a:gd name="T24" fmla="*/ 25 w 27"/>
                <a:gd name="T25" fmla="*/ 21 h 43"/>
                <a:gd name="T26" fmla="*/ 21 w 27"/>
                <a:gd name="T27" fmla="*/ 28 h 43"/>
                <a:gd name="T28" fmla="*/ 19 w 27"/>
                <a:gd name="T29" fmla="*/ 34 h 43"/>
                <a:gd name="T30" fmla="*/ 19 w 27"/>
                <a:gd name="T31" fmla="*/ 34 h 43"/>
                <a:gd name="T32" fmla="*/ 19 w 27"/>
                <a:gd name="T33" fmla="*/ 38 h 43"/>
                <a:gd name="T34" fmla="*/ 18 w 27"/>
                <a:gd name="T35" fmla="*/ 41 h 43"/>
                <a:gd name="T36" fmla="*/ 16 w 27"/>
                <a:gd name="T37" fmla="*/ 43 h 43"/>
                <a:gd name="T38" fmla="*/ 16 w 27"/>
                <a:gd name="T39" fmla="*/ 43 h 43"/>
                <a:gd name="T40" fmla="*/ 13 w 27"/>
                <a:gd name="T41" fmla="*/ 43 h 43"/>
                <a:gd name="T42" fmla="*/ 10 w 27"/>
                <a:gd name="T43" fmla="*/ 41 h 43"/>
                <a:gd name="T44" fmla="*/ 7 w 27"/>
                <a:gd name="T45" fmla="*/ 38 h 43"/>
                <a:gd name="T46" fmla="*/ 6 w 27"/>
                <a:gd name="T47" fmla="*/ 34 h 43"/>
                <a:gd name="T48" fmla="*/ 6 w 27"/>
                <a:gd name="T49" fmla="*/ 34 h 43"/>
                <a:gd name="T50" fmla="*/ 2 w 27"/>
                <a:gd name="T51" fmla="*/ 25 h 43"/>
                <a:gd name="T52" fmla="*/ 0 w 27"/>
                <a:gd name="T53" fmla="*/ 18 h 43"/>
                <a:gd name="T54" fmla="*/ 0 w 27"/>
                <a:gd name="T55" fmla="*/ 18 h 43"/>
                <a:gd name="T56" fmla="*/ 2 w 27"/>
                <a:gd name="T57" fmla="*/ 7 h 43"/>
                <a:gd name="T58" fmla="*/ 2 w 27"/>
                <a:gd name="T59" fmla="*/ 7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" h="43">
                  <a:moveTo>
                    <a:pt x="2" y="7"/>
                  </a:moveTo>
                  <a:lnTo>
                    <a:pt x="2" y="7"/>
                  </a:lnTo>
                  <a:lnTo>
                    <a:pt x="3" y="1"/>
                  </a:lnTo>
                  <a:lnTo>
                    <a:pt x="4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5" y="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7" y="16"/>
                  </a:lnTo>
                  <a:lnTo>
                    <a:pt x="27" y="19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1" y="28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8"/>
                  </a:lnTo>
                  <a:lnTo>
                    <a:pt x="18" y="41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0" y="41"/>
                  </a:lnTo>
                  <a:lnTo>
                    <a:pt x="7" y="38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2" y="25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7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7" name="Freeform 106">
              <a:extLst>
                <a:ext uri="{FF2B5EF4-FFF2-40B4-BE49-F238E27FC236}">
                  <a16:creationId xmlns:a16="http://schemas.microsoft.com/office/drawing/2014/main" id="{2FA12B8D-3CC1-9F47-8478-4849ADADB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3605213"/>
              <a:ext cx="93663" cy="112712"/>
            </a:xfrm>
            <a:custGeom>
              <a:avLst/>
              <a:gdLst>
                <a:gd name="T0" fmla="*/ 28 w 59"/>
                <a:gd name="T1" fmla="*/ 31 h 71"/>
                <a:gd name="T2" fmla="*/ 28 w 59"/>
                <a:gd name="T3" fmla="*/ 31 h 71"/>
                <a:gd name="T4" fmla="*/ 37 w 59"/>
                <a:gd name="T5" fmla="*/ 23 h 71"/>
                <a:gd name="T6" fmla="*/ 46 w 59"/>
                <a:gd name="T7" fmla="*/ 12 h 71"/>
                <a:gd name="T8" fmla="*/ 46 w 59"/>
                <a:gd name="T9" fmla="*/ 12 h 71"/>
                <a:gd name="T10" fmla="*/ 47 w 59"/>
                <a:gd name="T11" fmla="*/ 5 h 71"/>
                <a:gd name="T12" fmla="*/ 49 w 59"/>
                <a:gd name="T13" fmla="*/ 2 h 71"/>
                <a:gd name="T14" fmla="*/ 50 w 59"/>
                <a:gd name="T15" fmla="*/ 0 h 71"/>
                <a:gd name="T16" fmla="*/ 50 w 59"/>
                <a:gd name="T17" fmla="*/ 0 h 71"/>
                <a:gd name="T18" fmla="*/ 53 w 59"/>
                <a:gd name="T19" fmla="*/ 2 h 71"/>
                <a:gd name="T20" fmla="*/ 56 w 59"/>
                <a:gd name="T21" fmla="*/ 3 h 71"/>
                <a:gd name="T22" fmla="*/ 57 w 59"/>
                <a:gd name="T23" fmla="*/ 6 h 71"/>
                <a:gd name="T24" fmla="*/ 59 w 59"/>
                <a:gd name="T25" fmla="*/ 12 h 71"/>
                <a:gd name="T26" fmla="*/ 59 w 59"/>
                <a:gd name="T27" fmla="*/ 12 h 71"/>
                <a:gd name="T28" fmla="*/ 59 w 59"/>
                <a:gd name="T29" fmla="*/ 18 h 71"/>
                <a:gd name="T30" fmla="*/ 57 w 59"/>
                <a:gd name="T31" fmla="*/ 24 h 71"/>
                <a:gd name="T32" fmla="*/ 53 w 59"/>
                <a:gd name="T33" fmla="*/ 33 h 71"/>
                <a:gd name="T34" fmla="*/ 53 w 59"/>
                <a:gd name="T35" fmla="*/ 33 h 71"/>
                <a:gd name="T36" fmla="*/ 52 w 59"/>
                <a:gd name="T37" fmla="*/ 36 h 71"/>
                <a:gd name="T38" fmla="*/ 49 w 59"/>
                <a:gd name="T39" fmla="*/ 37 h 71"/>
                <a:gd name="T40" fmla="*/ 47 w 59"/>
                <a:gd name="T41" fmla="*/ 40 h 71"/>
                <a:gd name="T42" fmla="*/ 46 w 59"/>
                <a:gd name="T43" fmla="*/ 45 h 71"/>
                <a:gd name="T44" fmla="*/ 46 w 59"/>
                <a:gd name="T45" fmla="*/ 45 h 71"/>
                <a:gd name="T46" fmla="*/ 46 w 59"/>
                <a:gd name="T47" fmla="*/ 54 h 71"/>
                <a:gd name="T48" fmla="*/ 47 w 59"/>
                <a:gd name="T49" fmla="*/ 57 h 71"/>
                <a:gd name="T50" fmla="*/ 49 w 59"/>
                <a:gd name="T51" fmla="*/ 61 h 71"/>
                <a:gd name="T52" fmla="*/ 49 w 59"/>
                <a:gd name="T53" fmla="*/ 61 h 71"/>
                <a:gd name="T54" fmla="*/ 50 w 59"/>
                <a:gd name="T55" fmla="*/ 65 h 71"/>
                <a:gd name="T56" fmla="*/ 50 w 59"/>
                <a:gd name="T57" fmla="*/ 68 h 71"/>
                <a:gd name="T58" fmla="*/ 49 w 59"/>
                <a:gd name="T59" fmla="*/ 71 h 71"/>
                <a:gd name="T60" fmla="*/ 47 w 59"/>
                <a:gd name="T61" fmla="*/ 71 h 71"/>
                <a:gd name="T62" fmla="*/ 47 w 59"/>
                <a:gd name="T63" fmla="*/ 71 h 71"/>
                <a:gd name="T64" fmla="*/ 41 w 59"/>
                <a:gd name="T65" fmla="*/ 70 h 71"/>
                <a:gd name="T66" fmla="*/ 38 w 59"/>
                <a:gd name="T67" fmla="*/ 67 h 71"/>
                <a:gd name="T68" fmla="*/ 37 w 59"/>
                <a:gd name="T69" fmla="*/ 65 h 71"/>
                <a:gd name="T70" fmla="*/ 37 w 59"/>
                <a:gd name="T71" fmla="*/ 65 h 71"/>
                <a:gd name="T72" fmla="*/ 34 w 59"/>
                <a:gd name="T73" fmla="*/ 57 h 71"/>
                <a:gd name="T74" fmla="*/ 34 w 59"/>
                <a:gd name="T75" fmla="*/ 52 h 71"/>
                <a:gd name="T76" fmla="*/ 34 w 59"/>
                <a:gd name="T77" fmla="*/ 52 h 71"/>
                <a:gd name="T78" fmla="*/ 29 w 59"/>
                <a:gd name="T79" fmla="*/ 52 h 71"/>
                <a:gd name="T80" fmla="*/ 26 w 59"/>
                <a:gd name="T81" fmla="*/ 54 h 71"/>
                <a:gd name="T82" fmla="*/ 25 w 59"/>
                <a:gd name="T83" fmla="*/ 54 h 71"/>
                <a:gd name="T84" fmla="*/ 25 w 59"/>
                <a:gd name="T85" fmla="*/ 54 h 71"/>
                <a:gd name="T86" fmla="*/ 20 w 59"/>
                <a:gd name="T87" fmla="*/ 61 h 71"/>
                <a:gd name="T88" fmla="*/ 17 w 59"/>
                <a:gd name="T89" fmla="*/ 65 h 71"/>
                <a:gd name="T90" fmla="*/ 13 w 59"/>
                <a:gd name="T91" fmla="*/ 67 h 71"/>
                <a:gd name="T92" fmla="*/ 13 w 59"/>
                <a:gd name="T93" fmla="*/ 67 h 71"/>
                <a:gd name="T94" fmla="*/ 6 w 59"/>
                <a:gd name="T95" fmla="*/ 65 h 71"/>
                <a:gd name="T96" fmla="*/ 1 w 59"/>
                <a:gd name="T97" fmla="*/ 64 h 71"/>
                <a:gd name="T98" fmla="*/ 0 w 59"/>
                <a:gd name="T99" fmla="*/ 63 h 71"/>
                <a:gd name="T100" fmla="*/ 0 w 59"/>
                <a:gd name="T101" fmla="*/ 63 h 71"/>
                <a:gd name="T102" fmla="*/ 1 w 59"/>
                <a:gd name="T103" fmla="*/ 57 h 71"/>
                <a:gd name="T104" fmla="*/ 3 w 59"/>
                <a:gd name="T105" fmla="*/ 54 h 71"/>
                <a:gd name="T106" fmla="*/ 4 w 59"/>
                <a:gd name="T107" fmla="*/ 51 h 71"/>
                <a:gd name="T108" fmla="*/ 4 w 59"/>
                <a:gd name="T109" fmla="*/ 51 h 71"/>
                <a:gd name="T110" fmla="*/ 17 w 59"/>
                <a:gd name="T111" fmla="*/ 45 h 71"/>
                <a:gd name="T112" fmla="*/ 23 w 59"/>
                <a:gd name="T113" fmla="*/ 37 h 71"/>
                <a:gd name="T114" fmla="*/ 28 w 59"/>
                <a:gd name="T115" fmla="*/ 31 h 71"/>
                <a:gd name="T116" fmla="*/ 28 w 59"/>
                <a:gd name="T117" fmla="*/ 3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9" h="71">
                  <a:moveTo>
                    <a:pt x="28" y="31"/>
                  </a:moveTo>
                  <a:lnTo>
                    <a:pt x="28" y="31"/>
                  </a:lnTo>
                  <a:lnTo>
                    <a:pt x="37" y="2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5"/>
                  </a:lnTo>
                  <a:lnTo>
                    <a:pt x="49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2"/>
                  </a:lnTo>
                  <a:lnTo>
                    <a:pt x="56" y="3"/>
                  </a:lnTo>
                  <a:lnTo>
                    <a:pt x="57" y="6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8"/>
                  </a:lnTo>
                  <a:lnTo>
                    <a:pt x="57" y="24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7" y="40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6" y="54"/>
                  </a:lnTo>
                  <a:lnTo>
                    <a:pt x="47" y="57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50" y="65"/>
                  </a:lnTo>
                  <a:lnTo>
                    <a:pt x="50" y="68"/>
                  </a:lnTo>
                  <a:lnTo>
                    <a:pt x="49" y="71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1" y="70"/>
                  </a:lnTo>
                  <a:lnTo>
                    <a:pt x="38" y="67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4" y="57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29" y="52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0" y="61"/>
                  </a:lnTo>
                  <a:lnTo>
                    <a:pt x="17" y="65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6" y="65"/>
                  </a:lnTo>
                  <a:lnTo>
                    <a:pt x="1" y="64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3" y="54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17" y="45"/>
                  </a:lnTo>
                  <a:lnTo>
                    <a:pt x="23" y="37"/>
                  </a:lnTo>
                  <a:lnTo>
                    <a:pt x="28" y="31"/>
                  </a:lnTo>
                  <a:lnTo>
                    <a:pt x="28" y="3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8" name="Freeform 107">
              <a:extLst>
                <a:ext uri="{FF2B5EF4-FFF2-40B4-BE49-F238E27FC236}">
                  <a16:creationId xmlns:a16="http://schemas.microsoft.com/office/drawing/2014/main" id="{9CC7C6D3-3A2F-AC47-81B3-28EE944F5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4088" y="3121025"/>
              <a:ext cx="166688" cy="92075"/>
            </a:xfrm>
            <a:custGeom>
              <a:avLst/>
              <a:gdLst>
                <a:gd name="T0" fmla="*/ 6 w 105"/>
                <a:gd name="T1" fmla="*/ 31 h 58"/>
                <a:gd name="T2" fmla="*/ 0 w 105"/>
                <a:gd name="T3" fmla="*/ 24 h 58"/>
                <a:gd name="T4" fmla="*/ 2 w 105"/>
                <a:gd name="T5" fmla="*/ 17 h 58"/>
                <a:gd name="T6" fmla="*/ 8 w 105"/>
                <a:gd name="T7" fmla="*/ 9 h 58"/>
                <a:gd name="T8" fmla="*/ 11 w 105"/>
                <a:gd name="T9" fmla="*/ 5 h 58"/>
                <a:gd name="T10" fmla="*/ 14 w 105"/>
                <a:gd name="T11" fmla="*/ 0 h 58"/>
                <a:gd name="T12" fmla="*/ 15 w 105"/>
                <a:gd name="T13" fmla="*/ 5 h 58"/>
                <a:gd name="T14" fmla="*/ 24 w 105"/>
                <a:gd name="T15" fmla="*/ 18 h 58"/>
                <a:gd name="T16" fmla="*/ 26 w 105"/>
                <a:gd name="T17" fmla="*/ 21 h 58"/>
                <a:gd name="T18" fmla="*/ 27 w 105"/>
                <a:gd name="T19" fmla="*/ 25 h 58"/>
                <a:gd name="T20" fmla="*/ 30 w 105"/>
                <a:gd name="T21" fmla="*/ 28 h 58"/>
                <a:gd name="T22" fmla="*/ 42 w 105"/>
                <a:gd name="T23" fmla="*/ 37 h 58"/>
                <a:gd name="T24" fmla="*/ 45 w 105"/>
                <a:gd name="T25" fmla="*/ 37 h 58"/>
                <a:gd name="T26" fmla="*/ 54 w 105"/>
                <a:gd name="T27" fmla="*/ 39 h 58"/>
                <a:gd name="T28" fmla="*/ 58 w 105"/>
                <a:gd name="T29" fmla="*/ 37 h 58"/>
                <a:gd name="T30" fmla="*/ 67 w 105"/>
                <a:gd name="T31" fmla="*/ 30 h 58"/>
                <a:gd name="T32" fmla="*/ 73 w 105"/>
                <a:gd name="T33" fmla="*/ 30 h 58"/>
                <a:gd name="T34" fmla="*/ 82 w 105"/>
                <a:gd name="T35" fmla="*/ 30 h 58"/>
                <a:gd name="T36" fmla="*/ 98 w 105"/>
                <a:gd name="T37" fmla="*/ 30 h 58"/>
                <a:gd name="T38" fmla="*/ 105 w 105"/>
                <a:gd name="T39" fmla="*/ 34 h 58"/>
                <a:gd name="T40" fmla="*/ 105 w 105"/>
                <a:gd name="T41" fmla="*/ 36 h 58"/>
                <a:gd name="T42" fmla="*/ 98 w 105"/>
                <a:gd name="T43" fmla="*/ 37 h 58"/>
                <a:gd name="T44" fmla="*/ 83 w 105"/>
                <a:gd name="T45" fmla="*/ 40 h 58"/>
                <a:gd name="T46" fmla="*/ 79 w 105"/>
                <a:gd name="T47" fmla="*/ 40 h 58"/>
                <a:gd name="T48" fmla="*/ 68 w 105"/>
                <a:gd name="T49" fmla="*/ 42 h 58"/>
                <a:gd name="T50" fmla="*/ 65 w 105"/>
                <a:gd name="T51" fmla="*/ 43 h 58"/>
                <a:gd name="T52" fmla="*/ 54 w 105"/>
                <a:gd name="T53" fmla="*/ 54 h 58"/>
                <a:gd name="T54" fmla="*/ 48 w 105"/>
                <a:gd name="T55" fmla="*/ 56 h 58"/>
                <a:gd name="T56" fmla="*/ 39 w 105"/>
                <a:gd name="T57" fmla="*/ 55 h 58"/>
                <a:gd name="T58" fmla="*/ 33 w 105"/>
                <a:gd name="T59" fmla="*/ 49 h 58"/>
                <a:gd name="T60" fmla="*/ 30 w 105"/>
                <a:gd name="T61" fmla="*/ 43 h 58"/>
                <a:gd name="T62" fmla="*/ 26 w 105"/>
                <a:gd name="T63" fmla="*/ 39 h 58"/>
                <a:gd name="T64" fmla="*/ 20 w 105"/>
                <a:gd name="T65" fmla="*/ 37 h 58"/>
                <a:gd name="T66" fmla="*/ 14 w 105"/>
                <a:gd name="T67" fmla="*/ 37 h 58"/>
                <a:gd name="T68" fmla="*/ 6 w 105"/>
                <a:gd name="T69" fmla="*/ 3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58">
                  <a:moveTo>
                    <a:pt x="6" y="31"/>
                  </a:moveTo>
                  <a:lnTo>
                    <a:pt x="6" y="31"/>
                  </a:lnTo>
                  <a:lnTo>
                    <a:pt x="3" y="27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8" y="9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20" y="12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6" y="21"/>
                  </a:lnTo>
                  <a:lnTo>
                    <a:pt x="26" y="24"/>
                  </a:lnTo>
                  <a:lnTo>
                    <a:pt x="27" y="25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9" y="34"/>
                  </a:lnTo>
                  <a:lnTo>
                    <a:pt x="42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51" y="39"/>
                  </a:lnTo>
                  <a:lnTo>
                    <a:pt x="54" y="39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64" y="33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73" y="30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104" y="33"/>
                  </a:lnTo>
                  <a:lnTo>
                    <a:pt x="105" y="34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7"/>
                  </a:lnTo>
                  <a:lnTo>
                    <a:pt x="98" y="37"/>
                  </a:lnTo>
                  <a:lnTo>
                    <a:pt x="91" y="39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79" y="40"/>
                  </a:lnTo>
                  <a:lnTo>
                    <a:pt x="73" y="40"/>
                  </a:lnTo>
                  <a:lnTo>
                    <a:pt x="68" y="42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0" y="49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8" y="56"/>
                  </a:lnTo>
                  <a:lnTo>
                    <a:pt x="43" y="58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3" y="49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8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0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9" y="34"/>
                  </a:lnTo>
                  <a:lnTo>
                    <a:pt x="6" y="31"/>
                  </a:lnTo>
                  <a:lnTo>
                    <a:pt x="6" y="3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29" name="Freeform 108">
              <a:extLst>
                <a:ext uri="{FF2B5EF4-FFF2-40B4-BE49-F238E27FC236}">
                  <a16:creationId xmlns:a16="http://schemas.microsoft.com/office/drawing/2014/main" id="{856686A3-443C-8847-90E8-0402D31B3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07788" y="7348538"/>
              <a:ext cx="571500" cy="830262"/>
            </a:xfrm>
            <a:custGeom>
              <a:avLst/>
              <a:gdLst>
                <a:gd name="T0" fmla="*/ 333 w 360"/>
                <a:gd name="T1" fmla="*/ 16 h 523"/>
                <a:gd name="T2" fmla="*/ 341 w 360"/>
                <a:gd name="T3" fmla="*/ 0 h 523"/>
                <a:gd name="T4" fmla="*/ 358 w 360"/>
                <a:gd name="T5" fmla="*/ 12 h 523"/>
                <a:gd name="T6" fmla="*/ 355 w 360"/>
                <a:gd name="T7" fmla="*/ 30 h 523"/>
                <a:gd name="T8" fmla="*/ 358 w 360"/>
                <a:gd name="T9" fmla="*/ 105 h 523"/>
                <a:gd name="T10" fmla="*/ 352 w 360"/>
                <a:gd name="T11" fmla="*/ 178 h 523"/>
                <a:gd name="T12" fmla="*/ 358 w 360"/>
                <a:gd name="T13" fmla="*/ 202 h 523"/>
                <a:gd name="T14" fmla="*/ 346 w 360"/>
                <a:gd name="T15" fmla="*/ 228 h 523"/>
                <a:gd name="T16" fmla="*/ 343 w 360"/>
                <a:gd name="T17" fmla="*/ 247 h 523"/>
                <a:gd name="T18" fmla="*/ 339 w 360"/>
                <a:gd name="T19" fmla="*/ 231 h 523"/>
                <a:gd name="T20" fmla="*/ 329 w 360"/>
                <a:gd name="T21" fmla="*/ 230 h 523"/>
                <a:gd name="T22" fmla="*/ 308 w 360"/>
                <a:gd name="T23" fmla="*/ 259 h 523"/>
                <a:gd name="T24" fmla="*/ 312 w 360"/>
                <a:gd name="T25" fmla="*/ 268 h 523"/>
                <a:gd name="T26" fmla="*/ 330 w 360"/>
                <a:gd name="T27" fmla="*/ 262 h 523"/>
                <a:gd name="T28" fmla="*/ 332 w 360"/>
                <a:gd name="T29" fmla="*/ 277 h 523"/>
                <a:gd name="T30" fmla="*/ 311 w 360"/>
                <a:gd name="T31" fmla="*/ 287 h 523"/>
                <a:gd name="T32" fmla="*/ 298 w 360"/>
                <a:gd name="T33" fmla="*/ 311 h 523"/>
                <a:gd name="T34" fmla="*/ 299 w 360"/>
                <a:gd name="T35" fmla="*/ 327 h 523"/>
                <a:gd name="T36" fmla="*/ 281 w 360"/>
                <a:gd name="T37" fmla="*/ 347 h 523"/>
                <a:gd name="T38" fmla="*/ 268 w 360"/>
                <a:gd name="T39" fmla="*/ 366 h 523"/>
                <a:gd name="T40" fmla="*/ 235 w 360"/>
                <a:gd name="T41" fmla="*/ 376 h 523"/>
                <a:gd name="T42" fmla="*/ 210 w 360"/>
                <a:gd name="T43" fmla="*/ 406 h 523"/>
                <a:gd name="T44" fmla="*/ 192 w 360"/>
                <a:gd name="T45" fmla="*/ 416 h 523"/>
                <a:gd name="T46" fmla="*/ 170 w 360"/>
                <a:gd name="T47" fmla="*/ 418 h 523"/>
                <a:gd name="T48" fmla="*/ 163 w 360"/>
                <a:gd name="T49" fmla="*/ 452 h 523"/>
                <a:gd name="T50" fmla="*/ 152 w 360"/>
                <a:gd name="T51" fmla="*/ 478 h 523"/>
                <a:gd name="T52" fmla="*/ 111 w 360"/>
                <a:gd name="T53" fmla="*/ 508 h 523"/>
                <a:gd name="T54" fmla="*/ 56 w 360"/>
                <a:gd name="T55" fmla="*/ 523 h 523"/>
                <a:gd name="T56" fmla="*/ 9 w 360"/>
                <a:gd name="T57" fmla="*/ 510 h 523"/>
                <a:gd name="T58" fmla="*/ 4 w 360"/>
                <a:gd name="T59" fmla="*/ 496 h 523"/>
                <a:gd name="T60" fmla="*/ 49 w 360"/>
                <a:gd name="T61" fmla="*/ 490 h 523"/>
                <a:gd name="T62" fmla="*/ 71 w 360"/>
                <a:gd name="T63" fmla="*/ 477 h 523"/>
                <a:gd name="T64" fmla="*/ 98 w 360"/>
                <a:gd name="T65" fmla="*/ 470 h 523"/>
                <a:gd name="T66" fmla="*/ 115 w 360"/>
                <a:gd name="T67" fmla="*/ 444 h 523"/>
                <a:gd name="T68" fmla="*/ 133 w 360"/>
                <a:gd name="T69" fmla="*/ 434 h 523"/>
                <a:gd name="T70" fmla="*/ 157 w 360"/>
                <a:gd name="T71" fmla="*/ 394 h 523"/>
                <a:gd name="T72" fmla="*/ 184 w 360"/>
                <a:gd name="T73" fmla="*/ 369 h 523"/>
                <a:gd name="T74" fmla="*/ 203 w 360"/>
                <a:gd name="T75" fmla="*/ 354 h 523"/>
                <a:gd name="T76" fmla="*/ 204 w 360"/>
                <a:gd name="T77" fmla="*/ 341 h 523"/>
                <a:gd name="T78" fmla="*/ 201 w 360"/>
                <a:gd name="T79" fmla="*/ 327 h 523"/>
                <a:gd name="T80" fmla="*/ 224 w 360"/>
                <a:gd name="T81" fmla="*/ 308 h 523"/>
                <a:gd name="T82" fmla="*/ 243 w 360"/>
                <a:gd name="T83" fmla="*/ 273 h 523"/>
                <a:gd name="T84" fmla="*/ 274 w 360"/>
                <a:gd name="T85" fmla="*/ 234 h 523"/>
                <a:gd name="T86" fmla="*/ 283 w 360"/>
                <a:gd name="T87" fmla="*/ 207 h 523"/>
                <a:gd name="T88" fmla="*/ 292 w 360"/>
                <a:gd name="T89" fmla="*/ 184 h 523"/>
                <a:gd name="T90" fmla="*/ 303 w 360"/>
                <a:gd name="T91" fmla="*/ 153 h 523"/>
                <a:gd name="T92" fmla="*/ 315 w 360"/>
                <a:gd name="T93" fmla="*/ 127 h 523"/>
                <a:gd name="T94" fmla="*/ 308 w 360"/>
                <a:gd name="T95" fmla="*/ 108 h 523"/>
                <a:gd name="T96" fmla="*/ 323 w 360"/>
                <a:gd name="T97" fmla="*/ 86 h 523"/>
                <a:gd name="T98" fmla="*/ 315 w 360"/>
                <a:gd name="T99" fmla="*/ 46 h 523"/>
                <a:gd name="T100" fmla="*/ 317 w 360"/>
                <a:gd name="T101" fmla="*/ 3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0" h="523">
                  <a:moveTo>
                    <a:pt x="321" y="25"/>
                  </a:moveTo>
                  <a:lnTo>
                    <a:pt x="321" y="25"/>
                  </a:lnTo>
                  <a:lnTo>
                    <a:pt x="327" y="22"/>
                  </a:lnTo>
                  <a:lnTo>
                    <a:pt x="332" y="18"/>
                  </a:lnTo>
                  <a:lnTo>
                    <a:pt x="333" y="16"/>
                  </a:lnTo>
                  <a:lnTo>
                    <a:pt x="335" y="13"/>
                  </a:lnTo>
                  <a:lnTo>
                    <a:pt x="335" y="13"/>
                  </a:lnTo>
                  <a:lnTo>
                    <a:pt x="335" y="9"/>
                  </a:lnTo>
                  <a:lnTo>
                    <a:pt x="338" y="3"/>
                  </a:lnTo>
                  <a:lnTo>
                    <a:pt x="341" y="0"/>
                  </a:lnTo>
                  <a:lnTo>
                    <a:pt x="342" y="0"/>
                  </a:lnTo>
                  <a:lnTo>
                    <a:pt x="345" y="2"/>
                  </a:lnTo>
                  <a:lnTo>
                    <a:pt x="345" y="2"/>
                  </a:lnTo>
                  <a:lnTo>
                    <a:pt x="355" y="9"/>
                  </a:lnTo>
                  <a:lnTo>
                    <a:pt x="358" y="12"/>
                  </a:lnTo>
                  <a:lnTo>
                    <a:pt x="360" y="16"/>
                  </a:lnTo>
                  <a:lnTo>
                    <a:pt x="360" y="16"/>
                  </a:lnTo>
                  <a:lnTo>
                    <a:pt x="358" y="22"/>
                  </a:lnTo>
                  <a:lnTo>
                    <a:pt x="355" y="30"/>
                  </a:lnTo>
                  <a:lnTo>
                    <a:pt x="355" y="30"/>
                  </a:lnTo>
                  <a:lnTo>
                    <a:pt x="357" y="40"/>
                  </a:lnTo>
                  <a:lnTo>
                    <a:pt x="358" y="49"/>
                  </a:lnTo>
                  <a:lnTo>
                    <a:pt x="358" y="49"/>
                  </a:lnTo>
                  <a:lnTo>
                    <a:pt x="358" y="105"/>
                  </a:lnTo>
                  <a:lnTo>
                    <a:pt x="358" y="105"/>
                  </a:lnTo>
                  <a:lnTo>
                    <a:pt x="354" y="144"/>
                  </a:lnTo>
                  <a:lnTo>
                    <a:pt x="354" y="144"/>
                  </a:lnTo>
                  <a:lnTo>
                    <a:pt x="352" y="162"/>
                  </a:lnTo>
                  <a:lnTo>
                    <a:pt x="351" y="172"/>
                  </a:lnTo>
                  <a:lnTo>
                    <a:pt x="352" y="178"/>
                  </a:lnTo>
                  <a:lnTo>
                    <a:pt x="352" y="178"/>
                  </a:lnTo>
                  <a:lnTo>
                    <a:pt x="355" y="182"/>
                  </a:lnTo>
                  <a:lnTo>
                    <a:pt x="358" y="187"/>
                  </a:lnTo>
                  <a:lnTo>
                    <a:pt x="360" y="193"/>
                  </a:lnTo>
                  <a:lnTo>
                    <a:pt x="358" y="202"/>
                  </a:lnTo>
                  <a:lnTo>
                    <a:pt x="358" y="202"/>
                  </a:lnTo>
                  <a:lnTo>
                    <a:pt x="351" y="216"/>
                  </a:lnTo>
                  <a:lnTo>
                    <a:pt x="346" y="224"/>
                  </a:lnTo>
                  <a:lnTo>
                    <a:pt x="346" y="228"/>
                  </a:lnTo>
                  <a:lnTo>
                    <a:pt x="346" y="228"/>
                  </a:lnTo>
                  <a:lnTo>
                    <a:pt x="346" y="237"/>
                  </a:lnTo>
                  <a:lnTo>
                    <a:pt x="346" y="242"/>
                  </a:lnTo>
                  <a:lnTo>
                    <a:pt x="345" y="246"/>
                  </a:lnTo>
                  <a:lnTo>
                    <a:pt x="345" y="246"/>
                  </a:lnTo>
                  <a:lnTo>
                    <a:pt x="343" y="247"/>
                  </a:lnTo>
                  <a:lnTo>
                    <a:pt x="341" y="247"/>
                  </a:lnTo>
                  <a:lnTo>
                    <a:pt x="339" y="246"/>
                  </a:lnTo>
                  <a:lnTo>
                    <a:pt x="339" y="243"/>
                  </a:lnTo>
                  <a:lnTo>
                    <a:pt x="339" y="243"/>
                  </a:lnTo>
                  <a:lnTo>
                    <a:pt x="339" y="231"/>
                  </a:lnTo>
                  <a:lnTo>
                    <a:pt x="338" y="227"/>
                  </a:lnTo>
                  <a:lnTo>
                    <a:pt x="336" y="225"/>
                  </a:lnTo>
                  <a:lnTo>
                    <a:pt x="333" y="225"/>
                  </a:lnTo>
                  <a:lnTo>
                    <a:pt x="333" y="225"/>
                  </a:lnTo>
                  <a:lnTo>
                    <a:pt x="329" y="230"/>
                  </a:lnTo>
                  <a:lnTo>
                    <a:pt x="321" y="237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1" y="253"/>
                  </a:lnTo>
                  <a:lnTo>
                    <a:pt x="308" y="259"/>
                  </a:lnTo>
                  <a:lnTo>
                    <a:pt x="306" y="265"/>
                  </a:lnTo>
                  <a:lnTo>
                    <a:pt x="306" y="268"/>
                  </a:lnTo>
                  <a:lnTo>
                    <a:pt x="308" y="270"/>
                  </a:lnTo>
                  <a:lnTo>
                    <a:pt x="308" y="270"/>
                  </a:lnTo>
                  <a:lnTo>
                    <a:pt x="312" y="268"/>
                  </a:lnTo>
                  <a:lnTo>
                    <a:pt x="318" y="265"/>
                  </a:lnTo>
                  <a:lnTo>
                    <a:pt x="323" y="262"/>
                  </a:lnTo>
                  <a:lnTo>
                    <a:pt x="327" y="259"/>
                  </a:lnTo>
                  <a:lnTo>
                    <a:pt x="327" y="259"/>
                  </a:lnTo>
                  <a:lnTo>
                    <a:pt x="330" y="262"/>
                  </a:lnTo>
                  <a:lnTo>
                    <a:pt x="335" y="267"/>
                  </a:lnTo>
                  <a:lnTo>
                    <a:pt x="335" y="270"/>
                  </a:lnTo>
                  <a:lnTo>
                    <a:pt x="336" y="273"/>
                  </a:lnTo>
                  <a:lnTo>
                    <a:pt x="335" y="276"/>
                  </a:lnTo>
                  <a:lnTo>
                    <a:pt x="332" y="277"/>
                  </a:lnTo>
                  <a:lnTo>
                    <a:pt x="332" y="277"/>
                  </a:lnTo>
                  <a:lnTo>
                    <a:pt x="321" y="283"/>
                  </a:lnTo>
                  <a:lnTo>
                    <a:pt x="314" y="286"/>
                  </a:lnTo>
                  <a:lnTo>
                    <a:pt x="314" y="286"/>
                  </a:lnTo>
                  <a:lnTo>
                    <a:pt x="311" y="287"/>
                  </a:lnTo>
                  <a:lnTo>
                    <a:pt x="308" y="290"/>
                  </a:lnTo>
                  <a:lnTo>
                    <a:pt x="303" y="298"/>
                  </a:lnTo>
                  <a:lnTo>
                    <a:pt x="303" y="298"/>
                  </a:lnTo>
                  <a:lnTo>
                    <a:pt x="299" y="307"/>
                  </a:lnTo>
                  <a:lnTo>
                    <a:pt x="298" y="311"/>
                  </a:lnTo>
                  <a:lnTo>
                    <a:pt x="298" y="316"/>
                  </a:lnTo>
                  <a:lnTo>
                    <a:pt x="298" y="316"/>
                  </a:lnTo>
                  <a:lnTo>
                    <a:pt x="301" y="321"/>
                  </a:lnTo>
                  <a:lnTo>
                    <a:pt x="301" y="323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292" y="336"/>
                  </a:lnTo>
                  <a:lnTo>
                    <a:pt x="284" y="344"/>
                  </a:lnTo>
                  <a:lnTo>
                    <a:pt x="284" y="344"/>
                  </a:lnTo>
                  <a:lnTo>
                    <a:pt x="281" y="347"/>
                  </a:lnTo>
                  <a:lnTo>
                    <a:pt x="278" y="353"/>
                  </a:lnTo>
                  <a:lnTo>
                    <a:pt x="275" y="363"/>
                  </a:lnTo>
                  <a:lnTo>
                    <a:pt x="275" y="363"/>
                  </a:lnTo>
                  <a:lnTo>
                    <a:pt x="272" y="366"/>
                  </a:lnTo>
                  <a:lnTo>
                    <a:pt x="268" y="366"/>
                  </a:lnTo>
                  <a:lnTo>
                    <a:pt x="255" y="366"/>
                  </a:lnTo>
                  <a:lnTo>
                    <a:pt x="255" y="366"/>
                  </a:lnTo>
                  <a:lnTo>
                    <a:pt x="249" y="367"/>
                  </a:lnTo>
                  <a:lnTo>
                    <a:pt x="241" y="372"/>
                  </a:lnTo>
                  <a:lnTo>
                    <a:pt x="235" y="376"/>
                  </a:lnTo>
                  <a:lnTo>
                    <a:pt x="231" y="381"/>
                  </a:lnTo>
                  <a:lnTo>
                    <a:pt x="231" y="381"/>
                  </a:lnTo>
                  <a:lnTo>
                    <a:pt x="221" y="393"/>
                  </a:lnTo>
                  <a:lnTo>
                    <a:pt x="215" y="400"/>
                  </a:lnTo>
                  <a:lnTo>
                    <a:pt x="210" y="406"/>
                  </a:lnTo>
                  <a:lnTo>
                    <a:pt x="210" y="406"/>
                  </a:lnTo>
                  <a:lnTo>
                    <a:pt x="209" y="409"/>
                  </a:lnTo>
                  <a:lnTo>
                    <a:pt x="204" y="413"/>
                  </a:lnTo>
                  <a:lnTo>
                    <a:pt x="198" y="416"/>
                  </a:lnTo>
                  <a:lnTo>
                    <a:pt x="192" y="416"/>
                  </a:lnTo>
                  <a:lnTo>
                    <a:pt x="192" y="416"/>
                  </a:lnTo>
                  <a:lnTo>
                    <a:pt x="178" y="415"/>
                  </a:lnTo>
                  <a:lnTo>
                    <a:pt x="172" y="415"/>
                  </a:lnTo>
                  <a:lnTo>
                    <a:pt x="170" y="416"/>
                  </a:lnTo>
                  <a:lnTo>
                    <a:pt x="170" y="418"/>
                  </a:lnTo>
                  <a:lnTo>
                    <a:pt x="170" y="418"/>
                  </a:lnTo>
                  <a:lnTo>
                    <a:pt x="170" y="437"/>
                  </a:lnTo>
                  <a:lnTo>
                    <a:pt x="170" y="437"/>
                  </a:lnTo>
                  <a:lnTo>
                    <a:pt x="167" y="443"/>
                  </a:lnTo>
                  <a:lnTo>
                    <a:pt x="163" y="452"/>
                  </a:lnTo>
                  <a:lnTo>
                    <a:pt x="163" y="452"/>
                  </a:lnTo>
                  <a:lnTo>
                    <a:pt x="161" y="465"/>
                  </a:lnTo>
                  <a:lnTo>
                    <a:pt x="161" y="465"/>
                  </a:lnTo>
                  <a:lnTo>
                    <a:pt x="158" y="471"/>
                  </a:lnTo>
                  <a:lnTo>
                    <a:pt x="152" y="478"/>
                  </a:lnTo>
                  <a:lnTo>
                    <a:pt x="144" y="489"/>
                  </a:lnTo>
                  <a:lnTo>
                    <a:pt x="135" y="495"/>
                  </a:lnTo>
                  <a:lnTo>
                    <a:pt x="135" y="495"/>
                  </a:lnTo>
                  <a:lnTo>
                    <a:pt x="121" y="504"/>
                  </a:lnTo>
                  <a:lnTo>
                    <a:pt x="111" y="508"/>
                  </a:lnTo>
                  <a:lnTo>
                    <a:pt x="111" y="508"/>
                  </a:lnTo>
                  <a:lnTo>
                    <a:pt x="86" y="521"/>
                  </a:lnTo>
                  <a:lnTo>
                    <a:pt x="86" y="521"/>
                  </a:lnTo>
                  <a:lnTo>
                    <a:pt x="75" y="523"/>
                  </a:lnTo>
                  <a:lnTo>
                    <a:pt x="56" y="523"/>
                  </a:lnTo>
                  <a:lnTo>
                    <a:pt x="37" y="523"/>
                  </a:lnTo>
                  <a:lnTo>
                    <a:pt x="30" y="521"/>
                  </a:lnTo>
                  <a:lnTo>
                    <a:pt x="25" y="520"/>
                  </a:lnTo>
                  <a:lnTo>
                    <a:pt x="25" y="520"/>
                  </a:lnTo>
                  <a:lnTo>
                    <a:pt x="9" y="510"/>
                  </a:lnTo>
                  <a:lnTo>
                    <a:pt x="1" y="502"/>
                  </a:lnTo>
                  <a:lnTo>
                    <a:pt x="0" y="499"/>
                  </a:lnTo>
                  <a:lnTo>
                    <a:pt x="1" y="498"/>
                  </a:lnTo>
                  <a:lnTo>
                    <a:pt x="1" y="498"/>
                  </a:lnTo>
                  <a:lnTo>
                    <a:pt x="4" y="496"/>
                  </a:lnTo>
                  <a:lnTo>
                    <a:pt x="9" y="495"/>
                  </a:lnTo>
                  <a:lnTo>
                    <a:pt x="21" y="495"/>
                  </a:lnTo>
                  <a:lnTo>
                    <a:pt x="34" y="493"/>
                  </a:lnTo>
                  <a:lnTo>
                    <a:pt x="49" y="490"/>
                  </a:lnTo>
                  <a:lnTo>
                    <a:pt x="49" y="490"/>
                  </a:lnTo>
                  <a:lnTo>
                    <a:pt x="59" y="486"/>
                  </a:lnTo>
                  <a:lnTo>
                    <a:pt x="64" y="481"/>
                  </a:lnTo>
                  <a:lnTo>
                    <a:pt x="68" y="478"/>
                  </a:lnTo>
                  <a:lnTo>
                    <a:pt x="71" y="477"/>
                  </a:lnTo>
                  <a:lnTo>
                    <a:pt x="71" y="477"/>
                  </a:lnTo>
                  <a:lnTo>
                    <a:pt x="77" y="477"/>
                  </a:lnTo>
                  <a:lnTo>
                    <a:pt x="84" y="477"/>
                  </a:lnTo>
                  <a:lnTo>
                    <a:pt x="92" y="474"/>
                  </a:lnTo>
                  <a:lnTo>
                    <a:pt x="98" y="470"/>
                  </a:lnTo>
                  <a:lnTo>
                    <a:pt x="98" y="470"/>
                  </a:lnTo>
                  <a:lnTo>
                    <a:pt x="104" y="464"/>
                  </a:lnTo>
                  <a:lnTo>
                    <a:pt x="108" y="456"/>
                  </a:lnTo>
                  <a:lnTo>
                    <a:pt x="114" y="446"/>
                  </a:lnTo>
                  <a:lnTo>
                    <a:pt x="114" y="446"/>
                  </a:lnTo>
                  <a:lnTo>
                    <a:pt x="115" y="444"/>
                  </a:lnTo>
                  <a:lnTo>
                    <a:pt x="118" y="444"/>
                  </a:lnTo>
                  <a:lnTo>
                    <a:pt x="123" y="443"/>
                  </a:lnTo>
                  <a:lnTo>
                    <a:pt x="127" y="441"/>
                  </a:lnTo>
                  <a:lnTo>
                    <a:pt x="127" y="441"/>
                  </a:lnTo>
                  <a:lnTo>
                    <a:pt x="133" y="434"/>
                  </a:lnTo>
                  <a:lnTo>
                    <a:pt x="139" y="424"/>
                  </a:lnTo>
                  <a:lnTo>
                    <a:pt x="148" y="404"/>
                  </a:lnTo>
                  <a:lnTo>
                    <a:pt x="148" y="404"/>
                  </a:lnTo>
                  <a:lnTo>
                    <a:pt x="151" y="400"/>
                  </a:lnTo>
                  <a:lnTo>
                    <a:pt x="157" y="39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75" y="381"/>
                  </a:lnTo>
                  <a:lnTo>
                    <a:pt x="179" y="376"/>
                  </a:lnTo>
                  <a:lnTo>
                    <a:pt x="184" y="369"/>
                  </a:lnTo>
                  <a:lnTo>
                    <a:pt x="184" y="369"/>
                  </a:lnTo>
                  <a:lnTo>
                    <a:pt x="187" y="366"/>
                  </a:lnTo>
                  <a:lnTo>
                    <a:pt x="192" y="361"/>
                  </a:lnTo>
                  <a:lnTo>
                    <a:pt x="203" y="354"/>
                  </a:lnTo>
                  <a:lnTo>
                    <a:pt x="203" y="354"/>
                  </a:lnTo>
                  <a:lnTo>
                    <a:pt x="204" y="351"/>
                  </a:lnTo>
                  <a:lnTo>
                    <a:pt x="206" y="347"/>
                  </a:lnTo>
                  <a:lnTo>
                    <a:pt x="206" y="342"/>
                  </a:lnTo>
                  <a:lnTo>
                    <a:pt x="204" y="341"/>
                  </a:lnTo>
                  <a:lnTo>
                    <a:pt x="204" y="341"/>
                  </a:lnTo>
                  <a:lnTo>
                    <a:pt x="198" y="339"/>
                  </a:lnTo>
                  <a:lnTo>
                    <a:pt x="197" y="338"/>
                  </a:lnTo>
                  <a:lnTo>
                    <a:pt x="197" y="336"/>
                  </a:lnTo>
                  <a:lnTo>
                    <a:pt x="197" y="336"/>
                  </a:lnTo>
                  <a:lnTo>
                    <a:pt x="201" y="327"/>
                  </a:lnTo>
                  <a:lnTo>
                    <a:pt x="204" y="324"/>
                  </a:lnTo>
                  <a:lnTo>
                    <a:pt x="209" y="321"/>
                  </a:lnTo>
                  <a:lnTo>
                    <a:pt x="209" y="321"/>
                  </a:lnTo>
                  <a:lnTo>
                    <a:pt x="215" y="317"/>
                  </a:lnTo>
                  <a:lnTo>
                    <a:pt x="224" y="308"/>
                  </a:lnTo>
                  <a:lnTo>
                    <a:pt x="232" y="299"/>
                  </a:lnTo>
                  <a:lnTo>
                    <a:pt x="237" y="293"/>
                  </a:lnTo>
                  <a:lnTo>
                    <a:pt x="237" y="293"/>
                  </a:lnTo>
                  <a:lnTo>
                    <a:pt x="240" y="283"/>
                  </a:lnTo>
                  <a:lnTo>
                    <a:pt x="243" y="273"/>
                  </a:lnTo>
                  <a:lnTo>
                    <a:pt x="243" y="273"/>
                  </a:lnTo>
                  <a:lnTo>
                    <a:pt x="256" y="253"/>
                  </a:lnTo>
                  <a:lnTo>
                    <a:pt x="266" y="242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7" y="231"/>
                  </a:lnTo>
                  <a:lnTo>
                    <a:pt x="278" y="228"/>
                  </a:lnTo>
                  <a:lnTo>
                    <a:pt x="280" y="222"/>
                  </a:lnTo>
                  <a:lnTo>
                    <a:pt x="280" y="222"/>
                  </a:lnTo>
                  <a:lnTo>
                    <a:pt x="283" y="207"/>
                  </a:lnTo>
                  <a:lnTo>
                    <a:pt x="286" y="199"/>
                  </a:lnTo>
                  <a:lnTo>
                    <a:pt x="287" y="194"/>
                  </a:lnTo>
                  <a:lnTo>
                    <a:pt x="287" y="194"/>
                  </a:lnTo>
                  <a:lnTo>
                    <a:pt x="290" y="190"/>
                  </a:lnTo>
                  <a:lnTo>
                    <a:pt x="292" y="184"/>
                  </a:lnTo>
                  <a:lnTo>
                    <a:pt x="293" y="172"/>
                  </a:lnTo>
                  <a:lnTo>
                    <a:pt x="293" y="172"/>
                  </a:lnTo>
                  <a:lnTo>
                    <a:pt x="296" y="162"/>
                  </a:lnTo>
                  <a:lnTo>
                    <a:pt x="299" y="157"/>
                  </a:lnTo>
                  <a:lnTo>
                    <a:pt x="303" y="153"/>
                  </a:lnTo>
                  <a:lnTo>
                    <a:pt x="303" y="153"/>
                  </a:lnTo>
                  <a:lnTo>
                    <a:pt x="308" y="147"/>
                  </a:lnTo>
                  <a:lnTo>
                    <a:pt x="311" y="141"/>
                  </a:lnTo>
                  <a:lnTo>
                    <a:pt x="314" y="133"/>
                  </a:lnTo>
                  <a:lnTo>
                    <a:pt x="315" y="127"/>
                  </a:lnTo>
                  <a:lnTo>
                    <a:pt x="315" y="127"/>
                  </a:lnTo>
                  <a:lnTo>
                    <a:pt x="314" y="123"/>
                  </a:lnTo>
                  <a:lnTo>
                    <a:pt x="311" y="117"/>
                  </a:lnTo>
                  <a:lnTo>
                    <a:pt x="308" y="113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14" y="99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3" y="86"/>
                  </a:lnTo>
                  <a:lnTo>
                    <a:pt x="323" y="77"/>
                  </a:lnTo>
                  <a:lnTo>
                    <a:pt x="323" y="62"/>
                  </a:lnTo>
                  <a:lnTo>
                    <a:pt x="323" y="62"/>
                  </a:lnTo>
                  <a:lnTo>
                    <a:pt x="320" y="53"/>
                  </a:lnTo>
                  <a:lnTo>
                    <a:pt x="315" y="46"/>
                  </a:lnTo>
                  <a:lnTo>
                    <a:pt x="315" y="46"/>
                  </a:lnTo>
                  <a:lnTo>
                    <a:pt x="315" y="43"/>
                  </a:lnTo>
                  <a:lnTo>
                    <a:pt x="314" y="39"/>
                  </a:lnTo>
                  <a:lnTo>
                    <a:pt x="315" y="33"/>
                  </a:lnTo>
                  <a:lnTo>
                    <a:pt x="317" y="30"/>
                  </a:lnTo>
                  <a:lnTo>
                    <a:pt x="321" y="25"/>
                  </a:lnTo>
                  <a:lnTo>
                    <a:pt x="321" y="25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0" name="Freeform 109">
              <a:extLst>
                <a:ext uri="{FF2B5EF4-FFF2-40B4-BE49-F238E27FC236}">
                  <a16:creationId xmlns:a16="http://schemas.microsoft.com/office/drawing/2014/main" id="{4ECB64E5-F879-6849-94FB-D7FF89282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3288" y="4003675"/>
              <a:ext cx="306388" cy="230187"/>
            </a:xfrm>
            <a:custGeom>
              <a:avLst/>
              <a:gdLst>
                <a:gd name="T0" fmla="*/ 42 w 193"/>
                <a:gd name="T1" fmla="*/ 41 h 145"/>
                <a:gd name="T2" fmla="*/ 44 w 193"/>
                <a:gd name="T3" fmla="*/ 53 h 145"/>
                <a:gd name="T4" fmla="*/ 55 w 193"/>
                <a:gd name="T5" fmla="*/ 63 h 145"/>
                <a:gd name="T6" fmla="*/ 83 w 193"/>
                <a:gd name="T7" fmla="*/ 66 h 145"/>
                <a:gd name="T8" fmla="*/ 104 w 193"/>
                <a:gd name="T9" fmla="*/ 62 h 145"/>
                <a:gd name="T10" fmla="*/ 110 w 193"/>
                <a:gd name="T11" fmla="*/ 56 h 145"/>
                <a:gd name="T12" fmla="*/ 123 w 193"/>
                <a:gd name="T13" fmla="*/ 53 h 145"/>
                <a:gd name="T14" fmla="*/ 138 w 193"/>
                <a:gd name="T15" fmla="*/ 41 h 145"/>
                <a:gd name="T16" fmla="*/ 151 w 193"/>
                <a:gd name="T17" fmla="*/ 32 h 145"/>
                <a:gd name="T18" fmla="*/ 148 w 193"/>
                <a:gd name="T19" fmla="*/ 29 h 145"/>
                <a:gd name="T20" fmla="*/ 144 w 193"/>
                <a:gd name="T21" fmla="*/ 26 h 145"/>
                <a:gd name="T22" fmla="*/ 145 w 193"/>
                <a:gd name="T23" fmla="*/ 3 h 145"/>
                <a:gd name="T24" fmla="*/ 148 w 193"/>
                <a:gd name="T25" fmla="*/ 0 h 145"/>
                <a:gd name="T26" fmla="*/ 157 w 193"/>
                <a:gd name="T27" fmla="*/ 8 h 145"/>
                <a:gd name="T28" fmla="*/ 172 w 193"/>
                <a:gd name="T29" fmla="*/ 23 h 145"/>
                <a:gd name="T30" fmla="*/ 188 w 193"/>
                <a:gd name="T31" fmla="*/ 23 h 145"/>
                <a:gd name="T32" fmla="*/ 193 w 193"/>
                <a:gd name="T33" fmla="*/ 29 h 145"/>
                <a:gd name="T34" fmla="*/ 184 w 193"/>
                <a:gd name="T35" fmla="*/ 32 h 145"/>
                <a:gd name="T36" fmla="*/ 169 w 193"/>
                <a:gd name="T37" fmla="*/ 35 h 145"/>
                <a:gd name="T38" fmla="*/ 160 w 193"/>
                <a:gd name="T39" fmla="*/ 50 h 145"/>
                <a:gd name="T40" fmla="*/ 154 w 193"/>
                <a:gd name="T41" fmla="*/ 56 h 145"/>
                <a:gd name="T42" fmla="*/ 148 w 193"/>
                <a:gd name="T43" fmla="*/ 53 h 145"/>
                <a:gd name="T44" fmla="*/ 142 w 193"/>
                <a:gd name="T45" fmla="*/ 57 h 145"/>
                <a:gd name="T46" fmla="*/ 138 w 193"/>
                <a:gd name="T47" fmla="*/ 66 h 145"/>
                <a:gd name="T48" fmla="*/ 124 w 193"/>
                <a:gd name="T49" fmla="*/ 71 h 145"/>
                <a:gd name="T50" fmla="*/ 102 w 193"/>
                <a:gd name="T51" fmla="*/ 77 h 145"/>
                <a:gd name="T52" fmla="*/ 92 w 193"/>
                <a:gd name="T53" fmla="*/ 77 h 145"/>
                <a:gd name="T54" fmla="*/ 83 w 193"/>
                <a:gd name="T55" fmla="*/ 80 h 145"/>
                <a:gd name="T56" fmla="*/ 83 w 193"/>
                <a:gd name="T57" fmla="*/ 88 h 145"/>
                <a:gd name="T58" fmla="*/ 89 w 193"/>
                <a:gd name="T59" fmla="*/ 100 h 145"/>
                <a:gd name="T60" fmla="*/ 86 w 193"/>
                <a:gd name="T61" fmla="*/ 106 h 145"/>
                <a:gd name="T62" fmla="*/ 70 w 193"/>
                <a:gd name="T63" fmla="*/ 96 h 145"/>
                <a:gd name="T64" fmla="*/ 68 w 193"/>
                <a:gd name="T65" fmla="*/ 84 h 145"/>
                <a:gd name="T66" fmla="*/ 64 w 193"/>
                <a:gd name="T67" fmla="*/ 80 h 145"/>
                <a:gd name="T68" fmla="*/ 49 w 193"/>
                <a:gd name="T69" fmla="*/ 86 h 145"/>
                <a:gd name="T70" fmla="*/ 44 w 193"/>
                <a:gd name="T71" fmla="*/ 90 h 145"/>
                <a:gd name="T72" fmla="*/ 47 w 193"/>
                <a:gd name="T73" fmla="*/ 94 h 145"/>
                <a:gd name="T74" fmla="*/ 56 w 193"/>
                <a:gd name="T75" fmla="*/ 112 h 145"/>
                <a:gd name="T76" fmla="*/ 59 w 193"/>
                <a:gd name="T77" fmla="*/ 121 h 145"/>
                <a:gd name="T78" fmla="*/ 68 w 193"/>
                <a:gd name="T79" fmla="*/ 130 h 145"/>
                <a:gd name="T80" fmla="*/ 68 w 193"/>
                <a:gd name="T81" fmla="*/ 143 h 145"/>
                <a:gd name="T82" fmla="*/ 64 w 193"/>
                <a:gd name="T83" fmla="*/ 145 h 145"/>
                <a:gd name="T84" fmla="*/ 61 w 193"/>
                <a:gd name="T85" fmla="*/ 142 h 145"/>
                <a:gd name="T86" fmla="*/ 46 w 193"/>
                <a:gd name="T87" fmla="*/ 118 h 145"/>
                <a:gd name="T88" fmla="*/ 44 w 193"/>
                <a:gd name="T89" fmla="*/ 105 h 145"/>
                <a:gd name="T90" fmla="*/ 42 w 193"/>
                <a:gd name="T91" fmla="*/ 102 h 145"/>
                <a:gd name="T92" fmla="*/ 25 w 193"/>
                <a:gd name="T93" fmla="*/ 99 h 145"/>
                <a:gd name="T94" fmla="*/ 21 w 193"/>
                <a:gd name="T95" fmla="*/ 115 h 145"/>
                <a:gd name="T96" fmla="*/ 25 w 193"/>
                <a:gd name="T97" fmla="*/ 125 h 145"/>
                <a:gd name="T98" fmla="*/ 22 w 193"/>
                <a:gd name="T99" fmla="*/ 134 h 145"/>
                <a:gd name="T100" fmla="*/ 13 w 193"/>
                <a:gd name="T101" fmla="*/ 134 h 145"/>
                <a:gd name="T102" fmla="*/ 9 w 193"/>
                <a:gd name="T103" fmla="*/ 128 h 145"/>
                <a:gd name="T104" fmla="*/ 7 w 193"/>
                <a:gd name="T105" fmla="*/ 105 h 145"/>
                <a:gd name="T106" fmla="*/ 2 w 193"/>
                <a:gd name="T107" fmla="*/ 91 h 145"/>
                <a:gd name="T108" fmla="*/ 2 w 193"/>
                <a:gd name="T109" fmla="*/ 86 h 145"/>
                <a:gd name="T110" fmla="*/ 7 w 193"/>
                <a:gd name="T111" fmla="*/ 84 h 145"/>
                <a:gd name="T112" fmla="*/ 25 w 193"/>
                <a:gd name="T113" fmla="*/ 86 h 145"/>
                <a:gd name="T114" fmla="*/ 36 w 193"/>
                <a:gd name="T115" fmla="*/ 77 h 145"/>
                <a:gd name="T116" fmla="*/ 39 w 193"/>
                <a:gd name="T117" fmla="*/ 71 h 145"/>
                <a:gd name="T118" fmla="*/ 33 w 193"/>
                <a:gd name="T119" fmla="*/ 53 h 145"/>
                <a:gd name="T120" fmla="*/ 31 w 193"/>
                <a:gd name="T121" fmla="*/ 43 h 145"/>
                <a:gd name="T122" fmla="*/ 36 w 193"/>
                <a:gd name="T123" fmla="*/ 37 h 145"/>
                <a:gd name="T124" fmla="*/ 42 w 193"/>
                <a:gd name="T125" fmla="*/ 31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145">
                  <a:moveTo>
                    <a:pt x="42" y="31"/>
                  </a:moveTo>
                  <a:lnTo>
                    <a:pt x="42" y="3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7"/>
                  </a:lnTo>
                  <a:lnTo>
                    <a:pt x="44" y="53"/>
                  </a:lnTo>
                  <a:lnTo>
                    <a:pt x="47" y="59"/>
                  </a:lnTo>
                  <a:lnTo>
                    <a:pt x="52" y="62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67" y="65"/>
                  </a:lnTo>
                  <a:lnTo>
                    <a:pt x="83" y="66"/>
                  </a:lnTo>
                  <a:lnTo>
                    <a:pt x="96" y="65"/>
                  </a:lnTo>
                  <a:lnTo>
                    <a:pt x="101" y="63"/>
                  </a:lnTo>
                  <a:lnTo>
                    <a:pt x="104" y="62"/>
                  </a:lnTo>
                  <a:lnTo>
                    <a:pt x="104" y="62"/>
                  </a:lnTo>
                  <a:lnTo>
                    <a:pt x="107" y="57"/>
                  </a:lnTo>
                  <a:lnTo>
                    <a:pt x="110" y="56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23" y="53"/>
                  </a:lnTo>
                  <a:lnTo>
                    <a:pt x="129" y="48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47" y="37"/>
                  </a:lnTo>
                  <a:lnTo>
                    <a:pt x="150" y="34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1" y="29"/>
                  </a:lnTo>
                  <a:lnTo>
                    <a:pt x="148" y="29"/>
                  </a:lnTo>
                  <a:lnTo>
                    <a:pt x="145" y="28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2" y="22"/>
                  </a:lnTo>
                  <a:lnTo>
                    <a:pt x="142" y="14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7" y="1"/>
                  </a:lnTo>
                  <a:lnTo>
                    <a:pt x="148" y="0"/>
                  </a:lnTo>
                  <a:lnTo>
                    <a:pt x="153" y="3"/>
                  </a:lnTo>
                  <a:lnTo>
                    <a:pt x="157" y="8"/>
                  </a:lnTo>
                  <a:lnTo>
                    <a:pt x="157" y="8"/>
                  </a:lnTo>
                  <a:lnTo>
                    <a:pt x="161" y="14"/>
                  </a:lnTo>
                  <a:lnTo>
                    <a:pt x="166" y="19"/>
                  </a:lnTo>
                  <a:lnTo>
                    <a:pt x="172" y="23"/>
                  </a:lnTo>
                  <a:lnTo>
                    <a:pt x="172" y="23"/>
                  </a:lnTo>
                  <a:lnTo>
                    <a:pt x="179" y="23"/>
                  </a:lnTo>
                  <a:lnTo>
                    <a:pt x="188" y="23"/>
                  </a:lnTo>
                  <a:lnTo>
                    <a:pt x="188" y="23"/>
                  </a:lnTo>
                  <a:lnTo>
                    <a:pt x="191" y="26"/>
                  </a:lnTo>
                  <a:lnTo>
                    <a:pt x="193" y="29"/>
                  </a:lnTo>
                  <a:lnTo>
                    <a:pt x="190" y="32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78" y="32"/>
                  </a:lnTo>
                  <a:lnTo>
                    <a:pt x="173" y="34"/>
                  </a:lnTo>
                  <a:lnTo>
                    <a:pt x="169" y="35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0" y="50"/>
                  </a:lnTo>
                  <a:lnTo>
                    <a:pt x="157" y="53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1" y="56"/>
                  </a:lnTo>
                  <a:lnTo>
                    <a:pt x="150" y="54"/>
                  </a:lnTo>
                  <a:lnTo>
                    <a:pt x="148" y="53"/>
                  </a:lnTo>
                  <a:lnTo>
                    <a:pt x="147" y="53"/>
                  </a:lnTo>
                  <a:lnTo>
                    <a:pt x="147" y="53"/>
                  </a:lnTo>
                  <a:lnTo>
                    <a:pt x="142" y="57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38" y="66"/>
                  </a:lnTo>
                  <a:lnTo>
                    <a:pt x="135" y="68"/>
                  </a:lnTo>
                  <a:lnTo>
                    <a:pt x="130" y="71"/>
                  </a:lnTo>
                  <a:lnTo>
                    <a:pt x="124" y="71"/>
                  </a:lnTo>
                  <a:lnTo>
                    <a:pt x="124" y="71"/>
                  </a:lnTo>
                  <a:lnTo>
                    <a:pt x="113" y="74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98" y="77"/>
                  </a:lnTo>
                  <a:lnTo>
                    <a:pt x="92" y="77"/>
                  </a:lnTo>
                  <a:lnTo>
                    <a:pt x="87" y="77"/>
                  </a:lnTo>
                  <a:lnTo>
                    <a:pt x="84" y="78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96"/>
                  </a:lnTo>
                  <a:lnTo>
                    <a:pt x="87" y="96"/>
                  </a:lnTo>
                  <a:lnTo>
                    <a:pt x="89" y="100"/>
                  </a:lnTo>
                  <a:lnTo>
                    <a:pt x="90" y="103"/>
                  </a:lnTo>
                  <a:lnTo>
                    <a:pt x="89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76" y="100"/>
                  </a:lnTo>
                  <a:lnTo>
                    <a:pt x="70" y="96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8" y="84"/>
                  </a:lnTo>
                  <a:lnTo>
                    <a:pt x="67" y="81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1" y="81"/>
                  </a:lnTo>
                  <a:lnTo>
                    <a:pt x="56" y="81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6" y="87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52" y="99"/>
                  </a:lnTo>
                  <a:lnTo>
                    <a:pt x="53" y="103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8" y="117"/>
                  </a:lnTo>
                  <a:lnTo>
                    <a:pt x="59" y="121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8" y="130"/>
                  </a:lnTo>
                  <a:lnTo>
                    <a:pt x="68" y="136"/>
                  </a:lnTo>
                  <a:lnTo>
                    <a:pt x="68" y="140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7" y="145"/>
                  </a:lnTo>
                  <a:lnTo>
                    <a:pt x="64" y="145"/>
                  </a:lnTo>
                  <a:lnTo>
                    <a:pt x="62" y="143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52" y="130"/>
                  </a:lnTo>
                  <a:lnTo>
                    <a:pt x="47" y="124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09"/>
                  </a:lnTo>
                  <a:lnTo>
                    <a:pt x="44" y="105"/>
                  </a:lnTo>
                  <a:lnTo>
                    <a:pt x="43" y="103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31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1" y="105"/>
                  </a:lnTo>
                  <a:lnTo>
                    <a:pt x="19" y="111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2" y="120"/>
                  </a:lnTo>
                  <a:lnTo>
                    <a:pt x="25" y="125"/>
                  </a:lnTo>
                  <a:lnTo>
                    <a:pt x="25" y="131"/>
                  </a:lnTo>
                  <a:lnTo>
                    <a:pt x="24" y="133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18" y="134"/>
                  </a:lnTo>
                  <a:lnTo>
                    <a:pt x="13" y="134"/>
                  </a:lnTo>
                  <a:lnTo>
                    <a:pt x="10" y="131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7" y="11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0"/>
                  </a:lnTo>
                  <a:lnTo>
                    <a:pt x="5" y="97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0" y="88"/>
                  </a:lnTo>
                  <a:lnTo>
                    <a:pt x="2" y="86"/>
                  </a:lnTo>
                  <a:lnTo>
                    <a:pt x="3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18" y="87"/>
                  </a:lnTo>
                  <a:lnTo>
                    <a:pt x="22" y="87"/>
                  </a:lnTo>
                  <a:lnTo>
                    <a:pt x="25" y="86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6" y="77"/>
                  </a:lnTo>
                  <a:lnTo>
                    <a:pt x="39" y="74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9" y="66"/>
                  </a:lnTo>
                  <a:lnTo>
                    <a:pt x="37" y="60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1" y="46"/>
                  </a:lnTo>
                  <a:lnTo>
                    <a:pt x="31" y="43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6" y="37"/>
                  </a:lnTo>
                  <a:lnTo>
                    <a:pt x="36" y="34"/>
                  </a:lnTo>
                  <a:lnTo>
                    <a:pt x="37" y="32"/>
                  </a:lnTo>
                  <a:lnTo>
                    <a:pt x="42" y="31"/>
                  </a:lnTo>
                  <a:lnTo>
                    <a:pt x="42" y="3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1" name="Freeform 110">
              <a:extLst>
                <a:ext uri="{FF2B5EF4-FFF2-40B4-BE49-F238E27FC236}">
                  <a16:creationId xmlns:a16="http://schemas.microsoft.com/office/drawing/2014/main" id="{DE469692-3CE5-3C4D-ACE7-206E0030E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0850" y="3730625"/>
              <a:ext cx="33338" cy="38100"/>
            </a:xfrm>
            <a:custGeom>
              <a:avLst/>
              <a:gdLst>
                <a:gd name="T0" fmla="*/ 0 w 21"/>
                <a:gd name="T1" fmla="*/ 12 h 24"/>
                <a:gd name="T2" fmla="*/ 0 w 21"/>
                <a:gd name="T3" fmla="*/ 12 h 24"/>
                <a:gd name="T4" fmla="*/ 1 w 21"/>
                <a:gd name="T5" fmla="*/ 7 h 24"/>
                <a:gd name="T6" fmla="*/ 3 w 21"/>
                <a:gd name="T7" fmla="*/ 3 h 24"/>
                <a:gd name="T8" fmla="*/ 4 w 21"/>
                <a:gd name="T9" fmla="*/ 0 h 24"/>
                <a:gd name="T10" fmla="*/ 4 w 21"/>
                <a:gd name="T11" fmla="*/ 0 h 24"/>
                <a:gd name="T12" fmla="*/ 7 w 21"/>
                <a:gd name="T13" fmla="*/ 0 h 24"/>
                <a:gd name="T14" fmla="*/ 13 w 21"/>
                <a:gd name="T15" fmla="*/ 1 h 24"/>
                <a:gd name="T16" fmla="*/ 18 w 21"/>
                <a:gd name="T17" fmla="*/ 3 h 24"/>
                <a:gd name="T18" fmla="*/ 19 w 21"/>
                <a:gd name="T19" fmla="*/ 4 h 24"/>
                <a:gd name="T20" fmla="*/ 21 w 21"/>
                <a:gd name="T21" fmla="*/ 4 h 24"/>
                <a:gd name="T22" fmla="*/ 21 w 21"/>
                <a:gd name="T23" fmla="*/ 4 h 24"/>
                <a:gd name="T24" fmla="*/ 19 w 21"/>
                <a:gd name="T25" fmla="*/ 7 h 24"/>
                <a:gd name="T26" fmla="*/ 18 w 21"/>
                <a:gd name="T27" fmla="*/ 10 h 24"/>
                <a:gd name="T28" fmla="*/ 13 w 21"/>
                <a:gd name="T29" fmla="*/ 16 h 24"/>
                <a:gd name="T30" fmla="*/ 13 w 21"/>
                <a:gd name="T31" fmla="*/ 16 h 24"/>
                <a:gd name="T32" fmla="*/ 10 w 21"/>
                <a:gd name="T33" fmla="*/ 21 h 24"/>
                <a:gd name="T34" fmla="*/ 9 w 21"/>
                <a:gd name="T35" fmla="*/ 22 h 24"/>
                <a:gd name="T36" fmla="*/ 6 w 21"/>
                <a:gd name="T37" fmla="*/ 24 h 24"/>
                <a:gd name="T38" fmla="*/ 6 w 21"/>
                <a:gd name="T39" fmla="*/ 24 h 24"/>
                <a:gd name="T40" fmla="*/ 4 w 21"/>
                <a:gd name="T41" fmla="*/ 22 h 24"/>
                <a:gd name="T42" fmla="*/ 3 w 21"/>
                <a:gd name="T43" fmla="*/ 21 h 24"/>
                <a:gd name="T44" fmla="*/ 1 w 21"/>
                <a:gd name="T45" fmla="*/ 16 h 24"/>
                <a:gd name="T46" fmla="*/ 0 w 21"/>
                <a:gd name="T47" fmla="*/ 12 h 24"/>
                <a:gd name="T48" fmla="*/ 0 w 21"/>
                <a:gd name="T4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24">
                  <a:moveTo>
                    <a:pt x="0" y="12"/>
                  </a:moveTo>
                  <a:lnTo>
                    <a:pt x="0" y="12"/>
                  </a:lnTo>
                  <a:lnTo>
                    <a:pt x="1" y="7"/>
                  </a:lnTo>
                  <a:lnTo>
                    <a:pt x="3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13" y="1"/>
                  </a:lnTo>
                  <a:lnTo>
                    <a:pt x="18" y="3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19" y="7"/>
                  </a:lnTo>
                  <a:lnTo>
                    <a:pt x="18" y="10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0" y="21"/>
                  </a:lnTo>
                  <a:lnTo>
                    <a:pt x="9" y="22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3" y="21"/>
                  </a:lnTo>
                  <a:lnTo>
                    <a:pt x="1" y="16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2" name="Freeform 111">
              <a:extLst>
                <a:ext uri="{FF2B5EF4-FFF2-40B4-BE49-F238E27FC236}">
                  <a16:creationId xmlns:a16="http://schemas.microsoft.com/office/drawing/2014/main" id="{A715EE42-D9CD-284F-8484-8F93C7F8A3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88988" y="3536950"/>
              <a:ext cx="30163" cy="38100"/>
            </a:xfrm>
            <a:custGeom>
              <a:avLst/>
              <a:gdLst>
                <a:gd name="T0" fmla="*/ 6 w 19"/>
                <a:gd name="T1" fmla="*/ 0 h 24"/>
                <a:gd name="T2" fmla="*/ 6 w 19"/>
                <a:gd name="T3" fmla="*/ 0 h 24"/>
                <a:gd name="T4" fmla="*/ 12 w 19"/>
                <a:gd name="T5" fmla="*/ 3 h 24"/>
                <a:gd name="T6" fmla="*/ 16 w 19"/>
                <a:gd name="T7" fmla="*/ 6 h 24"/>
                <a:gd name="T8" fmla="*/ 19 w 19"/>
                <a:gd name="T9" fmla="*/ 9 h 24"/>
                <a:gd name="T10" fmla="*/ 19 w 19"/>
                <a:gd name="T11" fmla="*/ 9 h 24"/>
                <a:gd name="T12" fmla="*/ 19 w 19"/>
                <a:gd name="T13" fmla="*/ 18 h 24"/>
                <a:gd name="T14" fmla="*/ 19 w 19"/>
                <a:gd name="T15" fmla="*/ 23 h 24"/>
                <a:gd name="T16" fmla="*/ 19 w 19"/>
                <a:gd name="T17" fmla="*/ 24 h 24"/>
                <a:gd name="T18" fmla="*/ 19 w 19"/>
                <a:gd name="T19" fmla="*/ 24 h 24"/>
                <a:gd name="T20" fmla="*/ 16 w 19"/>
                <a:gd name="T21" fmla="*/ 24 h 24"/>
                <a:gd name="T22" fmla="*/ 14 w 19"/>
                <a:gd name="T23" fmla="*/ 23 h 24"/>
                <a:gd name="T24" fmla="*/ 6 w 19"/>
                <a:gd name="T25" fmla="*/ 17 h 24"/>
                <a:gd name="T26" fmla="*/ 6 w 19"/>
                <a:gd name="T27" fmla="*/ 17 h 24"/>
                <a:gd name="T28" fmla="*/ 3 w 19"/>
                <a:gd name="T29" fmla="*/ 12 h 24"/>
                <a:gd name="T30" fmla="*/ 2 w 19"/>
                <a:gd name="T31" fmla="*/ 6 h 24"/>
                <a:gd name="T32" fmla="*/ 0 w 19"/>
                <a:gd name="T33" fmla="*/ 3 h 24"/>
                <a:gd name="T34" fmla="*/ 2 w 19"/>
                <a:gd name="T35" fmla="*/ 0 h 24"/>
                <a:gd name="T36" fmla="*/ 3 w 19"/>
                <a:gd name="T37" fmla="*/ 0 h 24"/>
                <a:gd name="T38" fmla="*/ 6 w 19"/>
                <a:gd name="T39" fmla="*/ 0 h 24"/>
                <a:gd name="T40" fmla="*/ 6 w 19"/>
                <a:gd name="T4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" h="24">
                  <a:moveTo>
                    <a:pt x="6" y="0"/>
                  </a:moveTo>
                  <a:lnTo>
                    <a:pt x="6" y="0"/>
                  </a:lnTo>
                  <a:lnTo>
                    <a:pt x="12" y="3"/>
                  </a:lnTo>
                  <a:lnTo>
                    <a:pt x="16" y="6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8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6" y="24"/>
                  </a:lnTo>
                  <a:lnTo>
                    <a:pt x="14" y="23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3" y="12"/>
                  </a:lnTo>
                  <a:lnTo>
                    <a:pt x="2" y="6"/>
                  </a:lnTo>
                  <a:lnTo>
                    <a:pt x="0" y="3"/>
                  </a:lnTo>
                  <a:lnTo>
                    <a:pt x="2" y="0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3" name="Freeform 112">
              <a:extLst>
                <a:ext uri="{FF2B5EF4-FFF2-40B4-BE49-F238E27FC236}">
                  <a16:creationId xmlns:a16="http://schemas.microsoft.com/office/drawing/2014/main" id="{ACF8EC32-EC27-2740-ABDB-43CDD0D16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3150" y="8216900"/>
              <a:ext cx="127000" cy="131762"/>
            </a:xfrm>
            <a:custGeom>
              <a:avLst/>
              <a:gdLst>
                <a:gd name="T0" fmla="*/ 9 w 80"/>
                <a:gd name="T1" fmla="*/ 16 h 83"/>
                <a:gd name="T2" fmla="*/ 9 w 80"/>
                <a:gd name="T3" fmla="*/ 16 h 83"/>
                <a:gd name="T4" fmla="*/ 12 w 80"/>
                <a:gd name="T5" fmla="*/ 11 h 83"/>
                <a:gd name="T6" fmla="*/ 22 w 80"/>
                <a:gd name="T7" fmla="*/ 6 h 83"/>
                <a:gd name="T8" fmla="*/ 28 w 80"/>
                <a:gd name="T9" fmla="*/ 3 h 83"/>
                <a:gd name="T10" fmla="*/ 34 w 80"/>
                <a:gd name="T11" fmla="*/ 0 h 83"/>
                <a:gd name="T12" fmla="*/ 40 w 80"/>
                <a:gd name="T13" fmla="*/ 0 h 83"/>
                <a:gd name="T14" fmla="*/ 46 w 80"/>
                <a:gd name="T15" fmla="*/ 1 h 83"/>
                <a:gd name="T16" fmla="*/ 46 w 80"/>
                <a:gd name="T17" fmla="*/ 1 h 83"/>
                <a:gd name="T18" fmla="*/ 55 w 80"/>
                <a:gd name="T19" fmla="*/ 6 h 83"/>
                <a:gd name="T20" fmla="*/ 62 w 80"/>
                <a:gd name="T21" fmla="*/ 11 h 83"/>
                <a:gd name="T22" fmla="*/ 67 w 80"/>
                <a:gd name="T23" fmla="*/ 19 h 83"/>
                <a:gd name="T24" fmla="*/ 70 w 80"/>
                <a:gd name="T25" fmla="*/ 26 h 83"/>
                <a:gd name="T26" fmla="*/ 70 w 80"/>
                <a:gd name="T27" fmla="*/ 26 h 83"/>
                <a:gd name="T28" fmla="*/ 73 w 80"/>
                <a:gd name="T29" fmla="*/ 47 h 83"/>
                <a:gd name="T30" fmla="*/ 74 w 80"/>
                <a:gd name="T31" fmla="*/ 56 h 83"/>
                <a:gd name="T32" fmla="*/ 77 w 80"/>
                <a:gd name="T33" fmla="*/ 62 h 83"/>
                <a:gd name="T34" fmla="*/ 77 w 80"/>
                <a:gd name="T35" fmla="*/ 62 h 83"/>
                <a:gd name="T36" fmla="*/ 80 w 80"/>
                <a:gd name="T37" fmla="*/ 69 h 83"/>
                <a:gd name="T38" fmla="*/ 80 w 80"/>
                <a:gd name="T39" fmla="*/ 75 h 83"/>
                <a:gd name="T40" fmla="*/ 77 w 80"/>
                <a:gd name="T41" fmla="*/ 81 h 83"/>
                <a:gd name="T42" fmla="*/ 74 w 80"/>
                <a:gd name="T43" fmla="*/ 83 h 83"/>
                <a:gd name="T44" fmla="*/ 71 w 80"/>
                <a:gd name="T45" fmla="*/ 83 h 83"/>
                <a:gd name="T46" fmla="*/ 71 w 80"/>
                <a:gd name="T47" fmla="*/ 83 h 83"/>
                <a:gd name="T48" fmla="*/ 64 w 80"/>
                <a:gd name="T49" fmla="*/ 83 h 83"/>
                <a:gd name="T50" fmla="*/ 55 w 80"/>
                <a:gd name="T51" fmla="*/ 83 h 83"/>
                <a:gd name="T52" fmla="*/ 47 w 80"/>
                <a:gd name="T53" fmla="*/ 81 h 83"/>
                <a:gd name="T54" fmla="*/ 41 w 80"/>
                <a:gd name="T55" fmla="*/ 81 h 83"/>
                <a:gd name="T56" fmla="*/ 41 w 80"/>
                <a:gd name="T57" fmla="*/ 81 h 83"/>
                <a:gd name="T58" fmla="*/ 37 w 80"/>
                <a:gd name="T59" fmla="*/ 81 h 83"/>
                <a:gd name="T60" fmla="*/ 33 w 80"/>
                <a:gd name="T61" fmla="*/ 80 h 83"/>
                <a:gd name="T62" fmla="*/ 31 w 80"/>
                <a:gd name="T63" fmla="*/ 77 h 83"/>
                <a:gd name="T64" fmla="*/ 30 w 80"/>
                <a:gd name="T65" fmla="*/ 71 h 83"/>
                <a:gd name="T66" fmla="*/ 30 w 80"/>
                <a:gd name="T67" fmla="*/ 71 h 83"/>
                <a:gd name="T68" fmla="*/ 30 w 80"/>
                <a:gd name="T69" fmla="*/ 63 h 83"/>
                <a:gd name="T70" fmla="*/ 28 w 80"/>
                <a:gd name="T71" fmla="*/ 56 h 83"/>
                <a:gd name="T72" fmla="*/ 25 w 80"/>
                <a:gd name="T73" fmla="*/ 50 h 83"/>
                <a:gd name="T74" fmla="*/ 22 w 80"/>
                <a:gd name="T75" fmla="*/ 48 h 83"/>
                <a:gd name="T76" fmla="*/ 19 w 80"/>
                <a:gd name="T77" fmla="*/ 47 h 83"/>
                <a:gd name="T78" fmla="*/ 19 w 80"/>
                <a:gd name="T79" fmla="*/ 47 h 83"/>
                <a:gd name="T80" fmla="*/ 13 w 80"/>
                <a:gd name="T81" fmla="*/ 47 h 83"/>
                <a:gd name="T82" fmla="*/ 7 w 80"/>
                <a:gd name="T83" fmla="*/ 44 h 83"/>
                <a:gd name="T84" fmla="*/ 3 w 80"/>
                <a:gd name="T85" fmla="*/ 40 h 83"/>
                <a:gd name="T86" fmla="*/ 1 w 80"/>
                <a:gd name="T87" fmla="*/ 37 h 83"/>
                <a:gd name="T88" fmla="*/ 0 w 80"/>
                <a:gd name="T89" fmla="*/ 34 h 83"/>
                <a:gd name="T90" fmla="*/ 0 w 80"/>
                <a:gd name="T91" fmla="*/ 34 h 83"/>
                <a:gd name="T92" fmla="*/ 1 w 80"/>
                <a:gd name="T93" fmla="*/ 28 h 83"/>
                <a:gd name="T94" fmla="*/ 4 w 80"/>
                <a:gd name="T95" fmla="*/ 22 h 83"/>
                <a:gd name="T96" fmla="*/ 9 w 80"/>
                <a:gd name="T97" fmla="*/ 16 h 83"/>
                <a:gd name="T98" fmla="*/ 9 w 80"/>
                <a:gd name="T99" fmla="*/ 16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0" h="83">
                  <a:moveTo>
                    <a:pt x="9" y="16"/>
                  </a:moveTo>
                  <a:lnTo>
                    <a:pt x="9" y="16"/>
                  </a:lnTo>
                  <a:lnTo>
                    <a:pt x="12" y="11"/>
                  </a:lnTo>
                  <a:lnTo>
                    <a:pt x="22" y="6"/>
                  </a:lnTo>
                  <a:lnTo>
                    <a:pt x="28" y="3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55" y="6"/>
                  </a:lnTo>
                  <a:lnTo>
                    <a:pt x="62" y="11"/>
                  </a:lnTo>
                  <a:lnTo>
                    <a:pt x="67" y="19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3" y="47"/>
                  </a:lnTo>
                  <a:lnTo>
                    <a:pt x="74" y="56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80" y="69"/>
                  </a:lnTo>
                  <a:lnTo>
                    <a:pt x="80" y="75"/>
                  </a:lnTo>
                  <a:lnTo>
                    <a:pt x="77" y="81"/>
                  </a:lnTo>
                  <a:lnTo>
                    <a:pt x="74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64" y="83"/>
                  </a:lnTo>
                  <a:lnTo>
                    <a:pt x="55" y="83"/>
                  </a:lnTo>
                  <a:lnTo>
                    <a:pt x="47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7" y="81"/>
                  </a:lnTo>
                  <a:lnTo>
                    <a:pt x="33" y="80"/>
                  </a:lnTo>
                  <a:lnTo>
                    <a:pt x="31" y="77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63"/>
                  </a:lnTo>
                  <a:lnTo>
                    <a:pt x="28" y="56"/>
                  </a:lnTo>
                  <a:lnTo>
                    <a:pt x="25" y="50"/>
                  </a:lnTo>
                  <a:lnTo>
                    <a:pt x="22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3" y="47"/>
                  </a:lnTo>
                  <a:lnTo>
                    <a:pt x="7" y="44"/>
                  </a:lnTo>
                  <a:lnTo>
                    <a:pt x="3" y="40"/>
                  </a:lnTo>
                  <a:lnTo>
                    <a:pt x="1" y="37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22"/>
                  </a:lnTo>
                  <a:lnTo>
                    <a:pt x="9" y="16"/>
                  </a:lnTo>
                  <a:lnTo>
                    <a:pt x="9" y="16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4" name="Freeform 113">
              <a:extLst>
                <a:ext uri="{FF2B5EF4-FFF2-40B4-BE49-F238E27FC236}">
                  <a16:creationId xmlns:a16="http://schemas.microsoft.com/office/drawing/2014/main" id="{7A00262F-9184-5B48-AD2F-176711422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12750" y="8281988"/>
              <a:ext cx="66675" cy="122237"/>
            </a:xfrm>
            <a:custGeom>
              <a:avLst/>
              <a:gdLst>
                <a:gd name="T0" fmla="*/ 11 w 42"/>
                <a:gd name="T1" fmla="*/ 28 h 77"/>
                <a:gd name="T2" fmla="*/ 11 w 42"/>
                <a:gd name="T3" fmla="*/ 28 h 77"/>
                <a:gd name="T4" fmla="*/ 11 w 42"/>
                <a:gd name="T5" fmla="*/ 19 h 77"/>
                <a:gd name="T6" fmla="*/ 12 w 42"/>
                <a:gd name="T7" fmla="*/ 10 h 77"/>
                <a:gd name="T8" fmla="*/ 14 w 42"/>
                <a:gd name="T9" fmla="*/ 5 h 77"/>
                <a:gd name="T10" fmla="*/ 14 w 42"/>
                <a:gd name="T11" fmla="*/ 5 h 77"/>
                <a:gd name="T12" fmla="*/ 15 w 42"/>
                <a:gd name="T13" fmla="*/ 3 h 77"/>
                <a:gd name="T14" fmla="*/ 20 w 42"/>
                <a:gd name="T15" fmla="*/ 2 h 77"/>
                <a:gd name="T16" fmla="*/ 27 w 42"/>
                <a:gd name="T17" fmla="*/ 0 h 77"/>
                <a:gd name="T18" fmla="*/ 34 w 42"/>
                <a:gd name="T19" fmla="*/ 2 h 77"/>
                <a:gd name="T20" fmla="*/ 37 w 42"/>
                <a:gd name="T21" fmla="*/ 3 h 77"/>
                <a:gd name="T22" fmla="*/ 39 w 42"/>
                <a:gd name="T23" fmla="*/ 6 h 77"/>
                <a:gd name="T24" fmla="*/ 39 w 42"/>
                <a:gd name="T25" fmla="*/ 6 h 77"/>
                <a:gd name="T26" fmla="*/ 40 w 42"/>
                <a:gd name="T27" fmla="*/ 13 h 77"/>
                <a:gd name="T28" fmla="*/ 42 w 42"/>
                <a:gd name="T29" fmla="*/ 22 h 77"/>
                <a:gd name="T30" fmla="*/ 40 w 42"/>
                <a:gd name="T31" fmla="*/ 31 h 77"/>
                <a:gd name="T32" fmla="*/ 39 w 42"/>
                <a:gd name="T33" fmla="*/ 34 h 77"/>
                <a:gd name="T34" fmla="*/ 37 w 42"/>
                <a:gd name="T35" fmla="*/ 37 h 77"/>
                <a:gd name="T36" fmla="*/ 37 w 42"/>
                <a:gd name="T37" fmla="*/ 37 h 77"/>
                <a:gd name="T38" fmla="*/ 34 w 42"/>
                <a:gd name="T39" fmla="*/ 42 h 77"/>
                <a:gd name="T40" fmla="*/ 33 w 42"/>
                <a:gd name="T41" fmla="*/ 47 h 77"/>
                <a:gd name="T42" fmla="*/ 34 w 42"/>
                <a:gd name="T43" fmla="*/ 58 h 77"/>
                <a:gd name="T44" fmla="*/ 34 w 42"/>
                <a:gd name="T45" fmla="*/ 58 h 77"/>
                <a:gd name="T46" fmla="*/ 33 w 42"/>
                <a:gd name="T47" fmla="*/ 65 h 77"/>
                <a:gd name="T48" fmla="*/ 31 w 42"/>
                <a:gd name="T49" fmla="*/ 73 h 77"/>
                <a:gd name="T50" fmla="*/ 27 w 42"/>
                <a:gd name="T51" fmla="*/ 77 h 77"/>
                <a:gd name="T52" fmla="*/ 25 w 42"/>
                <a:gd name="T53" fmla="*/ 77 h 77"/>
                <a:gd name="T54" fmla="*/ 22 w 42"/>
                <a:gd name="T55" fmla="*/ 76 h 77"/>
                <a:gd name="T56" fmla="*/ 22 w 42"/>
                <a:gd name="T57" fmla="*/ 76 h 77"/>
                <a:gd name="T58" fmla="*/ 17 w 42"/>
                <a:gd name="T59" fmla="*/ 73 h 77"/>
                <a:gd name="T60" fmla="*/ 12 w 42"/>
                <a:gd name="T61" fmla="*/ 70 h 77"/>
                <a:gd name="T62" fmla="*/ 5 w 42"/>
                <a:gd name="T63" fmla="*/ 68 h 77"/>
                <a:gd name="T64" fmla="*/ 5 w 42"/>
                <a:gd name="T65" fmla="*/ 68 h 77"/>
                <a:gd name="T66" fmla="*/ 3 w 42"/>
                <a:gd name="T67" fmla="*/ 67 h 77"/>
                <a:gd name="T68" fmla="*/ 2 w 42"/>
                <a:gd name="T69" fmla="*/ 62 h 77"/>
                <a:gd name="T70" fmla="*/ 0 w 42"/>
                <a:gd name="T71" fmla="*/ 58 h 77"/>
                <a:gd name="T72" fmla="*/ 0 w 42"/>
                <a:gd name="T73" fmla="*/ 53 h 77"/>
                <a:gd name="T74" fmla="*/ 2 w 42"/>
                <a:gd name="T75" fmla="*/ 50 h 77"/>
                <a:gd name="T76" fmla="*/ 2 w 42"/>
                <a:gd name="T77" fmla="*/ 50 h 77"/>
                <a:gd name="T78" fmla="*/ 8 w 42"/>
                <a:gd name="T79" fmla="*/ 39 h 77"/>
                <a:gd name="T80" fmla="*/ 11 w 42"/>
                <a:gd name="T81" fmla="*/ 28 h 77"/>
                <a:gd name="T82" fmla="*/ 11 w 42"/>
                <a:gd name="T83" fmla="*/ 2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" h="77">
                  <a:moveTo>
                    <a:pt x="11" y="28"/>
                  </a:moveTo>
                  <a:lnTo>
                    <a:pt x="11" y="28"/>
                  </a:lnTo>
                  <a:lnTo>
                    <a:pt x="11" y="19"/>
                  </a:lnTo>
                  <a:lnTo>
                    <a:pt x="12" y="10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3"/>
                  </a:lnTo>
                  <a:lnTo>
                    <a:pt x="20" y="2"/>
                  </a:lnTo>
                  <a:lnTo>
                    <a:pt x="27" y="0"/>
                  </a:lnTo>
                  <a:lnTo>
                    <a:pt x="34" y="2"/>
                  </a:lnTo>
                  <a:lnTo>
                    <a:pt x="37" y="3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13"/>
                  </a:lnTo>
                  <a:lnTo>
                    <a:pt x="42" y="22"/>
                  </a:lnTo>
                  <a:lnTo>
                    <a:pt x="40" y="31"/>
                  </a:lnTo>
                  <a:lnTo>
                    <a:pt x="39" y="34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4" y="42"/>
                  </a:lnTo>
                  <a:lnTo>
                    <a:pt x="33" y="4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65"/>
                  </a:lnTo>
                  <a:lnTo>
                    <a:pt x="31" y="73"/>
                  </a:lnTo>
                  <a:lnTo>
                    <a:pt x="27" y="77"/>
                  </a:lnTo>
                  <a:lnTo>
                    <a:pt x="25" y="77"/>
                  </a:lnTo>
                  <a:lnTo>
                    <a:pt x="22" y="76"/>
                  </a:lnTo>
                  <a:lnTo>
                    <a:pt x="22" y="76"/>
                  </a:lnTo>
                  <a:lnTo>
                    <a:pt x="17" y="73"/>
                  </a:lnTo>
                  <a:lnTo>
                    <a:pt x="12" y="70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3" y="67"/>
                  </a:lnTo>
                  <a:lnTo>
                    <a:pt x="2" y="62"/>
                  </a:lnTo>
                  <a:lnTo>
                    <a:pt x="0" y="58"/>
                  </a:lnTo>
                  <a:lnTo>
                    <a:pt x="0" y="53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8" y="39"/>
                  </a:lnTo>
                  <a:lnTo>
                    <a:pt x="11" y="28"/>
                  </a:lnTo>
                  <a:lnTo>
                    <a:pt x="11" y="28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5" name="Freeform 114">
              <a:extLst>
                <a:ext uri="{FF2B5EF4-FFF2-40B4-BE49-F238E27FC236}">
                  <a16:creationId xmlns:a16="http://schemas.microsoft.com/office/drawing/2014/main" id="{9B834741-763A-9949-9A54-CA86BB46B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90675" y="3375025"/>
              <a:ext cx="34925" cy="23812"/>
            </a:xfrm>
            <a:custGeom>
              <a:avLst/>
              <a:gdLst>
                <a:gd name="T0" fmla="*/ 9 w 22"/>
                <a:gd name="T1" fmla="*/ 2 h 15"/>
                <a:gd name="T2" fmla="*/ 9 w 22"/>
                <a:gd name="T3" fmla="*/ 2 h 15"/>
                <a:gd name="T4" fmla="*/ 15 w 22"/>
                <a:gd name="T5" fmla="*/ 0 h 15"/>
                <a:gd name="T6" fmla="*/ 19 w 22"/>
                <a:gd name="T7" fmla="*/ 0 h 15"/>
                <a:gd name="T8" fmla="*/ 22 w 22"/>
                <a:gd name="T9" fmla="*/ 2 h 15"/>
                <a:gd name="T10" fmla="*/ 22 w 22"/>
                <a:gd name="T11" fmla="*/ 2 h 15"/>
                <a:gd name="T12" fmla="*/ 22 w 22"/>
                <a:gd name="T13" fmla="*/ 5 h 15"/>
                <a:gd name="T14" fmla="*/ 21 w 22"/>
                <a:gd name="T15" fmla="*/ 9 h 15"/>
                <a:gd name="T16" fmla="*/ 18 w 22"/>
                <a:gd name="T17" fmla="*/ 12 h 15"/>
                <a:gd name="T18" fmla="*/ 15 w 22"/>
                <a:gd name="T19" fmla="*/ 15 h 15"/>
                <a:gd name="T20" fmla="*/ 15 w 22"/>
                <a:gd name="T21" fmla="*/ 15 h 15"/>
                <a:gd name="T22" fmla="*/ 9 w 22"/>
                <a:gd name="T23" fmla="*/ 15 h 15"/>
                <a:gd name="T24" fmla="*/ 5 w 22"/>
                <a:gd name="T25" fmla="*/ 15 h 15"/>
                <a:gd name="T26" fmla="*/ 2 w 22"/>
                <a:gd name="T27" fmla="*/ 13 h 15"/>
                <a:gd name="T28" fmla="*/ 0 w 22"/>
                <a:gd name="T29" fmla="*/ 12 h 15"/>
                <a:gd name="T30" fmla="*/ 0 w 22"/>
                <a:gd name="T31" fmla="*/ 12 h 15"/>
                <a:gd name="T32" fmla="*/ 0 w 22"/>
                <a:gd name="T33" fmla="*/ 11 h 15"/>
                <a:gd name="T34" fmla="*/ 0 w 22"/>
                <a:gd name="T35" fmla="*/ 8 h 15"/>
                <a:gd name="T36" fmla="*/ 3 w 22"/>
                <a:gd name="T37" fmla="*/ 5 h 15"/>
                <a:gd name="T38" fmla="*/ 9 w 22"/>
                <a:gd name="T39" fmla="*/ 2 h 15"/>
                <a:gd name="T40" fmla="*/ 9 w 22"/>
                <a:gd name="T4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5">
                  <a:moveTo>
                    <a:pt x="9" y="2"/>
                  </a:moveTo>
                  <a:lnTo>
                    <a:pt x="9" y="2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5"/>
                  </a:lnTo>
                  <a:lnTo>
                    <a:pt x="21" y="9"/>
                  </a:lnTo>
                  <a:lnTo>
                    <a:pt x="18" y="12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9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8"/>
                  </a:lnTo>
                  <a:lnTo>
                    <a:pt x="3" y="5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6" name="Freeform 115">
              <a:extLst>
                <a:ext uri="{FF2B5EF4-FFF2-40B4-BE49-F238E27FC236}">
                  <a16:creationId xmlns:a16="http://schemas.microsoft.com/office/drawing/2014/main" id="{3487D2EA-04D1-B640-B257-9A3995155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0038" y="3359150"/>
              <a:ext cx="34925" cy="25400"/>
            </a:xfrm>
            <a:custGeom>
              <a:avLst/>
              <a:gdLst>
                <a:gd name="T0" fmla="*/ 4 w 22"/>
                <a:gd name="T1" fmla="*/ 1 h 16"/>
                <a:gd name="T2" fmla="*/ 4 w 22"/>
                <a:gd name="T3" fmla="*/ 1 h 16"/>
                <a:gd name="T4" fmla="*/ 12 w 22"/>
                <a:gd name="T5" fmla="*/ 0 h 16"/>
                <a:gd name="T6" fmla="*/ 18 w 22"/>
                <a:gd name="T7" fmla="*/ 1 h 16"/>
                <a:gd name="T8" fmla="*/ 21 w 22"/>
                <a:gd name="T9" fmla="*/ 3 h 16"/>
                <a:gd name="T10" fmla="*/ 21 w 22"/>
                <a:gd name="T11" fmla="*/ 3 h 16"/>
                <a:gd name="T12" fmla="*/ 22 w 22"/>
                <a:gd name="T13" fmla="*/ 7 h 16"/>
                <a:gd name="T14" fmla="*/ 22 w 22"/>
                <a:gd name="T15" fmla="*/ 9 h 16"/>
                <a:gd name="T16" fmla="*/ 22 w 22"/>
                <a:gd name="T17" fmla="*/ 12 h 16"/>
                <a:gd name="T18" fmla="*/ 22 w 22"/>
                <a:gd name="T19" fmla="*/ 12 h 16"/>
                <a:gd name="T20" fmla="*/ 16 w 22"/>
                <a:gd name="T21" fmla="*/ 15 h 16"/>
                <a:gd name="T22" fmla="*/ 9 w 22"/>
                <a:gd name="T23" fmla="*/ 16 h 16"/>
                <a:gd name="T24" fmla="*/ 9 w 22"/>
                <a:gd name="T25" fmla="*/ 16 h 16"/>
                <a:gd name="T26" fmla="*/ 3 w 22"/>
                <a:gd name="T27" fmla="*/ 13 h 16"/>
                <a:gd name="T28" fmla="*/ 1 w 22"/>
                <a:gd name="T29" fmla="*/ 10 h 16"/>
                <a:gd name="T30" fmla="*/ 0 w 22"/>
                <a:gd name="T31" fmla="*/ 9 h 16"/>
                <a:gd name="T32" fmla="*/ 0 w 22"/>
                <a:gd name="T33" fmla="*/ 9 h 16"/>
                <a:gd name="T34" fmla="*/ 0 w 22"/>
                <a:gd name="T35" fmla="*/ 4 h 16"/>
                <a:gd name="T36" fmla="*/ 1 w 22"/>
                <a:gd name="T37" fmla="*/ 3 h 16"/>
                <a:gd name="T38" fmla="*/ 4 w 22"/>
                <a:gd name="T39" fmla="*/ 1 h 16"/>
                <a:gd name="T40" fmla="*/ 4 w 22"/>
                <a:gd name="T41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16">
                  <a:moveTo>
                    <a:pt x="4" y="1"/>
                  </a:moveTo>
                  <a:lnTo>
                    <a:pt x="4" y="1"/>
                  </a:lnTo>
                  <a:lnTo>
                    <a:pt x="12" y="0"/>
                  </a:lnTo>
                  <a:lnTo>
                    <a:pt x="18" y="1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16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4"/>
                  </a:lnTo>
                  <a:lnTo>
                    <a:pt x="1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9525">
              <a:solidFill>
                <a:srgbClr val="A7A7A7"/>
              </a:solidFill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7" name="Freeform 116">
              <a:extLst>
                <a:ext uri="{FF2B5EF4-FFF2-40B4-BE49-F238E27FC236}">
                  <a16:creationId xmlns:a16="http://schemas.microsoft.com/office/drawing/2014/main" id="{06C2F775-4785-024A-8250-040F4D7A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8663" y="3032125"/>
              <a:ext cx="139700" cy="244475"/>
            </a:xfrm>
            <a:custGeom>
              <a:avLst/>
              <a:gdLst>
                <a:gd name="T0" fmla="*/ 0 w 88"/>
                <a:gd name="T1" fmla="*/ 0 h 154"/>
                <a:gd name="T2" fmla="*/ 0 w 88"/>
                <a:gd name="T3" fmla="*/ 0 h 154"/>
                <a:gd name="T4" fmla="*/ 9 w 88"/>
                <a:gd name="T5" fmla="*/ 21 h 154"/>
                <a:gd name="T6" fmla="*/ 18 w 88"/>
                <a:gd name="T7" fmla="*/ 35 h 154"/>
                <a:gd name="T8" fmla="*/ 25 w 88"/>
                <a:gd name="T9" fmla="*/ 47 h 154"/>
                <a:gd name="T10" fmla="*/ 25 w 88"/>
                <a:gd name="T11" fmla="*/ 47 h 154"/>
                <a:gd name="T12" fmla="*/ 31 w 88"/>
                <a:gd name="T13" fmla="*/ 55 h 154"/>
                <a:gd name="T14" fmla="*/ 36 w 88"/>
                <a:gd name="T15" fmla="*/ 64 h 154"/>
                <a:gd name="T16" fmla="*/ 39 w 88"/>
                <a:gd name="T17" fmla="*/ 73 h 154"/>
                <a:gd name="T18" fmla="*/ 40 w 88"/>
                <a:gd name="T19" fmla="*/ 81 h 154"/>
                <a:gd name="T20" fmla="*/ 40 w 88"/>
                <a:gd name="T21" fmla="*/ 81 h 154"/>
                <a:gd name="T22" fmla="*/ 40 w 88"/>
                <a:gd name="T23" fmla="*/ 90 h 154"/>
                <a:gd name="T24" fmla="*/ 37 w 88"/>
                <a:gd name="T25" fmla="*/ 102 h 154"/>
                <a:gd name="T26" fmla="*/ 37 w 88"/>
                <a:gd name="T27" fmla="*/ 102 h 154"/>
                <a:gd name="T28" fmla="*/ 37 w 88"/>
                <a:gd name="T29" fmla="*/ 111 h 154"/>
                <a:gd name="T30" fmla="*/ 39 w 88"/>
                <a:gd name="T31" fmla="*/ 118 h 154"/>
                <a:gd name="T32" fmla="*/ 42 w 88"/>
                <a:gd name="T33" fmla="*/ 126 h 154"/>
                <a:gd name="T34" fmla="*/ 48 w 88"/>
                <a:gd name="T35" fmla="*/ 132 h 154"/>
                <a:gd name="T36" fmla="*/ 48 w 88"/>
                <a:gd name="T37" fmla="*/ 132 h 154"/>
                <a:gd name="T38" fmla="*/ 64 w 88"/>
                <a:gd name="T39" fmla="*/ 141 h 154"/>
                <a:gd name="T40" fmla="*/ 70 w 88"/>
                <a:gd name="T41" fmla="*/ 145 h 154"/>
                <a:gd name="T42" fmla="*/ 74 w 88"/>
                <a:gd name="T43" fmla="*/ 148 h 154"/>
                <a:gd name="T44" fmla="*/ 74 w 88"/>
                <a:gd name="T45" fmla="*/ 148 h 154"/>
                <a:gd name="T46" fmla="*/ 76 w 88"/>
                <a:gd name="T47" fmla="*/ 150 h 154"/>
                <a:gd name="T48" fmla="*/ 79 w 88"/>
                <a:gd name="T49" fmla="*/ 151 h 154"/>
                <a:gd name="T50" fmla="*/ 88 w 88"/>
                <a:gd name="T51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8" h="154">
                  <a:moveTo>
                    <a:pt x="0" y="0"/>
                  </a:moveTo>
                  <a:lnTo>
                    <a:pt x="0" y="0"/>
                  </a:lnTo>
                  <a:lnTo>
                    <a:pt x="9" y="21"/>
                  </a:lnTo>
                  <a:lnTo>
                    <a:pt x="18" y="35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31" y="55"/>
                  </a:lnTo>
                  <a:lnTo>
                    <a:pt x="36" y="64"/>
                  </a:lnTo>
                  <a:lnTo>
                    <a:pt x="39" y="73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90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11"/>
                  </a:lnTo>
                  <a:lnTo>
                    <a:pt x="39" y="118"/>
                  </a:lnTo>
                  <a:lnTo>
                    <a:pt x="42" y="126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64" y="141"/>
                  </a:lnTo>
                  <a:lnTo>
                    <a:pt x="70" y="145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6" y="150"/>
                  </a:lnTo>
                  <a:lnTo>
                    <a:pt x="79" y="151"/>
                  </a:lnTo>
                  <a:lnTo>
                    <a:pt x="88" y="154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8" name="Freeform 117">
              <a:extLst>
                <a:ext uri="{FF2B5EF4-FFF2-40B4-BE49-F238E27FC236}">
                  <a16:creationId xmlns:a16="http://schemas.microsoft.com/office/drawing/2014/main" id="{4924090A-FEE1-034D-A443-24282853B2C2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6775" y="6130925"/>
              <a:ext cx="171450" cy="234950"/>
            </a:xfrm>
            <a:custGeom>
              <a:avLst/>
              <a:gdLst>
                <a:gd name="T0" fmla="*/ 44 w 108"/>
                <a:gd name="T1" fmla="*/ 0 h 148"/>
                <a:gd name="T2" fmla="*/ 44 w 108"/>
                <a:gd name="T3" fmla="*/ 0 h 148"/>
                <a:gd name="T4" fmla="*/ 47 w 108"/>
                <a:gd name="T5" fmla="*/ 1 h 148"/>
                <a:gd name="T6" fmla="*/ 52 w 108"/>
                <a:gd name="T7" fmla="*/ 6 h 148"/>
                <a:gd name="T8" fmla="*/ 53 w 108"/>
                <a:gd name="T9" fmla="*/ 9 h 148"/>
                <a:gd name="T10" fmla="*/ 55 w 108"/>
                <a:gd name="T11" fmla="*/ 12 h 148"/>
                <a:gd name="T12" fmla="*/ 55 w 108"/>
                <a:gd name="T13" fmla="*/ 16 h 148"/>
                <a:gd name="T14" fmla="*/ 55 w 108"/>
                <a:gd name="T15" fmla="*/ 21 h 148"/>
                <a:gd name="T16" fmla="*/ 55 w 108"/>
                <a:gd name="T17" fmla="*/ 21 h 148"/>
                <a:gd name="T18" fmla="*/ 50 w 108"/>
                <a:gd name="T19" fmla="*/ 30 h 148"/>
                <a:gd name="T20" fmla="*/ 49 w 108"/>
                <a:gd name="T21" fmla="*/ 37 h 148"/>
                <a:gd name="T22" fmla="*/ 49 w 108"/>
                <a:gd name="T23" fmla="*/ 40 h 148"/>
                <a:gd name="T24" fmla="*/ 52 w 108"/>
                <a:gd name="T25" fmla="*/ 43 h 148"/>
                <a:gd name="T26" fmla="*/ 55 w 108"/>
                <a:gd name="T27" fmla="*/ 46 h 148"/>
                <a:gd name="T28" fmla="*/ 58 w 108"/>
                <a:gd name="T29" fmla="*/ 47 h 148"/>
                <a:gd name="T30" fmla="*/ 58 w 108"/>
                <a:gd name="T31" fmla="*/ 47 h 148"/>
                <a:gd name="T32" fmla="*/ 66 w 108"/>
                <a:gd name="T33" fmla="*/ 50 h 148"/>
                <a:gd name="T34" fmla="*/ 69 w 108"/>
                <a:gd name="T35" fmla="*/ 53 h 148"/>
                <a:gd name="T36" fmla="*/ 72 w 108"/>
                <a:gd name="T37" fmla="*/ 56 h 148"/>
                <a:gd name="T38" fmla="*/ 74 w 108"/>
                <a:gd name="T39" fmla="*/ 62 h 148"/>
                <a:gd name="T40" fmla="*/ 74 w 108"/>
                <a:gd name="T41" fmla="*/ 62 h 148"/>
                <a:gd name="T42" fmla="*/ 77 w 108"/>
                <a:gd name="T43" fmla="*/ 70 h 148"/>
                <a:gd name="T44" fmla="*/ 81 w 108"/>
                <a:gd name="T45" fmla="*/ 72 h 148"/>
                <a:gd name="T46" fmla="*/ 95 w 108"/>
                <a:gd name="T47" fmla="*/ 75 h 148"/>
                <a:gd name="T48" fmla="*/ 95 w 108"/>
                <a:gd name="T49" fmla="*/ 75 h 148"/>
                <a:gd name="T50" fmla="*/ 102 w 108"/>
                <a:gd name="T51" fmla="*/ 78 h 148"/>
                <a:gd name="T52" fmla="*/ 108 w 108"/>
                <a:gd name="T53" fmla="*/ 83 h 148"/>
                <a:gd name="T54" fmla="*/ 108 w 108"/>
                <a:gd name="T55" fmla="*/ 84 h 148"/>
                <a:gd name="T56" fmla="*/ 108 w 108"/>
                <a:gd name="T57" fmla="*/ 86 h 148"/>
                <a:gd name="T58" fmla="*/ 106 w 108"/>
                <a:gd name="T59" fmla="*/ 87 h 148"/>
                <a:gd name="T60" fmla="*/ 103 w 108"/>
                <a:gd name="T61" fmla="*/ 89 h 148"/>
                <a:gd name="T62" fmla="*/ 103 w 108"/>
                <a:gd name="T63" fmla="*/ 89 h 148"/>
                <a:gd name="T64" fmla="*/ 87 w 108"/>
                <a:gd name="T65" fmla="*/ 92 h 148"/>
                <a:gd name="T66" fmla="*/ 81 w 108"/>
                <a:gd name="T67" fmla="*/ 95 h 148"/>
                <a:gd name="T68" fmla="*/ 80 w 108"/>
                <a:gd name="T69" fmla="*/ 96 h 148"/>
                <a:gd name="T70" fmla="*/ 80 w 108"/>
                <a:gd name="T71" fmla="*/ 99 h 148"/>
                <a:gd name="T72" fmla="*/ 80 w 108"/>
                <a:gd name="T73" fmla="*/ 99 h 148"/>
                <a:gd name="T74" fmla="*/ 78 w 108"/>
                <a:gd name="T75" fmla="*/ 105 h 148"/>
                <a:gd name="T76" fmla="*/ 74 w 108"/>
                <a:gd name="T77" fmla="*/ 112 h 148"/>
                <a:gd name="T78" fmla="*/ 66 w 108"/>
                <a:gd name="T79" fmla="*/ 120 h 148"/>
                <a:gd name="T80" fmla="*/ 56 w 108"/>
                <a:gd name="T81" fmla="*/ 126 h 148"/>
                <a:gd name="T82" fmla="*/ 56 w 108"/>
                <a:gd name="T83" fmla="*/ 126 h 148"/>
                <a:gd name="T84" fmla="*/ 22 w 108"/>
                <a:gd name="T85" fmla="*/ 139 h 148"/>
                <a:gd name="T86" fmla="*/ 0 w 108"/>
                <a:gd name="T8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8" h="148">
                  <a:moveTo>
                    <a:pt x="44" y="0"/>
                  </a:moveTo>
                  <a:lnTo>
                    <a:pt x="44" y="0"/>
                  </a:lnTo>
                  <a:lnTo>
                    <a:pt x="47" y="1"/>
                  </a:lnTo>
                  <a:lnTo>
                    <a:pt x="52" y="6"/>
                  </a:lnTo>
                  <a:lnTo>
                    <a:pt x="53" y="9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0" y="30"/>
                  </a:lnTo>
                  <a:lnTo>
                    <a:pt x="49" y="37"/>
                  </a:lnTo>
                  <a:lnTo>
                    <a:pt x="49" y="40"/>
                  </a:lnTo>
                  <a:lnTo>
                    <a:pt x="52" y="43"/>
                  </a:lnTo>
                  <a:lnTo>
                    <a:pt x="55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66" y="50"/>
                  </a:lnTo>
                  <a:lnTo>
                    <a:pt x="69" y="53"/>
                  </a:lnTo>
                  <a:lnTo>
                    <a:pt x="72" y="56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7" y="70"/>
                  </a:lnTo>
                  <a:lnTo>
                    <a:pt x="81" y="72"/>
                  </a:lnTo>
                  <a:lnTo>
                    <a:pt x="95" y="75"/>
                  </a:lnTo>
                  <a:lnTo>
                    <a:pt x="95" y="75"/>
                  </a:lnTo>
                  <a:lnTo>
                    <a:pt x="102" y="78"/>
                  </a:lnTo>
                  <a:lnTo>
                    <a:pt x="108" y="83"/>
                  </a:lnTo>
                  <a:lnTo>
                    <a:pt x="108" y="84"/>
                  </a:lnTo>
                  <a:lnTo>
                    <a:pt x="108" y="86"/>
                  </a:lnTo>
                  <a:lnTo>
                    <a:pt x="106" y="87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87" y="92"/>
                  </a:lnTo>
                  <a:lnTo>
                    <a:pt x="81" y="95"/>
                  </a:lnTo>
                  <a:lnTo>
                    <a:pt x="80" y="96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78" y="105"/>
                  </a:lnTo>
                  <a:lnTo>
                    <a:pt x="74" y="112"/>
                  </a:lnTo>
                  <a:lnTo>
                    <a:pt x="66" y="120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22" y="139"/>
                  </a:lnTo>
                  <a:lnTo>
                    <a:pt x="0" y="14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39" name="Freeform 118">
              <a:extLst>
                <a:ext uri="{FF2B5EF4-FFF2-40B4-BE49-F238E27FC236}">
                  <a16:creationId xmlns:a16="http://schemas.microsoft.com/office/drawing/2014/main" id="{1FD8CEE5-9722-654F-8419-9D56FEF3D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350" y="6621463"/>
              <a:ext cx="166688" cy="177800"/>
            </a:xfrm>
            <a:custGeom>
              <a:avLst/>
              <a:gdLst>
                <a:gd name="T0" fmla="*/ 0 w 105"/>
                <a:gd name="T1" fmla="*/ 112 h 112"/>
                <a:gd name="T2" fmla="*/ 0 w 105"/>
                <a:gd name="T3" fmla="*/ 112 h 112"/>
                <a:gd name="T4" fmla="*/ 9 w 105"/>
                <a:gd name="T5" fmla="*/ 104 h 112"/>
                <a:gd name="T6" fmla="*/ 22 w 105"/>
                <a:gd name="T7" fmla="*/ 94 h 112"/>
                <a:gd name="T8" fmla="*/ 22 w 105"/>
                <a:gd name="T9" fmla="*/ 94 h 112"/>
                <a:gd name="T10" fmla="*/ 28 w 105"/>
                <a:gd name="T11" fmla="*/ 91 h 112"/>
                <a:gd name="T12" fmla="*/ 34 w 105"/>
                <a:gd name="T13" fmla="*/ 91 h 112"/>
                <a:gd name="T14" fmla="*/ 40 w 105"/>
                <a:gd name="T15" fmla="*/ 89 h 112"/>
                <a:gd name="T16" fmla="*/ 47 w 105"/>
                <a:gd name="T17" fmla="*/ 85 h 112"/>
                <a:gd name="T18" fmla="*/ 47 w 105"/>
                <a:gd name="T19" fmla="*/ 85 h 112"/>
                <a:gd name="T20" fmla="*/ 51 w 105"/>
                <a:gd name="T21" fmla="*/ 80 h 112"/>
                <a:gd name="T22" fmla="*/ 56 w 105"/>
                <a:gd name="T23" fmla="*/ 75 h 112"/>
                <a:gd name="T24" fmla="*/ 59 w 105"/>
                <a:gd name="T25" fmla="*/ 69 h 112"/>
                <a:gd name="T26" fmla="*/ 63 w 105"/>
                <a:gd name="T27" fmla="*/ 66 h 112"/>
                <a:gd name="T28" fmla="*/ 63 w 105"/>
                <a:gd name="T29" fmla="*/ 66 h 112"/>
                <a:gd name="T30" fmla="*/ 68 w 105"/>
                <a:gd name="T31" fmla="*/ 61 h 112"/>
                <a:gd name="T32" fmla="*/ 72 w 105"/>
                <a:gd name="T33" fmla="*/ 55 h 112"/>
                <a:gd name="T34" fmla="*/ 84 w 105"/>
                <a:gd name="T35" fmla="*/ 42 h 112"/>
                <a:gd name="T36" fmla="*/ 84 w 105"/>
                <a:gd name="T37" fmla="*/ 42 h 112"/>
                <a:gd name="T38" fmla="*/ 90 w 105"/>
                <a:gd name="T39" fmla="*/ 37 h 112"/>
                <a:gd name="T40" fmla="*/ 96 w 105"/>
                <a:gd name="T41" fmla="*/ 33 h 112"/>
                <a:gd name="T42" fmla="*/ 100 w 105"/>
                <a:gd name="T43" fmla="*/ 30 h 112"/>
                <a:gd name="T44" fmla="*/ 103 w 105"/>
                <a:gd name="T45" fmla="*/ 26 h 112"/>
                <a:gd name="T46" fmla="*/ 103 w 105"/>
                <a:gd name="T47" fmla="*/ 26 h 112"/>
                <a:gd name="T48" fmla="*/ 103 w 105"/>
                <a:gd name="T49" fmla="*/ 20 h 112"/>
                <a:gd name="T50" fmla="*/ 103 w 105"/>
                <a:gd name="T51" fmla="*/ 15 h 112"/>
                <a:gd name="T52" fmla="*/ 103 w 105"/>
                <a:gd name="T53" fmla="*/ 15 h 112"/>
                <a:gd name="T54" fmla="*/ 105 w 105"/>
                <a:gd name="T55" fmla="*/ 9 h 112"/>
                <a:gd name="T56" fmla="*/ 105 w 105"/>
                <a:gd name="T57" fmla="*/ 6 h 112"/>
                <a:gd name="T58" fmla="*/ 103 w 105"/>
                <a:gd name="T59" fmla="*/ 5 h 112"/>
                <a:gd name="T60" fmla="*/ 103 w 105"/>
                <a:gd name="T61" fmla="*/ 5 h 112"/>
                <a:gd name="T62" fmla="*/ 100 w 105"/>
                <a:gd name="T63" fmla="*/ 3 h 112"/>
                <a:gd name="T64" fmla="*/ 94 w 105"/>
                <a:gd name="T65" fmla="*/ 3 h 112"/>
                <a:gd name="T66" fmla="*/ 86 w 105"/>
                <a:gd name="T67" fmla="*/ 5 h 112"/>
                <a:gd name="T68" fmla="*/ 86 w 105"/>
                <a:gd name="T69" fmla="*/ 5 h 112"/>
                <a:gd name="T70" fmla="*/ 80 w 105"/>
                <a:gd name="T71" fmla="*/ 3 h 112"/>
                <a:gd name="T72" fmla="*/ 75 w 105"/>
                <a:gd name="T7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5" h="112">
                  <a:moveTo>
                    <a:pt x="0" y="112"/>
                  </a:moveTo>
                  <a:lnTo>
                    <a:pt x="0" y="112"/>
                  </a:lnTo>
                  <a:lnTo>
                    <a:pt x="9" y="10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8" y="91"/>
                  </a:lnTo>
                  <a:lnTo>
                    <a:pt x="34" y="91"/>
                  </a:lnTo>
                  <a:lnTo>
                    <a:pt x="40" y="89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51" y="80"/>
                  </a:lnTo>
                  <a:lnTo>
                    <a:pt x="56" y="75"/>
                  </a:lnTo>
                  <a:lnTo>
                    <a:pt x="59" y="69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8" y="61"/>
                  </a:lnTo>
                  <a:lnTo>
                    <a:pt x="72" y="55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90" y="37"/>
                  </a:lnTo>
                  <a:lnTo>
                    <a:pt x="96" y="33"/>
                  </a:lnTo>
                  <a:lnTo>
                    <a:pt x="100" y="30"/>
                  </a:lnTo>
                  <a:lnTo>
                    <a:pt x="103" y="26"/>
                  </a:lnTo>
                  <a:lnTo>
                    <a:pt x="103" y="26"/>
                  </a:lnTo>
                  <a:lnTo>
                    <a:pt x="103" y="20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5" y="9"/>
                  </a:lnTo>
                  <a:lnTo>
                    <a:pt x="105" y="6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0" y="3"/>
                  </a:lnTo>
                  <a:lnTo>
                    <a:pt x="94" y="3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0" y="3"/>
                  </a:lnTo>
                  <a:lnTo>
                    <a:pt x="75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0" name="Freeform 119">
              <a:extLst>
                <a:ext uri="{FF2B5EF4-FFF2-40B4-BE49-F238E27FC236}">
                  <a16:creationId xmlns:a16="http://schemas.microsoft.com/office/drawing/2014/main" id="{47CF5F1A-DC6C-D744-AAAB-83EE936D9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088" y="6565900"/>
              <a:ext cx="196850" cy="160337"/>
            </a:xfrm>
            <a:custGeom>
              <a:avLst/>
              <a:gdLst>
                <a:gd name="T0" fmla="*/ 99 w 124"/>
                <a:gd name="T1" fmla="*/ 0 h 101"/>
                <a:gd name="T2" fmla="*/ 99 w 124"/>
                <a:gd name="T3" fmla="*/ 0 h 101"/>
                <a:gd name="T4" fmla="*/ 112 w 124"/>
                <a:gd name="T5" fmla="*/ 9 h 101"/>
                <a:gd name="T6" fmla="*/ 121 w 124"/>
                <a:gd name="T7" fmla="*/ 18 h 101"/>
                <a:gd name="T8" fmla="*/ 123 w 124"/>
                <a:gd name="T9" fmla="*/ 21 h 101"/>
                <a:gd name="T10" fmla="*/ 124 w 124"/>
                <a:gd name="T11" fmla="*/ 24 h 101"/>
                <a:gd name="T12" fmla="*/ 124 w 124"/>
                <a:gd name="T13" fmla="*/ 24 h 101"/>
                <a:gd name="T14" fmla="*/ 121 w 124"/>
                <a:gd name="T15" fmla="*/ 30 h 101"/>
                <a:gd name="T16" fmla="*/ 118 w 124"/>
                <a:gd name="T17" fmla="*/ 35 h 101"/>
                <a:gd name="T18" fmla="*/ 118 w 124"/>
                <a:gd name="T19" fmla="*/ 35 h 101"/>
                <a:gd name="T20" fmla="*/ 115 w 124"/>
                <a:gd name="T21" fmla="*/ 40 h 101"/>
                <a:gd name="T22" fmla="*/ 112 w 124"/>
                <a:gd name="T23" fmla="*/ 44 h 101"/>
                <a:gd name="T24" fmla="*/ 108 w 124"/>
                <a:gd name="T25" fmla="*/ 46 h 101"/>
                <a:gd name="T26" fmla="*/ 105 w 124"/>
                <a:gd name="T27" fmla="*/ 46 h 101"/>
                <a:gd name="T28" fmla="*/ 105 w 124"/>
                <a:gd name="T29" fmla="*/ 46 h 101"/>
                <a:gd name="T30" fmla="*/ 93 w 124"/>
                <a:gd name="T31" fmla="*/ 38 h 101"/>
                <a:gd name="T32" fmla="*/ 87 w 124"/>
                <a:gd name="T33" fmla="*/ 35 h 101"/>
                <a:gd name="T34" fmla="*/ 83 w 124"/>
                <a:gd name="T35" fmla="*/ 35 h 101"/>
                <a:gd name="T36" fmla="*/ 83 w 124"/>
                <a:gd name="T37" fmla="*/ 35 h 101"/>
                <a:gd name="T38" fmla="*/ 78 w 124"/>
                <a:gd name="T39" fmla="*/ 38 h 101"/>
                <a:gd name="T40" fmla="*/ 74 w 124"/>
                <a:gd name="T41" fmla="*/ 41 h 101"/>
                <a:gd name="T42" fmla="*/ 71 w 124"/>
                <a:gd name="T43" fmla="*/ 46 h 101"/>
                <a:gd name="T44" fmla="*/ 71 w 124"/>
                <a:gd name="T45" fmla="*/ 52 h 101"/>
                <a:gd name="T46" fmla="*/ 71 w 124"/>
                <a:gd name="T47" fmla="*/ 52 h 101"/>
                <a:gd name="T48" fmla="*/ 71 w 124"/>
                <a:gd name="T49" fmla="*/ 61 h 101"/>
                <a:gd name="T50" fmla="*/ 68 w 124"/>
                <a:gd name="T51" fmla="*/ 77 h 101"/>
                <a:gd name="T52" fmla="*/ 62 w 124"/>
                <a:gd name="T53" fmla="*/ 93 h 101"/>
                <a:gd name="T54" fmla="*/ 59 w 124"/>
                <a:gd name="T55" fmla="*/ 98 h 101"/>
                <a:gd name="T56" fmla="*/ 57 w 124"/>
                <a:gd name="T57" fmla="*/ 101 h 101"/>
                <a:gd name="T58" fmla="*/ 57 w 124"/>
                <a:gd name="T59" fmla="*/ 101 h 101"/>
                <a:gd name="T60" fmla="*/ 52 w 124"/>
                <a:gd name="T61" fmla="*/ 99 h 101"/>
                <a:gd name="T62" fmla="*/ 46 w 124"/>
                <a:gd name="T63" fmla="*/ 96 h 101"/>
                <a:gd name="T64" fmla="*/ 40 w 124"/>
                <a:gd name="T65" fmla="*/ 93 h 101"/>
                <a:gd name="T66" fmla="*/ 40 w 124"/>
                <a:gd name="T67" fmla="*/ 93 h 101"/>
                <a:gd name="T68" fmla="*/ 0 w 124"/>
                <a:gd name="T69" fmla="*/ 9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01">
                  <a:moveTo>
                    <a:pt x="99" y="0"/>
                  </a:moveTo>
                  <a:lnTo>
                    <a:pt x="99" y="0"/>
                  </a:lnTo>
                  <a:lnTo>
                    <a:pt x="112" y="9"/>
                  </a:lnTo>
                  <a:lnTo>
                    <a:pt x="121" y="18"/>
                  </a:lnTo>
                  <a:lnTo>
                    <a:pt x="123" y="21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1" y="30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5" y="40"/>
                  </a:lnTo>
                  <a:lnTo>
                    <a:pt x="112" y="44"/>
                  </a:lnTo>
                  <a:lnTo>
                    <a:pt x="108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93" y="38"/>
                  </a:lnTo>
                  <a:lnTo>
                    <a:pt x="87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78" y="38"/>
                  </a:lnTo>
                  <a:lnTo>
                    <a:pt x="74" y="41"/>
                  </a:lnTo>
                  <a:lnTo>
                    <a:pt x="71" y="46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1" y="61"/>
                  </a:lnTo>
                  <a:lnTo>
                    <a:pt x="68" y="77"/>
                  </a:lnTo>
                  <a:lnTo>
                    <a:pt x="62" y="93"/>
                  </a:lnTo>
                  <a:lnTo>
                    <a:pt x="59" y="98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2" y="99"/>
                  </a:lnTo>
                  <a:lnTo>
                    <a:pt x="46" y="96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0" y="9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1" name="Freeform 120">
              <a:extLst>
                <a:ext uri="{FF2B5EF4-FFF2-40B4-BE49-F238E27FC236}">
                  <a16:creationId xmlns:a16="http://schemas.microsoft.com/office/drawing/2014/main" id="{23E8FE31-C5EC-5F43-A7AA-11FDC2746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7700" y="6410325"/>
              <a:ext cx="230188" cy="198437"/>
            </a:xfrm>
            <a:custGeom>
              <a:avLst/>
              <a:gdLst>
                <a:gd name="T0" fmla="*/ 52 w 145"/>
                <a:gd name="T1" fmla="*/ 0 h 125"/>
                <a:gd name="T2" fmla="*/ 55 w 145"/>
                <a:gd name="T3" fmla="*/ 11 h 125"/>
                <a:gd name="T4" fmla="*/ 59 w 145"/>
                <a:gd name="T5" fmla="*/ 11 h 125"/>
                <a:gd name="T6" fmla="*/ 65 w 145"/>
                <a:gd name="T7" fmla="*/ 8 h 125"/>
                <a:gd name="T8" fmla="*/ 74 w 145"/>
                <a:gd name="T9" fmla="*/ 8 h 125"/>
                <a:gd name="T10" fmla="*/ 79 w 145"/>
                <a:gd name="T11" fmla="*/ 11 h 125"/>
                <a:gd name="T12" fmla="*/ 83 w 145"/>
                <a:gd name="T13" fmla="*/ 18 h 125"/>
                <a:gd name="T14" fmla="*/ 82 w 145"/>
                <a:gd name="T15" fmla="*/ 28 h 125"/>
                <a:gd name="T16" fmla="*/ 86 w 145"/>
                <a:gd name="T17" fmla="*/ 40 h 125"/>
                <a:gd name="T18" fmla="*/ 95 w 145"/>
                <a:gd name="T19" fmla="*/ 48 h 125"/>
                <a:gd name="T20" fmla="*/ 101 w 145"/>
                <a:gd name="T21" fmla="*/ 49 h 125"/>
                <a:gd name="T22" fmla="*/ 114 w 145"/>
                <a:gd name="T23" fmla="*/ 53 h 125"/>
                <a:gd name="T24" fmla="*/ 120 w 145"/>
                <a:gd name="T25" fmla="*/ 58 h 125"/>
                <a:gd name="T26" fmla="*/ 136 w 145"/>
                <a:gd name="T27" fmla="*/ 74 h 125"/>
                <a:gd name="T28" fmla="*/ 141 w 145"/>
                <a:gd name="T29" fmla="*/ 77 h 125"/>
                <a:gd name="T30" fmla="*/ 145 w 145"/>
                <a:gd name="T31" fmla="*/ 83 h 125"/>
                <a:gd name="T32" fmla="*/ 139 w 145"/>
                <a:gd name="T33" fmla="*/ 91 h 125"/>
                <a:gd name="T34" fmla="*/ 135 w 145"/>
                <a:gd name="T35" fmla="*/ 93 h 125"/>
                <a:gd name="T36" fmla="*/ 132 w 145"/>
                <a:gd name="T37" fmla="*/ 98 h 125"/>
                <a:gd name="T38" fmla="*/ 130 w 145"/>
                <a:gd name="T39" fmla="*/ 108 h 125"/>
                <a:gd name="T40" fmla="*/ 130 w 145"/>
                <a:gd name="T41" fmla="*/ 113 h 125"/>
                <a:gd name="T42" fmla="*/ 125 w 145"/>
                <a:gd name="T43" fmla="*/ 123 h 125"/>
                <a:gd name="T44" fmla="*/ 117 w 145"/>
                <a:gd name="T45" fmla="*/ 125 h 125"/>
                <a:gd name="T46" fmla="*/ 92 w 145"/>
                <a:gd name="T47" fmla="*/ 120 h 125"/>
                <a:gd name="T48" fmla="*/ 82 w 145"/>
                <a:gd name="T49" fmla="*/ 117 h 125"/>
                <a:gd name="T50" fmla="*/ 71 w 145"/>
                <a:gd name="T51" fmla="*/ 114 h 125"/>
                <a:gd name="T52" fmla="*/ 58 w 145"/>
                <a:gd name="T53" fmla="*/ 116 h 125"/>
                <a:gd name="T54" fmla="*/ 48 w 145"/>
                <a:gd name="T55" fmla="*/ 114 h 125"/>
                <a:gd name="T56" fmla="*/ 43 w 145"/>
                <a:gd name="T57" fmla="*/ 113 h 125"/>
                <a:gd name="T58" fmla="*/ 27 w 145"/>
                <a:gd name="T59" fmla="*/ 110 h 125"/>
                <a:gd name="T60" fmla="*/ 21 w 145"/>
                <a:gd name="T61" fmla="*/ 108 h 125"/>
                <a:gd name="T62" fmla="*/ 0 w 145"/>
                <a:gd name="T63" fmla="*/ 9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5" h="125">
                  <a:moveTo>
                    <a:pt x="52" y="0"/>
                  </a:moveTo>
                  <a:lnTo>
                    <a:pt x="52" y="0"/>
                  </a:lnTo>
                  <a:lnTo>
                    <a:pt x="52" y="8"/>
                  </a:lnTo>
                  <a:lnTo>
                    <a:pt x="55" y="11"/>
                  </a:lnTo>
                  <a:lnTo>
                    <a:pt x="56" y="12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5" y="8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2" y="13"/>
                  </a:lnTo>
                  <a:lnTo>
                    <a:pt x="83" y="1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3" y="34"/>
                  </a:lnTo>
                  <a:lnTo>
                    <a:pt x="86" y="40"/>
                  </a:lnTo>
                  <a:lnTo>
                    <a:pt x="90" y="45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101" y="49"/>
                  </a:lnTo>
                  <a:lnTo>
                    <a:pt x="107" y="51"/>
                  </a:lnTo>
                  <a:lnTo>
                    <a:pt x="114" y="53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30" y="70"/>
                  </a:lnTo>
                  <a:lnTo>
                    <a:pt x="136" y="74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44" y="80"/>
                  </a:lnTo>
                  <a:lnTo>
                    <a:pt x="145" y="83"/>
                  </a:lnTo>
                  <a:lnTo>
                    <a:pt x="145" y="86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35" y="93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0" y="102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30" y="113"/>
                  </a:lnTo>
                  <a:lnTo>
                    <a:pt x="129" y="119"/>
                  </a:lnTo>
                  <a:lnTo>
                    <a:pt x="125" y="123"/>
                  </a:lnTo>
                  <a:lnTo>
                    <a:pt x="122" y="123"/>
                  </a:lnTo>
                  <a:lnTo>
                    <a:pt x="117" y="125"/>
                  </a:lnTo>
                  <a:lnTo>
                    <a:pt x="117" y="125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82" y="117"/>
                  </a:lnTo>
                  <a:lnTo>
                    <a:pt x="76" y="114"/>
                  </a:lnTo>
                  <a:lnTo>
                    <a:pt x="71" y="114"/>
                  </a:lnTo>
                  <a:lnTo>
                    <a:pt x="71" y="114"/>
                  </a:lnTo>
                  <a:lnTo>
                    <a:pt x="58" y="116"/>
                  </a:lnTo>
                  <a:lnTo>
                    <a:pt x="50" y="116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3" y="113"/>
                  </a:lnTo>
                  <a:lnTo>
                    <a:pt x="34" y="111"/>
                  </a:lnTo>
                  <a:lnTo>
                    <a:pt x="27" y="11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9" y="101"/>
                  </a:lnTo>
                  <a:lnTo>
                    <a:pt x="0" y="9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2" name="Freeform 121">
              <a:extLst>
                <a:ext uri="{FF2B5EF4-FFF2-40B4-BE49-F238E27FC236}">
                  <a16:creationId xmlns:a16="http://schemas.microsoft.com/office/drawing/2014/main" id="{5923C22C-D9F8-6943-931D-4AAD8E34F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488" y="6223000"/>
              <a:ext cx="187325" cy="217487"/>
            </a:xfrm>
            <a:custGeom>
              <a:avLst/>
              <a:gdLst>
                <a:gd name="T0" fmla="*/ 80 w 118"/>
                <a:gd name="T1" fmla="*/ 0 h 137"/>
                <a:gd name="T2" fmla="*/ 101 w 118"/>
                <a:gd name="T3" fmla="*/ 19 h 137"/>
                <a:gd name="T4" fmla="*/ 101 w 118"/>
                <a:gd name="T5" fmla="*/ 19 h 137"/>
                <a:gd name="T6" fmla="*/ 98 w 118"/>
                <a:gd name="T7" fmla="*/ 23 h 137"/>
                <a:gd name="T8" fmla="*/ 95 w 118"/>
                <a:gd name="T9" fmla="*/ 28 h 137"/>
                <a:gd name="T10" fmla="*/ 93 w 118"/>
                <a:gd name="T11" fmla="*/ 32 h 137"/>
                <a:gd name="T12" fmla="*/ 93 w 118"/>
                <a:gd name="T13" fmla="*/ 32 h 137"/>
                <a:gd name="T14" fmla="*/ 93 w 118"/>
                <a:gd name="T15" fmla="*/ 34 h 137"/>
                <a:gd name="T16" fmla="*/ 95 w 118"/>
                <a:gd name="T17" fmla="*/ 37 h 137"/>
                <a:gd name="T18" fmla="*/ 101 w 118"/>
                <a:gd name="T19" fmla="*/ 44 h 137"/>
                <a:gd name="T20" fmla="*/ 101 w 118"/>
                <a:gd name="T21" fmla="*/ 44 h 137"/>
                <a:gd name="T22" fmla="*/ 113 w 118"/>
                <a:gd name="T23" fmla="*/ 57 h 137"/>
                <a:gd name="T24" fmla="*/ 117 w 118"/>
                <a:gd name="T25" fmla="*/ 63 h 137"/>
                <a:gd name="T26" fmla="*/ 118 w 118"/>
                <a:gd name="T27" fmla="*/ 68 h 137"/>
                <a:gd name="T28" fmla="*/ 118 w 118"/>
                <a:gd name="T29" fmla="*/ 68 h 137"/>
                <a:gd name="T30" fmla="*/ 117 w 118"/>
                <a:gd name="T31" fmla="*/ 71 h 137"/>
                <a:gd name="T32" fmla="*/ 116 w 118"/>
                <a:gd name="T33" fmla="*/ 74 h 137"/>
                <a:gd name="T34" fmla="*/ 111 w 118"/>
                <a:gd name="T35" fmla="*/ 77 h 137"/>
                <a:gd name="T36" fmla="*/ 104 w 118"/>
                <a:gd name="T37" fmla="*/ 77 h 137"/>
                <a:gd name="T38" fmla="*/ 104 w 118"/>
                <a:gd name="T39" fmla="*/ 77 h 137"/>
                <a:gd name="T40" fmla="*/ 95 w 118"/>
                <a:gd name="T41" fmla="*/ 80 h 137"/>
                <a:gd name="T42" fmla="*/ 89 w 118"/>
                <a:gd name="T43" fmla="*/ 83 h 137"/>
                <a:gd name="T44" fmla="*/ 87 w 118"/>
                <a:gd name="T45" fmla="*/ 86 h 137"/>
                <a:gd name="T46" fmla="*/ 86 w 118"/>
                <a:gd name="T47" fmla="*/ 89 h 137"/>
                <a:gd name="T48" fmla="*/ 86 w 118"/>
                <a:gd name="T49" fmla="*/ 90 h 137"/>
                <a:gd name="T50" fmla="*/ 87 w 118"/>
                <a:gd name="T51" fmla="*/ 93 h 137"/>
                <a:gd name="T52" fmla="*/ 87 w 118"/>
                <a:gd name="T53" fmla="*/ 93 h 137"/>
                <a:gd name="T54" fmla="*/ 93 w 118"/>
                <a:gd name="T55" fmla="*/ 96 h 137"/>
                <a:gd name="T56" fmla="*/ 96 w 118"/>
                <a:gd name="T57" fmla="*/ 102 h 137"/>
                <a:gd name="T58" fmla="*/ 98 w 118"/>
                <a:gd name="T59" fmla="*/ 108 h 137"/>
                <a:gd name="T60" fmla="*/ 96 w 118"/>
                <a:gd name="T61" fmla="*/ 109 h 137"/>
                <a:gd name="T62" fmla="*/ 95 w 118"/>
                <a:gd name="T63" fmla="*/ 111 h 137"/>
                <a:gd name="T64" fmla="*/ 95 w 118"/>
                <a:gd name="T65" fmla="*/ 111 h 137"/>
                <a:gd name="T66" fmla="*/ 87 w 118"/>
                <a:gd name="T67" fmla="*/ 115 h 137"/>
                <a:gd name="T68" fmla="*/ 83 w 118"/>
                <a:gd name="T69" fmla="*/ 118 h 137"/>
                <a:gd name="T70" fmla="*/ 83 w 118"/>
                <a:gd name="T71" fmla="*/ 118 h 137"/>
                <a:gd name="T72" fmla="*/ 79 w 118"/>
                <a:gd name="T73" fmla="*/ 118 h 137"/>
                <a:gd name="T74" fmla="*/ 73 w 118"/>
                <a:gd name="T75" fmla="*/ 118 h 137"/>
                <a:gd name="T76" fmla="*/ 73 w 118"/>
                <a:gd name="T77" fmla="*/ 118 h 137"/>
                <a:gd name="T78" fmla="*/ 55 w 118"/>
                <a:gd name="T79" fmla="*/ 114 h 137"/>
                <a:gd name="T80" fmla="*/ 44 w 118"/>
                <a:gd name="T81" fmla="*/ 112 h 137"/>
                <a:gd name="T82" fmla="*/ 41 w 118"/>
                <a:gd name="T83" fmla="*/ 114 h 137"/>
                <a:gd name="T84" fmla="*/ 37 w 118"/>
                <a:gd name="T85" fmla="*/ 115 h 137"/>
                <a:gd name="T86" fmla="*/ 37 w 118"/>
                <a:gd name="T87" fmla="*/ 115 h 137"/>
                <a:gd name="T88" fmla="*/ 33 w 118"/>
                <a:gd name="T89" fmla="*/ 121 h 137"/>
                <a:gd name="T90" fmla="*/ 28 w 118"/>
                <a:gd name="T91" fmla="*/ 126 h 137"/>
                <a:gd name="T92" fmla="*/ 27 w 118"/>
                <a:gd name="T93" fmla="*/ 129 h 137"/>
                <a:gd name="T94" fmla="*/ 24 w 118"/>
                <a:gd name="T95" fmla="*/ 131 h 137"/>
                <a:gd name="T96" fmla="*/ 24 w 118"/>
                <a:gd name="T97" fmla="*/ 131 h 137"/>
                <a:gd name="T98" fmla="*/ 10 w 118"/>
                <a:gd name="T99" fmla="*/ 136 h 137"/>
                <a:gd name="T100" fmla="*/ 0 w 118"/>
                <a:gd name="T101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8" h="137">
                  <a:moveTo>
                    <a:pt x="80" y="0"/>
                  </a:moveTo>
                  <a:lnTo>
                    <a:pt x="101" y="19"/>
                  </a:lnTo>
                  <a:lnTo>
                    <a:pt x="101" y="19"/>
                  </a:lnTo>
                  <a:lnTo>
                    <a:pt x="98" y="23"/>
                  </a:lnTo>
                  <a:lnTo>
                    <a:pt x="95" y="28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3" y="34"/>
                  </a:lnTo>
                  <a:lnTo>
                    <a:pt x="95" y="37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13" y="57"/>
                  </a:lnTo>
                  <a:lnTo>
                    <a:pt x="117" y="63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7" y="71"/>
                  </a:lnTo>
                  <a:lnTo>
                    <a:pt x="116" y="74"/>
                  </a:lnTo>
                  <a:lnTo>
                    <a:pt x="111" y="77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95" y="80"/>
                  </a:lnTo>
                  <a:lnTo>
                    <a:pt x="89" y="83"/>
                  </a:lnTo>
                  <a:lnTo>
                    <a:pt x="87" y="86"/>
                  </a:lnTo>
                  <a:lnTo>
                    <a:pt x="86" y="89"/>
                  </a:lnTo>
                  <a:lnTo>
                    <a:pt x="86" y="90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93" y="96"/>
                  </a:lnTo>
                  <a:lnTo>
                    <a:pt x="96" y="102"/>
                  </a:lnTo>
                  <a:lnTo>
                    <a:pt x="98" y="108"/>
                  </a:lnTo>
                  <a:lnTo>
                    <a:pt x="96" y="109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87" y="115"/>
                  </a:lnTo>
                  <a:lnTo>
                    <a:pt x="83" y="118"/>
                  </a:lnTo>
                  <a:lnTo>
                    <a:pt x="83" y="118"/>
                  </a:lnTo>
                  <a:lnTo>
                    <a:pt x="79" y="118"/>
                  </a:lnTo>
                  <a:lnTo>
                    <a:pt x="73" y="118"/>
                  </a:lnTo>
                  <a:lnTo>
                    <a:pt x="73" y="118"/>
                  </a:lnTo>
                  <a:lnTo>
                    <a:pt x="55" y="114"/>
                  </a:lnTo>
                  <a:lnTo>
                    <a:pt x="44" y="112"/>
                  </a:lnTo>
                  <a:lnTo>
                    <a:pt x="41" y="114"/>
                  </a:lnTo>
                  <a:lnTo>
                    <a:pt x="37" y="115"/>
                  </a:lnTo>
                  <a:lnTo>
                    <a:pt x="37" y="115"/>
                  </a:lnTo>
                  <a:lnTo>
                    <a:pt x="33" y="121"/>
                  </a:lnTo>
                  <a:lnTo>
                    <a:pt x="28" y="126"/>
                  </a:lnTo>
                  <a:lnTo>
                    <a:pt x="27" y="129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10" y="136"/>
                  </a:lnTo>
                  <a:lnTo>
                    <a:pt x="0" y="13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3" name="Freeform 122">
              <a:extLst>
                <a:ext uri="{FF2B5EF4-FFF2-40B4-BE49-F238E27FC236}">
                  <a16:creationId xmlns:a16="http://schemas.microsoft.com/office/drawing/2014/main" id="{ABA650F4-6DF1-B747-BBEA-E66D975D3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5867400"/>
              <a:ext cx="196850" cy="279400"/>
            </a:xfrm>
            <a:custGeom>
              <a:avLst/>
              <a:gdLst>
                <a:gd name="T0" fmla="*/ 40 w 124"/>
                <a:gd name="T1" fmla="*/ 0 h 176"/>
                <a:gd name="T2" fmla="*/ 28 w 124"/>
                <a:gd name="T3" fmla="*/ 12 h 176"/>
                <a:gd name="T4" fmla="*/ 26 w 124"/>
                <a:gd name="T5" fmla="*/ 19 h 176"/>
                <a:gd name="T6" fmla="*/ 31 w 124"/>
                <a:gd name="T7" fmla="*/ 28 h 176"/>
                <a:gd name="T8" fmla="*/ 44 w 124"/>
                <a:gd name="T9" fmla="*/ 49 h 176"/>
                <a:gd name="T10" fmla="*/ 52 w 124"/>
                <a:gd name="T11" fmla="*/ 55 h 176"/>
                <a:gd name="T12" fmla="*/ 56 w 124"/>
                <a:gd name="T13" fmla="*/ 55 h 176"/>
                <a:gd name="T14" fmla="*/ 63 w 124"/>
                <a:gd name="T15" fmla="*/ 52 h 176"/>
                <a:gd name="T16" fmla="*/ 69 w 124"/>
                <a:gd name="T17" fmla="*/ 53 h 176"/>
                <a:gd name="T18" fmla="*/ 75 w 124"/>
                <a:gd name="T19" fmla="*/ 56 h 176"/>
                <a:gd name="T20" fmla="*/ 80 w 124"/>
                <a:gd name="T21" fmla="*/ 65 h 176"/>
                <a:gd name="T22" fmla="*/ 83 w 124"/>
                <a:gd name="T23" fmla="*/ 70 h 176"/>
                <a:gd name="T24" fmla="*/ 89 w 124"/>
                <a:gd name="T25" fmla="*/ 74 h 176"/>
                <a:gd name="T26" fmla="*/ 90 w 124"/>
                <a:gd name="T27" fmla="*/ 82 h 176"/>
                <a:gd name="T28" fmla="*/ 87 w 124"/>
                <a:gd name="T29" fmla="*/ 87 h 176"/>
                <a:gd name="T30" fmla="*/ 77 w 124"/>
                <a:gd name="T31" fmla="*/ 90 h 176"/>
                <a:gd name="T32" fmla="*/ 68 w 124"/>
                <a:gd name="T33" fmla="*/ 96 h 176"/>
                <a:gd name="T34" fmla="*/ 60 w 124"/>
                <a:gd name="T35" fmla="*/ 105 h 176"/>
                <a:gd name="T36" fmla="*/ 49 w 124"/>
                <a:gd name="T37" fmla="*/ 123 h 176"/>
                <a:gd name="T38" fmla="*/ 43 w 124"/>
                <a:gd name="T39" fmla="*/ 127 h 176"/>
                <a:gd name="T40" fmla="*/ 34 w 124"/>
                <a:gd name="T41" fmla="*/ 127 h 176"/>
                <a:gd name="T42" fmla="*/ 25 w 124"/>
                <a:gd name="T43" fmla="*/ 124 h 176"/>
                <a:gd name="T44" fmla="*/ 12 w 124"/>
                <a:gd name="T45" fmla="*/ 119 h 176"/>
                <a:gd name="T46" fmla="*/ 6 w 124"/>
                <a:gd name="T47" fmla="*/ 120 h 176"/>
                <a:gd name="T48" fmla="*/ 4 w 124"/>
                <a:gd name="T49" fmla="*/ 132 h 176"/>
                <a:gd name="T50" fmla="*/ 3 w 124"/>
                <a:gd name="T51" fmla="*/ 148 h 176"/>
                <a:gd name="T52" fmla="*/ 0 w 124"/>
                <a:gd name="T53" fmla="*/ 167 h 176"/>
                <a:gd name="T54" fmla="*/ 3 w 124"/>
                <a:gd name="T55" fmla="*/ 175 h 176"/>
                <a:gd name="T56" fmla="*/ 7 w 124"/>
                <a:gd name="T57" fmla="*/ 176 h 176"/>
                <a:gd name="T58" fmla="*/ 28 w 124"/>
                <a:gd name="T59" fmla="*/ 175 h 176"/>
                <a:gd name="T60" fmla="*/ 41 w 124"/>
                <a:gd name="T61" fmla="*/ 169 h 176"/>
                <a:gd name="T62" fmla="*/ 43 w 124"/>
                <a:gd name="T63" fmla="*/ 166 h 176"/>
                <a:gd name="T64" fmla="*/ 46 w 124"/>
                <a:gd name="T65" fmla="*/ 157 h 176"/>
                <a:gd name="T66" fmla="*/ 52 w 124"/>
                <a:gd name="T67" fmla="*/ 154 h 176"/>
                <a:gd name="T68" fmla="*/ 54 w 124"/>
                <a:gd name="T69" fmla="*/ 154 h 176"/>
                <a:gd name="T70" fmla="*/ 60 w 124"/>
                <a:gd name="T71" fmla="*/ 147 h 176"/>
                <a:gd name="T72" fmla="*/ 69 w 124"/>
                <a:gd name="T73" fmla="*/ 136 h 176"/>
                <a:gd name="T74" fmla="*/ 72 w 124"/>
                <a:gd name="T75" fmla="*/ 136 h 176"/>
                <a:gd name="T76" fmla="*/ 75 w 124"/>
                <a:gd name="T77" fmla="*/ 136 h 176"/>
                <a:gd name="T78" fmla="*/ 80 w 124"/>
                <a:gd name="T79" fmla="*/ 144 h 176"/>
                <a:gd name="T80" fmla="*/ 80 w 124"/>
                <a:gd name="T81" fmla="*/ 151 h 176"/>
                <a:gd name="T82" fmla="*/ 83 w 124"/>
                <a:gd name="T83" fmla="*/ 159 h 176"/>
                <a:gd name="T84" fmla="*/ 89 w 124"/>
                <a:gd name="T85" fmla="*/ 163 h 176"/>
                <a:gd name="T86" fmla="*/ 96 w 124"/>
                <a:gd name="T87" fmla="*/ 166 h 176"/>
                <a:gd name="T88" fmla="*/ 102 w 124"/>
                <a:gd name="T89" fmla="*/ 163 h 176"/>
                <a:gd name="T90" fmla="*/ 115 w 124"/>
                <a:gd name="T91" fmla="*/ 139 h 176"/>
                <a:gd name="T92" fmla="*/ 124 w 124"/>
                <a:gd name="T93" fmla="*/ 117 h 176"/>
                <a:gd name="T94" fmla="*/ 123 w 124"/>
                <a:gd name="T95" fmla="*/ 110 h 176"/>
                <a:gd name="T96" fmla="*/ 111 w 124"/>
                <a:gd name="T97" fmla="*/ 84 h 176"/>
                <a:gd name="T98" fmla="*/ 106 w 124"/>
                <a:gd name="T99" fmla="*/ 76 h 176"/>
                <a:gd name="T100" fmla="*/ 100 w 124"/>
                <a:gd name="T101" fmla="*/ 56 h 176"/>
                <a:gd name="T102" fmla="*/ 97 w 124"/>
                <a:gd name="T103" fmla="*/ 52 h 176"/>
                <a:gd name="T104" fmla="*/ 86 w 124"/>
                <a:gd name="T105" fmla="*/ 44 h 176"/>
                <a:gd name="T106" fmla="*/ 57 w 124"/>
                <a:gd name="T107" fmla="*/ 31 h 176"/>
                <a:gd name="T108" fmla="*/ 47 w 124"/>
                <a:gd name="T109" fmla="*/ 22 h 176"/>
                <a:gd name="T110" fmla="*/ 43 w 124"/>
                <a:gd name="T111" fmla="*/ 15 h 176"/>
                <a:gd name="T112" fmla="*/ 40 w 124"/>
                <a:gd name="T113" fmla="*/ 2 h 176"/>
                <a:gd name="T114" fmla="*/ 40 w 124"/>
                <a:gd name="T11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4" h="176">
                  <a:moveTo>
                    <a:pt x="40" y="0"/>
                  </a:moveTo>
                  <a:lnTo>
                    <a:pt x="40" y="0"/>
                  </a:lnTo>
                  <a:lnTo>
                    <a:pt x="32" y="6"/>
                  </a:lnTo>
                  <a:lnTo>
                    <a:pt x="28" y="12"/>
                  </a:lnTo>
                  <a:lnTo>
                    <a:pt x="26" y="15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31" y="28"/>
                  </a:lnTo>
                  <a:lnTo>
                    <a:pt x="37" y="39"/>
                  </a:lnTo>
                  <a:lnTo>
                    <a:pt x="44" y="49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4" y="55"/>
                  </a:lnTo>
                  <a:lnTo>
                    <a:pt x="56" y="55"/>
                  </a:lnTo>
                  <a:lnTo>
                    <a:pt x="60" y="53"/>
                  </a:lnTo>
                  <a:lnTo>
                    <a:pt x="63" y="52"/>
                  </a:lnTo>
                  <a:lnTo>
                    <a:pt x="66" y="52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75" y="56"/>
                  </a:lnTo>
                  <a:lnTo>
                    <a:pt x="77" y="58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3" y="70"/>
                  </a:lnTo>
                  <a:lnTo>
                    <a:pt x="87" y="71"/>
                  </a:lnTo>
                  <a:lnTo>
                    <a:pt x="89" y="7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89" y="84"/>
                  </a:lnTo>
                  <a:lnTo>
                    <a:pt x="87" y="87"/>
                  </a:lnTo>
                  <a:lnTo>
                    <a:pt x="83" y="89"/>
                  </a:lnTo>
                  <a:lnTo>
                    <a:pt x="77" y="90"/>
                  </a:lnTo>
                  <a:lnTo>
                    <a:pt x="72" y="93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105"/>
                  </a:lnTo>
                  <a:lnTo>
                    <a:pt x="54" y="114"/>
                  </a:lnTo>
                  <a:lnTo>
                    <a:pt x="49" y="123"/>
                  </a:lnTo>
                  <a:lnTo>
                    <a:pt x="43" y="127"/>
                  </a:lnTo>
                  <a:lnTo>
                    <a:pt x="43" y="127"/>
                  </a:lnTo>
                  <a:lnTo>
                    <a:pt x="38" y="129"/>
                  </a:lnTo>
                  <a:lnTo>
                    <a:pt x="34" y="127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17" y="121"/>
                  </a:lnTo>
                  <a:lnTo>
                    <a:pt x="12" y="119"/>
                  </a:lnTo>
                  <a:lnTo>
                    <a:pt x="9" y="119"/>
                  </a:lnTo>
                  <a:lnTo>
                    <a:pt x="6" y="120"/>
                  </a:lnTo>
                  <a:lnTo>
                    <a:pt x="4" y="124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3" y="148"/>
                  </a:lnTo>
                  <a:lnTo>
                    <a:pt x="0" y="161"/>
                  </a:lnTo>
                  <a:lnTo>
                    <a:pt x="0" y="167"/>
                  </a:lnTo>
                  <a:lnTo>
                    <a:pt x="1" y="172"/>
                  </a:lnTo>
                  <a:lnTo>
                    <a:pt x="3" y="175"/>
                  </a:lnTo>
                  <a:lnTo>
                    <a:pt x="7" y="176"/>
                  </a:lnTo>
                  <a:lnTo>
                    <a:pt x="7" y="176"/>
                  </a:lnTo>
                  <a:lnTo>
                    <a:pt x="17" y="176"/>
                  </a:lnTo>
                  <a:lnTo>
                    <a:pt x="28" y="175"/>
                  </a:lnTo>
                  <a:lnTo>
                    <a:pt x="38" y="172"/>
                  </a:lnTo>
                  <a:lnTo>
                    <a:pt x="41" y="169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4" y="160"/>
                  </a:lnTo>
                  <a:lnTo>
                    <a:pt x="46" y="157"/>
                  </a:lnTo>
                  <a:lnTo>
                    <a:pt x="49" y="156"/>
                  </a:lnTo>
                  <a:lnTo>
                    <a:pt x="52" y="154"/>
                  </a:lnTo>
                  <a:lnTo>
                    <a:pt x="52" y="154"/>
                  </a:lnTo>
                  <a:lnTo>
                    <a:pt x="54" y="154"/>
                  </a:lnTo>
                  <a:lnTo>
                    <a:pt x="56" y="153"/>
                  </a:lnTo>
                  <a:lnTo>
                    <a:pt x="60" y="147"/>
                  </a:lnTo>
                  <a:lnTo>
                    <a:pt x="65" y="142"/>
                  </a:lnTo>
                  <a:lnTo>
                    <a:pt x="69" y="136"/>
                  </a:lnTo>
                  <a:lnTo>
                    <a:pt x="69" y="136"/>
                  </a:lnTo>
                  <a:lnTo>
                    <a:pt x="72" y="136"/>
                  </a:lnTo>
                  <a:lnTo>
                    <a:pt x="74" y="136"/>
                  </a:lnTo>
                  <a:lnTo>
                    <a:pt x="75" y="136"/>
                  </a:lnTo>
                  <a:lnTo>
                    <a:pt x="77" y="138"/>
                  </a:lnTo>
                  <a:lnTo>
                    <a:pt x="80" y="144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1" y="156"/>
                  </a:lnTo>
                  <a:lnTo>
                    <a:pt x="83" y="159"/>
                  </a:lnTo>
                  <a:lnTo>
                    <a:pt x="86" y="161"/>
                  </a:lnTo>
                  <a:lnTo>
                    <a:pt x="89" y="163"/>
                  </a:lnTo>
                  <a:lnTo>
                    <a:pt x="93" y="164"/>
                  </a:lnTo>
                  <a:lnTo>
                    <a:pt x="96" y="166"/>
                  </a:lnTo>
                  <a:lnTo>
                    <a:pt x="99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15" y="139"/>
                  </a:lnTo>
                  <a:lnTo>
                    <a:pt x="121" y="126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3" y="110"/>
                  </a:lnTo>
                  <a:lnTo>
                    <a:pt x="120" y="102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06" y="76"/>
                  </a:lnTo>
                  <a:lnTo>
                    <a:pt x="103" y="65"/>
                  </a:lnTo>
                  <a:lnTo>
                    <a:pt x="100" y="56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1" y="47"/>
                  </a:lnTo>
                  <a:lnTo>
                    <a:pt x="86" y="44"/>
                  </a:lnTo>
                  <a:lnTo>
                    <a:pt x="71" y="37"/>
                  </a:lnTo>
                  <a:lnTo>
                    <a:pt x="57" y="31"/>
                  </a:lnTo>
                  <a:lnTo>
                    <a:pt x="52" y="27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3" y="15"/>
                  </a:lnTo>
                  <a:lnTo>
                    <a:pt x="41" y="7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4" name="Freeform 123">
              <a:extLst>
                <a:ext uri="{FF2B5EF4-FFF2-40B4-BE49-F238E27FC236}">
                  <a16:creationId xmlns:a16="http://schemas.microsoft.com/office/drawing/2014/main" id="{D40972F4-42AD-344C-A84B-9A7EDBF07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0375" y="6003925"/>
              <a:ext cx="422275" cy="249237"/>
            </a:xfrm>
            <a:custGeom>
              <a:avLst/>
              <a:gdLst>
                <a:gd name="T0" fmla="*/ 0 w 266"/>
                <a:gd name="T1" fmla="*/ 115 h 157"/>
                <a:gd name="T2" fmla="*/ 19 w 266"/>
                <a:gd name="T3" fmla="*/ 114 h 157"/>
                <a:gd name="T4" fmla="*/ 23 w 266"/>
                <a:gd name="T5" fmla="*/ 115 h 157"/>
                <a:gd name="T6" fmla="*/ 25 w 266"/>
                <a:gd name="T7" fmla="*/ 123 h 157"/>
                <a:gd name="T8" fmla="*/ 31 w 266"/>
                <a:gd name="T9" fmla="*/ 132 h 157"/>
                <a:gd name="T10" fmla="*/ 37 w 266"/>
                <a:gd name="T11" fmla="*/ 133 h 157"/>
                <a:gd name="T12" fmla="*/ 49 w 266"/>
                <a:gd name="T13" fmla="*/ 129 h 157"/>
                <a:gd name="T14" fmla="*/ 53 w 266"/>
                <a:gd name="T15" fmla="*/ 127 h 157"/>
                <a:gd name="T16" fmla="*/ 68 w 266"/>
                <a:gd name="T17" fmla="*/ 129 h 157"/>
                <a:gd name="T18" fmla="*/ 72 w 266"/>
                <a:gd name="T19" fmla="*/ 127 h 157"/>
                <a:gd name="T20" fmla="*/ 80 w 266"/>
                <a:gd name="T21" fmla="*/ 121 h 157"/>
                <a:gd name="T22" fmla="*/ 84 w 266"/>
                <a:gd name="T23" fmla="*/ 121 h 157"/>
                <a:gd name="T24" fmla="*/ 93 w 266"/>
                <a:gd name="T25" fmla="*/ 126 h 157"/>
                <a:gd name="T26" fmla="*/ 100 w 266"/>
                <a:gd name="T27" fmla="*/ 133 h 157"/>
                <a:gd name="T28" fmla="*/ 100 w 266"/>
                <a:gd name="T29" fmla="*/ 139 h 157"/>
                <a:gd name="T30" fmla="*/ 102 w 266"/>
                <a:gd name="T31" fmla="*/ 148 h 157"/>
                <a:gd name="T32" fmla="*/ 105 w 266"/>
                <a:gd name="T33" fmla="*/ 151 h 157"/>
                <a:gd name="T34" fmla="*/ 115 w 266"/>
                <a:gd name="T35" fmla="*/ 155 h 157"/>
                <a:gd name="T36" fmla="*/ 128 w 266"/>
                <a:gd name="T37" fmla="*/ 155 h 157"/>
                <a:gd name="T38" fmla="*/ 133 w 266"/>
                <a:gd name="T39" fmla="*/ 152 h 157"/>
                <a:gd name="T40" fmla="*/ 139 w 266"/>
                <a:gd name="T41" fmla="*/ 145 h 157"/>
                <a:gd name="T42" fmla="*/ 142 w 266"/>
                <a:gd name="T43" fmla="*/ 142 h 157"/>
                <a:gd name="T44" fmla="*/ 152 w 266"/>
                <a:gd name="T45" fmla="*/ 142 h 157"/>
                <a:gd name="T46" fmla="*/ 163 w 266"/>
                <a:gd name="T47" fmla="*/ 141 h 157"/>
                <a:gd name="T48" fmla="*/ 167 w 266"/>
                <a:gd name="T49" fmla="*/ 138 h 157"/>
                <a:gd name="T50" fmla="*/ 170 w 266"/>
                <a:gd name="T51" fmla="*/ 133 h 157"/>
                <a:gd name="T52" fmla="*/ 173 w 266"/>
                <a:gd name="T53" fmla="*/ 129 h 157"/>
                <a:gd name="T54" fmla="*/ 179 w 266"/>
                <a:gd name="T55" fmla="*/ 120 h 157"/>
                <a:gd name="T56" fmla="*/ 189 w 266"/>
                <a:gd name="T57" fmla="*/ 115 h 157"/>
                <a:gd name="T58" fmla="*/ 194 w 266"/>
                <a:gd name="T59" fmla="*/ 114 h 157"/>
                <a:gd name="T60" fmla="*/ 200 w 266"/>
                <a:gd name="T61" fmla="*/ 108 h 157"/>
                <a:gd name="T62" fmla="*/ 201 w 266"/>
                <a:gd name="T63" fmla="*/ 104 h 157"/>
                <a:gd name="T64" fmla="*/ 200 w 266"/>
                <a:gd name="T65" fmla="*/ 98 h 157"/>
                <a:gd name="T66" fmla="*/ 203 w 266"/>
                <a:gd name="T67" fmla="*/ 89 h 157"/>
                <a:gd name="T68" fmla="*/ 211 w 266"/>
                <a:gd name="T69" fmla="*/ 74 h 157"/>
                <a:gd name="T70" fmla="*/ 216 w 266"/>
                <a:gd name="T71" fmla="*/ 67 h 157"/>
                <a:gd name="T72" fmla="*/ 214 w 266"/>
                <a:gd name="T73" fmla="*/ 65 h 157"/>
                <a:gd name="T74" fmla="*/ 216 w 266"/>
                <a:gd name="T75" fmla="*/ 52 h 157"/>
                <a:gd name="T76" fmla="*/ 216 w 266"/>
                <a:gd name="T77" fmla="*/ 38 h 157"/>
                <a:gd name="T78" fmla="*/ 214 w 266"/>
                <a:gd name="T79" fmla="*/ 33 h 157"/>
                <a:gd name="T80" fmla="*/ 208 w 266"/>
                <a:gd name="T81" fmla="*/ 15 h 157"/>
                <a:gd name="T82" fmla="*/ 211 w 266"/>
                <a:gd name="T83" fmla="*/ 10 h 157"/>
                <a:gd name="T84" fmla="*/ 222 w 266"/>
                <a:gd name="T85" fmla="*/ 1 h 157"/>
                <a:gd name="T86" fmla="*/ 229 w 266"/>
                <a:gd name="T87" fmla="*/ 0 h 157"/>
                <a:gd name="T88" fmla="*/ 231 w 266"/>
                <a:gd name="T89" fmla="*/ 3 h 157"/>
                <a:gd name="T90" fmla="*/ 241 w 266"/>
                <a:gd name="T91" fmla="*/ 15 h 157"/>
                <a:gd name="T92" fmla="*/ 247 w 266"/>
                <a:gd name="T93" fmla="*/ 13 h 157"/>
                <a:gd name="T94" fmla="*/ 266 w 266"/>
                <a:gd name="T95" fmla="*/ 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157">
                  <a:moveTo>
                    <a:pt x="0" y="115"/>
                  </a:moveTo>
                  <a:lnTo>
                    <a:pt x="0" y="115"/>
                  </a:lnTo>
                  <a:lnTo>
                    <a:pt x="12" y="114"/>
                  </a:lnTo>
                  <a:lnTo>
                    <a:pt x="19" y="114"/>
                  </a:lnTo>
                  <a:lnTo>
                    <a:pt x="22" y="114"/>
                  </a:lnTo>
                  <a:lnTo>
                    <a:pt x="23" y="115"/>
                  </a:lnTo>
                  <a:lnTo>
                    <a:pt x="23" y="115"/>
                  </a:lnTo>
                  <a:lnTo>
                    <a:pt x="25" y="123"/>
                  </a:lnTo>
                  <a:lnTo>
                    <a:pt x="26" y="127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37" y="133"/>
                  </a:lnTo>
                  <a:lnTo>
                    <a:pt x="41" y="133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53" y="127"/>
                  </a:lnTo>
                  <a:lnTo>
                    <a:pt x="59" y="127"/>
                  </a:lnTo>
                  <a:lnTo>
                    <a:pt x="68" y="129"/>
                  </a:lnTo>
                  <a:lnTo>
                    <a:pt x="68" y="129"/>
                  </a:lnTo>
                  <a:lnTo>
                    <a:pt x="72" y="127"/>
                  </a:lnTo>
                  <a:lnTo>
                    <a:pt x="77" y="124"/>
                  </a:lnTo>
                  <a:lnTo>
                    <a:pt x="80" y="121"/>
                  </a:lnTo>
                  <a:lnTo>
                    <a:pt x="84" y="121"/>
                  </a:lnTo>
                  <a:lnTo>
                    <a:pt x="84" y="121"/>
                  </a:lnTo>
                  <a:lnTo>
                    <a:pt x="87" y="123"/>
                  </a:lnTo>
                  <a:lnTo>
                    <a:pt x="93" y="126"/>
                  </a:lnTo>
                  <a:lnTo>
                    <a:pt x="97" y="129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9"/>
                  </a:lnTo>
                  <a:lnTo>
                    <a:pt x="100" y="144"/>
                  </a:lnTo>
                  <a:lnTo>
                    <a:pt x="102" y="148"/>
                  </a:lnTo>
                  <a:lnTo>
                    <a:pt x="102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15" y="155"/>
                  </a:lnTo>
                  <a:lnTo>
                    <a:pt x="121" y="157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33" y="152"/>
                  </a:lnTo>
                  <a:lnTo>
                    <a:pt x="136" y="150"/>
                  </a:lnTo>
                  <a:lnTo>
                    <a:pt x="139" y="145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6" y="142"/>
                  </a:lnTo>
                  <a:lnTo>
                    <a:pt x="152" y="142"/>
                  </a:lnTo>
                  <a:lnTo>
                    <a:pt x="163" y="141"/>
                  </a:lnTo>
                  <a:lnTo>
                    <a:pt x="163" y="141"/>
                  </a:lnTo>
                  <a:lnTo>
                    <a:pt x="164" y="139"/>
                  </a:lnTo>
                  <a:lnTo>
                    <a:pt x="167" y="138"/>
                  </a:lnTo>
                  <a:lnTo>
                    <a:pt x="167" y="138"/>
                  </a:lnTo>
                  <a:lnTo>
                    <a:pt x="170" y="133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4" y="124"/>
                  </a:lnTo>
                  <a:lnTo>
                    <a:pt x="179" y="120"/>
                  </a:lnTo>
                  <a:lnTo>
                    <a:pt x="185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94" y="114"/>
                  </a:lnTo>
                  <a:lnTo>
                    <a:pt x="197" y="113"/>
                  </a:lnTo>
                  <a:lnTo>
                    <a:pt x="200" y="108"/>
                  </a:lnTo>
                  <a:lnTo>
                    <a:pt x="201" y="104"/>
                  </a:lnTo>
                  <a:lnTo>
                    <a:pt x="201" y="104"/>
                  </a:lnTo>
                  <a:lnTo>
                    <a:pt x="201" y="101"/>
                  </a:lnTo>
                  <a:lnTo>
                    <a:pt x="200" y="98"/>
                  </a:lnTo>
                  <a:lnTo>
                    <a:pt x="200" y="95"/>
                  </a:lnTo>
                  <a:lnTo>
                    <a:pt x="203" y="89"/>
                  </a:lnTo>
                  <a:lnTo>
                    <a:pt x="203" y="89"/>
                  </a:lnTo>
                  <a:lnTo>
                    <a:pt x="211" y="74"/>
                  </a:lnTo>
                  <a:lnTo>
                    <a:pt x="214" y="68"/>
                  </a:lnTo>
                  <a:lnTo>
                    <a:pt x="216" y="67"/>
                  </a:lnTo>
                  <a:lnTo>
                    <a:pt x="214" y="65"/>
                  </a:lnTo>
                  <a:lnTo>
                    <a:pt x="214" y="65"/>
                  </a:lnTo>
                  <a:lnTo>
                    <a:pt x="214" y="59"/>
                  </a:lnTo>
                  <a:lnTo>
                    <a:pt x="216" y="52"/>
                  </a:lnTo>
                  <a:lnTo>
                    <a:pt x="216" y="43"/>
                  </a:lnTo>
                  <a:lnTo>
                    <a:pt x="216" y="38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08" y="19"/>
                  </a:lnTo>
                  <a:lnTo>
                    <a:pt x="208" y="15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6" y="4"/>
                  </a:lnTo>
                  <a:lnTo>
                    <a:pt x="222" y="1"/>
                  </a:lnTo>
                  <a:lnTo>
                    <a:pt x="226" y="0"/>
                  </a:lnTo>
                  <a:lnTo>
                    <a:pt x="229" y="0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8" y="12"/>
                  </a:lnTo>
                  <a:lnTo>
                    <a:pt x="241" y="15"/>
                  </a:lnTo>
                  <a:lnTo>
                    <a:pt x="244" y="15"/>
                  </a:lnTo>
                  <a:lnTo>
                    <a:pt x="247" y="13"/>
                  </a:lnTo>
                  <a:lnTo>
                    <a:pt x="247" y="13"/>
                  </a:lnTo>
                  <a:lnTo>
                    <a:pt x="266" y="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5" name="Freeform 124">
              <a:extLst>
                <a:ext uri="{FF2B5EF4-FFF2-40B4-BE49-F238E27FC236}">
                  <a16:creationId xmlns:a16="http://schemas.microsoft.com/office/drawing/2014/main" id="{2CD01C6F-ED10-2B4B-9FAB-001A86070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17763" y="7373938"/>
              <a:ext cx="447675" cy="574675"/>
            </a:xfrm>
            <a:custGeom>
              <a:avLst/>
              <a:gdLst>
                <a:gd name="T0" fmla="*/ 20 w 282"/>
                <a:gd name="T1" fmla="*/ 350 h 362"/>
                <a:gd name="T2" fmla="*/ 45 w 282"/>
                <a:gd name="T3" fmla="*/ 328 h 362"/>
                <a:gd name="T4" fmla="*/ 48 w 282"/>
                <a:gd name="T5" fmla="*/ 317 h 362"/>
                <a:gd name="T6" fmla="*/ 39 w 282"/>
                <a:gd name="T7" fmla="*/ 300 h 362"/>
                <a:gd name="T8" fmla="*/ 37 w 282"/>
                <a:gd name="T9" fmla="*/ 286 h 362"/>
                <a:gd name="T10" fmla="*/ 39 w 282"/>
                <a:gd name="T11" fmla="*/ 267 h 362"/>
                <a:gd name="T12" fmla="*/ 55 w 282"/>
                <a:gd name="T13" fmla="*/ 267 h 362"/>
                <a:gd name="T14" fmla="*/ 66 w 282"/>
                <a:gd name="T15" fmla="*/ 246 h 362"/>
                <a:gd name="T16" fmla="*/ 80 w 282"/>
                <a:gd name="T17" fmla="*/ 251 h 362"/>
                <a:gd name="T18" fmla="*/ 88 w 282"/>
                <a:gd name="T19" fmla="*/ 268 h 362"/>
                <a:gd name="T20" fmla="*/ 92 w 282"/>
                <a:gd name="T21" fmla="*/ 271 h 362"/>
                <a:gd name="T22" fmla="*/ 104 w 282"/>
                <a:gd name="T23" fmla="*/ 260 h 362"/>
                <a:gd name="T24" fmla="*/ 117 w 282"/>
                <a:gd name="T25" fmla="*/ 260 h 362"/>
                <a:gd name="T26" fmla="*/ 129 w 282"/>
                <a:gd name="T27" fmla="*/ 252 h 362"/>
                <a:gd name="T28" fmla="*/ 143 w 282"/>
                <a:gd name="T29" fmla="*/ 245 h 362"/>
                <a:gd name="T30" fmla="*/ 166 w 282"/>
                <a:gd name="T31" fmla="*/ 240 h 362"/>
                <a:gd name="T32" fmla="*/ 162 w 282"/>
                <a:gd name="T33" fmla="*/ 230 h 362"/>
                <a:gd name="T34" fmla="*/ 174 w 282"/>
                <a:gd name="T35" fmla="*/ 224 h 362"/>
                <a:gd name="T36" fmla="*/ 178 w 282"/>
                <a:gd name="T37" fmla="*/ 205 h 362"/>
                <a:gd name="T38" fmla="*/ 172 w 282"/>
                <a:gd name="T39" fmla="*/ 196 h 362"/>
                <a:gd name="T40" fmla="*/ 168 w 282"/>
                <a:gd name="T41" fmla="*/ 188 h 362"/>
                <a:gd name="T42" fmla="*/ 166 w 282"/>
                <a:gd name="T43" fmla="*/ 171 h 362"/>
                <a:gd name="T44" fmla="*/ 181 w 282"/>
                <a:gd name="T45" fmla="*/ 156 h 362"/>
                <a:gd name="T46" fmla="*/ 197 w 282"/>
                <a:gd name="T47" fmla="*/ 154 h 362"/>
                <a:gd name="T48" fmla="*/ 205 w 282"/>
                <a:gd name="T49" fmla="*/ 137 h 362"/>
                <a:gd name="T50" fmla="*/ 211 w 282"/>
                <a:gd name="T51" fmla="*/ 128 h 362"/>
                <a:gd name="T52" fmla="*/ 225 w 282"/>
                <a:gd name="T53" fmla="*/ 117 h 362"/>
                <a:gd name="T54" fmla="*/ 230 w 282"/>
                <a:gd name="T55" fmla="*/ 109 h 362"/>
                <a:gd name="T56" fmla="*/ 224 w 282"/>
                <a:gd name="T57" fmla="*/ 103 h 362"/>
                <a:gd name="T58" fmla="*/ 218 w 282"/>
                <a:gd name="T59" fmla="*/ 89 h 362"/>
                <a:gd name="T60" fmla="*/ 212 w 282"/>
                <a:gd name="T61" fmla="*/ 85 h 362"/>
                <a:gd name="T62" fmla="*/ 202 w 282"/>
                <a:gd name="T63" fmla="*/ 95 h 362"/>
                <a:gd name="T64" fmla="*/ 185 w 282"/>
                <a:gd name="T65" fmla="*/ 97 h 362"/>
                <a:gd name="T66" fmla="*/ 166 w 282"/>
                <a:gd name="T67" fmla="*/ 101 h 362"/>
                <a:gd name="T68" fmla="*/ 171 w 282"/>
                <a:gd name="T69" fmla="*/ 94 h 362"/>
                <a:gd name="T70" fmla="*/ 171 w 282"/>
                <a:gd name="T71" fmla="*/ 89 h 362"/>
                <a:gd name="T72" fmla="*/ 145 w 282"/>
                <a:gd name="T73" fmla="*/ 89 h 362"/>
                <a:gd name="T74" fmla="*/ 141 w 282"/>
                <a:gd name="T75" fmla="*/ 69 h 362"/>
                <a:gd name="T76" fmla="*/ 145 w 282"/>
                <a:gd name="T77" fmla="*/ 55 h 362"/>
                <a:gd name="T78" fmla="*/ 171 w 282"/>
                <a:gd name="T79" fmla="*/ 42 h 362"/>
                <a:gd name="T80" fmla="*/ 183 w 282"/>
                <a:gd name="T81" fmla="*/ 21 h 362"/>
                <a:gd name="T82" fmla="*/ 180 w 282"/>
                <a:gd name="T83" fmla="*/ 0 h 362"/>
                <a:gd name="T84" fmla="*/ 190 w 282"/>
                <a:gd name="T85" fmla="*/ 8 h 362"/>
                <a:gd name="T86" fmla="*/ 202 w 282"/>
                <a:gd name="T87" fmla="*/ 12 h 362"/>
                <a:gd name="T88" fmla="*/ 217 w 282"/>
                <a:gd name="T89" fmla="*/ 9 h 362"/>
                <a:gd name="T90" fmla="*/ 227 w 282"/>
                <a:gd name="T91" fmla="*/ 23 h 362"/>
                <a:gd name="T92" fmla="*/ 227 w 282"/>
                <a:gd name="T93" fmla="*/ 33 h 362"/>
                <a:gd name="T94" fmla="*/ 251 w 282"/>
                <a:gd name="T95" fmla="*/ 36 h 362"/>
                <a:gd name="T96" fmla="*/ 255 w 282"/>
                <a:gd name="T97" fmla="*/ 48 h 362"/>
                <a:gd name="T98" fmla="*/ 248 w 282"/>
                <a:gd name="T99" fmla="*/ 66 h 362"/>
                <a:gd name="T100" fmla="*/ 254 w 282"/>
                <a:gd name="T101" fmla="*/ 70 h 362"/>
                <a:gd name="T102" fmla="*/ 261 w 282"/>
                <a:gd name="T103" fmla="*/ 73 h 362"/>
                <a:gd name="T104" fmla="*/ 270 w 282"/>
                <a:gd name="T105" fmla="*/ 74 h 362"/>
                <a:gd name="T106" fmla="*/ 279 w 282"/>
                <a:gd name="T107" fmla="*/ 6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2" h="362">
                  <a:moveTo>
                    <a:pt x="0" y="362"/>
                  </a:moveTo>
                  <a:lnTo>
                    <a:pt x="0" y="362"/>
                  </a:lnTo>
                  <a:lnTo>
                    <a:pt x="11" y="354"/>
                  </a:lnTo>
                  <a:lnTo>
                    <a:pt x="20" y="350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39" y="334"/>
                  </a:lnTo>
                  <a:lnTo>
                    <a:pt x="45" y="328"/>
                  </a:lnTo>
                  <a:lnTo>
                    <a:pt x="48" y="322"/>
                  </a:lnTo>
                  <a:lnTo>
                    <a:pt x="48" y="322"/>
                  </a:lnTo>
                  <a:lnTo>
                    <a:pt x="48" y="320"/>
                  </a:lnTo>
                  <a:lnTo>
                    <a:pt x="48" y="317"/>
                  </a:lnTo>
                  <a:lnTo>
                    <a:pt x="43" y="310"/>
                  </a:lnTo>
                  <a:lnTo>
                    <a:pt x="40" y="304"/>
                  </a:lnTo>
                  <a:lnTo>
                    <a:pt x="39" y="301"/>
                  </a:lnTo>
                  <a:lnTo>
                    <a:pt x="39" y="300"/>
                  </a:lnTo>
                  <a:lnTo>
                    <a:pt x="39" y="300"/>
                  </a:lnTo>
                  <a:lnTo>
                    <a:pt x="39" y="294"/>
                  </a:lnTo>
                  <a:lnTo>
                    <a:pt x="37" y="286"/>
                  </a:lnTo>
                  <a:lnTo>
                    <a:pt x="37" y="286"/>
                  </a:lnTo>
                  <a:lnTo>
                    <a:pt x="36" y="280"/>
                  </a:lnTo>
                  <a:lnTo>
                    <a:pt x="36" y="274"/>
                  </a:lnTo>
                  <a:lnTo>
                    <a:pt x="37" y="268"/>
                  </a:lnTo>
                  <a:lnTo>
                    <a:pt x="39" y="267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51" y="268"/>
                  </a:lnTo>
                  <a:lnTo>
                    <a:pt x="55" y="267"/>
                  </a:lnTo>
                  <a:lnTo>
                    <a:pt x="57" y="264"/>
                  </a:lnTo>
                  <a:lnTo>
                    <a:pt x="57" y="264"/>
                  </a:lnTo>
                  <a:lnTo>
                    <a:pt x="63" y="251"/>
                  </a:lnTo>
                  <a:lnTo>
                    <a:pt x="66" y="246"/>
                  </a:lnTo>
                  <a:lnTo>
                    <a:pt x="68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80" y="251"/>
                  </a:lnTo>
                  <a:lnTo>
                    <a:pt x="85" y="254"/>
                  </a:lnTo>
                  <a:lnTo>
                    <a:pt x="86" y="258"/>
                  </a:lnTo>
                  <a:lnTo>
                    <a:pt x="86" y="258"/>
                  </a:lnTo>
                  <a:lnTo>
                    <a:pt x="88" y="268"/>
                  </a:lnTo>
                  <a:lnTo>
                    <a:pt x="89" y="271"/>
                  </a:lnTo>
                  <a:lnTo>
                    <a:pt x="91" y="271"/>
                  </a:lnTo>
                  <a:lnTo>
                    <a:pt x="92" y="271"/>
                  </a:lnTo>
                  <a:lnTo>
                    <a:pt x="92" y="271"/>
                  </a:lnTo>
                  <a:lnTo>
                    <a:pt x="95" y="270"/>
                  </a:lnTo>
                  <a:lnTo>
                    <a:pt x="98" y="265"/>
                  </a:lnTo>
                  <a:lnTo>
                    <a:pt x="100" y="263"/>
                  </a:lnTo>
                  <a:lnTo>
                    <a:pt x="104" y="260"/>
                  </a:lnTo>
                  <a:lnTo>
                    <a:pt x="104" y="260"/>
                  </a:lnTo>
                  <a:lnTo>
                    <a:pt x="108" y="258"/>
                  </a:lnTo>
                  <a:lnTo>
                    <a:pt x="113" y="260"/>
                  </a:lnTo>
                  <a:lnTo>
                    <a:pt x="117" y="260"/>
                  </a:lnTo>
                  <a:lnTo>
                    <a:pt x="125" y="257"/>
                  </a:lnTo>
                  <a:lnTo>
                    <a:pt x="125" y="257"/>
                  </a:lnTo>
                  <a:lnTo>
                    <a:pt x="128" y="255"/>
                  </a:lnTo>
                  <a:lnTo>
                    <a:pt x="129" y="252"/>
                  </a:lnTo>
                  <a:lnTo>
                    <a:pt x="132" y="249"/>
                  </a:lnTo>
                  <a:lnTo>
                    <a:pt x="135" y="245"/>
                  </a:lnTo>
                  <a:lnTo>
                    <a:pt x="138" y="245"/>
                  </a:lnTo>
                  <a:lnTo>
                    <a:pt x="143" y="245"/>
                  </a:lnTo>
                  <a:lnTo>
                    <a:pt x="143" y="245"/>
                  </a:lnTo>
                  <a:lnTo>
                    <a:pt x="159" y="243"/>
                  </a:lnTo>
                  <a:lnTo>
                    <a:pt x="163" y="242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5" y="237"/>
                  </a:lnTo>
                  <a:lnTo>
                    <a:pt x="163" y="233"/>
                  </a:lnTo>
                  <a:lnTo>
                    <a:pt x="162" y="230"/>
                  </a:lnTo>
                  <a:lnTo>
                    <a:pt x="163" y="228"/>
                  </a:lnTo>
                  <a:lnTo>
                    <a:pt x="165" y="227"/>
                  </a:lnTo>
                  <a:lnTo>
                    <a:pt x="165" y="227"/>
                  </a:lnTo>
                  <a:lnTo>
                    <a:pt x="174" y="224"/>
                  </a:lnTo>
                  <a:lnTo>
                    <a:pt x="175" y="223"/>
                  </a:lnTo>
                  <a:lnTo>
                    <a:pt x="177" y="217"/>
                  </a:lnTo>
                  <a:lnTo>
                    <a:pt x="177" y="217"/>
                  </a:lnTo>
                  <a:lnTo>
                    <a:pt x="178" y="205"/>
                  </a:lnTo>
                  <a:lnTo>
                    <a:pt x="178" y="202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2" y="196"/>
                  </a:lnTo>
                  <a:lnTo>
                    <a:pt x="169" y="194"/>
                  </a:lnTo>
                  <a:lnTo>
                    <a:pt x="168" y="191"/>
                  </a:lnTo>
                  <a:lnTo>
                    <a:pt x="168" y="188"/>
                  </a:lnTo>
                  <a:lnTo>
                    <a:pt x="168" y="188"/>
                  </a:lnTo>
                  <a:lnTo>
                    <a:pt x="169" y="183"/>
                  </a:lnTo>
                  <a:lnTo>
                    <a:pt x="168" y="178"/>
                  </a:lnTo>
                  <a:lnTo>
                    <a:pt x="166" y="174"/>
                  </a:lnTo>
                  <a:lnTo>
                    <a:pt x="166" y="171"/>
                  </a:lnTo>
                  <a:lnTo>
                    <a:pt x="168" y="169"/>
                  </a:lnTo>
                  <a:lnTo>
                    <a:pt x="168" y="169"/>
                  </a:lnTo>
                  <a:lnTo>
                    <a:pt x="177" y="160"/>
                  </a:lnTo>
                  <a:lnTo>
                    <a:pt x="181" y="156"/>
                  </a:lnTo>
                  <a:lnTo>
                    <a:pt x="184" y="154"/>
                  </a:lnTo>
                  <a:lnTo>
                    <a:pt x="187" y="154"/>
                  </a:lnTo>
                  <a:lnTo>
                    <a:pt x="187" y="154"/>
                  </a:lnTo>
                  <a:lnTo>
                    <a:pt x="197" y="154"/>
                  </a:lnTo>
                  <a:lnTo>
                    <a:pt x="200" y="153"/>
                  </a:lnTo>
                  <a:lnTo>
                    <a:pt x="202" y="150"/>
                  </a:lnTo>
                  <a:lnTo>
                    <a:pt x="202" y="150"/>
                  </a:lnTo>
                  <a:lnTo>
                    <a:pt x="205" y="137"/>
                  </a:lnTo>
                  <a:lnTo>
                    <a:pt x="208" y="131"/>
                  </a:lnTo>
                  <a:lnTo>
                    <a:pt x="209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5" y="126"/>
                  </a:lnTo>
                  <a:lnTo>
                    <a:pt x="220" y="125"/>
                  </a:lnTo>
                  <a:lnTo>
                    <a:pt x="222" y="122"/>
                  </a:lnTo>
                  <a:lnTo>
                    <a:pt x="225" y="117"/>
                  </a:lnTo>
                  <a:lnTo>
                    <a:pt x="225" y="117"/>
                  </a:lnTo>
                  <a:lnTo>
                    <a:pt x="227" y="114"/>
                  </a:lnTo>
                  <a:lnTo>
                    <a:pt x="228" y="111"/>
                  </a:lnTo>
                  <a:lnTo>
                    <a:pt x="230" y="109"/>
                  </a:lnTo>
                  <a:lnTo>
                    <a:pt x="230" y="106"/>
                  </a:lnTo>
                  <a:lnTo>
                    <a:pt x="230" y="106"/>
                  </a:lnTo>
                  <a:lnTo>
                    <a:pt x="227" y="104"/>
                  </a:lnTo>
                  <a:lnTo>
                    <a:pt x="224" y="103"/>
                  </a:lnTo>
                  <a:lnTo>
                    <a:pt x="221" y="103"/>
                  </a:lnTo>
                  <a:lnTo>
                    <a:pt x="220" y="100"/>
                  </a:lnTo>
                  <a:lnTo>
                    <a:pt x="220" y="100"/>
                  </a:lnTo>
                  <a:lnTo>
                    <a:pt x="218" y="89"/>
                  </a:lnTo>
                  <a:lnTo>
                    <a:pt x="217" y="85"/>
                  </a:lnTo>
                  <a:lnTo>
                    <a:pt x="215" y="85"/>
                  </a:lnTo>
                  <a:lnTo>
                    <a:pt x="212" y="85"/>
                  </a:lnTo>
                  <a:lnTo>
                    <a:pt x="212" y="85"/>
                  </a:lnTo>
                  <a:lnTo>
                    <a:pt x="209" y="88"/>
                  </a:lnTo>
                  <a:lnTo>
                    <a:pt x="208" y="91"/>
                  </a:lnTo>
                  <a:lnTo>
                    <a:pt x="206" y="94"/>
                  </a:lnTo>
                  <a:lnTo>
                    <a:pt x="202" y="95"/>
                  </a:lnTo>
                  <a:lnTo>
                    <a:pt x="202" y="95"/>
                  </a:lnTo>
                  <a:lnTo>
                    <a:pt x="191" y="95"/>
                  </a:lnTo>
                  <a:lnTo>
                    <a:pt x="188" y="95"/>
                  </a:lnTo>
                  <a:lnTo>
                    <a:pt x="185" y="97"/>
                  </a:lnTo>
                  <a:lnTo>
                    <a:pt x="185" y="97"/>
                  </a:lnTo>
                  <a:lnTo>
                    <a:pt x="174" y="101"/>
                  </a:lnTo>
                  <a:lnTo>
                    <a:pt x="168" y="103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8" y="97"/>
                  </a:lnTo>
                  <a:lnTo>
                    <a:pt x="171" y="94"/>
                  </a:lnTo>
                  <a:lnTo>
                    <a:pt x="172" y="91"/>
                  </a:lnTo>
                  <a:lnTo>
                    <a:pt x="172" y="89"/>
                  </a:lnTo>
                  <a:lnTo>
                    <a:pt x="171" y="89"/>
                  </a:lnTo>
                  <a:lnTo>
                    <a:pt x="171" y="89"/>
                  </a:lnTo>
                  <a:lnTo>
                    <a:pt x="163" y="89"/>
                  </a:lnTo>
                  <a:lnTo>
                    <a:pt x="156" y="91"/>
                  </a:lnTo>
                  <a:lnTo>
                    <a:pt x="147" y="91"/>
                  </a:lnTo>
                  <a:lnTo>
                    <a:pt x="145" y="89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1" y="79"/>
                  </a:lnTo>
                  <a:lnTo>
                    <a:pt x="141" y="69"/>
                  </a:lnTo>
                  <a:lnTo>
                    <a:pt x="143" y="60"/>
                  </a:lnTo>
                  <a:lnTo>
                    <a:pt x="144" y="57"/>
                  </a:lnTo>
                  <a:lnTo>
                    <a:pt x="145" y="55"/>
                  </a:lnTo>
                  <a:lnTo>
                    <a:pt x="145" y="55"/>
                  </a:lnTo>
                  <a:lnTo>
                    <a:pt x="151" y="54"/>
                  </a:lnTo>
                  <a:lnTo>
                    <a:pt x="159" y="51"/>
                  </a:lnTo>
                  <a:lnTo>
                    <a:pt x="165" y="48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80" y="30"/>
                  </a:lnTo>
                  <a:lnTo>
                    <a:pt x="183" y="26"/>
                  </a:lnTo>
                  <a:lnTo>
                    <a:pt x="183" y="21"/>
                  </a:lnTo>
                  <a:lnTo>
                    <a:pt x="183" y="21"/>
                  </a:lnTo>
                  <a:lnTo>
                    <a:pt x="178" y="8"/>
                  </a:lnTo>
                  <a:lnTo>
                    <a:pt x="178" y="2"/>
                  </a:lnTo>
                  <a:lnTo>
                    <a:pt x="180" y="0"/>
                  </a:lnTo>
                  <a:lnTo>
                    <a:pt x="181" y="0"/>
                  </a:lnTo>
                  <a:lnTo>
                    <a:pt x="181" y="0"/>
                  </a:lnTo>
                  <a:lnTo>
                    <a:pt x="185" y="3"/>
                  </a:lnTo>
                  <a:lnTo>
                    <a:pt x="190" y="8"/>
                  </a:lnTo>
                  <a:lnTo>
                    <a:pt x="193" y="11"/>
                  </a:lnTo>
                  <a:lnTo>
                    <a:pt x="197" y="12"/>
                  </a:lnTo>
                  <a:lnTo>
                    <a:pt x="197" y="12"/>
                  </a:lnTo>
                  <a:lnTo>
                    <a:pt x="202" y="12"/>
                  </a:lnTo>
                  <a:lnTo>
                    <a:pt x="206" y="11"/>
                  </a:lnTo>
                  <a:lnTo>
                    <a:pt x="211" y="9"/>
                  </a:lnTo>
                  <a:lnTo>
                    <a:pt x="217" y="9"/>
                  </a:lnTo>
                  <a:lnTo>
                    <a:pt x="217" y="9"/>
                  </a:lnTo>
                  <a:lnTo>
                    <a:pt x="222" y="12"/>
                  </a:lnTo>
                  <a:lnTo>
                    <a:pt x="225" y="15"/>
                  </a:lnTo>
                  <a:lnTo>
                    <a:pt x="227" y="18"/>
                  </a:lnTo>
                  <a:lnTo>
                    <a:pt x="227" y="23"/>
                  </a:lnTo>
                  <a:lnTo>
                    <a:pt x="227" y="23"/>
                  </a:lnTo>
                  <a:lnTo>
                    <a:pt x="225" y="27"/>
                  </a:lnTo>
                  <a:lnTo>
                    <a:pt x="225" y="31"/>
                  </a:lnTo>
                  <a:lnTo>
                    <a:pt x="227" y="33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45" y="34"/>
                  </a:lnTo>
                  <a:lnTo>
                    <a:pt x="251" y="36"/>
                  </a:lnTo>
                  <a:lnTo>
                    <a:pt x="252" y="36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5" y="48"/>
                  </a:lnTo>
                  <a:lnTo>
                    <a:pt x="254" y="52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48" y="66"/>
                  </a:lnTo>
                  <a:lnTo>
                    <a:pt x="248" y="67"/>
                  </a:lnTo>
                  <a:lnTo>
                    <a:pt x="249" y="70"/>
                  </a:lnTo>
                  <a:lnTo>
                    <a:pt x="249" y="70"/>
                  </a:lnTo>
                  <a:lnTo>
                    <a:pt x="254" y="70"/>
                  </a:lnTo>
                  <a:lnTo>
                    <a:pt x="257" y="70"/>
                  </a:lnTo>
                  <a:lnTo>
                    <a:pt x="258" y="70"/>
                  </a:lnTo>
                  <a:lnTo>
                    <a:pt x="261" y="73"/>
                  </a:lnTo>
                  <a:lnTo>
                    <a:pt x="261" y="73"/>
                  </a:lnTo>
                  <a:lnTo>
                    <a:pt x="262" y="76"/>
                  </a:lnTo>
                  <a:lnTo>
                    <a:pt x="265" y="77"/>
                  </a:lnTo>
                  <a:lnTo>
                    <a:pt x="268" y="77"/>
                  </a:lnTo>
                  <a:lnTo>
                    <a:pt x="270" y="74"/>
                  </a:lnTo>
                  <a:lnTo>
                    <a:pt x="270" y="74"/>
                  </a:lnTo>
                  <a:lnTo>
                    <a:pt x="274" y="69"/>
                  </a:lnTo>
                  <a:lnTo>
                    <a:pt x="276" y="66"/>
                  </a:lnTo>
                  <a:lnTo>
                    <a:pt x="279" y="64"/>
                  </a:lnTo>
                  <a:lnTo>
                    <a:pt x="279" y="64"/>
                  </a:lnTo>
                  <a:lnTo>
                    <a:pt x="282" y="64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6" name="Freeform 125">
              <a:extLst>
                <a:ext uri="{FF2B5EF4-FFF2-40B4-BE49-F238E27FC236}">
                  <a16:creationId xmlns:a16="http://schemas.microsoft.com/office/drawing/2014/main" id="{D6D746AC-C494-0045-A106-1C767C04B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0300" y="3133725"/>
              <a:ext cx="900113" cy="544512"/>
            </a:xfrm>
            <a:custGeom>
              <a:avLst/>
              <a:gdLst>
                <a:gd name="T0" fmla="*/ 0 w 567"/>
                <a:gd name="T1" fmla="*/ 331 h 343"/>
                <a:gd name="T2" fmla="*/ 8 w 567"/>
                <a:gd name="T3" fmla="*/ 309 h 343"/>
                <a:gd name="T4" fmla="*/ 19 w 567"/>
                <a:gd name="T5" fmla="*/ 294 h 343"/>
                <a:gd name="T6" fmla="*/ 41 w 567"/>
                <a:gd name="T7" fmla="*/ 281 h 343"/>
                <a:gd name="T8" fmla="*/ 63 w 567"/>
                <a:gd name="T9" fmla="*/ 275 h 343"/>
                <a:gd name="T10" fmla="*/ 57 w 567"/>
                <a:gd name="T11" fmla="*/ 268 h 343"/>
                <a:gd name="T12" fmla="*/ 51 w 567"/>
                <a:gd name="T13" fmla="*/ 257 h 343"/>
                <a:gd name="T14" fmla="*/ 57 w 567"/>
                <a:gd name="T15" fmla="*/ 248 h 343"/>
                <a:gd name="T16" fmla="*/ 63 w 567"/>
                <a:gd name="T17" fmla="*/ 240 h 343"/>
                <a:gd name="T18" fmla="*/ 72 w 567"/>
                <a:gd name="T19" fmla="*/ 237 h 343"/>
                <a:gd name="T20" fmla="*/ 88 w 567"/>
                <a:gd name="T21" fmla="*/ 243 h 343"/>
                <a:gd name="T22" fmla="*/ 100 w 567"/>
                <a:gd name="T23" fmla="*/ 235 h 343"/>
                <a:gd name="T24" fmla="*/ 109 w 567"/>
                <a:gd name="T25" fmla="*/ 217 h 343"/>
                <a:gd name="T26" fmla="*/ 119 w 567"/>
                <a:gd name="T27" fmla="*/ 200 h 343"/>
                <a:gd name="T28" fmla="*/ 125 w 567"/>
                <a:gd name="T29" fmla="*/ 183 h 343"/>
                <a:gd name="T30" fmla="*/ 142 w 567"/>
                <a:gd name="T31" fmla="*/ 182 h 343"/>
                <a:gd name="T32" fmla="*/ 152 w 567"/>
                <a:gd name="T33" fmla="*/ 179 h 343"/>
                <a:gd name="T34" fmla="*/ 165 w 567"/>
                <a:gd name="T35" fmla="*/ 176 h 343"/>
                <a:gd name="T36" fmla="*/ 182 w 567"/>
                <a:gd name="T37" fmla="*/ 152 h 343"/>
                <a:gd name="T38" fmla="*/ 198 w 567"/>
                <a:gd name="T39" fmla="*/ 149 h 343"/>
                <a:gd name="T40" fmla="*/ 232 w 567"/>
                <a:gd name="T41" fmla="*/ 151 h 343"/>
                <a:gd name="T42" fmla="*/ 262 w 567"/>
                <a:gd name="T43" fmla="*/ 137 h 343"/>
                <a:gd name="T44" fmla="*/ 273 w 567"/>
                <a:gd name="T45" fmla="*/ 139 h 343"/>
                <a:gd name="T46" fmla="*/ 282 w 567"/>
                <a:gd name="T47" fmla="*/ 165 h 343"/>
                <a:gd name="T48" fmla="*/ 297 w 567"/>
                <a:gd name="T49" fmla="*/ 194 h 343"/>
                <a:gd name="T50" fmla="*/ 305 w 567"/>
                <a:gd name="T51" fmla="*/ 205 h 343"/>
                <a:gd name="T52" fmla="*/ 319 w 567"/>
                <a:gd name="T53" fmla="*/ 225 h 343"/>
                <a:gd name="T54" fmla="*/ 336 w 567"/>
                <a:gd name="T55" fmla="*/ 207 h 343"/>
                <a:gd name="T56" fmla="*/ 353 w 567"/>
                <a:gd name="T57" fmla="*/ 195 h 343"/>
                <a:gd name="T58" fmla="*/ 374 w 567"/>
                <a:gd name="T59" fmla="*/ 189 h 343"/>
                <a:gd name="T60" fmla="*/ 383 w 567"/>
                <a:gd name="T61" fmla="*/ 177 h 343"/>
                <a:gd name="T62" fmla="*/ 399 w 567"/>
                <a:gd name="T63" fmla="*/ 179 h 343"/>
                <a:gd name="T64" fmla="*/ 416 w 567"/>
                <a:gd name="T65" fmla="*/ 186 h 343"/>
                <a:gd name="T66" fmla="*/ 425 w 567"/>
                <a:gd name="T67" fmla="*/ 179 h 343"/>
                <a:gd name="T68" fmla="*/ 435 w 567"/>
                <a:gd name="T69" fmla="*/ 168 h 343"/>
                <a:gd name="T70" fmla="*/ 441 w 567"/>
                <a:gd name="T71" fmla="*/ 151 h 343"/>
                <a:gd name="T72" fmla="*/ 445 w 567"/>
                <a:gd name="T73" fmla="*/ 131 h 343"/>
                <a:gd name="T74" fmla="*/ 456 w 567"/>
                <a:gd name="T75" fmla="*/ 117 h 343"/>
                <a:gd name="T76" fmla="*/ 460 w 567"/>
                <a:gd name="T77" fmla="*/ 99 h 343"/>
                <a:gd name="T78" fmla="*/ 469 w 567"/>
                <a:gd name="T79" fmla="*/ 91 h 343"/>
                <a:gd name="T80" fmla="*/ 478 w 567"/>
                <a:gd name="T81" fmla="*/ 74 h 343"/>
                <a:gd name="T82" fmla="*/ 484 w 567"/>
                <a:gd name="T83" fmla="*/ 63 h 343"/>
                <a:gd name="T84" fmla="*/ 494 w 567"/>
                <a:gd name="T85" fmla="*/ 54 h 343"/>
                <a:gd name="T86" fmla="*/ 496 w 567"/>
                <a:gd name="T87" fmla="*/ 41 h 343"/>
                <a:gd name="T88" fmla="*/ 490 w 567"/>
                <a:gd name="T89" fmla="*/ 28 h 343"/>
                <a:gd name="T90" fmla="*/ 491 w 567"/>
                <a:gd name="T91" fmla="*/ 11 h 343"/>
                <a:gd name="T92" fmla="*/ 510 w 567"/>
                <a:gd name="T93" fmla="*/ 0 h 343"/>
                <a:gd name="T94" fmla="*/ 518 w 567"/>
                <a:gd name="T95" fmla="*/ 7 h 343"/>
                <a:gd name="T96" fmla="*/ 540 w 567"/>
                <a:gd name="T97" fmla="*/ 9 h 343"/>
                <a:gd name="T98" fmla="*/ 556 w 567"/>
                <a:gd name="T99" fmla="*/ 7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7" h="343">
                  <a:moveTo>
                    <a:pt x="4" y="343"/>
                  </a:moveTo>
                  <a:lnTo>
                    <a:pt x="4" y="343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0" y="327"/>
                  </a:lnTo>
                  <a:lnTo>
                    <a:pt x="1" y="321"/>
                  </a:lnTo>
                  <a:lnTo>
                    <a:pt x="4" y="315"/>
                  </a:lnTo>
                  <a:lnTo>
                    <a:pt x="8" y="309"/>
                  </a:lnTo>
                  <a:lnTo>
                    <a:pt x="8" y="309"/>
                  </a:lnTo>
                  <a:lnTo>
                    <a:pt x="14" y="302"/>
                  </a:lnTo>
                  <a:lnTo>
                    <a:pt x="19" y="294"/>
                  </a:lnTo>
                  <a:lnTo>
                    <a:pt x="19" y="294"/>
                  </a:lnTo>
                  <a:lnTo>
                    <a:pt x="20" y="290"/>
                  </a:lnTo>
                  <a:lnTo>
                    <a:pt x="26" y="287"/>
                  </a:lnTo>
                  <a:lnTo>
                    <a:pt x="32" y="284"/>
                  </a:lnTo>
                  <a:lnTo>
                    <a:pt x="41" y="281"/>
                  </a:lnTo>
                  <a:lnTo>
                    <a:pt x="41" y="281"/>
                  </a:lnTo>
                  <a:lnTo>
                    <a:pt x="56" y="278"/>
                  </a:lnTo>
                  <a:lnTo>
                    <a:pt x="62" y="277"/>
                  </a:lnTo>
                  <a:lnTo>
                    <a:pt x="63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2" y="271"/>
                  </a:lnTo>
                  <a:lnTo>
                    <a:pt x="57" y="268"/>
                  </a:lnTo>
                  <a:lnTo>
                    <a:pt x="53" y="263"/>
                  </a:lnTo>
                  <a:lnTo>
                    <a:pt x="51" y="260"/>
                  </a:lnTo>
                  <a:lnTo>
                    <a:pt x="51" y="260"/>
                  </a:lnTo>
                  <a:lnTo>
                    <a:pt x="51" y="257"/>
                  </a:lnTo>
                  <a:lnTo>
                    <a:pt x="51" y="253"/>
                  </a:lnTo>
                  <a:lnTo>
                    <a:pt x="54" y="250"/>
                  </a:lnTo>
                  <a:lnTo>
                    <a:pt x="57" y="248"/>
                  </a:lnTo>
                  <a:lnTo>
                    <a:pt x="57" y="248"/>
                  </a:lnTo>
                  <a:lnTo>
                    <a:pt x="59" y="248"/>
                  </a:lnTo>
                  <a:lnTo>
                    <a:pt x="60" y="247"/>
                  </a:lnTo>
                  <a:lnTo>
                    <a:pt x="62" y="244"/>
                  </a:lnTo>
                  <a:lnTo>
                    <a:pt x="63" y="240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9" y="237"/>
                  </a:lnTo>
                  <a:lnTo>
                    <a:pt x="72" y="237"/>
                  </a:lnTo>
                  <a:lnTo>
                    <a:pt x="75" y="238"/>
                  </a:lnTo>
                  <a:lnTo>
                    <a:pt x="81" y="241"/>
                  </a:lnTo>
                  <a:lnTo>
                    <a:pt x="81" y="241"/>
                  </a:lnTo>
                  <a:lnTo>
                    <a:pt x="88" y="243"/>
                  </a:lnTo>
                  <a:lnTo>
                    <a:pt x="94" y="243"/>
                  </a:lnTo>
                  <a:lnTo>
                    <a:pt x="97" y="240"/>
                  </a:lnTo>
                  <a:lnTo>
                    <a:pt x="100" y="235"/>
                  </a:lnTo>
                  <a:lnTo>
                    <a:pt x="100" y="235"/>
                  </a:lnTo>
                  <a:lnTo>
                    <a:pt x="102" y="226"/>
                  </a:lnTo>
                  <a:lnTo>
                    <a:pt x="103" y="222"/>
                  </a:lnTo>
                  <a:lnTo>
                    <a:pt x="109" y="217"/>
                  </a:lnTo>
                  <a:lnTo>
                    <a:pt x="109" y="217"/>
                  </a:lnTo>
                  <a:lnTo>
                    <a:pt x="115" y="213"/>
                  </a:lnTo>
                  <a:lnTo>
                    <a:pt x="118" y="210"/>
                  </a:lnTo>
                  <a:lnTo>
                    <a:pt x="119" y="207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21" y="192"/>
                  </a:lnTo>
                  <a:lnTo>
                    <a:pt x="122" y="186"/>
                  </a:lnTo>
                  <a:lnTo>
                    <a:pt x="125" y="183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9" y="182"/>
                  </a:lnTo>
                  <a:lnTo>
                    <a:pt x="142" y="182"/>
                  </a:lnTo>
                  <a:lnTo>
                    <a:pt x="145" y="179"/>
                  </a:lnTo>
                  <a:lnTo>
                    <a:pt x="145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1" y="179"/>
                  </a:lnTo>
                  <a:lnTo>
                    <a:pt x="161" y="179"/>
                  </a:lnTo>
                  <a:lnTo>
                    <a:pt x="165" y="176"/>
                  </a:lnTo>
                  <a:lnTo>
                    <a:pt x="170" y="171"/>
                  </a:lnTo>
                  <a:lnTo>
                    <a:pt x="179" y="160"/>
                  </a:lnTo>
                  <a:lnTo>
                    <a:pt x="179" y="160"/>
                  </a:lnTo>
                  <a:lnTo>
                    <a:pt x="182" y="152"/>
                  </a:lnTo>
                  <a:lnTo>
                    <a:pt x="185" y="149"/>
                  </a:lnTo>
                  <a:lnTo>
                    <a:pt x="189" y="148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208" y="152"/>
                  </a:lnTo>
                  <a:lnTo>
                    <a:pt x="217" y="154"/>
                  </a:lnTo>
                  <a:lnTo>
                    <a:pt x="226" y="154"/>
                  </a:lnTo>
                  <a:lnTo>
                    <a:pt x="232" y="151"/>
                  </a:lnTo>
                  <a:lnTo>
                    <a:pt x="232" y="151"/>
                  </a:lnTo>
                  <a:lnTo>
                    <a:pt x="241" y="145"/>
                  </a:lnTo>
                  <a:lnTo>
                    <a:pt x="251" y="140"/>
                  </a:lnTo>
                  <a:lnTo>
                    <a:pt x="262" y="137"/>
                  </a:lnTo>
                  <a:lnTo>
                    <a:pt x="266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3" y="139"/>
                  </a:lnTo>
                  <a:lnTo>
                    <a:pt x="275" y="142"/>
                  </a:lnTo>
                  <a:lnTo>
                    <a:pt x="278" y="149"/>
                  </a:lnTo>
                  <a:lnTo>
                    <a:pt x="279" y="157"/>
                  </a:lnTo>
                  <a:lnTo>
                    <a:pt x="282" y="165"/>
                  </a:lnTo>
                  <a:lnTo>
                    <a:pt x="282" y="165"/>
                  </a:lnTo>
                  <a:lnTo>
                    <a:pt x="293" y="182"/>
                  </a:lnTo>
                  <a:lnTo>
                    <a:pt x="296" y="188"/>
                  </a:lnTo>
                  <a:lnTo>
                    <a:pt x="297" y="194"/>
                  </a:lnTo>
                  <a:lnTo>
                    <a:pt x="297" y="194"/>
                  </a:lnTo>
                  <a:lnTo>
                    <a:pt x="299" y="198"/>
                  </a:lnTo>
                  <a:lnTo>
                    <a:pt x="302" y="201"/>
                  </a:lnTo>
                  <a:lnTo>
                    <a:pt x="305" y="205"/>
                  </a:lnTo>
                  <a:lnTo>
                    <a:pt x="309" y="211"/>
                  </a:lnTo>
                  <a:lnTo>
                    <a:pt x="309" y="211"/>
                  </a:lnTo>
                  <a:lnTo>
                    <a:pt x="316" y="223"/>
                  </a:lnTo>
                  <a:lnTo>
                    <a:pt x="319" y="225"/>
                  </a:lnTo>
                  <a:lnTo>
                    <a:pt x="322" y="225"/>
                  </a:lnTo>
                  <a:lnTo>
                    <a:pt x="322" y="225"/>
                  </a:lnTo>
                  <a:lnTo>
                    <a:pt x="328" y="219"/>
                  </a:lnTo>
                  <a:lnTo>
                    <a:pt x="336" y="207"/>
                  </a:lnTo>
                  <a:lnTo>
                    <a:pt x="336" y="207"/>
                  </a:lnTo>
                  <a:lnTo>
                    <a:pt x="340" y="203"/>
                  </a:lnTo>
                  <a:lnTo>
                    <a:pt x="346" y="198"/>
                  </a:lnTo>
                  <a:lnTo>
                    <a:pt x="353" y="195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70" y="191"/>
                  </a:lnTo>
                  <a:lnTo>
                    <a:pt x="374" y="189"/>
                  </a:lnTo>
                  <a:lnTo>
                    <a:pt x="379" y="185"/>
                  </a:lnTo>
                  <a:lnTo>
                    <a:pt x="380" y="180"/>
                  </a:lnTo>
                  <a:lnTo>
                    <a:pt x="380" y="180"/>
                  </a:lnTo>
                  <a:lnTo>
                    <a:pt x="383" y="177"/>
                  </a:lnTo>
                  <a:lnTo>
                    <a:pt x="387" y="174"/>
                  </a:lnTo>
                  <a:lnTo>
                    <a:pt x="393" y="174"/>
                  </a:lnTo>
                  <a:lnTo>
                    <a:pt x="396" y="176"/>
                  </a:lnTo>
                  <a:lnTo>
                    <a:pt x="399" y="179"/>
                  </a:lnTo>
                  <a:lnTo>
                    <a:pt x="399" y="179"/>
                  </a:lnTo>
                  <a:lnTo>
                    <a:pt x="405" y="183"/>
                  </a:lnTo>
                  <a:lnTo>
                    <a:pt x="411" y="186"/>
                  </a:lnTo>
                  <a:lnTo>
                    <a:pt x="416" y="186"/>
                  </a:lnTo>
                  <a:lnTo>
                    <a:pt x="420" y="185"/>
                  </a:lnTo>
                  <a:lnTo>
                    <a:pt x="420" y="185"/>
                  </a:lnTo>
                  <a:lnTo>
                    <a:pt x="423" y="182"/>
                  </a:lnTo>
                  <a:lnTo>
                    <a:pt x="425" y="179"/>
                  </a:lnTo>
                  <a:lnTo>
                    <a:pt x="427" y="173"/>
                  </a:lnTo>
                  <a:lnTo>
                    <a:pt x="427" y="173"/>
                  </a:lnTo>
                  <a:lnTo>
                    <a:pt x="430" y="170"/>
                  </a:lnTo>
                  <a:lnTo>
                    <a:pt x="435" y="168"/>
                  </a:lnTo>
                  <a:lnTo>
                    <a:pt x="438" y="167"/>
                  </a:lnTo>
                  <a:lnTo>
                    <a:pt x="439" y="163"/>
                  </a:lnTo>
                  <a:lnTo>
                    <a:pt x="439" y="163"/>
                  </a:lnTo>
                  <a:lnTo>
                    <a:pt x="441" y="151"/>
                  </a:lnTo>
                  <a:lnTo>
                    <a:pt x="441" y="139"/>
                  </a:lnTo>
                  <a:lnTo>
                    <a:pt x="441" y="139"/>
                  </a:lnTo>
                  <a:lnTo>
                    <a:pt x="442" y="134"/>
                  </a:lnTo>
                  <a:lnTo>
                    <a:pt x="445" y="131"/>
                  </a:lnTo>
                  <a:lnTo>
                    <a:pt x="448" y="130"/>
                  </a:lnTo>
                  <a:lnTo>
                    <a:pt x="450" y="126"/>
                  </a:lnTo>
                  <a:lnTo>
                    <a:pt x="450" y="126"/>
                  </a:lnTo>
                  <a:lnTo>
                    <a:pt x="456" y="117"/>
                  </a:lnTo>
                  <a:lnTo>
                    <a:pt x="457" y="111"/>
                  </a:lnTo>
                  <a:lnTo>
                    <a:pt x="459" y="105"/>
                  </a:lnTo>
                  <a:lnTo>
                    <a:pt x="459" y="105"/>
                  </a:lnTo>
                  <a:lnTo>
                    <a:pt x="460" y="99"/>
                  </a:lnTo>
                  <a:lnTo>
                    <a:pt x="462" y="97"/>
                  </a:lnTo>
                  <a:lnTo>
                    <a:pt x="466" y="94"/>
                  </a:lnTo>
                  <a:lnTo>
                    <a:pt x="469" y="91"/>
                  </a:lnTo>
                  <a:lnTo>
                    <a:pt x="469" y="91"/>
                  </a:lnTo>
                  <a:lnTo>
                    <a:pt x="472" y="86"/>
                  </a:lnTo>
                  <a:lnTo>
                    <a:pt x="473" y="81"/>
                  </a:lnTo>
                  <a:lnTo>
                    <a:pt x="475" y="78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82" y="69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5" y="60"/>
                  </a:lnTo>
                  <a:lnTo>
                    <a:pt x="490" y="57"/>
                  </a:lnTo>
                  <a:lnTo>
                    <a:pt x="493" y="56"/>
                  </a:lnTo>
                  <a:lnTo>
                    <a:pt x="494" y="54"/>
                  </a:lnTo>
                  <a:lnTo>
                    <a:pt x="496" y="51"/>
                  </a:lnTo>
                  <a:lnTo>
                    <a:pt x="496" y="51"/>
                  </a:lnTo>
                  <a:lnTo>
                    <a:pt x="496" y="47"/>
                  </a:lnTo>
                  <a:lnTo>
                    <a:pt x="496" y="41"/>
                  </a:lnTo>
                  <a:lnTo>
                    <a:pt x="496" y="37"/>
                  </a:lnTo>
                  <a:lnTo>
                    <a:pt x="493" y="32"/>
                  </a:lnTo>
                  <a:lnTo>
                    <a:pt x="493" y="32"/>
                  </a:lnTo>
                  <a:lnTo>
                    <a:pt x="490" y="28"/>
                  </a:lnTo>
                  <a:lnTo>
                    <a:pt x="488" y="22"/>
                  </a:lnTo>
                  <a:lnTo>
                    <a:pt x="488" y="17"/>
                  </a:lnTo>
                  <a:lnTo>
                    <a:pt x="491" y="11"/>
                  </a:lnTo>
                  <a:lnTo>
                    <a:pt x="491" y="11"/>
                  </a:lnTo>
                  <a:lnTo>
                    <a:pt x="497" y="6"/>
                  </a:lnTo>
                  <a:lnTo>
                    <a:pt x="503" y="1"/>
                  </a:lnTo>
                  <a:lnTo>
                    <a:pt x="507" y="0"/>
                  </a:lnTo>
                  <a:lnTo>
                    <a:pt x="510" y="0"/>
                  </a:lnTo>
                  <a:lnTo>
                    <a:pt x="512" y="1"/>
                  </a:lnTo>
                  <a:lnTo>
                    <a:pt x="512" y="1"/>
                  </a:lnTo>
                  <a:lnTo>
                    <a:pt x="515" y="4"/>
                  </a:lnTo>
                  <a:lnTo>
                    <a:pt x="518" y="7"/>
                  </a:lnTo>
                  <a:lnTo>
                    <a:pt x="528" y="9"/>
                  </a:lnTo>
                  <a:lnTo>
                    <a:pt x="528" y="9"/>
                  </a:lnTo>
                  <a:lnTo>
                    <a:pt x="536" y="10"/>
                  </a:lnTo>
                  <a:lnTo>
                    <a:pt x="540" y="9"/>
                  </a:lnTo>
                  <a:lnTo>
                    <a:pt x="549" y="7"/>
                  </a:lnTo>
                  <a:lnTo>
                    <a:pt x="549" y="7"/>
                  </a:lnTo>
                  <a:lnTo>
                    <a:pt x="552" y="7"/>
                  </a:lnTo>
                  <a:lnTo>
                    <a:pt x="556" y="7"/>
                  </a:lnTo>
                  <a:lnTo>
                    <a:pt x="564" y="9"/>
                  </a:lnTo>
                  <a:lnTo>
                    <a:pt x="564" y="9"/>
                  </a:lnTo>
                  <a:lnTo>
                    <a:pt x="567" y="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7" name="Freeform 126">
              <a:extLst>
                <a:ext uri="{FF2B5EF4-FFF2-40B4-BE49-F238E27FC236}">
                  <a16:creationId xmlns:a16="http://schemas.microsoft.com/office/drawing/2014/main" id="{3000F59D-FBF2-854F-A3AA-105FC40A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43063" y="3233738"/>
              <a:ext cx="328613" cy="552450"/>
            </a:xfrm>
            <a:custGeom>
              <a:avLst/>
              <a:gdLst>
                <a:gd name="T0" fmla="*/ 0 w 207"/>
                <a:gd name="T1" fmla="*/ 0 h 348"/>
                <a:gd name="T2" fmla="*/ 15 w 207"/>
                <a:gd name="T3" fmla="*/ 15 h 348"/>
                <a:gd name="T4" fmla="*/ 23 w 207"/>
                <a:gd name="T5" fmla="*/ 20 h 348"/>
                <a:gd name="T6" fmla="*/ 32 w 207"/>
                <a:gd name="T7" fmla="*/ 21 h 348"/>
                <a:gd name="T8" fmla="*/ 44 w 207"/>
                <a:gd name="T9" fmla="*/ 18 h 348"/>
                <a:gd name="T10" fmla="*/ 47 w 207"/>
                <a:gd name="T11" fmla="*/ 17 h 348"/>
                <a:gd name="T12" fmla="*/ 52 w 207"/>
                <a:gd name="T13" fmla="*/ 17 h 348"/>
                <a:gd name="T14" fmla="*/ 55 w 207"/>
                <a:gd name="T15" fmla="*/ 24 h 348"/>
                <a:gd name="T16" fmla="*/ 55 w 207"/>
                <a:gd name="T17" fmla="*/ 30 h 348"/>
                <a:gd name="T18" fmla="*/ 60 w 207"/>
                <a:gd name="T19" fmla="*/ 36 h 348"/>
                <a:gd name="T20" fmla="*/ 66 w 207"/>
                <a:gd name="T21" fmla="*/ 37 h 348"/>
                <a:gd name="T22" fmla="*/ 78 w 207"/>
                <a:gd name="T23" fmla="*/ 43 h 348"/>
                <a:gd name="T24" fmla="*/ 114 w 207"/>
                <a:gd name="T25" fmla="*/ 71 h 348"/>
                <a:gd name="T26" fmla="*/ 121 w 207"/>
                <a:gd name="T27" fmla="*/ 80 h 348"/>
                <a:gd name="T28" fmla="*/ 117 w 207"/>
                <a:gd name="T29" fmla="*/ 83 h 348"/>
                <a:gd name="T30" fmla="*/ 108 w 207"/>
                <a:gd name="T31" fmla="*/ 91 h 348"/>
                <a:gd name="T32" fmla="*/ 103 w 207"/>
                <a:gd name="T33" fmla="*/ 97 h 348"/>
                <a:gd name="T34" fmla="*/ 94 w 207"/>
                <a:gd name="T35" fmla="*/ 107 h 348"/>
                <a:gd name="T36" fmla="*/ 94 w 207"/>
                <a:gd name="T37" fmla="*/ 116 h 348"/>
                <a:gd name="T38" fmla="*/ 94 w 207"/>
                <a:gd name="T39" fmla="*/ 128 h 348"/>
                <a:gd name="T40" fmla="*/ 92 w 207"/>
                <a:gd name="T41" fmla="*/ 147 h 348"/>
                <a:gd name="T42" fmla="*/ 89 w 207"/>
                <a:gd name="T43" fmla="*/ 153 h 348"/>
                <a:gd name="T44" fmla="*/ 65 w 207"/>
                <a:gd name="T45" fmla="*/ 184 h 348"/>
                <a:gd name="T46" fmla="*/ 62 w 207"/>
                <a:gd name="T47" fmla="*/ 193 h 348"/>
                <a:gd name="T48" fmla="*/ 52 w 207"/>
                <a:gd name="T49" fmla="*/ 217 h 348"/>
                <a:gd name="T50" fmla="*/ 50 w 207"/>
                <a:gd name="T51" fmla="*/ 221 h 348"/>
                <a:gd name="T52" fmla="*/ 49 w 207"/>
                <a:gd name="T53" fmla="*/ 236 h 348"/>
                <a:gd name="T54" fmla="*/ 55 w 207"/>
                <a:gd name="T55" fmla="*/ 251 h 348"/>
                <a:gd name="T56" fmla="*/ 57 w 207"/>
                <a:gd name="T57" fmla="*/ 254 h 348"/>
                <a:gd name="T58" fmla="*/ 69 w 207"/>
                <a:gd name="T59" fmla="*/ 254 h 348"/>
                <a:gd name="T60" fmla="*/ 71 w 207"/>
                <a:gd name="T61" fmla="*/ 255 h 348"/>
                <a:gd name="T62" fmla="*/ 68 w 207"/>
                <a:gd name="T63" fmla="*/ 267 h 348"/>
                <a:gd name="T64" fmla="*/ 68 w 207"/>
                <a:gd name="T65" fmla="*/ 271 h 348"/>
                <a:gd name="T66" fmla="*/ 75 w 207"/>
                <a:gd name="T67" fmla="*/ 280 h 348"/>
                <a:gd name="T68" fmla="*/ 83 w 207"/>
                <a:gd name="T69" fmla="*/ 286 h 348"/>
                <a:gd name="T70" fmla="*/ 102 w 207"/>
                <a:gd name="T71" fmla="*/ 299 h 348"/>
                <a:gd name="T72" fmla="*/ 112 w 207"/>
                <a:gd name="T73" fmla="*/ 299 h 348"/>
                <a:gd name="T74" fmla="*/ 148 w 207"/>
                <a:gd name="T75" fmla="*/ 295 h 348"/>
                <a:gd name="T76" fmla="*/ 158 w 207"/>
                <a:gd name="T77" fmla="*/ 298 h 348"/>
                <a:gd name="T78" fmla="*/ 177 w 207"/>
                <a:gd name="T79" fmla="*/ 310 h 348"/>
                <a:gd name="T80" fmla="*/ 185 w 207"/>
                <a:gd name="T81" fmla="*/ 32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7" h="348">
                  <a:moveTo>
                    <a:pt x="0" y="0"/>
                  </a:moveTo>
                  <a:lnTo>
                    <a:pt x="0" y="0"/>
                  </a:lnTo>
                  <a:lnTo>
                    <a:pt x="7" y="9"/>
                  </a:lnTo>
                  <a:lnTo>
                    <a:pt x="15" y="15"/>
                  </a:lnTo>
                  <a:lnTo>
                    <a:pt x="19" y="18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32" y="21"/>
                  </a:lnTo>
                  <a:lnTo>
                    <a:pt x="38" y="20"/>
                  </a:lnTo>
                  <a:lnTo>
                    <a:pt x="44" y="18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9" y="15"/>
                  </a:lnTo>
                  <a:lnTo>
                    <a:pt x="52" y="17"/>
                  </a:lnTo>
                  <a:lnTo>
                    <a:pt x="53" y="18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30"/>
                  </a:lnTo>
                  <a:lnTo>
                    <a:pt x="56" y="34"/>
                  </a:lnTo>
                  <a:lnTo>
                    <a:pt x="60" y="36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71" y="39"/>
                  </a:lnTo>
                  <a:lnTo>
                    <a:pt x="78" y="43"/>
                  </a:lnTo>
                  <a:lnTo>
                    <a:pt x="97" y="57"/>
                  </a:lnTo>
                  <a:lnTo>
                    <a:pt x="114" y="71"/>
                  </a:lnTo>
                  <a:lnTo>
                    <a:pt x="121" y="80"/>
                  </a:lnTo>
                  <a:lnTo>
                    <a:pt x="121" y="80"/>
                  </a:lnTo>
                  <a:lnTo>
                    <a:pt x="121" y="82"/>
                  </a:lnTo>
                  <a:lnTo>
                    <a:pt x="117" y="83"/>
                  </a:lnTo>
                  <a:lnTo>
                    <a:pt x="112" y="86"/>
                  </a:lnTo>
                  <a:lnTo>
                    <a:pt x="108" y="91"/>
                  </a:lnTo>
                  <a:lnTo>
                    <a:pt x="108" y="91"/>
                  </a:lnTo>
                  <a:lnTo>
                    <a:pt x="103" y="97"/>
                  </a:lnTo>
                  <a:lnTo>
                    <a:pt x="99" y="101"/>
                  </a:lnTo>
                  <a:lnTo>
                    <a:pt x="94" y="107"/>
                  </a:lnTo>
                  <a:lnTo>
                    <a:pt x="94" y="111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4" y="128"/>
                  </a:lnTo>
                  <a:lnTo>
                    <a:pt x="94" y="138"/>
                  </a:lnTo>
                  <a:lnTo>
                    <a:pt x="92" y="147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74" y="172"/>
                  </a:lnTo>
                  <a:lnTo>
                    <a:pt x="65" y="184"/>
                  </a:lnTo>
                  <a:lnTo>
                    <a:pt x="62" y="193"/>
                  </a:lnTo>
                  <a:lnTo>
                    <a:pt x="62" y="193"/>
                  </a:lnTo>
                  <a:lnTo>
                    <a:pt x="59" y="203"/>
                  </a:lnTo>
                  <a:lnTo>
                    <a:pt x="52" y="217"/>
                  </a:lnTo>
                  <a:lnTo>
                    <a:pt x="52" y="217"/>
                  </a:lnTo>
                  <a:lnTo>
                    <a:pt x="50" y="221"/>
                  </a:lnTo>
                  <a:lnTo>
                    <a:pt x="49" y="225"/>
                  </a:lnTo>
                  <a:lnTo>
                    <a:pt x="49" y="236"/>
                  </a:lnTo>
                  <a:lnTo>
                    <a:pt x="52" y="246"/>
                  </a:lnTo>
                  <a:lnTo>
                    <a:pt x="55" y="251"/>
                  </a:lnTo>
                  <a:lnTo>
                    <a:pt x="55" y="251"/>
                  </a:lnTo>
                  <a:lnTo>
                    <a:pt x="57" y="254"/>
                  </a:lnTo>
                  <a:lnTo>
                    <a:pt x="62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1" y="255"/>
                  </a:lnTo>
                  <a:lnTo>
                    <a:pt x="71" y="258"/>
                  </a:lnTo>
                  <a:lnTo>
                    <a:pt x="68" y="267"/>
                  </a:lnTo>
                  <a:lnTo>
                    <a:pt x="68" y="267"/>
                  </a:lnTo>
                  <a:lnTo>
                    <a:pt x="68" y="271"/>
                  </a:lnTo>
                  <a:lnTo>
                    <a:pt x="71" y="276"/>
                  </a:lnTo>
                  <a:lnTo>
                    <a:pt x="75" y="280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96" y="297"/>
                  </a:lnTo>
                  <a:lnTo>
                    <a:pt x="102" y="299"/>
                  </a:lnTo>
                  <a:lnTo>
                    <a:pt x="112" y="299"/>
                  </a:lnTo>
                  <a:lnTo>
                    <a:pt x="112" y="299"/>
                  </a:lnTo>
                  <a:lnTo>
                    <a:pt x="132" y="297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58" y="298"/>
                  </a:lnTo>
                  <a:lnTo>
                    <a:pt x="169" y="302"/>
                  </a:lnTo>
                  <a:lnTo>
                    <a:pt x="177" y="310"/>
                  </a:lnTo>
                  <a:lnTo>
                    <a:pt x="185" y="320"/>
                  </a:lnTo>
                  <a:lnTo>
                    <a:pt x="185" y="320"/>
                  </a:lnTo>
                  <a:lnTo>
                    <a:pt x="207" y="34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8" name="Freeform 127">
              <a:extLst>
                <a:ext uri="{FF2B5EF4-FFF2-40B4-BE49-F238E27FC236}">
                  <a16:creationId xmlns:a16="http://schemas.microsoft.com/office/drawing/2014/main" id="{F19B701F-48C5-A44D-943A-E7EDF7357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8563" y="5006975"/>
              <a:ext cx="1046163" cy="1709737"/>
            </a:xfrm>
            <a:custGeom>
              <a:avLst/>
              <a:gdLst>
                <a:gd name="T0" fmla="*/ 89 w 659"/>
                <a:gd name="T1" fmla="*/ 1053 h 1077"/>
                <a:gd name="T2" fmla="*/ 77 w 659"/>
                <a:gd name="T3" fmla="*/ 1020 h 1077"/>
                <a:gd name="T4" fmla="*/ 84 w 659"/>
                <a:gd name="T5" fmla="*/ 992 h 1077"/>
                <a:gd name="T6" fmla="*/ 106 w 659"/>
                <a:gd name="T7" fmla="*/ 960 h 1077"/>
                <a:gd name="T8" fmla="*/ 96 w 659"/>
                <a:gd name="T9" fmla="*/ 942 h 1077"/>
                <a:gd name="T10" fmla="*/ 68 w 659"/>
                <a:gd name="T11" fmla="*/ 917 h 1077"/>
                <a:gd name="T12" fmla="*/ 32 w 659"/>
                <a:gd name="T13" fmla="*/ 893 h 1077"/>
                <a:gd name="T14" fmla="*/ 38 w 659"/>
                <a:gd name="T15" fmla="*/ 862 h 1077"/>
                <a:gd name="T16" fmla="*/ 50 w 659"/>
                <a:gd name="T17" fmla="*/ 846 h 1077"/>
                <a:gd name="T18" fmla="*/ 3 w 659"/>
                <a:gd name="T19" fmla="*/ 818 h 1077"/>
                <a:gd name="T20" fmla="*/ 21 w 659"/>
                <a:gd name="T21" fmla="*/ 812 h 1077"/>
                <a:gd name="T22" fmla="*/ 27 w 659"/>
                <a:gd name="T23" fmla="*/ 795 h 1077"/>
                <a:gd name="T24" fmla="*/ 18 w 659"/>
                <a:gd name="T25" fmla="*/ 772 h 1077"/>
                <a:gd name="T26" fmla="*/ 25 w 659"/>
                <a:gd name="T27" fmla="*/ 748 h 1077"/>
                <a:gd name="T28" fmla="*/ 18 w 659"/>
                <a:gd name="T29" fmla="*/ 706 h 1077"/>
                <a:gd name="T30" fmla="*/ 29 w 659"/>
                <a:gd name="T31" fmla="*/ 662 h 1077"/>
                <a:gd name="T32" fmla="*/ 77 w 659"/>
                <a:gd name="T33" fmla="*/ 635 h 1077"/>
                <a:gd name="T34" fmla="*/ 102 w 659"/>
                <a:gd name="T35" fmla="*/ 622 h 1077"/>
                <a:gd name="T36" fmla="*/ 126 w 659"/>
                <a:gd name="T37" fmla="*/ 606 h 1077"/>
                <a:gd name="T38" fmla="*/ 139 w 659"/>
                <a:gd name="T39" fmla="*/ 557 h 1077"/>
                <a:gd name="T40" fmla="*/ 185 w 659"/>
                <a:gd name="T41" fmla="*/ 545 h 1077"/>
                <a:gd name="T42" fmla="*/ 209 w 659"/>
                <a:gd name="T43" fmla="*/ 517 h 1077"/>
                <a:gd name="T44" fmla="*/ 218 w 659"/>
                <a:gd name="T45" fmla="*/ 480 h 1077"/>
                <a:gd name="T46" fmla="*/ 234 w 659"/>
                <a:gd name="T47" fmla="*/ 462 h 1077"/>
                <a:gd name="T48" fmla="*/ 252 w 659"/>
                <a:gd name="T49" fmla="*/ 468 h 1077"/>
                <a:gd name="T50" fmla="*/ 225 w 659"/>
                <a:gd name="T51" fmla="*/ 441 h 1077"/>
                <a:gd name="T52" fmla="*/ 206 w 659"/>
                <a:gd name="T53" fmla="*/ 387 h 1077"/>
                <a:gd name="T54" fmla="*/ 179 w 659"/>
                <a:gd name="T55" fmla="*/ 364 h 1077"/>
                <a:gd name="T56" fmla="*/ 160 w 659"/>
                <a:gd name="T57" fmla="*/ 333 h 1077"/>
                <a:gd name="T58" fmla="*/ 167 w 659"/>
                <a:gd name="T59" fmla="*/ 304 h 1077"/>
                <a:gd name="T60" fmla="*/ 176 w 659"/>
                <a:gd name="T61" fmla="*/ 264 h 1077"/>
                <a:gd name="T62" fmla="*/ 179 w 659"/>
                <a:gd name="T63" fmla="*/ 235 h 1077"/>
                <a:gd name="T64" fmla="*/ 179 w 659"/>
                <a:gd name="T65" fmla="*/ 179 h 1077"/>
                <a:gd name="T66" fmla="*/ 166 w 659"/>
                <a:gd name="T67" fmla="*/ 124 h 1077"/>
                <a:gd name="T68" fmla="*/ 222 w 659"/>
                <a:gd name="T69" fmla="*/ 127 h 1077"/>
                <a:gd name="T70" fmla="*/ 253 w 659"/>
                <a:gd name="T71" fmla="*/ 124 h 1077"/>
                <a:gd name="T72" fmla="*/ 278 w 659"/>
                <a:gd name="T73" fmla="*/ 124 h 1077"/>
                <a:gd name="T74" fmla="*/ 292 w 659"/>
                <a:gd name="T75" fmla="*/ 107 h 1077"/>
                <a:gd name="T76" fmla="*/ 303 w 659"/>
                <a:gd name="T77" fmla="*/ 86 h 1077"/>
                <a:gd name="T78" fmla="*/ 317 w 659"/>
                <a:gd name="T79" fmla="*/ 80 h 1077"/>
                <a:gd name="T80" fmla="*/ 333 w 659"/>
                <a:gd name="T81" fmla="*/ 84 h 1077"/>
                <a:gd name="T82" fmla="*/ 348 w 659"/>
                <a:gd name="T83" fmla="*/ 73 h 1077"/>
                <a:gd name="T84" fmla="*/ 352 w 659"/>
                <a:gd name="T85" fmla="*/ 87 h 1077"/>
                <a:gd name="T86" fmla="*/ 364 w 659"/>
                <a:gd name="T87" fmla="*/ 76 h 1077"/>
                <a:gd name="T88" fmla="*/ 386 w 659"/>
                <a:gd name="T89" fmla="*/ 24 h 1077"/>
                <a:gd name="T90" fmla="*/ 410 w 659"/>
                <a:gd name="T91" fmla="*/ 3 h 1077"/>
                <a:gd name="T92" fmla="*/ 459 w 659"/>
                <a:gd name="T93" fmla="*/ 6 h 1077"/>
                <a:gd name="T94" fmla="*/ 506 w 659"/>
                <a:gd name="T95" fmla="*/ 37 h 1077"/>
                <a:gd name="T96" fmla="*/ 514 w 659"/>
                <a:gd name="T97" fmla="*/ 67 h 1077"/>
                <a:gd name="T98" fmla="*/ 526 w 659"/>
                <a:gd name="T99" fmla="*/ 93 h 1077"/>
                <a:gd name="T100" fmla="*/ 503 w 659"/>
                <a:gd name="T101" fmla="*/ 141 h 1077"/>
                <a:gd name="T102" fmla="*/ 530 w 659"/>
                <a:gd name="T103" fmla="*/ 156 h 1077"/>
                <a:gd name="T104" fmla="*/ 561 w 659"/>
                <a:gd name="T105" fmla="*/ 138 h 1077"/>
                <a:gd name="T106" fmla="*/ 604 w 659"/>
                <a:gd name="T107" fmla="*/ 145 h 1077"/>
                <a:gd name="T108" fmla="*/ 620 w 659"/>
                <a:gd name="T109" fmla="*/ 142 h 1077"/>
                <a:gd name="T110" fmla="*/ 643 w 659"/>
                <a:gd name="T111" fmla="*/ 170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9" h="1077">
                  <a:moveTo>
                    <a:pt x="99" y="1077"/>
                  </a:moveTo>
                  <a:lnTo>
                    <a:pt x="99" y="1077"/>
                  </a:lnTo>
                  <a:lnTo>
                    <a:pt x="98" y="1072"/>
                  </a:lnTo>
                  <a:lnTo>
                    <a:pt x="92" y="1062"/>
                  </a:lnTo>
                  <a:lnTo>
                    <a:pt x="92" y="1062"/>
                  </a:lnTo>
                  <a:lnTo>
                    <a:pt x="90" y="1057"/>
                  </a:lnTo>
                  <a:lnTo>
                    <a:pt x="89" y="1053"/>
                  </a:lnTo>
                  <a:lnTo>
                    <a:pt x="87" y="1050"/>
                  </a:lnTo>
                  <a:lnTo>
                    <a:pt x="86" y="1046"/>
                  </a:lnTo>
                  <a:lnTo>
                    <a:pt x="86" y="1046"/>
                  </a:lnTo>
                  <a:lnTo>
                    <a:pt x="81" y="1040"/>
                  </a:lnTo>
                  <a:lnTo>
                    <a:pt x="78" y="1032"/>
                  </a:lnTo>
                  <a:lnTo>
                    <a:pt x="77" y="1023"/>
                  </a:lnTo>
                  <a:lnTo>
                    <a:pt x="77" y="1020"/>
                  </a:lnTo>
                  <a:lnTo>
                    <a:pt x="78" y="1019"/>
                  </a:lnTo>
                  <a:lnTo>
                    <a:pt x="78" y="1019"/>
                  </a:lnTo>
                  <a:lnTo>
                    <a:pt x="81" y="1016"/>
                  </a:lnTo>
                  <a:lnTo>
                    <a:pt x="83" y="1012"/>
                  </a:lnTo>
                  <a:lnTo>
                    <a:pt x="83" y="998"/>
                  </a:lnTo>
                  <a:lnTo>
                    <a:pt x="83" y="998"/>
                  </a:lnTo>
                  <a:lnTo>
                    <a:pt x="84" y="992"/>
                  </a:lnTo>
                  <a:lnTo>
                    <a:pt x="86" y="986"/>
                  </a:lnTo>
                  <a:lnTo>
                    <a:pt x="90" y="980"/>
                  </a:lnTo>
                  <a:lnTo>
                    <a:pt x="95" y="975"/>
                  </a:lnTo>
                  <a:lnTo>
                    <a:pt x="95" y="975"/>
                  </a:lnTo>
                  <a:lnTo>
                    <a:pt x="105" y="967"/>
                  </a:lnTo>
                  <a:lnTo>
                    <a:pt x="106" y="964"/>
                  </a:lnTo>
                  <a:lnTo>
                    <a:pt x="106" y="960"/>
                  </a:lnTo>
                  <a:lnTo>
                    <a:pt x="106" y="960"/>
                  </a:lnTo>
                  <a:lnTo>
                    <a:pt x="104" y="957"/>
                  </a:lnTo>
                  <a:lnTo>
                    <a:pt x="101" y="954"/>
                  </a:lnTo>
                  <a:lnTo>
                    <a:pt x="99" y="952"/>
                  </a:lnTo>
                  <a:lnTo>
                    <a:pt x="96" y="949"/>
                  </a:lnTo>
                  <a:lnTo>
                    <a:pt x="96" y="949"/>
                  </a:lnTo>
                  <a:lnTo>
                    <a:pt x="96" y="942"/>
                  </a:lnTo>
                  <a:lnTo>
                    <a:pt x="95" y="937"/>
                  </a:lnTo>
                  <a:lnTo>
                    <a:pt x="93" y="933"/>
                  </a:lnTo>
                  <a:lnTo>
                    <a:pt x="90" y="929"/>
                  </a:lnTo>
                  <a:lnTo>
                    <a:pt x="86" y="924"/>
                  </a:lnTo>
                  <a:lnTo>
                    <a:pt x="78" y="920"/>
                  </a:lnTo>
                  <a:lnTo>
                    <a:pt x="68" y="917"/>
                  </a:lnTo>
                  <a:lnTo>
                    <a:pt x="68" y="917"/>
                  </a:lnTo>
                  <a:lnTo>
                    <a:pt x="47" y="912"/>
                  </a:lnTo>
                  <a:lnTo>
                    <a:pt x="34" y="906"/>
                  </a:lnTo>
                  <a:lnTo>
                    <a:pt x="28" y="902"/>
                  </a:lnTo>
                  <a:lnTo>
                    <a:pt x="27" y="900"/>
                  </a:lnTo>
                  <a:lnTo>
                    <a:pt x="27" y="899"/>
                  </a:lnTo>
                  <a:lnTo>
                    <a:pt x="27" y="899"/>
                  </a:lnTo>
                  <a:lnTo>
                    <a:pt x="32" y="893"/>
                  </a:lnTo>
                  <a:lnTo>
                    <a:pt x="37" y="890"/>
                  </a:lnTo>
                  <a:lnTo>
                    <a:pt x="37" y="890"/>
                  </a:lnTo>
                  <a:lnTo>
                    <a:pt x="38" y="887"/>
                  </a:lnTo>
                  <a:lnTo>
                    <a:pt x="40" y="883"/>
                  </a:lnTo>
                  <a:lnTo>
                    <a:pt x="40" y="872"/>
                  </a:lnTo>
                  <a:lnTo>
                    <a:pt x="40" y="872"/>
                  </a:lnTo>
                  <a:lnTo>
                    <a:pt x="38" y="862"/>
                  </a:lnTo>
                  <a:lnTo>
                    <a:pt x="38" y="858"/>
                  </a:lnTo>
                  <a:lnTo>
                    <a:pt x="41" y="855"/>
                  </a:lnTo>
                  <a:lnTo>
                    <a:pt x="41" y="855"/>
                  </a:lnTo>
                  <a:lnTo>
                    <a:pt x="46" y="853"/>
                  </a:lnTo>
                  <a:lnTo>
                    <a:pt x="49" y="850"/>
                  </a:lnTo>
                  <a:lnTo>
                    <a:pt x="50" y="847"/>
                  </a:lnTo>
                  <a:lnTo>
                    <a:pt x="50" y="846"/>
                  </a:lnTo>
                  <a:lnTo>
                    <a:pt x="47" y="844"/>
                  </a:lnTo>
                  <a:lnTo>
                    <a:pt x="47" y="844"/>
                  </a:lnTo>
                  <a:lnTo>
                    <a:pt x="31" y="835"/>
                  </a:lnTo>
                  <a:lnTo>
                    <a:pt x="13" y="828"/>
                  </a:lnTo>
                  <a:lnTo>
                    <a:pt x="13" y="828"/>
                  </a:lnTo>
                  <a:lnTo>
                    <a:pt x="9" y="823"/>
                  </a:lnTo>
                  <a:lnTo>
                    <a:pt x="3" y="818"/>
                  </a:lnTo>
                  <a:lnTo>
                    <a:pt x="0" y="812"/>
                  </a:lnTo>
                  <a:lnTo>
                    <a:pt x="0" y="810"/>
                  </a:lnTo>
                  <a:lnTo>
                    <a:pt x="1" y="809"/>
                  </a:lnTo>
                  <a:lnTo>
                    <a:pt x="1" y="809"/>
                  </a:lnTo>
                  <a:lnTo>
                    <a:pt x="7" y="810"/>
                  </a:lnTo>
                  <a:lnTo>
                    <a:pt x="15" y="812"/>
                  </a:lnTo>
                  <a:lnTo>
                    <a:pt x="21" y="812"/>
                  </a:lnTo>
                  <a:lnTo>
                    <a:pt x="24" y="812"/>
                  </a:lnTo>
                  <a:lnTo>
                    <a:pt x="25" y="810"/>
                  </a:lnTo>
                  <a:lnTo>
                    <a:pt x="25" y="810"/>
                  </a:lnTo>
                  <a:lnTo>
                    <a:pt x="27" y="806"/>
                  </a:lnTo>
                  <a:lnTo>
                    <a:pt x="27" y="803"/>
                  </a:lnTo>
                  <a:lnTo>
                    <a:pt x="27" y="795"/>
                  </a:lnTo>
                  <a:lnTo>
                    <a:pt x="27" y="795"/>
                  </a:lnTo>
                  <a:lnTo>
                    <a:pt x="27" y="792"/>
                  </a:lnTo>
                  <a:lnTo>
                    <a:pt x="27" y="789"/>
                  </a:lnTo>
                  <a:lnTo>
                    <a:pt x="27" y="785"/>
                  </a:lnTo>
                  <a:lnTo>
                    <a:pt x="25" y="780"/>
                  </a:lnTo>
                  <a:lnTo>
                    <a:pt x="25" y="780"/>
                  </a:lnTo>
                  <a:lnTo>
                    <a:pt x="22" y="775"/>
                  </a:lnTo>
                  <a:lnTo>
                    <a:pt x="18" y="772"/>
                  </a:lnTo>
                  <a:lnTo>
                    <a:pt x="16" y="769"/>
                  </a:lnTo>
                  <a:lnTo>
                    <a:pt x="16" y="766"/>
                  </a:lnTo>
                  <a:lnTo>
                    <a:pt x="18" y="764"/>
                  </a:lnTo>
                  <a:lnTo>
                    <a:pt x="18" y="764"/>
                  </a:lnTo>
                  <a:lnTo>
                    <a:pt x="21" y="758"/>
                  </a:lnTo>
                  <a:lnTo>
                    <a:pt x="24" y="752"/>
                  </a:lnTo>
                  <a:lnTo>
                    <a:pt x="25" y="748"/>
                  </a:lnTo>
                  <a:lnTo>
                    <a:pt x="25" y="743"/>
                  </a:lnTo>
                  <a:lnTo>
                    <a:pt x="25" y="743"/>
                  </a:lnTo>
                  <a:lnTo>
                    <a:pt x="22" y="732"/>
                  </a:lnTo>
                  <a:lnTo>
                    <a:pt x="19" y="724"/>
                  </a:lnTo>
                  <a:lnTo>
                    <a:pt x="18" y="718"/>
                  </a:lnTo>
                  <a:lnTo>
                    <a:pt x="18" y="718"/>
                  </a:lnTo>
                  <a:lnTo>
                    <a:pt x="18" y="706"/>
                  </a:lnTo>
                  <a:lnTo>
                    <a:pt x="19" y="692"/>
                  </a:lnTo>
                  <a:lnTo>
                    <a:pt x="19" y="692"/>
                  </a:lnTo>
                  <a:lnTo>
                    <a:pt x="21" y="683"/>
                  </a:lnTo>
                  <a:lnTo>
                    <a:pt x="24" y="677"/>
                  </a:lnTo>
                  <a:lnTo>
                    <a:pt x="28" y="665"/>
                  </a:lnTo>
                  <a:lnTo>
                    <a:pt x="28" y="665"/>
                  </a:lnTo>
                  <a:lnTo>
                    <a:pt x="29" y="662"/>
                  </a:lnTo>
                  <a:lnTo>
                    <a:pt x="32" y="659"/>
                  </a:lnTo>
                  <a:lnTo>
                    <a:pt x="41" y="652"/>
                  </a:lnTo>
                  <a:lnTo>
                    <a:pt x="52" y="644"/>
                  </a:lnTo>
                  <a:lnTo>
                    <a:pt x="62" y="640"/>
                  </a:lnTo>
                  <a:lnTo>
                    <a:pt x="62" y="640"/>
                  </a:lnTo>
                  <a:lnTo>
                    <a:pt x="71" y="637"/>
                  </a:lnTo>
                  <a:lnTo>
                    <a:pt x="77" y="635"/>
                  </a:lnTo>
                  <a:lnTo>
                    <a:pt x="83" y="635"/>
                  </a:lnTo>
                  <a:lnTo>
                    <a:pt x="89" y="634"/>
                  </a:lnTo>
                  <a:lnTo>
                    <a:pt x="89" y="634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8" y="625"/>
                  </a:lnTo>
                  <a:lnTo>
                    <a:pt x="102" y="622"/>
                  </a:lnTo>
                  <a:lnTo>
                    <a:pt x="102" y="622"/>
                  </a:lnTo>
                  <a:lnTo>
                    <a:pt x="112" y="618"/>
                  </a:lnTo>
                  <a:lnTo>
                    <a:pt x="118" y="616"/>
                  </a:lnTo>
                  <a:lnTo>
                    <a:pt x="121" y="613"/>
                  </a:lnTo>
                  <a:lnTo>
                    <a:pt x="121" y="613"/>
                  </a:lnTo>
                  <a:lnTo>
                    <a:pt x="124" y="609"/>
                  </a:lnTo>
                  <a:lnTo>
                    <a:pt x="126" y="606"/>
                  </a:lnTo>
                  <a:lnTo>
                    <a:pt x="126" y="600"/>
                  </a:lnTo>
                  <a:lnTo>
                    <a:pt x="126" y="600"/>
                  </a:lnTo>
                  <a:lnTo>
                    <a:pt x="130" y="579"/>
                  </a:lnTo>
                  <a:lnTo>
                    <a:pt x="133" y="567"/>
                  </a:lnTo>
                  <a:lnTo>
                    <a:pt x="136" y="558"/>
                  </a:lnTo>
                  <a:lnTo>
                    <a:pt x="136" y="558"/>
                  </a:lnTo>
                  <a:lnTo>
                    <a:pt x="139" y="557"/>
                  </a:lnTo>
                  <a:lnTo>
                    <a:pt x="145" y="555"/>
                  </a:lnTo>
                  <a:lnTo>
                    <a:pt x="154" y="554"/>
                  </a:lnTo>
                  <a:lnTo>
                    <a:pt x="163" y="551"/>
                  </a:lnTo>
                  <a:lnTo>
                    <a:pt x="163" y="551"/>
                  </a:lnTo>
                  <a:lnTo>
                    <a:pt x="172" y="548"/>
                  </a:lnTo>
                  <a:lnTo>
                    <a:pt x="179" y="546"/>
                  </a:lnTo>
                  <a:lnTo>
                    <a:pt x="185" y="545"/>
                  </a:lnTo>
                  <a:lnTo>
                    <a:pt x="188" y="544"/>
                  </a:lnTo>
                  <a:lnTo>
                    <a:pt x="191" y="539"/>
                  </a:lnTo>
                  <a:lnTo>
                    <a:pt x="191" y="539"/>
                  </a:lnTo>
                  <a:lnTo>
                    <a:pt x="197" y="533"/>
                  </a:lnTo>
                  <a:lnTo>
                    <a:pt x="203" y="530"/>
                  </a:lnTo>
                  <a:lnTo>
                    <a:pt x="207" y="526"/>
                  </a:lnTo>
                  <a:lnTo>
                    <a:pt x="209" y="517"/>
                  </a:lnTo>
                  <a:lnTo>
                    <a:pt x="209" y="517"/>
                  </a:lnTo>
                  <a:lnTo>
                    <a:pt x="213" y="495"/>
                  </a:lnTo>
                  <a:lnTo>
                    <a:pt x="213" y="495"/>
                  </a:lnTo>
                  <a:lnTo>
                    <a:pt x="213" y="487"/>
                  </a:lnTo>
                  <a:lnTo>
                    <a:pt x="215" y="484"/>
                  </a:lnTo>
                  <a:lnTo>
                    <a:pt x="218" y="480"/>
                  </a:lnTo>
                  <a:lnTo>
                    <a:pt x="218" y="480"/>
                  </a:lnTo>
                  <a:lnTo>
                    <a:pt x="220" y="471"/>
                  </a:lnTo>
                  <a:lnTo>
                    <a:pt x="223" y="465"/>
                  </a:lnTo>
                  <a:lnTo>
                    <a:pt x="223" y="465"/>
                  </a:lnTo>
                  <a:lnTo>
                    <a:pt x="225" y="462"/>
                  </a:lnTo>
                  <a:lnTo>
                    <a:pt x="228" y="461"/>
                  </a:lnTo>
                  <a:lnTo>
                    <a:pt x="232" y="461"/>
                  </a:lnTo>
                  <a:lnTo>
                    <a:pt x="234" y="462"/>
                  </a:lnTo>
                  <a:lnTo>
                    <a:pt x="234" y="462"/>
                  </a:lnTo>
                  <a:lnTo>
                    <a:pt x="238" y="469"/>
                  </a:lnTo>
                  <a:lnTo>
                    <a:pt x="241" y="471"/>
                  </a:lnTo>
                  <a:lnTo>
                    <a:pt x="244" y="472"/>
                  </a:lnTo>
                  <a:lnTo>
                    <a:pt x="244" y="472"/>
                  </a:lnTo>
                  <a:lnTo>
                    <a:pt x="252" y="469"/>
                  </a:lnTo>
                  <a:lnTo>
                    <a:pt x="252" y="468"/>
                  </a:lnTo>
                  <a:lnTo>
                    <a:pt x="252" y="465"/>
                  </a:lnTo>
                  <a:lnTo>
                    <a:pt x="252" y="465"/>
                  </a:lnTo>
                  <a:lnTo>
                    <a:pt x="247" y="461"/>
                  </a:lnTo>
                  <a:lnTo>
                    <a:pt x="240" y="456"/>
                  </a:lnTo>
                  <a:lnTo>
                    <a:pt x="231" y="449"/>
                  </a:lnTo>
                  <a:lnTo>
                    <a:pt x="225" y="441"/>
                  </a:lnTo>
                  <a:lnTo>
                    <a:pt x="225" y="441"/>
                  </a:lnTo>
                  <a:lnTo>
                    <a:pt x="219" y="434"/>
                  </a:lnTo>
                  <a:lnTo>
                    <a:pt x="215" y="428"/>
                  </a:lnTo>
                  <a:lnTo>
                    <a:pt x="210" y="422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07" y="397"/>
                  </a:lnTo>
                  <a:lnTo>
                    <a:pt x="206" y="387"/>
                  </a:lnTo>
                  <a:lnTo>
                    <a:pt x="203" y="379"/>
                  </a:lnTo>
                  <a:lnTo>
                    <a:pt x="203" y="379"/>
                  </a:lnTo>
                  <a:lnTo>
                    <a:pt x="197" y="375"/>
                  </a:lnTo>
                  <a:lnTo>
                    <a:pt x="192" y="370"/>
                  </a:lnTo>
                  <a:lnTo>
                    <a:pt x="185" y="366"/>
                  </a:lnTo>
                  <a:lnTo>
                    <a:pt x="179" y="364"/>
                  </a:lnTo>
                  <a:lnTo>
                    <a:pt x="179" y="364"/>
                  </a:lnTo>
                  <a:lnTo>
                    <a:pt x="173" y="361"/>
                  </a:lnTo>
                  <a:lnTo>
                    <a:pt x="170" y="35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1" y="344"/>
                  </a:lnTo>
                  <a:lnTo>
                    <a:pt x="160" y="338"/>
                  </a:lnTo>
                  <a:lnTo>
                    <a:pt x="160" y="333"/>
                  </a:lnTo>
                  <a:lnTo>
                    <a:pt x="161" y="329"/>
                  </a:lnTo>
                  <a:lnTo>
                    <a:pt x="161" y="329"/>
                  </a:lnTo>
                  <a:lnTo>
                    <a:pt x="166" y="318"/>
                  </a:lnTo>
                  <a:lnTo>
                    <a:pt x="167" y="314"/>
                  </a:lnTo>
                  <a:lnTo>
                    <a:pt x="167" y="310"/>
                  </a:lnTo>
                  <a:lnTo>
                    <a:pt x="167" y="310"/>
                  </a:lnTo>
                  <a:lnTo>
                    <a:pt x="167" y="304"/>
                  </a:lnTo>
                  <a:lnTo>
                    <a:pt x="169" y="295"/>
                  </a:lnTo>
                  <a:lnTo>
                    <a:pt x="172" y="281"/>
                  </a:lnTo>
                  <a:lnTo>
                    <a:pt x="172" y="281"/>
                  </a:lnTo>
                  <a:lnTo>
                    <a:pt x="172" y="278"/>
                  </a:lnTo>
                  <a:lnTo>
                    <a:pt x="172" y="275"/>
                  </a:lnTo>
                  <a:lnTo>
                    <a:pt x="173" y="271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83" y="255"/>
                  </a:lnTo>
                  <a:lnTo>
                    <a:pt x="183" y="253"/>
                  </a:lnTo>
                  <a:lnTo>
                    <a:pt x="183" y="249"/>
                  </a:lnTo>
                  <a:lnTo>
                    <a:pt x="183" y="249"/>
                  </a:lnTo>
                  <a:lnTo>
                    <a:pt x="181" y="243"/>
                  </a:lnTo>
                  <a:lnTo>
                    <a:pt x="179" y="235"/>
                  </a:lnTo>
                  <a:lnTo>
                    <a:pt x="179" y="235"/>
                  </a:lnTo>
                  <a:lnTo>
                    <a:pt x="178" y="215"/>
                  </a:lnTo>
                  <a:lnTo>
                    <a:pt x="178" y="20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9" y="187"/>
                  </a:lnTo>
                  <a:lnTo>
                    <a:pt x="179" y="179"/>
                  </a:lnTo>
                  <a:lnTo>
                    <a:pt x="178" y="172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2" y="156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6" y="124"/>
                  </a:lnTo>
                  <a:lnTo>
                    <a:pt x="166" y="121"/>
                  </a:lnTo>
                  <a:lnTo>
                    <a:pt x="169" y="120"/>
                  </a:lnTo>
                  <a:lnTo>
                    <a:pt x="169" y="120"/>
                  </a:lnTo>
                  <a:lnTo>
                    <a:pt x="182" y="120"/>
                  </a:lnTo>
                  <a:lnTo>
                    <a:pt x="201" y="123"/>
                  </a:lnTo>
                  <a:lnTo>
                    <a:pt x="201" y="123"/>
                  </a:lnTo>
                  <a:lnTo>
                    <a:pt x="222" y="127"/>
                  </a:lnTo>
                  <a:lnTo>
                    <a:pt x="234" y="129"/>
                  </a:lnTo>
                  <a:lnTo>
                    <a:pt x="241" y="129"/>
                  </a:lnTo>
                  <a:lnTo>
                    <a:pt x="241" y="129"/>
                  </a:lnTo>
                  <a:lnTo>
                    <a:pt x="250" y="129"/>
                  </a:lnTo>
                  <a:lnTo>
                    <a:pt x="252" y="127"/>
                  </a:lnTo>
                  <a:lnTo>
                    <a:pt x="253" y="124"/>
                  </a:lnTo>
                  <a:lnTo>
                    <a:pt x="253" y="124"/>
                  </a:lnTo>
                  <a:lnTo>
                    <a:pt x="256" y="120"/>
                  </a:lnTo>
                  <a:lnTo>
                    <a:pt x="259" y="118"/>
                  </a:lnTo>
                  <a:lnTo>
                    <a:pt x="262" y="118"/>
                  </a:lnTo>
                  <a:lnTo>
                    <a:pt x="266" y="120"/>
                  </a:lnTo>
                  <a:lnTo>
                    <a:pt x="266" y="120"/>
                  </a:lnTo>
                  <a:lnTo>
                    <a:pt x="275" y="124"/>
                  </a:lnTo>
                  <a:lnTo>
                    <a:pt x="278" y="124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83" y="121"/>
                  </a:lnTo>
                  <a:lnTo>
                    <a:pt x="284" y="116"/>
                  </a:lnTo>
                  <a:lnTo>
                    <a:pt x="287" y="111"/>
                  </a:lnTo>
                  <a:lnTo>
                    <a:pt x="292" y="107"/>
                  </a:lnTo>
                  <a:lnTo>
                    <a:pt x="292" y="107"/>
                  </a:lnTo>
                  <a:lnTo>
                    <a:pt x="296" y="105"/>
                  </a:lnTo>
                  <a:lnTo>
                    <a:pt x="299" y="102"/>
                  </a:lnTo>
                  <a:lnTo>
                    <a:pt x="300" y="99"/>
                  </a:lnTo>
                  <a:lnTo>
                    <a:pt x="300" y="95"/>
                  </a:lnTo>
                  <a:lnTo>
                    <a:pt x="300" y="95"/>
                  </a:lnTo>
                  <a:lnTo>
                    <a:pt x="300" y="89"/>
                  </a:lnTo>
                  <a:lnTo>
                    <a:pt x="303" y="86"/>
                  </a:lnTo>
                  <a:lnTo>
                    <a:pt x="306" y="83"/>
                  </a:lnTo>
                  <a:lnTo>
                    <a:pt x="309" y="83"/>
                  </a:lnTo>
                  <a:lnTo>
                    <a:pt x="309" y="83"/>
                  </a:lnTo>
                  <a:lnTo>
                    <a:pt x="311" y="84"/>
                  </a:lnTo>
                  <a:lnTo>
                    <a:pt x="312" y="83"/>
                  </a:lnTo>
                  <a:lnTo>
                    <a:pt x="314" y="81"/>
                  </a:lnTo>
                  <a:lnTo>
                    <a:pt x="317" y="80"/>
                  </a:lnTo>
                  <a:lnTo>
                    <a:pt x="317" y="80"/>
                  </a:lnTo>
                  <a:lnTo>
                    <a:pt x="321" y="81"/>
                  </a:lnTo>
                  <a:lnTo>
                    <a:pt x="326" y="83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3" y="86"/>
                  </a:lnTo>
                  <a:lnTo>
                    <a:pt x="333" y="84"/>
                  </a:lnTo>
                  <a:lnTo>
                    <a:pt x="333" y="81"/>
                  </a:lnTo>
                  <a:lnTo>
                    <a:pt x="335" y="78"/>
                  </a:lnTo>
                  <a:lnTo>
                    <a:pt x="335" y="78"/>
                  </a:lnTo>
                  <a:lnTo>
                    <a:pt x="337" y="76"/>
                  </a:lnTo>
                  <a:lnTo>
                    <a:pt x="342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9" y="74"/>
                  </a:lnTo>
                  <a:lnTo>
                    <a:pt x="349" y="74"/>
                  </a:lnTo>
                  <a:lnTo>
                    <a:pt x="351" y="78"/>
                  </a:lnTo>
                  <a:lnTo>
                    <a:pt x="349" y="83"/>
                  </a:lnTo>
                  <a:lnTo>
                    <a:pt x="349" y="87"/>
                  </a:lnTo>
                  <a:lnTo>
                    <a:pt x="351" y="87"/>
                  </a:lnTo>
                  <a:lnTo>
                    <a:pt x="352" y="87"/>
                  </a:lnTo>
                  <a:lnTo>
                    <a:pt x="352" y="87"/>
                  </a:lnTo>
                  <a:lnTo>
                    <a:pt x="357" y="87"/>
                  </a:lnTo>
                  <a:lnTo>
                    <a:pt x="361" y="87"/>
                  </a:lnTo>
                  <a:lnTo>
                    <a:pt x="363" y="87"/>
                  </a:lnTo>
                  <a:lnTo>
                    <a:pt x="364" y="83"/>
                  </a:lnTo>
                  <a:lnTo>
                    <a:pt x="364" y="83"/>
                  </a:lnTo>
                  <a:lnTo>
                    <a:pt x="364" y="76"/>
                  </a:lnTo>
                  <a:lnTo>
                    <a:pt x="366" y="70"/>
                  </a:lnTo>
                  <a:lnTo>
                    <a:pt x="366" y="70"/>
                  </a:lnTo>
                  <a:lnTo>
                    <a:pt x="366" y="47"/>
                  </a:lnTo>
                  <a:lnTo>
                    <a:pt x="364" y="27"/>
                  </a:lnTo>
                  <a:lnTo>
                    <a:pt x="364" y="27"/>
                  </a:lnTo>
                  <a:lnTo>
                    <a:pt x="374" y="27"/>
                  </a:lnTo>
                  <a:lnTo>
                    <a:pt x="386" y="24"/>
                  </a:lnTo>
                  <a:lnTo>
                    <a:pt x="386" y="24"/>
                  </a:lnTo>
                  <a:lnTo>
                    <a:pt x="392" y="22"/>
                  </a:lnTo>
                  <a:lnTo>
                    <a:pt x="395" y="21"/>
                  </a:lnTo>
                  <a:lnTo>
                    <a:pt x="398" y="18"/>
                  </a:lnTo>
                  <a:lnTo>
                    <a:pt x="398" y="18"/>
                  </a:lnTo>
                  <a:lnTo>
                    <a:pt x="406" y="7"/>
                  </a:lnTo>
                  <a:lnTo>
                    <a:pt x="410" y="3"/>
                  </a:lnTo>
                  <a:lnTo>
                    <a:pt x="414" y="0"/>
                  </a:lnTo>
                  <a:lnTo>
                    <a:pt x="414" y="0"/>
                  </a:lnTo>
                  <a:lnTo>
                    <a:pt x="420" y="0"/>
                  </a:lnTo>
                  <a:lnTo>
                    <a:pt x="429" y="0"/>
                  </a:lnTo>
                  <a:lnTo>
                    <a:pt x="453" y="4"/>
                  </a:lnTo>
                  <a:lnTo>
                    <a:pt x="453" y="4"/>
                  </a:lnTo>
                  <a:lnTo>
                    <a:pt x="459" y="6"/>
                  </a:lnTo>
                  <a:lnTo>
                    <a:pt x="465" y="7"/>
                  </a:lnTo>
                  <a:lnTo>
                    <a:pt x="472" y="13"/>
                  </a:lnTo>
                  <a:lnTo>
                    <a:pt x="480" y="19"/>
                  </a:lnTo>
                  <a:lnTo>
                    <a:pt x="487" y="25"/>
                  </a:lnTo>
                  <a:lnTo>
                    <a:pt x="487" y="25"/>
                  </a:lnTo>
                  <a:lnTo>
                    <a:pt x="497" y="31"/>
                  </a:lnTo>
                  <a:lnTo>
                    <a:pt x="506" y="37"/>
                  </a:lnTo>
                  <a:lnTo>
                    <a:pt x="512" y="44"/>
                  </a:lnTo>
                  <a:lnTo>
                    <a:pt x="515" y="47"/>
                  </a:lnTo>
                  <a:lnTo>
                    <a:pt x="515" y="49"/>
                  </a:lnTo>
                  <a:lnTo>
                    <a:pt x="515" y="49"/>
                  </a:lnTo>
                  <a:lnTo>
                    <a:pt x="515" y="55"/>
                  </a:lnTo>
                  <a:lnTo>
                    <a:pt x="514" y="61"/>
                  </a:lnTo>
                  <a:lnTo>
                    <a:pt x="514" y="67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23" y="83"/>
                  </a:lnTo>
                  <a:lnTo>
                    <a:pt x="527" y="90"/>
                  </a:lnTo>
                  <a:lnTo>
                    <a:pt x="527" y="92"/>
                  </a:lnTo>
                  <a:lnTo>
                    <a:pt x="526" y="93"/>
                  </a:lnTo>
                  <a:lnTo>
                    <a:pt x="526" y="93"/>
                  </a:lnTo>
                  <a:lnTo>
                    <a:pt x="515" y="99"/>
                  </a:lnTo>
                  <a:lnTo>
                    <a:pt x="509" y="105"/>
                  </a:lnTo>
                  <a:lnTo>
                    <a:pt x="505" y="110"/>
                  </a:lnTo>
                  <a:lnTo>
                    <a:pt x="505" y="110"/>
                  </a:lnTo>
                  <a:lnTo>
                    <a:pt x="503" y="117"/>
                  </a:lnTo>
                  <a:lnTo>
                    <a:pt x="503" y="126"/>
                  </a:lnTo>
                  <a:lnTo>
                    <a:pt x="503" y="141"/>
                  </a:lnTo>
                  <a:lnTo>
                    <a:pt x="503" y="141"/>
                  </a:lnTo>
                  <a:lnTo>
                    <a:pt x="505" y="142"/>
                  </a:lnTo>
                  <a:lnTo>
                    <a:pt x="506" y="145"/>
                  </a:lnTo>
                  <a:lnTo>
                    <a:pt x="517" y="151"/>
                  </a:lnTo>
                  <a:lnTo>
                    <a:pt x="517" y="151"/>
                  </a:lnTo>
                  <a:lnTo>
                    <a:pt x="523" y="154"/>
                  </a:lnTo>
                  <a:lnTo>
                    <a:pt x="530" y="156"/>
                  </a:lnTo>
                  <a:lnTo>
                    <a:pt x="537" y="156"/>
                  </a:lnTo>
                  <a:lnTo>
                    <a:pt x="543" y="154"/>
                  </a:lnTo>
                  <a:lnTo>
                    <a:pt x="543" y="154"/>
                  </a:lnTo>
                  <a:lnTo>
                    <a:pt x="551" y="145"/>
                  </a:lnTo>
                  <a:lnTo>
                    <a:pt x="555" y="141"/>
                  </a:lnTo>
                  <a:lnTo>
                    <a:pt x="561" y="138"/>
                  </a:lnTo>
                  <a:lnTo>
                    <a:pt x="561" y="138"/>
                  </a:lnTo>
                  <a:lnTo>
                    <a:pt x="566" y="135"/>
                  </a:lnTo>
                  <a:lnTo>
                    <a:pt x="573" y="133"/>
                  </a:lnTo>
                  <a:lnTo>
                    <a:pt x="579" y="132"/>
                  </a:lnTo>
                  <a:lnTo>
                    <a:pt x="586" y="135"/>
                  </a:lnTo>
                  <a:lnTo>
                    <a:pt x="586" y="135"/>
                  </a:lnTo>
                  <a:lnTo>
                    <a:pt x="598" y="142"/>
                  </a:lnTo>
                  <a:lnTo>
                    <a:pt x="604" y="145"/>
                  </a:lnTo>
                  <a:lnTo>
                    <a:pt x="610" y="145"/>
                  </a:lnTo>
                  <a:lnTo>
                    <a:pt x="610" y="145"/>
                  </a:lnTo>
                  <a:lnTo>
                    <a:pt x="614" y="145"/>
                  </a:lnTo>
                  <a:lnTo>
                    <a:pt x="616" y="144"/>
                  </a:lnTo>
                  <a:lnTo>
                    <a:pt x="617" y="142"/>
                  </a:lnTo>
                  <a:lnTo>
                    <a:pt x="620" y="142"/>
                  </a:lnTo>
                  <a:lnTo>
                    <a:pt x="620" y="142"/>
                  </a:lnTo>
                  <a:lnTo>
                    <a:pt x="625" y="144"/>
                  </a:lnTo>
                  <a:lnTo>
                    <a:pt x="628" y="147"/>
                  </a:lnTo>
                  <a:lnTo>
                    <a:pt x="632" y="151"/>
                  </a:lnTo>
                  <a:lnTo>
                    <a:pt x="635" y="157"/>
                  </a:lnTo>
                  <a:lnTo>
                    <a:pt x="635" y="157"/>
                  </a:lnTo>
                  <a:lnTo>
                    <a:pt x="640" y="166"/>
                  </a:lnTo>
                  <a:lnTo>
                    <a:pt x="643" y="170"/>
                  </a:lnTo>
                  <a:lnTo>
                    <a:pt x="647" y="173"/>
                  </a:lnTo>
                  <a:lnTo>
                    <a:pt x="647" y="173"/>
                  </a:lnTo>
                  <a:lnTo>
                    <a:pt x="651" y="179"/>
                  </a:lnTo>
                  <a:lnTo>
                    <a:pt x="656" y="185"/>
                  </a:lnTo>
                  <a:lnTo>
                    <a:pt x="659" y="19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49" name="Freeform 128">
              <a:extLst>
                <a:ext uri="{FF2B5EF4-FFF2-40B4-BE49-F238E27FC236}">
                  <a16:creationId xmlns:a16="http://schemas.microsoft.com/office/drawing/2014/main" id="{0C2624F5-5FC9-9041-9591-61266A3981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24013" y="3678238"/>
              <a:ext cx="1209675" cy="1371600"/>
            </a:xfrm>
            <a:custGeom>
              <a:avLst/>
              <a:gdLst>
                <a:gd name="T0" fmla="*/ 86 w 762"/>
                <a:gd name="T1" fmla="*/ 825 h 864"/>
                <a:gd name="T2" fmla="*/ 83 w 762"/>
                <a:gd name="T3" fmla="*/ 806 h 864"/>
                <a:gd name="T4" fmla="*/ 34 w 762"/>
                <a:gd name="T5" fmla="*/ 754 h 864"/>
                <a:gd name="T6" fmla="*/ 0 w 762"/>
                <a:gd name="T7" fmla="*/ 698 h 864"/>
                <a:gd name="T8" fmla="*/ 12 w 762"/>
                <a:gd name="T9" fmla="*/ 667 h 864"/>
                <a:gd name="T10" fmla="*/ 1 w 762"/>
                <a:gd name="T11" fmla="*/ 636 h 864"/>
                <a:gd name="T12" fmla="*/ 40 w 762"/>
                <a:gd name="T13" fmla="*/ 622 h 864"/>
                <a:gd name="T14" fmla="*/ 49 w 762"/>
                <a:gd name="T15" fmla="*/ 604 h 864"/>
                <a:gd name="T16" fmla="*/ 72 w 762"/>
                <a:gd name="T17" fmla="*/ 606 h 864"/>
                <a:gd name="T18" fmla="*/ 56 w 762"/>
                <a:gd name="T19" fmla="*/ 572 h 864"/>
                <a:gd name="T20" fmla="*/ 43 w 762"/>
                <a:gd name="T21" fmla="*/ 556 h 864"/>
                <a:gd name="T22" fmla="*/ 69 w 762"/>
                <a:gd name="T23" fmla="*/ 538 h 864"/>
                <a:gd name="T24" fmla="*/ 86 w 762"/>
                <a:gd name="T25" fmla="*/ 525 h 864"/>
                <a:gd name="T26" fmla="*/ 102 w 762"/>
                <a:gd name="T27" fmla="*/ 487 h 864"/>
                <a:gd name="T28" fmla="*/ 138 w 762"/>
                <a:gd name="T29" fmla="*/ 502 h 864"/>
                <a:gd name="T30" fmla="*/ 141 w 762"/>
                <a:gd name="T31" fmla="*/ 489 h 864"/>
                <a:gd name="T32" fmla="*/ 149 w 762"/>
                <a:gd name="T33" fmla="*/ 464 h 864"/>
                <a:gd name="T34" fmla="*/ 163 w 762"/>
                <a:gd name="T35" fmla="*/ 461 h 864"/>
                <a:gd name="T36" fmla="*/ 176 w 762"/>
                <a:gd name="T37" fmla="*/ 428 h 864"/>
                <a:gd name="T38" fmla="*/ 192 w 762"/>
                <a:gd name="T39" fmla="*/ 415 h 864"/>
                <a:gd name="T40" fmla="*/ 182 w 762"/>
                <a:gd name="T41" fmla="*/ 405 h 864"/>
                <a:gd name="T42" fmla="*/ 176 w 762"/>
                <a:gd name="T43" fmla="*/ 379 h 864"/>
                <a:gd name="T44" fmla="*/ 139 w 762"/>
                <a:gd name="T45" fmla="*/ 351 h 864"/>
                <a:gd name="T46" fmla="*/ 151 w 762"/>
                <a:gd name="T47" fmla="*/ 314 h 864"/>
                <a:gd name="T48" fmla="*/ 132 w 762"/>
                <a:gd name="T49" fmla="*/ 292 h 864"/>
                <a:gd name="T50" fmla="*/ 115 w 762"/>
                <a:gd name="T51" fmla="*/ 252 h 864"/>
                <a:gd name="T52" fmla="*/ 130 w 762"/>
                <a:gd name="T53" fmla="*/ 249 h 864"/>
                <a:gd name="T54" fmla="*/ 112 w 762"/>
                <a:gd name="T55" fmla="*/ 224 h 864"/>
                <a:gd name="T56" fmla="*/ 115 w 762"/>
                <a:gd name="T57" fmla="*/ 200 h 864"/>
                <a:gd name="T58" fmla="*/ 149 w 762"/>
                <a:gd name="T59" fmla="*/ 178 h 864"/>
                <a:gd name="T60" fmla="*/ 188 w 762"/>
                <a:gd name="T61" fmla="*/ 145 h 864"/>
                <a:gd name="T62" fmla="*/ 192 w 762"/>
                <a:gd name="T63" fmla="*/ 128 h 864"/>
                <a:gd name="T64" fmla="*/ 222 w 762"/>
                <a:gd name="T65" fmla="*/ 125 h 864"/>
                <a:gd name="T66" fmla="*/ 222 w 762"/>
                <a:gd name="T67" fmla="*/ 92 h 864"/>
                <a:gd name="T68" fmla="*/ 219 w 762"/>
                <a:gd name="T69" fmla="*/ 71 h 864"/>
                <a:gd name="T70" fmla="*/ 241 w 762"/>
                <a:gd name="T71" fmla="*/ 45 h 864"/>
                <a:gd name="T72" fmla="*/ 268 w 762"/>
                <a:gd name="T73" fmla="*/ 85 h 864"/>
                <a:gd name="T74" fmla="*/ 309 w 762"/>
                <a:gd name="T75" fmla="*/ 80 h 864"/>
                <a:gd name="T76" fmla="*/ 340 w 762"/>
                <a:gd name="T77" fmla="*/ 71 h 864"/>
                <a:gd name="T78" fmla="*/ 394 w 762"/>
                <a:gd name="T79" fmla="*/ 67 h 864"/>
                <a:gd name="T80" fmla="*/ 420 w 762"/>
                <a:gd name="T81" fmla="*/ 42 h 864"/>
                <a:gd name="T82" fmla="*/ 471 w 762"/>
                <a:gd name="T83" fmla="*/ 28 h 864"/>
                <a:gd name="T84" fmla="*/ 493 w 762"/>
                <a:gd name="T85" fmla="*/ 0 h 864"/>
                <a:gd name="T86" fmla="*/ 517 w 762"/>
                <a:gd name="T87" fmla="*/ 9 h 864"/>
                <a:gd name="T88" fmla="*/ 537 w 762"/>
                <a:gd name="T89" fmla="*/ 6 h 864"/>
                <a:gd name="T90" fmla="*/ 552 w 762"/>
                <a:gd name="T91" fmla="*/ 33 h 864"/>
                <a:gd name="T92" fmla="*/ 545 w 762"/>
                <a:gd name="T93" fmla="*/ 46 h 864"/>
                <a:gd name="T94" fmla="*/ 580 w 762"/>
                <a:gd name="T95" fmla="*/ 71 h 864"/>
                <a:gd name="T96" fmla="*/ 608 w 762"/>
                <a:gd name="T97" fmla="*/ 77 h 864"/>
                <a:gd name="T98" fmla="*/ 626 w 762"/>
                <a:gd name="T99" fmla="*/ 110 h 864"/>
                <a:gd name="T100" fmla="*/ 628 w 762"/>
                <a:gd name="T101" fmla="*/ 138 h 864"/>
                <a:gd name="T102" fmla="*/ 671 w 762"/>
                <a:gd name="T103" fmla="*/ 144 h 864"/>
                <a:gd name="T104" fmla="*/ 715 w 762"/>
                <a:gd name="T105" fmla="*/ 176 h 864"/>
                <a:gd name="T106" fmla="*/ 709 w 762"/>
                <a:gd name="T107" fmla="*/ 208 h 864"/>
                <a:gd name="T108" fmla="*/ 730 w 762"/>
                <a:gd name="T109" fmla="*/ 197 h 864"/>
                <a:gd name="T110" fmla="*/ 730 w 762"/>
                <a:gd name="T111" fmla="*/ 211 h 864"/>
                <a:gd name="T112" fmla="*/ 758 w 762"/>
                <a:gd name="T113" fmla="*/ 228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62" h="864">
                  <a:moveTo>
                    <a:pt x="96" y="864"/>
                  </a:moveTo>
                  <a:lnTo>
                    <a:pt x="96" y="864"/>
                  </a:lnTo>
                  <a:lnTo>
                    <a:pt x="95" y="853"/>
                  </a:lnTo>
                  <a:lnTo>
                    <a:pt x="92" y="841"/>
                  </a:lnTo>
                  <a:lnTo>
                    <a:pt x="89" y="830"/>
                  </a:lnTo>
                  <a:lnTo>
                    <a:pt x="86" y="825"/>
                  </a:lnTo>
                  <a:lnTo>
                    <a:pt x="86" y="825"/>
                  </a:lnTo>
                  <a:lnTo>
                    <a:pt x="81" y="822"/>
                  </a:lnTo>
                  <a:lnTo>
                    <a:pt x="81" y="819"/>
                  </a:lnTo>
                  <a:lnTo>
                    <a:pt x="81" y="816"/>
                  </a:lnTo>
                  <a:lnTo>
                    <a:pt x="81" y="816"/>
                  </a:lnTo>
                  <a:lnTo>
                    <a:pt x="83" y="812"/>
                  </a:lnTo>
                  <a:lnTo>
                    <a:pt x="83" y="807"/>
                  </a:lnTo>
                  <a:lnTo>
                    <a:pt x="83" y="806"/>
                  </a:lnTo>
                  <a:lnTo>
                    <a:pt x="80" y="803"/>
                  </a:lnTo>
                  <a:lnTo>
                    <a:pt x="74" y="798"/>
                  </a:lnTo>
                  <a:lnTo>
                    <a:pt x="74" y="798"/>
                  </a:lnTo>
                  <a:lnTo>
                    <a:pt x="62" y="790"/>
                  </a:lnTo>
                  <a:lnTo>
                    <a:pt x="49" y="776"/>
                  </a:lnTo>
                  <a:lnTo>
                    <a:pt x="40" y="763"/>
                  </a:lnTo>
                  <a:lnTo>
                    <a:pt x="34" y="754"/>
                  </a:lnTo>
                  <a:lnTo>
                    <a:pt x="34" y="754"/>
                  </a:lnTo>
                  <a:lnTo>
                    <a:pt x="31" y="741"/>
                  </a:lnTo>
                  <a:lnTo>
                    <a:pt x="25" y="729"/>
                  </a:lnTo>
                  <a:lnTo>
                    <a:pt x="25" y="729"/>
                  </a:lnTo>
                  <a:lnTo>
                    <a:pt x="19" y="720"/>
                  </a:lnTo>
                  <a:lnTo>
                    <a:pt x="12" y="711"/>
                  </a:lnTo>
                  <a:lnTo>
                    <a:pt x="0" y="698"/>
                  </a:lnTo>
                  <a:lnTo>
                    <a:pt x="0" y="698"/>
                  </a:lnTo>
                  <a:lnTo>
                    <a:pt x="0" y="696"/>
                  </a:lnTo>
                  <a:lnTo>
                    <a:pt x="1" y="693"/>
                  </a:lnTo>
                  <a:lnTo>
                    <a:pt x="7" y="684"/>
                  </a:lnTo>
                  <a:lnTo>
                    <a:pt x="7" y="684"/>
                  </a:lnTo>
                  <a:lnTo>
                    <a:pt x="12" y="673"/>
                  </a:lnTo>
                  <a:lnTo>
                    <a:pt x="12" y="667"/>
                  </a:lnTo>
                  <a:lnTo>
                    <a:pt x="10" y="661"/>
                  </a:lnTo>
                  <a:lnTo>
                    <a:pt x="10" y="661"/>
                  </a:lnTo>
                  <a:lnTo>
                    <a:pt x="1" y="644"/>
                  </a:lnTo>
                  <a:lnTo>
                    <a:pt x="0" y="639"/>
                  </a:lnTo>
                  <a:lnTo>
                    <a:pt x="0" y="636"/>
                  </a:lnTo>
                  <a:lnTo>
                    <a:pt x="1" y="636"/>
                  </a:lnTo>
                  <a:lnTo>
                    <a:pt x="1" y="636"/>
                  </a:lnTo>
                  <a:lnTo>
                    <a:pt x="10" y="636"/>
                  </a:lnTo>
                  <a:lnTo>
                    <a:pt x="16" y="634"/>
                  </a:lnTo>
                  <a:lnTo>
                    <a:pt x="21" y="633"/>
                  </a:lnTo>
                  <a:lnTo>
                    <a:pt x="21" y="633"/>
                  </a:lnTo>
                  <a:lnTo>
                    <a:pt x="27" y="628"/>
                  </a:lnTo>
                  <a:lnTo>
                    <a:pt x="32" y="627"/>
                  </a:lnTo>
                  <a:lnTo>
                    <a:pt x="40" y="622"/>
                  </a:lnTo>
                  <a:lnTo>
                    <a:pt x="40" y="622"/>
                  </a:lnTo>
                  <a:lnTo>
                    <a:pt x="41" y="621"/>
                  </a:lnTo>
                  <a:lnTo>
                    <a:pt x="41" y="618"/>
                  </a:lnTo>
                  <a:lnTo>
                    <a:pt x="43" y="613"/>
                  </a:lnTo>
                  <a:lnTo>
                    <a:pt x="46" y="609"/>
                  </a:lnTo>
                  <a:lnTo>
                    <a:pt x="46" y="609"/>
                  </a:lnTo>
                  <a:lnTo>
                    <a:pt x="49" y="604"/>
                  </a:lnTo>
                  <a:lnTo>
                    <a:pt x="53" y="603"/>
                  </a:lnTo>
                  <a:lnTo>
                    <a:pt x="58" y="603"/>
                  </a:lnTo>
                  <a:lnTo>
                    <a:pt x="61" y="604"/>
                  </a:lnTo>
                  <a:lnTo>
                    <a:pt x="61" y="604"/>
                  </a:lnTo>
                  <a:lnTo>
                    <a:pt x="65" y="606"/>
                  </a:lnTo>
                  <a:lnTo>
                    <a:pt x="69" y="606"/>
                  </a:lnTo>
                  <a:lnTo>
                    <a:pt x="72" y="606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2" y="599"/>
                  </a:lnTo>
                  <a:lnTo>
                    <a:pt x="68" y="588"/>
                  </a:lnTo>
                  <a:lnTo>
                    <a:pt x="62" y="578"/>
                  </a:lnTo>
                  <a:lnTo>
                    <a:pt x="59" y="575"/>
                  </a:lnTo>
                  <a:lnTo>
                    <a:pt x="56" y="572"/>
                  </a:lnTo>
                  <a:lnTo>
                    <a:pt x="56" y="572"/>
                  </a:lnTo>
                  <a:lnTo>
                    <a:pt x="44" y="567"/>
                  </a:lnTo>
                  <a:lnTo>
                    <a:pt x="41" y="564"/>
                  </a:lnTo>
                  <a:lnTo>
                    <a:pt x="41" y="563"/>
                  </a:lnTo>
                  <a:lnTo>
                    <a:pt x="41" y="560"/>
                  </a:lnTo>
                  <a:lnTo>
                    <a:pt x="41" y="560"/>
                  </a:lnTo>
                  <a:lnTo>
                    <a:pt x="43" y="556"/>
                  </a:lnTo>
                  <a:lnTo>
                    <a:pt x="47" y="551"/>
                  </a:lnTo>
                  <a:lnTo>
                    <a:pt x="52" y="548"/>
                  </a:lnTo>
                  <a:lnTo>
                    <a:pt x="56" y="547"/>
                  </a:lnTo>
                  <a:lnTo>
                    <a:pt x="56" y="547"/>
                  </a:lnTo>
                  <a:lnTo>
                    <a:pt x="61" y="547"/>
                  </a:lnTo>
                  <a:lnTo>
                    <a:pt x="65" y="542"/>
                  </a:lnTo>
                  <a:lnTo>
                    <a:pt x="69" y="538"/>
                  </a:lnTo>
                  <a:lnTo>
                    <a:pt x="74" y="533"/>
                  </a:lnTo>
                  <a:lnTo>
                    <a:pt x="74" y="533"/>
                  </a:lnTo>
                  <a:lnTo>
                    <a:pt x="77" y="530"/>
                  </a:lnTo>
                  <a:lnTo>
                    <a:pt x="80" y="529"/>
                  </a:lnTo>
                  <a:lnTo>
                    <a:pt x="83" y="527"/>
                  </a:lnTo>
                  <a:lnTo>
                    <a:pt x="86" y="525"/>
                  </a:lnTo>
                  <a:lnTo>
                    <a:pt x="86" y="525"/>
                  </a:lnTo>
                  <a:lnTo>
                    <a:pt x="87" y="519"/>
                  </a:lnTo>
                  <a:lnTo>
                    <a:pt x="87" y="511"/>
                  </a:lnTo>
                  <a:lnTo>
                    <a:pt x="89" y="498"/>
                  </a:lnTo>
                  <a:lnTo>
                    <a:pt x="89" y="498"/>
                  </a:lnTo>
                  <a:lnTo>
                    <a:pt x="92" y="493"/>
                  </a:lnTo>
                  <a:lnTo>
                    <a:pt x="96" y="489"/>
                  </a:lnTo>
                  <a:lnTo>
                    <a:pt x="102" y="487"/>
                  </a:lnTo>
                  <a:lnTo>
                    <a:pt x="108" y="489"/>
                  </a:lnTo>
                  <a:lnTo>
                    <a:pt x="108" y="489"/>
                  </a:lnTo>
                  <a:lnTo>
                    <a:pt x="123" y="499"/>
                  </a:lnTo>
                  <a:lnTo>
                    <a:pt x="130" y="502"/>
                  </a:lnTo>
                  <a:lnTo>
                    <a:pt x="135" y="502"/>
                  </a:lnTo>
                  <a:lnTo>
                    <a:pt x="138" y="502"/>
                  </a:lnTo>
                  <a:lnTo>
                    <a:pt x="138" y="502"/>
                  </a:lnTo>
                  <a:lnTo>
                    <a:pt x="144" y="501"/>
                  </a:lnTo>
                  <a:lnTo>
                    <a:pt x="148" y="499"/>
                  </a:lnTo>
                  <a:lnTo>
                    <a:pt x="149" y="496"/>
                  </a:lnTo>
                  <a:lnTo>
                    <a:pt x="148" y="492"/>
                  </a:lnTo>
                  <a:lnTo>
                    <a:pt x="148" y="492"/>
                  </a:lnTo>
                  <a:lnTo>
                    <a:pt x="145" y="490"/>
                  </a:lnTo>
                  <a:lnTo>
                    <a:pt x="141" y="489"/>
                  </a:lnTo>
                  <a:lnTo>
                    <a:pt x="139" y="487"/>
                  </a:lnTo>
                  <a:lnTo>
                    <a:pt x="139" y="487"/>
                  </a:lnTo>
                  <a:lnTo>
                    <a:pt x="142" y="482"/>
                  </a:lnTo>
                  <a:lnTo>
                    <a:pt x="142" y="482"/>
                  </a:lnTo>
                  <a:lnTo>
                    <a:pt x="145" y="476"/>
                  </a:lnTo>
                  <a:lnTo>
                    <a:pt x="148" y="470"/>
                  </a:lnTo>
                  <a:lnTo>
                    <a:pt x="149" y="464"/>
                  </a:lnTo>
                  <a:lnTo>
                    <a:pt x="152" y="462"/>
                  </a:lnTo>
                  <a:lnTo>
                    <a:pt x="152" y="462"/>
                  </a:lnTo>
                  <a:lnTo>
                    <a:pt x="155" y="462"/>
                  </a:lnTo>
                  <a:lnTo>
                    <a:pt x="160" y="462"/>
                  </a:lnTo>
                  <a:lnTo>
                    <a:pt x="161" y="464"/>
                  </a:lnTo>
                  <a:lnTo>
                    <a:pt x="163" y="461"/>
                  </a:lnTo>
                  <a:lnTo>
                    <a:pt x="163" y="461"/>
                  </a:lnTo>
                  <a:lnTo>
                    <a:pt x="163" y="453"/>
                  </a:lnTo>
                  <a:lnTo>
                    <a:pt x="164" y="445"/>
                  </a:lnTo>
                  <a:lnTo>
                    <a:pt x="167" y="436"/>
                  </a:lnTo>
                  <a:lnTo>
                    <a:pt x="169" y="430"/>
                  </a:lnTo>
                  <a:lnTo>
                    <a:pt x="169" y="430"/>
                  </a:lnTo>
                  <a:lnTo>
                    <a:pt x="172" y="428"/>
                  </a:lnTo>
                  <a:lnTo>
                    <a:pt x="176" y="428"/>
                  </a:lnTo>
                  <a:lnTo>
                    <a:pt x="181" y="427"/>
                  </a:lnTo>
                  <a:lnTo>
                    <a:pt x="188" y="425"/>
                  </a:lnTo>
                  <a:lnTo>
                    <a:pt x="188" y="425"/>
                  </a:lnTo>
                  <a:lnTo>
                    <a:pt x="194" y="424"/>
                  </a:lnTo>
                  <a:lnTo>
                    <a:pt x="197" y="421"/>
                  </a:lnTo>
                  <a:lnTo>
                    <a:pt x="197" y="418"/>
                  </a:lnTo>
                  <a:lnTo>
                    <a:pt x="192" y="415"/>
                  </a:lnTo>
                  <a:lnTo>
                    <a:pt x="192" y="415"/>
                  </a:lnTo>
                  <a:lnTo>
                    <a:pt x="188" y="413"/>
                  </a:lnTo>
                  <a:lnTo>
                    <a:pt x="183" y="413"/>
                  </a:lnTo>
                  <a:lnTo>
                    <a:pt x="183" y="413"/>
                  </a:lnTo>
                  <a:lnTo>
                    <a:pt x="182" y="412"/>
                  </a:lnTo>
                  <a:lnTo>
                    <a:pt x="182" y="405"/>
                  </a:lnTo>
                  <a:lnTo>
                    <a:pt x="182" y="405"/>
                  </a:lnTo>
                  <a:lnTo>
                    <a:pt x="185" y="387"/>
                  </a:lnTo>
                  <a:lnTo>
                    <a:pt x="185" y="382"/>
                  </a:lnTo>
                  <a:lnTo>
                    <a:pt x="185" y="381"/>
                  </a:lnTo>
                  <a:lnTo>
                    <a:pt x="183" y="379"/>
                  </a:lnTo>
                  <a:lnTo>
                    <a:pt x="181" y="379"/>
                  </a:lnTo>
                  <a:lnTo>
                    <a:pt x="181" y="379"/>
                  </a:lnTo>
                  <a:lnTo>
                    <a:pt x="176" y="379"/>
                  </a:lnTo>
                  <a:lnTo>
                    <a:pt x="172" y="378"/>
                  </a:lnTo>
                  <a:lnTo>
                    <a:pt x="163" y="373"/>
                  </a:lnTo>
                  <a:lnTo>
                    <a:pt x="154" y="368"/>
                  </a:lnTo>
                  <a:lnTo>
                    <a:pt x="148" y="362"/>
                  </a:lnTo>
                  <a:lnTo>
                    <a:pt x="148" y="362"/>
                  </a:lnTo>
                  <a:lnTo>
                    <a:pt x="144" y="357"/>
                  </a:lnTo>
                  <a:lnTo>
                    <a:pt x="139" y="351"/>
                  </a:lnTo>
                  <a:lnTo>
                    <a:pt x="138" y="348"/>
                  </a:lnTo>
                  <a:lnTo>
                    <a:pt x="138" y="344"/>
                  </a:lnTo>
                  <a:lnTo>
                    <a:pt x="138" y="339"/>
                  </a:lnTo>
                  <a:lnTo>
                    <a:pt x="139" y="336"/>
                  </a:lnTo>
                  <a:lnTo>
                    <a:pt x="139" y="336"/>
                  </a:lnTo>
                  <a:lnTo>
                    <a:pt x="145" y="325"/>
                  </a:lnTo>
                  <a:lnTo>
                    <a:pt x="151" y="314"/>
                  </a:lnTo>
                  <a:lnTo>
                    <a:pt x="152" y="308"/>
                  </a:lnTo>
                  <a:lnTo>
                    <a:pt x="154" y="305"/>
                  </a:lnTo>
                  <a:lnTo>
                    <a:pt x="152" y="301"/>
                  </a:lnTo>
                  <a:lnTo>
                    <a:pt x="149" y="301"/>
                  </a:lnTo>
                  <a:lnTo>
                    <a:pt x="149" y="301"/>
                  </a:lnTo>
                  <a:lnTo>
                    <a:pt x="141" y="298"/>
                  </a:lnTo>
                  <a:lnTo>
                    <a:pt x="132" y="292"/>
                  </a:lnTo>
                  <a:lnTo>
                    <a:pt x="123" y="286"/>
                  </a:lnTo>
                  <a:lnTo>
                    <a:pt x="118" y="279"/>
                  </a:lnTo>
                  <a:lnTo>
                    <a:pt x="118" y="279"/>
                  </a:lnTo>
                  <a:lnTo>
                    <a:pt x="115" y="271"/>
                  </a:lnTo>
                  <a:lnTo>
                    <a:pt x="114" y="262"/>
                  </a:lnTo>
                  <a:lnTo>
                    <a:pt x="114" y="255"/>
                  </a:lnTo>
                  <a:lnTo>
                    <a:pt x="115" y="252"/>
                  </a:lnTo>
                  <a:lnTo>
                    <a:pt x="118" y="251"/>
                  </a:lnTo>
                  <a:lnTo>
                    <a:pt x="118" y="251"/>
                  </a:lnTo>
                  <a:lnTo>
                    <a:pt x="123" y="249"/>
                  </a:lnTo>
                  <a:lnTo>
                    <a:pt x="124" y="251"/>
                  </a:lnTo>
                  <a:lnTo>
                    <a:pt x="127" y="251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36" y="246"/>
                  </a:lnTo>
                  <a:lnTo>
                    <a:pt x="136" y="243"/>
                  </a:lnTo>
                  <a:lnTo>
                    <a:pt x="135" y="240"/>
                  </a:lnTo>
                  <a:lnTo>
                    <a:pt x="135" y="240"/>
                  </a:lnTo>
                  <a:lnTo>
                    <a:pt x="129" y="234"/>
                  </a:lnTo>
                  <a:lnTo>
                    <a:pt x="120" y="228"/>
                  </a:lnTo>
                  <a:lnTo>
                    <a:pt x="112" y="224"/>
                  </a:lnTo>
                  <a:lnTo>
                    <a:pt x="111" y="221"/>
                  </a:lnTo>
                  <a:lnTo>
                    <a:pt x="109" y="219"/>
                  </a:lnTo>
                  <a:lnTo>
                    <a:pt x="109" y="219"/>
                  </a:lnTo>
                  <a:lnTo>
                    <a:pt x="109" y="215"/>
                  </a:lnTo>
                  <a:lnTo>
                    <a:pt x="111" y="208"/>
                  </a:lnTo>
                  <a:lnTo>
                    <a:pt x="112" y="205"/>
                  </a:lnTo>
                  <a:lnTo>
                    <a:pt x="115" y="200"/>
                  </a:lnTo>
                  <a:lnTo>
                    <a:pt x="120" y="197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36" y="191"/>
                  </a:lnTo>
                  <a:lnTo>
                    <a:pt x="142" y="187"/>
                  </a:lnTo>
                  <a:lnTo>
                    <a:pt x="145" y="182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64" y="166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83" y="154"/>
                  </a:lnTo>
                  <a:lnTo>
                    <a:pt x="186" y="150"/>
                  </a:lnTo>
                  <a:lnTo>
                    <a:pt x="188" y="145"/>
                  </a:lnTo>
                  <a:lnTo>
                    <a:pt x="188" y="139"/>
                  </a:lnTo>
                  <a:lnTo>
                    <a:pt x="188" y="139"/>
                  </a:lnTo>
                  <a:lnTo>
                    <a:pt x="186" y="134"/>
                  </a:lnTo>
                  <a:lnTo>
                    <a:pt x="186" y="129"/>
                  </a:lnTo>
                  <a:lnTo>
                    <a:pt x="189" y="128"/>
                  </a:lnTo>
                  <a:lnTo>
                    <a:pt x="192" y="128"/>
                  </a:lnTo>
                  <a:lnTo>
                    <a:pt x="192" y="128"/>
                  </a:lnTo>
                  <a:lnTo>
                    <a:pt x="201" y="134"/>
                  </a:lnTo>
                  <a:lnTo>
                    <a:pt x="207" y="136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15" y="134"/>
                  </a:lnTo>
                  <a:lnTo>
                    <a:pt x="219" y="131"/>
                  </a:lnTo>
                  <a:lnTo>
                    <a:pt x="222" y="125"/>
                  </a:lnTo>
                  <a:lnTo>
                    <a:pt x="222" y="122"/>
                  </a:lnTo>
                  <a:lnTo>
                    <a:pt x="221" y="117"/>
                  </a:lnTo>
                  <a:lnTo>
                    <a:pt x="221" y="117"/>
                  </a:lnTo>
                  <a:lnTo>
                    <a:pt x="218" y="110"/>
                  </a:lnTo>
                  <a:lnTo>
                    <a:pt x="218" y="104"/>
                  </a:lnTo>
                  <a:lnTo>
                    <a:pt x="219" y="98"/>
                  </a:lnTo>
                  <a:lnTo>
                    <a:pt x="222" y="92"/>
                  </a:lnTo>
                  <a:lnTo>
                    <a:pt x="222" y="92"/>
                  </a:lnTo>
                  <a:lnTo>
                    <a:pt x="231" y="83"/>
                  </a:lnTo>
                  <a:lnTo>
                    <a:pt x="231" y="80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22" y="73"/>
                  </a:lnTo>
                  <a:lnTo>
                    <a:pt x="219" y="71"/>
                  </a:lnTo>
                  <a:lnTo>
                    <a:pt x="219" y="68"/>
                  </a:lnTo>
                  <a:lnTo>
                    <a:pt x="219" y="68"/>
                  </a:lnTo>
                  <a:lnTo>
                    <a:pt x="221" y="65"/>
                  </a:lnTo>
                  <a:lnTo>
                    <a:pt x="221" y="65"/>
                  </a:lnTo>
                  <a:lnTo>
                    <a:pt x="225" y="59"/>
                  </a:lnTo>
                  <a:lnTo>
                    <a:pt x="232" y="52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49" y="49"/>
                  </a:lnTo>
                  <a:lnTo>
                    <a:pt x="253" y="55"/>
                  </a:lnTo>
                  <a:lnTo>
                    <a:pt x="258" y="61"/>
                  </a:lnTo>
                  <a:lnTo>
                    <a:pt x="258" y="61"/>
                  </a:lnTo>
                  <a:lnTo>
                    <a:pt x="265" y="77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72" y="88"/>
                  </a:lnTo>
                  <a:lnTo>
                    <a:pt x="272" y="88"/>
                  </a:lnTo>
                  <a:lnTo>
                    <a:pt x="280" y="88"/>
                  </a:lnTo>
                  <a:lnTo>
                    <a:pt x="290" y="86"/>
                  </a:lnTo>
                  <a:lnTo>
                    <a:pt x="302" y="83"/>
                  </a:lnTo>
                  <a:lnTo>
                    <a:pt x="309" y="80"/>
                  </a:lnTo>
                  <a:lnTo>
                    <a:pt x="309" y="80"/>
                  </a:lnTo>
                  <a:lnTo>
                    <a:pt x="315" y="77"/>
                  </a:lnTo>
                  <a:lnTo>
                    <a:pt x="323" y="74"/>
                  </a:lnTo>
                  <a:lnTo>
                    <a:pt x="335" y="74"/>
                  </a:lnTo>
                  <a:lnTo>
                    <a:pt x="335" y="74"/>
                  </a:lnTo>
                  <a:lnTo>
                    <a:pt x="337" y="73"/>
                  </a:lnTo>
                  <a:lnTo>
                    <a:pt x="340" y="71"/>
                  </a:lnTo>
                  <a:lnTo>
                    <a:pt x="34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80" y="71"/>
                  </a:lnTo>
                  <a:lnTo>
                    <a:pt x="389" y="70"/>
                  </a:lnTo>
                  <a:lnTo>
                    <a:pt x="392" y="68"/>
                  </a:lnTo>
                  <a:lnTo>
                    <a:pt x="394" y="67"/>
                  </a:lnTo>
                  <a:lnTo>
                    <a:pt x="394" y="67"/>
                  </a:lnTo>
                  <a:lnTo>
                    <a:pt x="398" y="59"/>
                  </a:lnTo>
                  <a:lnTo>
                    <a:pt x="406" y="52"/>
                  </a:lnTo>
                  <a:lnTo>
                    <a:pt x="414" y="45"/>
                  </a:lnTo>
                  <a:lnTo>
                    <a:pt x="417" y="42"/>
                  </a:lnTo>
                  <a:lnTo>
                    <a:pt x="420" y="42"/>
                  </a:lnTo>
                  <a:lnTo>
                    <a:pt x="420" y="42"/>
                  </a:lnTo>
                  <a:lnTo>
                    <a:pt x="434" y="42"/>
                  </a:lnTo>
                  <a:lnTo>
                    <a:pt x="441" y="42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66" y="30"/>
                  </a:lnTo>
                  <a:lnTo>
                    <a:pt x="466" y="30"/>
                  </a:lnTo>
                  <a:lnTo>
                    <a:pt x="471" y="28"/>
                  </a:lnTo>
                  <a:lnTo>
                    <a:pt x="474" y="27"/>
                  </a:lnTo>
                  <a:lnTo>
                    <a:pt x="478" y="27"/>
                  </a:lnTo>
                  <a:lnTo>
                    <a:pt x="481" y="24"/>
                  </a:lnTo>
                  <a:lnTo>
                    <a:pt x="481" y="24"/>
                  </a:lnTo>
                  <a:lnTo>
                    <a:pt x="486" y="18"/>
                  </a:lnTo>
                  <a:lnTo>
                    <a:pt x="489" y="1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4" y="0"/>
                  </a:lnTo>
                  <a:lnTo>
                    <a:pt x="497" y="2"/>
                  </a:lnTo>
                  <a:lnTo>
                    <a:pt x="500" y="5"/>
                  </a:lnTo>
                  <a:lnTo>
                    <a:pt x="505" y="6"/>
                  </a:lnTo>
                  <a:lnTo>
                    <a:pt x="505" y="6"/>
                  </a:lnTo>
                  <a:lnTo>
                    <a:pt x="517" y="9"/>
                  </a:lnTo>
                  <a:lnTo>
                    <a:pt x="521" y="8"/>
                  </a:lnTo>
                  <a:lnTo>
                    <a:pt x="524" y="6"/>
                  </a:lnTo>
                  <a:lnTo>
                    <a:pt x="524" y="6"/>
                  </a:lnTo>
                  <a:lnTo>
                    <a:pt x="527" y="3"/>
                  </a:lnTo>
                  <a:lnTo>
                    <a:pt x="531" y="2"/>
                  </a:lnTo>
                  <a:lnTo>
                    <a:pt x="536" y="3"/>
                  </a:lnTo>
                  <a:lnTo>
                    <a:pt x="537" y="6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42" y="17"/>
                  </a:lnTo>
                  <a:lnTo>
                    <a:pt x="548" y="22"/>
                  </a:lnTo>
                  <a:lnTo>
                    <a:pt x="552" y="28"/>
                  </a:lnTo>
                  <a:lnTo>
                    <a:pt x="552" y="30"/>
                  </a:lnTo>
                  <a:lnTo>
                    <a:pt x="552" y="33"/>
                  </a:lnTo>
                  <a:lnTo>
                    <a:pt x="552" y="33"/>
                  </a:lnTo>
                  <a:lnTo>
                    <a:pt x="551" y="36"/>
                  </a:lnTo>
                  <a:lnTo>
                    <a:pt x="546" y="40"/>
                  </a:lnTo>
                  <a:lnTo>
                    <a:pt x="545" y="43"/>
                  </a:lnTo>
                  <a:lnTo>
                    <a:pt x="543" y="45"/>
                  </a:lnTo>
                  <a:lnTo>
                    <a:pt x="545" y="46"/>
                  </a:lnTo>
                  <a:lnTo>
                    <a:pt x="545" y="46"/>
                  </a:lnTo>
                  <a:lnTo>
                    <a:pt x="548" y="49"/>
                  </a:lnTo>
                  <a:lnTo>
                    <a:pt x="554" y="51"/>
                  </a:lnTo>
                  <a:lnTo>
                    <a:pt x="558" y="52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73" y="67"/>
                  </a:lnTo>
                  <a:lnTo>
                    <a:pt x="580" y="71"/>
                  </a:lnTo>
                  <a:lnTo>
                    <a:pt x="583" y="73"/>
                  </a:lnTo>
                  <a:lnTo>
                    <a:pt x="588" y="74"/>
                  </a:lnTo>
                  <a:lnTo>
                    <a:pt x="588" y="74"/>
                  </a:lnTo>
                  <a:lnTo>
                    <a:pt x="603" y="76"/>
                  </a:lnTo>
                  <a:lnTo>
                    <a:pt x="606" y="76"/>
                  </a:lnTo>
                  <a:lnTo>
                    <a:pt x="608" y="77"/>
                  </a:lnTo>
                  <a:lnTo>
                    <a:pt x="608" y="77"/>
                  </a:lnTo>
                  <a:lnTo>
                    <a:pt x="608" y="85"/>
                  </a:lnTo>
                  <a:lnTo>
                    <a:pt x="608" y="89"/>
                  </a:lnTo>
                  <a:lnTo>
                    <a:pt x="611" y="92"/>
                  </a:lnTo>
                  <a:lnTo>
                    <a:pt x="611" y="92"/>
                  </a:lnTo>
                  <a:lnTo>
                    <a:pt x="620" y="101"/>
                  </a:lnTo>
                  <a:lnTo>
                    <a:pt x="623" y="105"/>
                  </a:lnTo>
                  <a:lnTo>
                    <a:pt x="626" y="110"/>
                  </a:lnTo>
                  <a:lnTo>
                    <a:pt x="626" y="110"/>
                  </a:lnTo>
                  <a:lnTo>
                    <a:pt x="628" y="116"/>
                  </a:lnTo>
                  <a:lnTo>
                    <a:pt x="626" y="123"/>
                  </a:lnTo>
                  <a:lnTo>
                    <a:pt x="625" y="131"/>
                  </a:lnTo>
                  <a:lnTo>
                    <a:pt x="626" y="135"/>
                  </a:lnTo>
                  <a:lnTo>
                    <a:pt x="628" y="138"/>
                  </a:lnTo>
                  <a:lnTo>
                    <a:pt x="628" y="138"/>
                  </a:lnTo>
                  <a:lnTo>
                    <a:pt x="632" y="142"/>
                  </a:lnTo>
                  <a:lnTo>
                    <a:pt x="638" y="145"/>
                  </a:lnTo>
                  <a:lnTo>
                    <a:pt x="645" y="147"/>
                  </a:lnTo>
                  <a:lnTo>
                    <a:pt x="651" y="147"/>
                  </a:lnTo>
                  <a:lnTo>
                    <a:pt x="651" y="147"/>
                  </a:lnTo>
                  <a:lnTo>
                    <a:pt x="665" y="145"/>
                  </a:lnTo>
                  <a:lnTo>
                    <a:pt x="671" y="144"/>
                  </a:lnTo>
                  <a:lnTo>
                    <a:pt x="674" y="142"/>
                  </a:lnTo>
                  <a:lnTo>
                    <a:pt x="674" y="142"/>
                  </a:lnTo>
                  <a:lnTo>
                    <a:pt x="677" y="144"/>
                  </a:lnTo>
                  <a:lnTo>
                    <a:pt x="683" y="147"/>
                  </a:lnTo>
                  <a:lnTo>
                    <a:pt x="696" y="159"/>
                  </a:lnTo>
                  <a:lnTo>
                    <a:pt x="715" y="176"/>
                  </a:lnTo>
                  <a:lnTo>
                    <a:pt x="715" y="176"/>
                  </a:lnTo>
                  <a:lnTo>
                    <a:pt x="711" y="181"/>
                  </a:lnTo>
                  <a:lnTo>
                    <a:pt x="709" y="185"/>
                  </a:lnTo>
                  <a:lnTo>
                    <a:pt x="708" y="193"/>
                  </a:lnTo>
                  <a:lnTo>
                    <a:pt x="708" y="193"/>
                  </a:lnTo>
                  <a:lnTo>
                    <a:pt x="708" y="200"/>
                  </a:lnTo>
                  <a:lnTo>
                    <a:pt x="708" y="206"/>
                  </a:lnTo>
                  <a:lnTo>
                    <a:pt x="709" y="208"/>
                  </a:lnTo>
                  <a:lnTo>
                    <a:pt x="712" y="206"/>
                  </a:lnTo>
                  <a:lnTo>
                    <a:pt x="712" y="206"/>
                  </a:lnTo>
                  <a:lnTo>
                    <a:pt x="717" y="202"/>
                  </a:lnTo>
                  <a:lnTo>
                    <a:pt x="722" y="197"/>
                  </a:lnTo>
                  <a:lnTo>
                    <a:pt x="727" y="196"/>
                  </a:lnTo>
                  <a:lnTo>
                    <a:pt x="728" y="196"/>
                  </a:lnTo>
                  <a:lnTo>
                    <a:pt x="730" y="197"/>
                  </a:lnTo>
                  <a:lnTo>
                    <a:pt x="730" y="197"/>
                  </a:lnTo>
                  <a:lnTo>
                    <a:pt x="730" y="202"/>
                  </a:lnTo>
                  <a:lnTo>
                    <a:pt x="728" y="206"/>
                  </a:lnTo>
                  <a:lnTo>
                    <a:pt x="727" y="209"/>
                  </a:lnTo>
                  <a:lnTo>
                    <a:pt x="728" y="211"/>
                  </a:lnTo>
                  <a:lnTo>
                    <a:pt x="730" y="211"/>
                  </a:lnTo>
                  <a:lnTo>
                    <a:pt x="730" y="211"/>
                  </a:lnTo>
                  <a:lnTo>
                    <a:pt x="734" y="212"/>
                  </a:lnTo>
                  <a:lnTo>
                    <a:pt x="739" y="212"/>
                  </a:lnTo>
                  <a:lnTo>
                    <a:pt x="745" y="213"/>
                  </a:lnTo>
                  <a:lnTo>
                    <a:pt x="749" y="216"/>
                  </a:lnTo>
                  <a:lnTo>
                    <a:pt x="749" y="216"/>
                  </a:lnTo>
                  <a:lnTo>
                    <a:pt x="755" y="225"/>
                  </a:lnTo>
                  <a:lnTo>
                    <a:pt x="758" y="228"/>
                  </a:lnTo>
                  <a:lnTo>
                    <a:pt x="762" y="22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0" name="Freeform 129">
              <a:extLst>
                <a:ext uri="{FF2B5EF4-FFF2-40B4-BE49-F238E27FC236}">
                  <a16:creationId xmlns:a16="http://schemas.microsoft.com/office/drawing/2014/main" id="{8F7CE59F-1AFB-6E4B-B0CC-3B9A6A06D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73250" y="7670800"/>
              <a:ext cx="63500" cy="141287"/>
            </a:xfrm>
            <a:custGeom>
              <a:avLst/>
              <a:gdLst>
                <a:gd name="T0" fmla="*/ 40 w 40"/>
                <a:gd name="T1" fmla="*/ 0 h 89"/>
                <a:gd name="T2" fmla="*/ 40 w 40"/>
                <a:gd name="T3" fmla="*/ 0 h 89"/>
                <a:gd name="T4" fmla="*/ 34 w 40"/>
                <a:gd name="T5" fmla="*/ 9 h 89"/>
                <a:gd name="T6" fmla="*/ 29 w 40"/>
                <a:gd name="T7" fmla="*/ 16 h 89"/>
                <a:gd name="T8" fmla="*/ 29 w 40"/>
                <a:gd name="T9" fmla="*/ 16 h 89"/>
                <a:gd name="T10" fmla="*/ 26 w 40"/>
                <a:gd name="T11" fmla="*/ 24 h 89"/>
                <a:gd name="T12" fmla="*/ 25 w 40"/>
                <a:gd name="T13" fmla="*/ 28 h 89"/>
                <a:gd name="T14" fmla="*/ 25 w 40"/>
                <a:gd name="T15" fmla="*/ 33 h 89"/>
                <a:gd name="T16" fmla="*/ 25 w 40"/>
                <a:gd name="T17" fmla="*/ 33 h 89"/>
                <a:gd name="T18" fmla="*/ 28 w 40"/>
                <a:gd name="T19" fmla="*/ 41 h 89"/>
                <a:gd name="T20" fmla="*/ 28 w 40"/>
                <a:gd name="T21" fmla="*/ 47 h 89"/>
                <a:gd name="T22" fmla="*/ 26 w 40"/>
                <a:gd name="T23" fmla="*/ 53 h 89"/>
                <a:gd name="T24" fmla="*/ 26 w 40"/>
                <a:gd name="T25" fmla="*/ 53 h 89"/>
                <a:gd name="T26" fmla="*/ 21 w 40"/>
                <a:gd name="T27" fmla="*/ 65 h 89"/>
                <a:gd name="T28" fmla="*/ 18 w 40"/>
                <a:gd name="T29" fmla="*/ 70 h 89"/>
                <a:gd name="T30" fmla="*/ 15 w 40"/>
                <a:gd name="T31" fmla="*/ 73 h 89"/>
                <a:gd name="T32" fmla="*/ 15 w 40"/>
                <a:gd name="T33" fmla="*/ 73 h 89"/>
                <a:gd name="T34" fmla="*/ 10 w 40"/>
                <a:gd name="T35" fmla="*/ 77 h 89"/>
                <a:gd name="T36" fmla="*/ 6 w 40"/>
                <a:gd name="T37" fmla="*/ 81 h 89"/>
                <a:gd name="T38" fmla="*/ 0 w 40"/>
                <a:gd name="T39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89">
                  <a:moveTo>
                    <a:pt x="40" y="0"/>
                  </a:moveTo>
                  <a:lnTo>
                    <a:pt x="40" y="0"/>
                  </a:lnTo>
                  <a:lnTo>
                    <a:pt x="34" y="9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6" y="24"/>
                  </a:lnTo>
                  <a:lnTo>
                    <a:pt x="25" y="28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8" y="41"/>
                  </a:lnTo>
                  <a:lnTo>
                    <a:pt x="28" y="47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1" y="65"/>
                  </a:lnTo>
                  <a:lnTo>
                    <a:pt x="18" y="70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0" y="77"/>
                  </a:lnTo>
                  <a:lnTo>
                    <a:pt x="6" y="81"/>
                  </a:lnTo>
                  <a:lnTo>
                    <a:pt x="0" y="89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1" name="Freeform 130">
              <a:extLst>
                <a:ext uri="{FF2B5EF4-FFF2-40B4-BE49-F238E27FC236}">
                  <a16:creationId xmlns:a16="http://schemas.microsoft.com/office/drawing/2014/main" id="{9D1170EA-1F3C-FE49-B77B-43F6C9E2B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76225" y="6634163"/>
              <a:ext cx="2111375" cy="1036637"/>
            </a:xfrm>
            <a:custGeom>
              <a:avLst/>
              <a:gdLst>
                <a:gd name="T0" fmla="*/ 64 w 1330"/>
                <a:gd name="T1" fmla="*/ 146 h 653"/>
                <a:gd name="T2" fmla="*/ 111 w 1330"/>
                <a:gd name="T3" fmla="*/ 161 h 653"/>
                <a:gd name="T4" fmla="*/ 160 w 1330"/>
                <a:gd name="T5" fmla="*/ 175 h 653"/>
                <a:gd name="T6" fmla="*/ 187 w 1330"/>
                <a:gd name="T7" fmla="*/ 163 h 653"/>
                <a:gd name="T8" fmla="*/ 243 w 1330"/>
                <a:gd name="T9" fmla="*/ 161 h 653"/>
                <a:gd name="T10" fmla="*/ 289 w 1330"/>
                <a:gd name="T11" fmla="*/ 186 h 653"/>
                <a:gd name="T12" fmla="*/ 359 w 1330"/>
                <a:gd name="T13" fmla="*/ 185 h 653"/>
                <a:gd name="T14" fmla="*/ 400 w 1330"/>
                <a:gd name="T15" fmla="*/ 176 h 653"/>
                <a:gd name="T16" fmla="*/ 462 w 1330"/>
                <a:gd name="T17" fmla="*/ 157 h 653"/>
                <a:gd name="T18" fmla="*/ 493 w 1330"/>
                <a:gd name="T19" fmla="*/ 146 h 653"/>
                <a:gd name="T20" fmla="*/ 532 w 1330"/>
                <a:gd name="T21" fmla="*/ 127 h 653"/>
                <a:gd name="T22" fmla="*/ 585 w 1330"/>
                <a:gd name="T23" fmla="*/ 123 h 653"/>
                <a:gd name="T24" fmla="*/ 596 w 1330"/>
                <a:gd name="T25" fmla="*/ 90 h 653"/>
                <a:gd name="T26" fmla="*/ 661 w 1330"/>
                <a:gd name="T27" fmla="*/ 56 h 653"/>
                <a:gd name="T28" fmla="*/ 702 w 1330"/>
                <a:gd name="T29" fmla="*/ 46 h 653"/>
                <a:gd name="T30" fmla="*/ 762 w 1330"/>
                <a:gd name="T31" fmla="*/ 0 h 653"/>
                <a:gd name="T32" fmla="*/ 800 w 1330"/>
                <a:gd name="T33" fmla="*/ 13 h 653"/>
                <a:gd name="T34" fmla="*/ 784 w 1330"/>
                <a:gd name="T35" fmla="*/ 41 h 653"/>
                <a:gd name="T36" fmla="*/ 781 w 1330"/>
                <a:gd name="T37" fmla="*/ 74 h 653"/>
                <a:gd name="T38" fmla="*/ 762 w 1330"/>
                <a:gd name="T39" fmla="*/ 120 h 653"/>
                <a:gd name="T40" fmla="*/ 769 w 1330"/>
                <a:gd name="T41" fmla="*/ 166 h 653"/>
                <a:gd name="T42" fmla="*/ 745 w 1330"/>
                <a:gd name="T43" fmla="*/ 194 h 653"/>
                <a:gd name="T44" fmla="*/ 745 w 1330"/>
                <a:gd name="T45" fmla="*/ 231 h 653"/>
                <a:gd name="T46" fmla="*/ 782 w 1330"/>
                <a:gd name="T47" fmla="*/ 237 h 653"/>
                <a:gd name="T48" fmla="*/ 831 w 1330"/>
                <a:gd name="T49" fmla="*/ 244 h 653"/>
                <a:gd name="T50" fmla="*/ 855 w 1330"/>
                <a:gd name="T51" fmla="*/ 269 h 653"/>
                <a:gd name="T52" fmla="*/ 867 w 1330"/>
                <a:gd name="T53" fmla="*/ 268 h 653"/>
                <a:gd name="T54" fmla="*/ 883 w 1330"/>
                <a:gd name="T55" fmla="*/ 263 h 653"/>
                <a:gd name="T56" fmla="*/ 921 w 1330"/>
                <a:gd name="T57" fmla="*/ 221 h 653"/>
                <a:gd name="T58" fmla="*/ 942 w 1330"/>
                <a:gd name="T59" fmla="*/ 185 h 653"/>
                <a:gd name="T60" fmla="*/ 985 w 1330"/>
                <a:gd name="T61" fmla="*/ 161 h 653"/>
                <a:gd name="T62" fmla="*/ 1003 w 1330"/>
                <a:gd name="T63" fmla="*/ 133 h 653"/>
                <a:gd name="T64" fmla="*/ 1034 w 1330"/>
                <a:gd name="T65" fmla="*/ 163 h 653"/>
                <a:gd name="T66" fmla="*/ 1070 w 1330"/>
                <a:gd name="T67" fmla="*/ 226 h 653"/>
                <a:gd name="T68" fmla="*/ 1058 w 1330"/>
                <a:gd name="T69" fmla="*/ 253 h 653"/>
                <a:gd name="T70" fmla="*/ 985 w 1330"/>
                <a:gd name="T71" fmla="*/ 268 h 653"/>
                <a:gd name="T72" fmla="*/ 998 w 1330"/>
                <a:gd name="T73" fmla="*/ 299 h 653"/>
                <a:gd name="T74" fmla="*/ 973 w 1330"/>
                <a:gd name="T75" fmla="*/ 338 h 653"/>
                <a:gd name="T76" fmla="*/ 960 w 1330"/>
                <a:gd name="T77" fmla="*/ 389 h 653"/>
                <a:gd name="T78" fmla="*/ 929 w 1330"/>
                <a:gd name="T79" fmla="*/ 435 h 653"/>
                <a:gd name="T80" fmla="*/ 924 w 1330"/>
                <a:gd name="T81" fmla="*/ 459 h 653"/>
                <a:gd name="T82" fmla="*/ 920 w 1330"/>
                <a:gd name="T83" fmla="*/ 518 h 653"/>
                <a:gd name="T84" fmla="*/ 933 w 1330"/>
                <a:gd name="T85" fmla="*/ 542 h 653"/>
                <a:gd name="T86" fmla="*/ 950 w 1330"/>
                <a:gd name="T87" fmla="*/ 555 h 653"/>
                <a:gd name="T88" fmla="*/ 973 w 1330"/>
                <a:gd name="T89" fmla="*/ 551 h 653"/>
                <a:gd name="T90" fmla="*/ 1024 w 1330"/>
                <a:gd name="T91" fmla="*/ 603 h 653"/>
                <a:gd name="T92" fmla="*/ 1019 w 1330"/>
                <a:gd name="T93" fmla="*/ 628 h 653"/>
                <a:gd name="T94" fmla="*/ 1040 w 1330"/>
                <a:gd name="T95" fmla="*/ 643 h 653"/>
                <a:gd name="T96" fmla="*/ 1068 w 1330"/>
                <a:gd name="T97" fmla="*/ 638 h 653"/>
                <a:gd name="T98" fmla="*/ 1080 w 1330"/>
                <a:gd name="T99" fmla="*/ 612 h 653"/>
                <a:gd name="T100" fmla="*/ 1112 w 1330"/>
                <a:gd name="T101" fmla="*/ 619 h 653"/>
                <a:gd name="T102" fmla="*/ 1138 w 1330"/>
                <a:gd name="T103" fmla="*/ 607 h 653"/>
                <a:gd name="T104" fmla="*/ 1179 w 1330"/>
                <a:gd name="T105" fmla="*/ 607 h 653"/>
                <a:gd name="T106" fmla="*/ 1210 w 1330"/>
                <a:gd name="T107" fmla="*/ 631 h 653"/>
                <a:gd name="T108" fmla="*/ 1262 w 1330"/>
                <a:gd name="T109" fmla="*/ 609 h 653"/>
                <a:gd name="T110" fmla="*/ 1295 w 1330"/>
                <a:gd name="T111" fmla="*/ 604 h 653"/>
                <a:gd name="T112" fmla="*/ 1317 w 1330"/>
                <a:gd name="T113" fmla="*/ 585 h 653"/>
                <a:gd name="T114" fmla="*/ 1314 w 1330"/>
                <a:gd name="T115" fmla="*/ 63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30" h="653">
                  <a:moveTo>
                    <a:pt x="0" y="188"/>
                  </a:moveTo>
                  <a:lnTo>
                    <a:pt x="0" y="188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31" y="160"/>
                  </a:lnTo>
                  <a:lnTo>
                    <a:pt x="37" y="155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64" y="146"/>
                  </a:lnTo>
                  <a:lnTo>
                    <a:pt x="74" y="145"/>
                  </a:lnTo>
                  <a:lnTo>
                    <a:pt x="85" y="145"/>
                  </a:lnTo>
                  <a:lnTo>
                    <a:pt x="85" y="145"/>
                  </a:lnTo>
                  <a:lnTo>
                    <a:pt x="92" y="146"/>
                  </a:lnTo>
                  <a:lnTo>
                    <a:pt x="97" y="148"/>
                  </a:lnTo>
                  <a:lnTo>
                    <a:pt x="103" y="154"/>
                  </a:lnTo>
                  <a:lnTo>
                    <a:pt x="103" y="154"/>
                  </a:lnTo>
                  <a:lnTo>
                    <a:pt x="107" y="158"/>
                  </a:lnTo>
                  <a:lnTo>
                    <a:pt x="111" y="161"/>
                  </a:lnTo>
                  <a:lnTo>
                    <a:pt x="116" y="161"/>
                  </a:lnTo>
                  <a:lnTo>
                    <a:pt x="125" y="161"/>
                  </a:lnTo>
                  <a:lnTo>
                    <a:pt x="125" y="161"/>
                  </a:lnTo>
                  <a:lnTo>
                    <a:pt x="132" y="161"/>
                  </a:lnTo>
                  <a:lnTo>
                    <a:pt x="137" y="161"/>
                  </a:lnTo>
                  <a:lnTo>
                    <a:pt x="143" y="164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60" y="175"/>
                  </a:lnTo>
                  <a:lnTo>
                    <a:pt x="169" y="179"/>
                  </a:lnTo>
                  <a:lnTo>
                    <a:pt x="177" y="181"/>
                  </a:lnTo>
                  <a:lnTo>
                    <a:pt x="180" y="179"/>
                  </a:lnTo>
                  <a:lnTo>
                    <a:pt x="181" y="178"/>
                  </a:lnTo>
                  <a:lnTo>
                    <a:pt x="181" y="178"/>
                  </a:lnTo>
                  <a:lnTo>
                    <a:pt x="183" y="172"/>
                  </a:lnTo>
                  <a:lnTo>
                    <a:pt x="183" y="167"/>
                  </a:lnTo>
                  <a:lnTo>
                    <a:pt x="184" y="164"/>
                  </a:lnTo>
                  <a:lnTo>
                    <a:pt x="187" y="163"/>
                  </a:lnTo>
                  <a:lnTo>
                    <a:pt x="188" y="163"/>
                  </a:lnTo>
                  <a:lnTo>
                    <a:pt x="188" y="163"/>
                  </a:lnTo>
                  <a:lnTo>
                    <a:pt x="197" y="167"/>
                  </a:lnTo>
                  <a:lnTo>
                    <a:pt x="202" y="169"/>
                  </a:lnTo>
                  <a:lnTo>
                    <a:pt x="208" y="169"/>
                  </a:lnTo>
                  <a:lnTo>
                    <a:pt x="208" y="169"/>
                  </a:lnTo>
                  <a:lnTo>
                    <a:pt x="217" y="169"/>
                  </a:lnTo>
                  <a:lnTo>
                    <a:pt x="227" y="166"/>
                  </a:lnTo>
                  <a:lnTo>
                    <a:pt x="243" y="161"/>
                  </a:lnTo>
                  <a:lnTo>
                    <a:pt x="243" y="161"/>
                  </a:lnTo>
                  <a:lnTo>
                    <a:pt x="246" y="161"/>
                  </a:lnTo>
                  <a:lnTo>
                    <a:pt x="252" y="164"/>
                  </a:lnTo>
                  <a:lnTo>
                    <a:pt x="265" y="172"/>
                  </a:lnTo>
                  <a:lnTo>
                    <a:pt x="265" y="172"/>
                  </a:lnTo>
                  <a:lnTo>
                    <a:pt x="273" y="175"/>
                  </a:lnTo>
                  <a:lnTo>
                    <a:pt x="277" y="178"/>
                  </a:lnTo>
                  <a:lnTo>
                    <a:pt x="289" y="186"/>
                  </a:lnTo>
                  <a:lnTo>
                    <a:pt x="289" y="186"/>
                  </a:lnTo>
                  <a:lnTo>
                    <a:pt x="298" y="191"/>
                  </a:lnTo>
                  <a:lnTo>
                    <a:pt x="307" y="194"/>
                  </a:lnTo>
                  <a:lnTo>
                    <a:pt x="314" y="195"/>
                  </a:lnTo>
                  <a:lnTo>
                    <a:pt x="319" y="195"/>
                  </a:lnTo>
                  <a:lnTo>
                    <a:pt x="319" y="195"/>
                  </a:lnTo>
                  <a:lnTo>
                    <a:pt x="347" y="186"/>
                  </a:lnTo>
                  <a:lnTo>
                    <a:pt x="347" y="186"/>
                  </a:lnTo>
                  <a:lnTo>
                    <a:pt x="353" y="185"/>
                  </a:lnTo>
                  <a:lnTo>
                    <a:pt x="359" y="185"/>
                  </a:lnTo>
                  <a:lnTo>
                    <a:pt x="365" y="185"/>
                  </a:lnTo>
                  <a:lnTo>
                    <a:pt x="369" y="184"/>
                  </a:lnTo>
                  <a:lnTo>
                    <a:pt x="369" y="184"/>
                  </a:lnTo>
                  <a:lnTo>
                    <a:pt x="377" y="178"/>
                  </a:lnTo>
                  <a:lnTo>
                    <a:pt x="381" y="175"/>
                  </a:lnTo>
                  <a:lnTo>
                    <a:pt x="387" y="173"/>
                  </a:lnTo>
                  <a:lnTo>
                    <a:pt x="387" y="173"/>
                  </a:lnTo>
                  <a:lnTo>
                    <a:pt x="394" y="175"/>
                  </a:lnTo>
                  <a:lnTo>
                    <a:pt x="400" y="176"/>
                  </a:lnTo>
                  <a:lnTo>
                    <a:pt x="412" y="181"/>
                  </a:lnTo>
                  <a:lnTo>
                    <a:pt x="412" y="181"/>
                  </a:lnTo>
                  <a:lnTo>
                    <a:pt x="415" y="182"/>
                  </a:lnTo>
                  <a:lnTo>
                    <a:pt x="418" y="181"/>
                  </a:lnTo>
                  <a:lnTo>
                    <a:pt x="427" y="178"/>
                  </a:lnTo>
                  <a:lnTo>
                    <a:pt x="443" y="167"/>
                  </a:lnTo>
                  <a:lnTo>
                    <a:pt x="443" y="167"/>
                  </a:lnTo>
                  <a:lnTo>
                    <a:pt x="455" y="161"/>
                  </a:lnTo>
                  <a:lnTo>
                    <a:pt x="462" y="157"/>
                  </a:lnTo>
                  <a:lnTo>
                    <a:pt x="462" y="157"/>
                  </a:lnTo>
                  <a:lnTo>
                    <a:pt x="467" y="154"/>
                  </a:lnTo>
                  <a:lnTo>
                    <a:pt x="471" y="152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91" y="151"/>
                  </a:lnTo>
                  <a:lnTo>
                    <a:pt x="492" y="149"/>
                  </a:lnTo>
                  <a:lnTo>
                    <a:pt x="493" y="146"/>
                  </a:lnTo>
                  <a:lnTo>
                    <a:pt x="493" y="146"/>
                  </a:lnTo>
                  <a:lnTo>
                    <a:pt x="495" y="142"/>
                  </a:lnTo>
                  <a:lnTo>
                    <a:pt x="501" y="138"/>
                  </a:lnTo>
                  <a:lnTo>
                    <a:pt x="507" y="136"/>
                  </a:lnTo>
                  <a:lnTo>
                    <a:pt x="511" y="135"/>
                  </a:lnTo>
                  <a:lnTo>
                    <a:pt x="511" y="135"/>
                  </a:lnTo>
                  <a:lnTo>
                    <a:pt x="516" y="136"/>
                  </a:lnTo>
                  <a:lnTo>
                    <a:pt x="520" y="135"/>
                  </a:lnTo>
                  <a:lnTo>
                    <a:pt x="526" y="132"/>
                  </a:lnTo>
                  <a:lnTo>
                    <a:pt x="532" y="127"/>
                  </a:lnTo>
                  <a:lnTo>
                    <a:pt x="532" y="127"/>
                  </a:lnTo>
                  <a:lnTo>
                    <a:pt x="533" y="126"/>
                  </a:lnTo>
                  <a:lnTo>
                    <a:pt x="536" y="124"/>
                  </a:lnTo>
                  <a:lnTo>
                    <a:pt x="544" y="124"/>
                  </a:lnTo>
                  <a:lnTo>
                    <a:pt x="553" y="126"/>
                  </a:lnTo>
                  <a:lnTo>
                    <a:pt x="565" y="126"/>
                  </a:lnTo>
                  <a:lnTo>
                    <a:pt x="565" y="126"/>
                  </a:lnTo>
                  <a:lnTo>
                    <a:pt x="584" y="124"/>
                  </a:lnTo>
                  <a:lnTo>
                    <a:pt x="585" y="123"/>
                  </a:lnTo>
                  <a:lnTo>
                    <a:pt x="587" y="121"/>
                  </a:lnTo>
                  <a:lnTo>
                    <a:pt x="588" y="118"/>
                  </a:lnTo>
                  <a:lnTo>
                    <a:pt x="587" y="115"/>
                  </a:lnTo>
                  <a:lnTo>
                    <a:pt x="587" y="115"/>
                  </a:lnTo>
                  <a:lnTo>
                    <a:pt x="585" y="108"/>
                  </a:lnTo>
                  <a:lnTo>
                    <a:pt x="585" y="102"/>
                  </a:lnTo>
                  <a:lnTo>
                    <a:pt x="588" y="96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616" y="77"/>
                  </a:lnTo>
                  <a:lnTo>
                    <a:pt x="625" y="72"/>
                  </a:lnTo>
                  <a:lnTo>
                    <a:pt x="633" y="69"/>
                  </a:lnTo>
                  <a:lnTo>
                    <a:pt x="633" y="69"/>
                  </a:lnTo>
                  <a:lnTo>
                    <a:pt x="640" y="68"/>
                  </a:lnTo>
                  <a:lnTo>
                    <a:pt x="643" y="68"/>
                  </a:lnTo>
                  <a:lnTo>
                    <a:pt x="647" y="65"/>
                  </a:lnTo>
                  <a:lnTo>
                    <a:pt x="647" y="65"/>
                  </a:lnTo>
                  <a:lnTo>
                    <a:pt x="661" y="56"/>
                  </a:lnTo>
                  <a:lnTo>
                    <a:pt x="668" y="53"/>
                  </a:lnTo>
                  <a:lnTo>
                    <a:pt x="676" y="52"/>
                  </a:lnTo>
                  <a:lnTo>
                    <a:pt x="676" y="52"/>
                  </a:lnTo>
                  <a:lnTo>
                    <a:pt x="680" y="52"/>
                  </a:lnTo>
                  <a:lnTo>
                    <a:pt x="680" y="52"/>
                  </a:lnTo>
                  <a:lnTo>
                    <a:pt x="685" y="53"/>
                  </a:lnTo>
                  <a:lnTo>
                    <a:pt x="689" y="52"/>
                  </a:lnTo>
                  <a:lnTo>
                    <a:pt x="695" y="50"/>
                  </a:lnTo>
                  <a:lnTo>
                    <a:pt x="702" y="46"/>
                  </a:lnTo>
                  <a:lnTo>
                    <a:pt x="702" y="46"/>
                  </a:lnTo>
                  <a:lnTo>
                    <a:pt x="724" y="31"/>
                  </a:lnTo>
                  <a:lnTo>
                    <a:pt x="741" y="19"/>
                  </a:lnTo>
                  <a:lnTo>
                    <a:pt x="741" y="19"/>
                  </a:lnTo>
                  <a:lnTo>
                    <a:pt x="747" y="13"/>
                  </a:lnTo>
                  <a:lnTo>
                    <a:pt x="751" y="7"/>
                  </a:lnTo>
                  <a:lnTo>
                    <a:pt x="756" y="3"/>
                  </a:lnTo>
                  <a:lnTo>
                    <a:pt x="759" y="1"/>
                  </a:lnTo>
                  <a:lnTo>
                    <a:pt x="762" y="0"/>
                  </a:lnTo>
                  <a:lnTo>
                    <a:pt x="762" y="0"/>
                  </a:lnTo>
                  <a:lnTo>
                    <a:pt x="767" y="0"/>
                  </a:lnTo>
                  <a:lnTo>
                    <a:pt x="772" y="0"/>
                  </a:lnTo>
                  <a:lnTo>
                    <a:pt x="775" y="3"/>
                  </a:lnTo>
                  <a:lnTo>
                    <a:pt x="781" y="6"/>
                  </a:lnTo>
                  <a:lnTo>
                    <a:pt x="781" y="6"/>
                  </a:lnTo>
                  <a:lnTo>
                    <a:pt x="790" y="13"/>
                  </a:lnTo>
                  <a:lnTo>
                    <a:pt x="796" y="15"/>
                  </a:lnTo>
                  <a:lnTo>
                    <a:pt x="800" y="13"/>
                  </a:lnTo>
                  <a:lnTo>
                    <a:pt x="800" y="13"/>
                  </a:lnTo>
                  <a:lnTo>
                    <a:pt x="812" y="13"/>
                  </a:lnTo>
                  <a:lnTo>
                    <a:pt x="816" y="13"/>
                  </a:lnTo>
                  <a:lnTo>
                    <a:pt x="816" y="13"/>
                  </a:lnTo>
                  <a:lnTo>
                    <a:pt x="801" y="25"/>
                  </a:lnTo>
                  <a:lnTo>
                    <a:pt x="790" y="35"/>
                  </a:lnTo>
                  <a:lnTo>
                    <a:pt x="785" y="40"/>
                  </a:lnTo>
                  <a:lnTo>
                    <a:pt x="784" y="41"/>
                  </a:lnTo>
                  <a:lnTo>
                    <a:pt x="784" y="41"/>
                  </a:lnTo>
                  <a:lnTo>
                    <a:pt x="784" y="46"/>
                  </a:lnTo>
                  <a:lnTo>
                    <a:pt x="787" y="50"/>
                  </a:lnTo>
                  <a:lnTo>
                    <a:pt x="788" y="55"/>
                  </a:lnTo>
                  <a:lnTo>
                    <a:pt x="791" y="59"/>
                  </a:lnTo>
                  <a:lnTo>
                    <a:pt x="791" y="59"/>
                  </a:lnTo>
                  <a:lnTo>
                    <a:pt x="790" y="62"/>
                  </a:lnTo>
                  <a:lnTo>
                    <a:pt x="788" y="65"/>
                  </a:lnTo>
                  <a:lnTo>
                    <a:pt x="784" y="69"/>
                  </a:lnTo>
                  <a:lnTo>
                    <a:pt x="781" y="74"/>
                  </a:lnTo>
                  <a:lnTo>
                    <a:pt x="781" y="74"/>
                  </a:lnTo>
                  <a:lnTo>
                    <a:pt x="781" y="78"/>
                  </a:lnTo>
                  <a:lnTo>
                    <a:pt x="781" y="83"/>
                  </a:lnTo>
                  <a:lnTo>
                    <a:pt x="784" y="87"/>
                  </a:lnTo>
                  <a:lnTo>
                    <a:pt x="784" y="90"/>
                  </a:lnTo>
                  <a:lnTo>
                    <a:pt x="784" y="90"/>
                  </a:lnTo>
                  <a:lnTo>
                    <a:pt x="778" y="98"/>
                  </a:lnTo>
                  <a:lnTo>
                    <a:pt x="767" y="112"/>
                  </a:lnTo>
                  <a:lnTo>
                    <a:pt x="762" y="120"/>
                  </a:lnTo>
                  <a:lnTo>
                    <a:pt x="759" y="127"/>
                  </a:lnTo>
                  <a:lnTo>
                    <a:pt x="756" y="133"/>
                  </a:lnTo>
                  <a:lnTo>
                    <a:pt x="756" y="139"/>
                  </a:lnTo>
                  <a:lnTo>
                    <a:pt x="756" y="139"/>
                  </a:lnTo>
                  <a:lnTo>
                    <a:pt x="760" y="148"/>
                  </a:lnTo>
                  <a:lnTo>
                    <a:pt x="764" y="155"/>
                  </a:lnTo>
                  <a:lnTo>
                    <a:pt x="767" y="161"/>
                  </a:lnTo>
                  <a:lnTo>
                    <a:pt x="769" y="166"/>
                  </a:lnTo>
                  <a:lnTo>
                    <a:pt x="769" y="166"/>
                  </a:lnTo>
                  <a:lnTo>
                    <a:pt x="769" y="176"/>
                  </a:lnTo>
                  <a:lnTo>
                    <a:pt x="767" y="181"/>
                  </a:lnTo>
                  <a:lnTo>
                    <a:pt x="766" y="182"/>
                  </a:lnTo>
                  <a:lnTo>
                    <a:pt x="763" y="184"/>
                  </a:lnTo>
                  <a:lnTo>
                    <a:pt x="763" y="184"/>
                  </a:lnTo>
                  <a:lnTo>
                    <a:pt x="756" y="185"/>
                  </a:lnTo>
                  <a:lnTo>
                    <a:pt x="751" y="186"/>
                  </a:lnTo>
                  <a:lnTo>
                    <a:pt x="747" y="191"/>
                  </a:lnTo>
                  <a:lnTo>
                    <a:pt x="745" y="194"/>
                  </a:lnTo>
                  <a:lnTo>
                    <a:pt x="745" y="197"/>
                  </a:lnTo>
                  <a:lnTo>
                    <a:pt x="745" y="197"/>
                  </a:lnTo>
                  <a:lnTo>
                    <a:pt x="745" y="204"/>
                  </a:lnTo>
                  <a:lnTo>
                    <a:pt x="745" y="209"/>
                  </a:lnTo>
                  <a:lnTo>
                    <a:pt x="744" y="215"/>
                  </a:lnTo>
                  <a:lnTo>
                    <a:pt x="745" y="219"/>
                  </a:lnTo>
                  <a:lnTo>
                    <a:pt x="745" y="219"/>
                  </a:lnTo>
                  <a:lnTo>
                    <a:pt x="745" y="225"/>
                  </a:lnTo>
                  <a:lnTo>
                    <a:pt x="745" y="231"/>
                  </a:lnTo>
                  <a:lnTo>
                    <a:pt x="745" y="237"/>
                  </a:lnTo>
                  <a:lnTo>
                    <a:pt x="747" y="238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62" y="240"/>
                  </a:lnTo>
                  <a:lnTo>
                    <a:pt x="773" y="238"/>
                  </a:lnTo>
                  <a:lnTo>
                    <a:pt x="773" y="238"/>
                  </a:lnTo>
                  <a:lnTo>
                    <a:pt x="778" y="238"/>
                  </a:lnTo>
                  <a:lnTo>
                    <a:pt x="782" y="237"/>
                  </a:lnTo>
                  <a:lnTo>
                    <a:pt x="794" y="232"/>
                  </a:lnTo>
                  <a:lnTo>
                    <a:pt x="794" y="232"/>
                  </a:lnTo>
                  <a:lnTo>
                    <a:pt x="800" y="231"/>
                  </a:lnTo>
                  <a:lnTo>
                    <a:pt x="804" y="231"/>
                  </a:lnTo>
                  <a:lnTo>
                    <a:pt x="816" y="232"/>
                  </a:lnTo>
                  <a:lnTo>
                    <a:pt x="821" y="234"/>
                  </a:lnTo>
                  <a:lnTo>
                    <a:pt x="825" y="237"/>
                  </a:lnTo>
                  <a:lnTo>
                    <a:pt x="830" y="240"/>
                  </a:lnTo>
                  <a:lnTo>
                    <a:pt x="831" y="244"/>
                  </a:lnTo>
                  <a:lnTo>
                    <a:pt x="831" y="244"/>
                  </a:lnTo>
                  <a:lnTo>
                    <a:pt x="836" y="258"/>
                  </a:lnTo>
                  <a:lnTo>
                    <a:pt x="839" y="266"/>
                  </a:lnTo>
                  <a:lnTo>
                    <a:pt x="839" y="266"/>
                  </a:lnTo>
                  <a:lnTo>
                    <a:pt x="841" y="269"/>
                  </a:lnTo>
                  <a:lnTo>
                    <a:pt x="846" y="271"/>
                  </a:lnTo>
                  <a:lnTo>
                    <a:pt x="850" y="271"/>
                  </a:lnTo>
                  <a:lnTo>
                    <a:pt x="853" y="271"/>
                  </a:lnTo>
                  <a:lnTo>
                    <a:pt x="855" y="269"/>
                  </a:lnTo>
                  <a:lnTo>
                    <a:pt x="855" y="269"/>
                  </a:lnTo>
                  <a:lnTo>
                    <a:pt x="861" y="261"/>
                  </a:lnTo>
                  <a:lnTo>
                    <a:pt x="864" y="258"/>
                  </a:lnTo>
                  <a:lnTo>
                    <a:pt x="865" y="256"/>
                  </a:lnTo>
                  <a:lnTo>
                    <a:pt x="867" y="258"/>
                  </a:lnTo>
                  <a:lnTo>
                    <a:pt x="867" y="258"/>
                  </a:lnTo>
                  <a:lnTo>
                    <a:pt x="867" y="261"/>
                  </a:lnTo>
                  <a:lnTo>
                    <a:pt x="867" y="265"/>
                  </a:lnTo>
                  <a:lnTo>
                    <a:pt x="867" y="268"/>
                  </a:lnTo>
                  <a:lnTo>
                    <a:pt x="867" y="269"/>
                  </a:lnTo>
                  <a:lnTo>
                    <a:pt x="868" y="269"/>
                  </a:lnTo>
                  <a:lnTo>
                    <a:pt x="868" y="269"/>
                  </a:lnTo>
                  <a:lnTo>
                    <a:pt x="873" y="269"/>
                  </a:lnTo>
                  <a:lnTo>
                    <a:pt x="877" y="269"/>
                  </a:lnTo>
                  <a:lnTo>
                    <a:pt x="881" y="266"/>
                  </a:lnTo>
                  <a:lnTo>
                    <a:pt x="883" y="265"/>
                  </a:lnTo>
                  <a:lnTo>
                    <a:pt x="883" y="263"/>
                  </a:lnTo>
                  <a:lnTo>
                    <a:pt x="883" y="263"/>
                  </a:lnTo>
                  <a:lnTo>
                    <a:pt x="884" y="255"/>
                  </a:lnTo>
                  <a:lnTo>
                    <a:pt x="886" y="252"/>
                  </a:lnTo>
                  <a:lnTo>
                    <a:pt x="890" y="249"/>
                  </a:lnTo>
                  <a:lnTo>
                    <a:pt x="890" y="249"/>
                  </a:lnTo>
                  <a:lnTo>
                    <a:pt x="904" y="240"/>
                  </a:lnTo>
                  <a:lnTo>
                    <a:pt x="914" y="232"/>
                  </a:lnTo>
                  <a:lnTo>
                    <a:pt x="914" y="232"/>
                  </a:lnTo>
                  <a:lnTo>
                    <a:pt x="918" y="226"/>
                  </a:lnTo>
                  <a:lnTo>
                    <a:pt x="921" y="221"/>
                  </a:lnTo>
                  <a:lnTo>
                    <a:pt x="921" y="221"/>
                  </a:lnTo>
                  <a:lnTo>
                    <a:pt x="927" y="216"/>
                  </a:lnTo>
                  <a:lnTo>
                    <a:pt x="935" y="209"/>
                  </a:lnTo>
                  <a:lnTo>
                    <a:pt x="935" y="209"/>
                  </a:lnTo>
                  <a:lnTo>
                    <a:pt x="936" y="204"/>
                  </a:lnTo>
                  <a:lnTo>
                    <a:pt x="938" y="197"/>
                  </a:lnTo>
                  <a:lnTo>
                    <a:pt x="939" y="191"/>
                  </a:lnTo>
                  <a:lnTo>
                    <a:pt x="942" y="185"/>
                  </a:lnTo>
                  <a:lnTo>
                    <a:pt x="942" y="185"/>
                  </a:lnTo>
                  <a:lnTo>
                    <a:pt x="950" y="176"/>
                  </a:lnTo>
                  <a:lnTo>
                    <a:pt x="955" y="173"/>
                  </a:lnTo>
                  <a:lnTo>
                    <a:pt x="961" y="172"/>
                  </a:lnTo>
                  <a:lnTo>
                    <a:pt x="961" y="172"/>
                  </a:lnTo>
                  <a:lnTo>
                    <a:pt x="975" y="169"/>
                  </a:lnTo>
                  <a:lnTo>
                    <a:pt x="978" y="169"/>
                  </a:lnTo>
                  <a:lnTo>
                    <a:pt x="979" y="166"/>
                  </a:lnTo>
                  <a:lnTo>
                    <a:pt x="979" y="166"/>
                  </a:lnTo>
                  <a:lnTo>
                    <a:pt x="985" y="161"/>
                  </a:lnTo>
                  <a:lnTo>
                    <a:pt x="988" y="157"/>
                  </a:lnTo>
                  <a:lnTo>
                    <a:pt x="990" y="151"/>
                  </a:lnTo>
                  <a:lnTo>
                    <a:pt x="990" y="151"/>
                  </a:lnTo>
                  <a:lnTo>
                    <a:pt x="993" y="139"/>
                  </a:lnTo>
                  <a:lnTo>
                    <a:pt x="994" y="135"/>
                  </a:lnTo>
                  <a:lnTo>
                    <a:pt x="997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1003" y="133"/>
                  </a:lnTo>
                  <a:lnTo>
                    <a:pt x="1006" y="136"/>
                  </a:lnTo>
                  <a:lnTo>
                    <a:pt x="1009" y="138"/>
                  </a:lnTo>
                  <a:lnTo>
                    <a:pt x="1013" y="139"/>
                  </a:lnTo>
                  <a:lnTo>
                    <a:pt x="1013" y="139"/>
                  </a:lnTo>
                  <a:lnTo>
                    <a:pt x="1019" y="142"/>
                  </a:lnTo>
                  <a:lnTo>
                    <a:pt x="1022" y="146"/>
                  </a:lnTo>
                  <a:lnTo>
                    <a:pt x="1031" y="157"/>
                  </a:lnTo>
                  <a:lnTo>
                    <a:pt x="1031" y="157"/>
                  </a:lnTo>
                  <a:lnTo>
                    <a:pt x="1034" y="163"/>
                  </a:lnTo>
                  <a:lnTo>
                    <a:pt x="1037" y="169"/>
                  </a:lnTo>
                  <a:lnTo>
                    <a:pt x="1038" y="181"/>
                  </a:lnTo>
                  <a:lnTo>
                    <a:pt x="1038" y="181"/>
                  </a:lnTo>
                  <a:lnTo>
                    <a:pt x="1038" y="188"/>
                  </a:lnTo>
                  <a:lnTo>
                    <a:pt x="1043" y="197"/>
                  </a:lnTo>
                  <a:lnTo>
                    <a:pt x="1043" y="197"/>
                  </a:lnTo>
                  <a:lnTo>
                    <a:pt x="1055" y="213"/>
                  </a:lnTo>
                  <a:lnTo>
                    <a:pt x="1070" y="226"/>
                  </a:lnTo>
                  <a:lnTo>
                    <a:pt x="1070" y="226"/>
                  </a:lnTo>
                  <a:lnTo>
                    <a:pt x="1075" y="234"/>
                  </a:lnTo>
                  <a:lnTo>
                    <a:pt x="1080" y="240"/>
                  </a:lnTo>
                  <a:lnTo>
                    <a:pt x="1081" y="246"/>
                  </a:lnTo>
                  <a:lnTo>
                    <a:pt x="1081" y="247"/>
                  </a:lnTo>
                  <a:lnTo>
                    <a:pt x="1080" y="250"/>
                  </a:lnTo>
                  <a:lnTo>
                    <a:pt x="1080" y="250"/>
                  </a:lnTo>
                  <a:lnTo>
                    <a:pt x="1077" y="252"/>
                  </a:lnTo>
                  <a:lnTo>
                    <a:pt x="1072" y="252"/>
                  </a:lnTo>
                  <a:lnTo>
                    <a:pt x="1058" y="253"/>
                  </a:lnTo>
                  <a:lnTo>
                    <a:pt x="1043" y="255"/>
                  </a:lnTo>
                  <a:lnTo>
                    <a:pt x="1031" y="258"/>
                  </a:lnTo>
                  <a:lnTo>
                    <a:pt x="1031" y="258"/>
                  </a:lnTo>
                  <a:lnTo>
                    <a:pt x="1024" y="259"/>
                  </a:lnTo>
                  <a:lnTo>
                    <a:pt x="1013" y="261"/>
                  </a:lnTo>
                  <a:lnTo>
                    <a:pt x="997" y="263"/>
                  </a:lnTo>
                  <a:lnTo>
                    <a:pt x="997" y="263"/>
                  </a:lnTo>
                  <a:lnTo>
                    <a:pt x="990" y="265"/>
                  </a:lnTo>
                  <a:lnTo>
                    <a:pt x="985" y="268"/>
                  </a:lnTo>
                  <a:lnTo>
                    <a:pt x="982" y="269"/>
                  </a:lnTo>
                  <a:lnTo>
                    <a:pt x="982" y="272"/>
                  </a:lnTo>
                  <a:lnTo>
                    <a:pt x="984" y="275"/>
                  </a:lnTo>
                  <a:lnTo>
                    <a:pt x="985" y="278"/>
                  </a:lnTo>
                  <a:lnTo>
                    <a:pt x="985" y="278"/>
                  </a:lnTo>
                  <a:lnTo>
                    <a:pt x="990" y="283"/>
                  </a:lnTo>
                  <a:lnTo>
                    <a:pt x="993" y="289"/>
                  </a:lnTo>
                  <a:lnTo>
                    <a:pt x="995" y="295"/>
                  </a:lnTo>
                  <a:lnTo>
                    <a:pt x="998" y="299"/>
                  </a:lnTo>
                  <a:lnTo>
                    <a:pt x="998" y="299"/>
                  </a:lnTo>
                  <a:lnTo>
                    <a:pt x="1003" y="303"/>
                  </a:lnTo>
                  <a:lnTo>
                    <a:pt x="1003" y="308"/>
                  </a:lnTo>
                  <a:lnTo>
                    <a:pt x="998" y="312"/>
                  </a:lnTo>
                  <a:lnTo>
                    <a:pt x="993" y="317"/>
                  </a:lnTo>
                  <a:lnTo>
                    <a:pt x="993" y="317"/>
                  </a:lnTo>
                  <a:lnTo>
                    <a:pt x="987" y="321"/>
                  </a:lnTo>
                  <a:lnTo>
                    <a:pt x="979" y="329"/>
                  </a:lnTo>
                  <a:lnTo>
                    <a:pt x="973" y="338"/>
                  </a:lnTo>
                  <a:lnTo>
                    <a:pt x="972" y="342"/>
                  </a:lnTo>
                  <a:lnTo>
                    <a:pt x="972" y="345"/>
                  </a:lnTo>
                  <a:lnTo>
                    <a:pt x="972" y="345"/>
                  </a:lnTo>
                  <a:lnTo>
                    <a:pt x="969" y="358"/>
                  </a:lnTo>
                  <a:lnTo>
                    <a:pt x="967" y="369"/>
                  </a:lnTo>
                  <a:lnTo>
                    <a:pt x="967" y="369"/>
                  </a:lnTo>
                  <a:lnTo>
                    <a:pt x="966" y="378"/>
                  </a:lnTo>
                  <a:lnTo>
                    <a:pt x="964" y="383"/>
                  </a:lnTo>
                  <a:lnTo>
                    <a:pt x="960" y="389"/>
                  </a:lnTo>
                  <a:lnTo>
                    <a:pt x="960" y="389"/>
                  </a:lnTo>
                  <a:lnTo>
                    <a:pt x="939" y="406"/>
                  </a:lnTo>
                  <a:lnTo>
                    <a:pt x="929" y="415"/>
                  </a:lnTo>
                  <a:lnTo>
                    <a:pt x="923" y="420"/>
                  </a:lnTo>
                  <a:lnTo>
                    <a:pt x="923" y="420"/>
                  </a:lnTo>
                  <a:lnTo>
                    <a:pt x="923" y="423"/>
                  </a:lnTo>
                  <a:lnTo>
                    <a:pt x="923" y="426"/>
                  </a:lnTo>
                  <a:lnTo>
                    <a:pt x="926" y="431"/>
                  </a:lnTo>
                  <a:lnTo>
                    <a:pt x="929" y="435"/>
                  </a:lnTo>
                  <a:lnTo>
                    <a:pt x="929" y="435"/>
                  </a:lnTo>
                  <a:lnTo>
                    <a:pt x="933" y="441"/>
                  </a:lnTo>
                  <a:lnTo>
                    <a:pt x="935" y="447"/>
                  </a:lnTo>
                  <a:lnTo>
                    <a:pt x="933" y="453"/>
                  </a:lnTo>
                  <a:lnTo>
                    <a:pt x="932" y="456"/>
                  </a:lnTo>
                  <a:lnTo>
                    <a:pt x="930" y="456"/>
                  </a:lnTo>
                  <a:lnTo>
                    <a:pt x="930" y="456"/>
                  </a:lnTo>
                  <a:lnTo>
                    <a:pt x="926" y="458"/>
                  </a:lnTo>
                  <a:lnTo>
                    <a:pt x="924" y="459"/>
                  </a:lnTo>
                  <a:lnTo>
                    <a:pt x="923" y="463"/>
                  </a:lnTo>
                  <a:lnTo>
                    <a:pt x="924" y="468"/>
                  </a:lnTo>
                  <a:lnTo>
                    <a:pt x="924" y="468"/>
                  </a:lnTo>
                  <a:lnTo>
                    <a:pt x="924" y="474"/>
                  </a:lnTo>
                  <a:lnTo>
                    <a:pt x="923" y="480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20" y="502"/>
                  </a:lnTo>
                  <a:lnTo>
                    <a:pt x="920" y="518"/>
                  </a:lnTo>
                  <a:lnTo>
                    <a:pt x="920" y="518"/>
                  </a:lnTo>
                  <a:lnTo>
                    <a:pt x="920" y="527"/>
                  </a:lnTo>
                  <a:lnTo>
                    <a:pt x="921" y="537"/>
                  </a:lnTo>
                  <a:lnTo>
                    <a:pt x="921" y="537"/>
                  </a:lnTo>
                  <a:lnTo>
                    <a:pt x="923" y="551"/>
                  </a:lnTo>
                  <a:lnTo>
                    <a:pt x="926" y="554"/>
                  </a:lnTo>
                  <a:lnTo>
                    <a:pt x="927" y="551"/>
                  </a:lnTo>
                  <a:lnTo>
                    <a:pt x="927" y="551"/>
                  </a:lnTo>
                  <a:lnTo>
                    <a:pt x="933" y="542"/>
                  </a:lnTo>
                  <a:lnTo>
                    <a:pt x="936" y="539"/>
                  </a:lnTo>
                  <a:lnTo>
                    <a:pt x="939" y="537"/>
                  </a:lnTo>
                  <a:lnTo>
                    <a:pt x="939" y="537"/>
                  </a:lnTo>
                  <a:lnTo>
                    <a:pt x="944" y="537"/>
                  </a:lnTo>
                  <a:lnTo>
                    <a:pt x="947" y="539"/>
                  </a:lnTo>
                  <a:lnTo>
                    <a:pt x="950" y="542"/>
                  </a:lnTo>
                  <a:lnTo>
                    <a:pt x="950" y="546"/>
                  </a:lnTo>
                  <a:lnTo>
                    <a:pt x="950" y="546"/>
                  </a:lnTo>
                  <a:lnTo>
                    <a:pt x="950" y="555"/>
                  </a:lnTo>
                  <a:lnTo>
                    <a:pt x="950" y="558"/>
                  </a:lnTo>
                  <a:lnTo>
                    <a:pt x="953" y="561"/>
                  </a:lnTo>
                  <a:lnTo>
                    <a:pt x="953" y="561"/>
                  </a:lnTo>
                  <a:lnTo>
                    <a:pt x="954" y="563"/>
                  </a:lnTo>
                  <a:lnTo>
                    <a:pt x="955" y="564"/>
                  </a:lnTo>
                  <a:lnTo>
                    <a:pt x="958" y="563"/>
                  </a:lnTo>
                  <a:lnTo>
                    <a:pt x="969" y="554"/>
                  </a:lnTo>
                  <a:lnTo>
                    <a:pt x="969" y="554"/>
                  </a:lnTo>
                  <a:lnTo>
                    <a:pt x="973" y="551"/>
                  </a:lnTo>
                  <a:lnTo>
                    <a:pt x="979" y="551"/>
                  </a:lnTo>
                  <a:lnTo>
                    <a:pt x="985" y="554"/>
                  </a:lnTo>
                  <a:lnTo>
                    <a:pt x="991" y="560"/>
                  </a:lnTo>
                  <a:lnTo>
                    <a:pt x="991" y="560"/>
                  </a:lnTo>
                  <a:lnTo>
                    <a:pt x="1007" y="580"/>
                  </a:lnTo>
                  <a:lnTo>
                    <a:pt x="1016" y="589"/>
                  </a:lnTo>
                  <a:lnTo>
                    <a:pt x="1021" y="598"/>
                  </a:lnTo>
                  <a:lnTo>
                    <a:pt x="1021" y="598"/>
                  </a:lnTo>
                  <a:lnTo>
                    <a:pt x="1024" y="603"/>
                  </a:lnTo>
                  <a:lnTo>
                    <a:pt x="1024" y="607"/>
                  </a:lnTo>
                  <a:lnTo>
                    <a:pt x="1022" y="610"/>
                  </a:lnTo>
                  <a:lnTo>
                    <a:pt x="1019" y="613"/>
                  </a:lnTo>
                  <a:lnTo>
                    <a:pt x="1019" y="613"/>
                  </a:lnTo>
                  <a:lnTo>
                    <a:pt x="1016" y="617"/>
                  </a:lnTo>
                  <a:lnTo>
                    <a:pt x="1016" y="622"/>
                  </a:lnTo>
                  <a:lnTo>
                    <a:pt x="1016" y="626"/>
                  </a:lnTo>
                  <a:lnTo>
                    <a:pt x="1018" y="628"/>
                  </a:lnTo>
                  <a:lnTo>
                    <a:pt x="1019" y="628"/>
                  </a:lnTo>
                  <a:lnTo>
                    <a:pt x="1019" y="628"/>
                  </a:lnTo>
                  <a:lnTo>
                    <a:pt x="1024" y="626"/>
                  </a:lnTo>
                  <a:lnTo>
                    <a:pt x="1027" y="623"/>
                  </a:lnTo>
                  <a:lnTo>
                    <a:pt x="1028" y="623"/>
                  </a:lnTo>
                  <a:lnTo>
                    <a:pt x="1030" y="623"/>
                  </a:lnTo>
                  <a:lnTo>
                    <a:pt x="1031" y="625"/>
                  </a:lnTo>
                  <a:lnTo>
                    <a:pt x="1032" y="628"/>
                  </a:lnTo>
                  <a:lnTo>
                    <a:pt x="1032" y="628"/>
                  </a:lnTo>
                  <a:lnTo>
                    <a:pt x="1040" y="643"/>
                  </a:lnTo>
                  <a:lnTo>
                    <a:pt x="1046" y="653"/>
                  </a:lnTo>
                  <a:lnTo>
                    <a:pt x="1046" y="653"/>
                  </a:lnTo>
                  <a:lnTo>
                    <a:pt x="1050" y="653"/>
                  </a:lnTo>
                  <a:lnTo>
                    <a:pt x="1056" y="653"/>
                  </a:lnTo>
                  <a:lnTo>
                    <a:pt x="1062" y="650"/>
                  </a:lnTo>
                  <a:lnTo>
                    <a:pt x="1065" y="647"/>
                  </a:lnTo>
                  <a:lnTo>
                    <a:pt x="1065" y="647"/>
                  </a:lnTo>
                  <a:lnTo>
                    <a:pt x="1067" y="641"/>
                  </a:lnTo>
                  <a:lnTo>
                    <a:pt x="1068" y="638"/>
                  </a:lnTo>
                  <a:lnTo>
                    <a:pt x="1071" y="637"/>
                  </a:lnTo>
                  <a:lnTo>
                    <a:pt x="1071" y="637"/>
                  </a:lnTo>
                  <a:lnTo>
                    <a:pt x="1075" y="635"/>
                  </a:lnTo>
                  <a:lnTo>
                    <a:pt x="1078" y="634"/>
                  </a:lnTo>
                  <a:lnTo>
                    <a:pt x="1081" y="632"/>
                  </a:lnTo>
                  <a:lnTo>
                    <a:pt x="1081" y="628"/>
                  </a:lnTo>
                  <a:lnTo>
                    <a:pt x="1081" y="628"/>
                  </a:lnTo>
                  <a:lnTo>
                    <a:pt x="1078" y="616"/>
                  </a:lnTo>
                  <a:lnTo>
                    <a:pt x="1080" y="612"/>
                  </a:lnTo>
                  <a:lnTo>
                    <a:pt x="1081" y="610"/>
                  </a:lnTo>
                  <a:lnTo>
                    <a:pt x="1083" y="609"/>
                  </a:lnTo>
                  <a:lnTo>
                    <a:pt x="1083" y="609"/>
                  </a:lnTo>
                  <a:lnTo>
                    <a:pt x="1089" y="610"/>
                  </a:lnTo>
                  <a:lnTo>
                    <a:pt x="1095" y="612"/>
                  </a:lnTo>
                  <a:lnTo>
                    <a:pt x="1102" y="616"/>
                  </a:lnTo>
                  <a:lnTo>
                    <a:pt x="1102" y="616"/>
                  </a:lnTo>
                  <a:lnTo>
                    <a:pt x="1107" y="617"/>
                  </a:lnTo>
                  <a:lnTo>
                    <a:pt x="1112" y="619"/>
                  </a:lnTo>
                  <a:lnTo>
                    <a:pt x="1120" y="617"/>
                  </a:lnTo>
                  <a:lnTo>
                    <a:pt x="1123" y="616"/>
                  </a:lnTo>
                  <a:lnTo>
                    <a:pt x="1124" y="614"/>
                  </a:lnTo>
                  <a:lnTo>
                    <a:pt x="1124" y="614"/>
                  </a:lnTo>
                  <a:lnTo>
                    <a:pt x="1126" y="609"/>
                  </a:lnTo>
                  <a:lnTo>
                    <a:pt x="1130" y="607"/>
                  </a:lnTo>
                  <a:lnTo>
                    <a:pt x="1133" y="606"/>
                  </a:lnTo>
                  <a:lnTo>
                    <a:pt x="1138" y="607"/>
                  </a:lnTo>
                  <a:lnTo>
                    <a:pt x="1138" y="607"/>
                  </a:lnTo>
                  <a:lnTo>
                    <a:pt x="1144" y="607"/>
                  </a:lnTo>
                  <a:lnTo>
                    <a:pt x="1149" y="604"/>
                  </a:lnTo>
                  <a:lnTo>
                    <a:pt x="1161" y="600"/>
                  </a:lnTo>
                  <a:lnTo>
                    <a:pt x="1161" y="600"/>
                  </a:lnTo>
                  <a:lnTo>
                    <a:pt x="1166" y="600"/>
                  </a:lnTo>
                  <a:lnTo>
                    <a:pt x="1172" y="600"/>
                  </a:lnTo>
                  <a:lnTo>
                    <a:pt x="1176" y="601"/>
                  </a:lnTo>
                  <a:lnTo>
                    <a:pt x="1178" y="603"/>
                  </a:lnTo>
                  <a:lnTo>
                    <a:pt x="1179" y="607"/>
                  </a:lnTo>
                  <a:lnTo>
                    <a:pt x="1179" y="607"/>
                  </a:lnTo>
                  <a:lnTo>
                    <a:pt x="1182" y="614"/>
                  </a:lnTo>
                  <a:lnTo>
                    <a:pt x="1186" y="623"/>
                  </a:lnTo>
                  <a:lnTo>
                    <a:pt x="1191" y="628"/>
                  </a:lnTo>
                  <a:lnTo>
                    <a:pt x="1194" y="631"/>
                  </a:lnTo>
                  <a:lnTo>
                    <a:pt x="1198" y="632"/>
                  </a:lnTo>
                  <a:lnTo>
                    <a:pt x="1201" y="632"/>
                  </a:lnTo>
                  <a:lnTo>
                    <a:pt x="1201" y="632"/>
                  </a:lnTo>
                  <a:lnTo>
                    <a:pt x="1210" y="631"/>
                  </a:lnTo>
                  <a:lnTo>
                    <a:pt x="1219" y="631"/>
                  </a:lnTo>
                  <a:lnTo>
                    <a:pt x="1228" y="631"/>
                  </a:lnTo>
                  <a:lnTo>
                    <a:pt x="1235" y="629"/>
                  </a:lnTo>
                  <a:lnTo>
                    <a:pt x="1235" y="629"/>
                  </a:lnTo>
                  <a:lnTo>
                    <a:pt x="1243" y="625"/>
                  </a:lnTo>
                  <a:lnTo>
                    <a:pt x="1250" y="619"/>
                  </a:lnTo>
                  <a:lnTo>
                    <a:pt x="1258" y="613"/>
                  </a:lnTo>
                  <a:lnTo>
                    <a:pt x="1262" y="609"/>
                  </a:lnTo>
                  <a:lnTo>
                    <a:pt x="1262" y="609"/>
                  </a:lnTo>
                  <a:lnTo>
                    <a:pt x="1265" y="604"/>
                  </a:lnTo>
                  <a:lnTo>
                    <a:pt x="1269" y="603"/>
                  </a:lnTo>
                  <a:lnTo>
                    <a:pt x="1275" y="601"/>
                  </a:lnTo>
                  <a:lnTo>
                    <a:pt x="1278" y="603"/>
                  </a:lnTo>
                  <a:lnTo>
                    <a:pt x="1278" y="603"/>
                  </a:lnTo>
                  <a:lnTo>
                    <a:pt x="1283" y="604"/>
                  </a:lnTo>
                  <a:lnTo>
                    <a:pt x="1287" y="606"/>
                  </a:lnTo>
                  <a:lnTo>
                    <a:pt x="1293" y="606"/>
                  </a:lnTo>
                  <a:lnTo>
                    <a:pt x="1295" y="604"/>
                  </a:lnTo>
                  <a:lnTo>
                    <a:pt x="1296" y="603"/>
                  </a:lnTo>
                  <a:lnTo>
                    <a:pt x="1296" y="603"/>
                  </a:lnTo>
                  <a:lnTo>
                    <a:pt x="1302" y="592"/>
                  </a:lnTo>
                  <a:lnTo>
                    <a:pt x="1305" y="586"/>
                  </a:lnTo>
                  <a:lnTo>
                    <a:pt x="1306" y="585"/>
                  </a:lnTo>
                  <a:lnTo>
                    <a:pt x="1309" y="585"/>
                  </a:lnTo>
                  <a:lnTo>
                    <a:pt x="1309" y="585"/>
                  </a:lnTo>
                  <a:lnTo>
                    <a:pt x="1314" y="583"/>
                  </a:lnTo>
                  <a:lnTo>
                    <a:pt x="1317" y="585"/>
                  </a:lnTo>
                  <a:lnTo>
                    <a:pt x="1323" y="589"/>
                  </a:lnTo>
                  <a:lnTo>
                    <a:pt x="1323" y="589"/>
                  </a:lnTo>
                  <a:lnTo>
                    <a:pt x="1327" y="594"/>
                  </a:lnTo>
                  <a:lnTo>
                    <a:pt x="1329" y="600"/>
                  </a:lnTo>
                  <a:lnTo>
                    <a:pt x="1330" y="606"/>
                  </a:lnTo>
                  <a:lnTo>
                    <a:pt x="1330" y="610"/>
                  </a:lnTo>
                  <a:lnTo>
                    <a:pt x="1330" y="610"/>
                  </a:lnTo>
                  <a:lnTo>
                    <a:pt x="1323" y="622"/>
                  </a:lnTo>
                  <a:lnTo>
                    <a:pt x="1314" y="634"/>
                  </a:lnTo>
                  <a:lnTo>
                    <a:pt x="1314" y="634"/>
                  </a:lnTo>
                  <a:lnTo>
                    <a:pt x="1305" y="64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2" name="Freeform 131">
              <a:extLst>
                <a:ext uri="{FF2B5EF4-FFF2-40B4-BE49-F238E27FC236}">
                  <a16:creationId xmlns:a16="http://schemas.microsoft.com/office/drawing/2014/main" id="{2A0030EF-F432-7045-8A09-60FB12795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2863" y="4230688"/>
              <a:ext cx="333375" cy="746125"/>
            </a:xfrm>
            <a:custGeom>
              <a:avLst/>
              <a:gdLst>
                <a:gd name="T0" fmla="*/ 10 w 210"/>
                <a:gd name="T1" fmla="*/ 468 h 470"/>
                <a:gd name="T2" fmla="*/ 34 w 210"/>
                <a:gd name="T3" fmla="*/ 456 h 470"/>
                <a:gd name="T4" fmla="*/ 63 w 210"/>
                <a:gd name="T5" fmla="*/ 442 h 470"/>
                <a:gd name="T6" fmla="*/ 69 w 210"/>
                <a:gd name="T7" fmla="*/ 434 h 470"/>
                <a:gd name="T8" fmla="*/ 80 w 210"/>
                <a:gd name="T9" fmla="*/ 425 h 470"/>
                <a:gd name="T10" fmla="*/ 99 w 210"/>
                <a:gd name="T11" fmla="*/ 427 h 470"/>
                <a:gd name="T12" fmla="*/ 115 w 210"/>
                <a:gd name="T13" fmla="*/ 425 h 470"/>
                <a:gd name="T14" fmla="*/ 118 w 210"/>
                <a:gd name="T15" fmla="*/ 418 h 470"/>
                <a:gd name="T16" fmla="*/ 121 w 210"/>
                <a:gd name="T17" fmla="*/ 402 h 470"/>
                <a:gd name="T18" fmla="*/ 126 w 210"/>
                <a:gd name="T19" fmla="*/ 396 h 470"/>
                <a:gd name="T20" fmla="*/ 121 w 210"/>
                <a:gd name="T21" fmla="*/ 388 h 470"/>
                <a:gd name="T22" fmla="*/ 109 w 210"/>
                <a:gd name="T23" fmla="*/ 381 h 470"/>
                <a:gd name="T24" fmla="*/ 118 w 210"/>
                <a:gd name="T25" fmla="*/ 375 h 470"/>
                <a:gd name="T26" fmla="*/ 123 w 210"/>
                <a:gd name="T27" fmla="*/ 365 h 470"/>
                <a:gd name="T28" fmla="*/ 127 w 210"/>
                <a:gd name="T29" fmla="*/ 356 h 470"/>
                <a:gd name="T30" fmla="*/ 137 w 210"/>
                <a:gd name="T31" fmla="*/ 351 h 470"/>
                <a:gd name="T32" fmla="*/ 145 w 210"/>
                <a:gd name="T33" fmla="*/ 347 h 470"/>
                <a:gd name="T34" fmla="*/ 139 w 210"/>
                <a:gd name="T35" fmla="*/ 336 h 470"/>
                <a:gd name="T36" fmla="*/ 132 w 210"/>
                <a:gd name="T37" fmla="*/ 326 h 470"/>
                <a:gd name="T38" fmla="*/ 137 w 210"/>
                <a:gd name="T39" fmla="*/ 322 h 470"/>
                <a:gd name="T40" fmla="*/ 146 w 210"/>
                <a:gd name="T41" fmla="*/ 311 h 470"/>
                <a:gd name="T42" fmla="*/ 155 w 210"/>
                <a:gd name="T43" fmla="*/ 305 h 470"/>
                <a:gd name="T44" fmla="*/ 169 w 210"/>
                <a:gd name="T45" fmla="*/ 302 h 470"/>
                <a:gd name="T46" fmla="*/ 176 w 210"/>
                <a:gd name="T47" fmla="*/ 294 h 470"/>
                <a:gd name="T48" fmla="*/ 194 w 210"/>
                <a:gd name="T49" fmla="*/ 282 h 470"/>
                <a:gd name="T50" fmla="*/ 204 w 210"/>
                <a:gd name="T51" fmla="*/ 271 h 470"/>
                <a:gd name="T52" fmla="*/ 209 w 210"/>
                <a:gd name="T53" fmla="*/ 258 h 470"/>
                <a:gd name="T54" fmla="*/ 207 w 210"/>
                <a:gd name="T55" fmla="*/ 239 h 470"/>
                <a:gd name="T56" fmla="*/ 198 w 210"/>
                <a:gd name="T57" fmla="*/ 239 h 470"/>
                <a:gd name="T58" fmla="*/ 189 w 210"/>
                <a:gd name="T59" fmla="*/ 233 h 470"/>
                <a:gd name="T60" fmla="*/ 177 w 210"/>
                <a:gd name="T61" fmla="*/ 185 h 470"/>
                <a:gd name="T62" fmla="*/ 179 w 210"/>
                <a:gd name="T63" fmla="*/ 160 h 470"/>
                <a:gd name="T64" fmla="*/ 171 w 210"/>
                <a:gd name="T65" fmla="*/ 147 h 470"/>
                <a:gd name="T66" fmla="*/ 152 w 210"/>
                <a:gd name="T67" fmla="*/ 139 h 470"/>
                <a:gd name="T68" fmla="*/ 139 w 210"/>
                <a:gd name="T69" fmla="*/ 134 h 470"/>
                <a:gd name="T70" fmla="*/ 136 w 210"/>
                <a:gd name="T71" fmla="*/ 126 h 470"/>
                <a:gd name="T72" fmla="*/ 143 w 210"/>
                <a:gd name="T73" fmla="*/ 117 h 470"/>
                <a:gd name="T74" fmla="*/ 143 w 210"/>
                <a:gd name="T75" fmla="*/ 113 h 470"/>
                <a:gd name="T76" fmla="*/ 132 w 210"/>
                <a:gd name="T77" fmla="*/ 110 h 470"/>
                <a:gd name="T78" fmla="*/ 129 w 210"/>
                <a:gd name="T79" fmla="*/ 105 h 470"/>
                <a:gd name="T80" fmla="*/ 124 w 210"/>
                <a:gd name="T81" fmla="*/ 98 h 470"/>
                <a:gd name="T82" fmla="*/ 118 w 210"/>
                <a:gd name="T83" fmla="*/ 94 h 470"/>
                <a:gd name="T84" fmla="*/ 117 w 210"/>
                <a:gd name="T85" fmla="*/ 49 h 470"/>
                <a:gd name="T86" fmla="*/ 100 w 210"/>
                <a:gd name="T87" fmla="*/ 45 h 470"/>
                <a:gd name="T88" fmla="*/ 100 w 210"/>
                <a:gd name="T89" fmla="*/ 42 h 470"/>
                <a:gd name="T90" fmla="*/ 102 w 210"/>
                <a:gd name="T91" fmla="*/ 36 h 470"/>
                <a:gd name="T92" fmla="*/ 97 w 210"/>
                <a:gd name="T93" fmla="*/ 24 h 470"/>
                <a:gd name="T94" fmla="*/ 97 w 210"/>
                <a:gd name="T95" fmla="*/ 17 h 470"/>
                <a:gd name="T96" fmla="*/ 103 w 210"/>
                <a:gd name="T97" fmla="*/ 11 h 470"/>
                <a:gd name="T98" fmla="*/ 100 w 210"/>
                <a:gd name="T99" fmla="*/ 5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0" h="470">
                  <a:moveTo>
                    <a:pt x="0" y="470"/>
                  </a:moveTo>
                  <a:lnTo>
                    <a:pt x="0" y="470"/>
                  </a:lnTo>
                  <a:lnTo>
                    <a:pt x="10" y="468"/>
                  </a:lnTo>
                  <a:lnTo>
                    <a:pt x="10" y="468"/>
                  </a:lnTo>
                  <a:lnTo>
                    <a:pt x="22" y="465"/>
                  </a:lnTo>
                  <a:lnTo>
                    <a:pt x="34" y="456"/>
                  </a:lnTo>
                  <a:lnTo>
                    <a:pt x="34" y="456"/>
                  </a:lnTo>
                  <a:lnTo>
                    <a:pt x="50" y="448"/>
                  </a:lnTo>
                  <a:lnTo>
                    <a:pt x="63" y="442"/>
                  </a:lnTo>
                  <a:lnTo>
                    <a:pt x="63" y="442"/>
                  </a:lnTo>
                  <a:lnTo>
                    <a:pt x="66" y="439"/>
                  </a:lnTo>
                  <a:lnTo>
                    <a:pt x="69" y="434"/>
                  </a:lnTo>
                  <a:lnTo>
                    <a:pt x="75" y="427"/>
                  </a:lnTo>
                  <a:lnTo>
                    <a:pt x="75" y="427"/>
                  </a:lnTo>
                  <a:lnTo>
                    <a:pt x="80" y="425"/>
                  </a:lnTo>
                  <a:lnTo>
                    <a:pt x="86" y="425"/>
                  </a:lnTo>
                  <a:lnTo>
                    <a:pt x="99" y="427"/>
                  </a:lnTo>
                  <a:lnTo>
                    <a:pt x="99" y="427"/>
                  </a:lnTo>
                  <a:lnTo>
                    <a:pt x="105" y="428"/>
                  </a:lnTo>
                  <a:lnTo>
                    <a:pt x="111" y="427"/>
                  </a:lnTo>
                  <a:lnTo>
                    <a:pt x="115" y="425"/>
                  </a:lnTo>
                  <a:lnTo>
                    <a:pt x="118" y="422"/>
                  </a:lnTo>
                  <a:lnTo>
                    <a:pt x="118" y="422"/>
                  </a:lnTo>
                  <a:lnTo>
                    <a:pt x="118" y="418"/>
                  </a:lnTo>
                  <a:lnTo>
                    <a:pt x="118" y="412"/>
                  </a:lnTo>
                  <a:lnTo>
                    <a:pt x="120" y="406"/>
                  </a:lnTo>
                  <a:lnTo>
                    <a:pt x="121" y="402"/>
                  </a:lnTo>
                  <a:lnTo>
                    <a:pt x="121" y="402"/>
                  </a:lnTo>
                  <a:lnTo>
                    <a:pt x="124" y="399"/>
                  </a:lnTo>
                  <a:lnTo>
                    <a:pt x="126" y="396"/>
                  </a:lnTo>
                  <a:lnTo>
                    <a:pt x="124" y="393"/>
                  </a:lnTo>
                  <a:lnTo>
                    <a:pt x="121" y="388"/>
                  </a:lnTo>
                  <a:lnTo>
                    <a:pt x="121" y="388"/>
                  </a:lnTo>
                  <a:lnTo>
                    <a:pt x="111" y="382"/>
                  </a:lnTo>
                  <a:lnTo>
                    <a:pt x="109" y="382"/>
                  </a:lnTo>
                  <a:lnTo>
                    <a:pt x="109" y="381"/>
                  </a:lnTo>
                  <a:lnTo>
                    <a:pt x="114" y="378"/>
                  </a:lnTo>
                  <a:lnTo>
                    <a:pt x="114" y="378"/>
                  </a:lnTo>
                  <a:lnTo>
                    <a:pt x="118" y="375"/>
                  </a:lnTo>
                  <a:lnTo>
                    <a:pt x="121" y="372"/>
                  </a:lnTo>
                  <a:lnTo>
                    <a:pt x="123" y="369"/>
                  </a:lnTo>
                  <a:lnTo>
                    <a:pt x="123" y="365"/>
                  </a:lnTo>
                  <a:lnTo>
                    <a:pt x="123" y="365"/>
                  </a:lnTo>
                  <a:lnTo>
                    <a:pt x="124" y="360"/>
                  </a:lnTo>
                  <a:lnTo>
                    <a:pt x="127" y="356"/>
                  </a:lnTo>
                  <a:lnTo>
                    <a:pt x="132" y="353"/>
                  </a:lnTo>
                  <a:lnTo>
                    <a:pt x="137" y="351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5" y="350"/>
                  </a:lnTo>
                  <a:lnTo>
                    <a:pt x="145" y="347"/>
                  </a:lnTo>
                  <a:lnTo>
                    <a:pt x="143" y="342"/>
                  </a:lnTo>
                  <a:lnTo>
                    <a:pt x="143" y="342"/>
                  </a:lnTo>
                  <a:lnTo>
                    <a:pt x="139" y="336"/>
                  </a:lnTo>
                  <a:lnTo>
                    <a:pt x="133" y="332"/>
                  </a:lnTo>
                  <a:lnTo>
                    <a:pt x="132" y="329"/>
                  </a:lnTo>
                  <a:lnTo>
                    <a:pt x="132" y="326"/>
                  </a:lnTo>
                  <a:lnTo>
                    <a:pt x="133" y="323"/>
                  </a:lnTo>
                  <a:lnTo>
                    <a:pt x="137" y="322"/>
                  </a:lnTo>
                  <a:lnTo>
                    <a:pt x="137" y="322"/>
                  </a:lnTo>
                  <a:lnTo>
                    <a:pt x="142" y="319"/>
                  </a:lnTo>
                  <a:lnTo>
                    <a:pt x="143" y="316"/>
                  </a:lnTo>
                  <a:lnTo>
                    <a:pt x="146" y="311"/>
                  </a:lnTo>
                  <a:lnTo>
                    <a:pt x="149" y="307"/>
                  </a:lnTo>
                  <a:lnTo>
                    <a:pt x="151" y="305"/>
                  </a:lnTo>
                  <a:lnTo>
                    <a:pt x="155" y="305"/>
                  </a:lnTo>
                  <a:lnTo>
                    <a:pt x="155" y="305"/>
                  </a:lnTo>
                  <a:lnTo>
                    <a:pt x="163" y="304"/>
                  </a:lnTo>
                  <a:lnTo>
                    <a:pt x="169" y="302"/>
                  </a:lnTo>
                  <a:lnTo>
                    <a:pt x="173" y="298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82" y="288"/>
                  </a:lnTo>
                  <a:lnTo>
                    <a:pt x="188" y="285"/>
                  </a:lnTo>
                  <a:lnTo>
                    <a:pt x="194" y="282"/>
                  </a:lnTo>
                  <a:lnTo>
                    <a:pt x="200" y="277"/>
                  </a:lnTo>
                  <a:lnTo>
                    <a:pt x="200" y="277"/>
                  </a:lnTo>
                  <a:lnTo>
                    <a:pt x="204" y="271"/>
                  </a:lnTo>
                  <a:lnTo>
                    <a:pt x="207" y="267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0" y="248"/>
                  </a:lnTo>
                  <a:lnTo>
                    <a:pt x="209" y="242"/>
                  </a:lnTo>
                  <a:lnTo>
                    <a:pt x="207" y="239"/>
                  </a:lnTo>
                  <a:lnTo>
                    <a:pt x="207" y="239"/>
                  </a:lnTo>
                  <a:lnTo>
                    <a:pt x="204" y="237"/>
                  </a:lnTo>
                  <a:lnTo>
                    <a:pt x="198" y="239"/>
                  </a:lnTo>
                  <a:lnTo>
                    <a:pt x="194" y="237"/>
                  </a:lnTo>
                  <a:lnTo>
                    <a:pt x="191" y="236"/>
                  </a:lnTo>
                  <a:lnTo>
                    <a:pt x="189" y="233"/>
                  </a:lnTo>
                  <a:lnTo>
                    <a:pt x="189" y="233"/>
                  </a:lnTo>
                  <a:lnTo>
                    <a:pt x="182" y="208"/>
                  </a:lnTo>
                  <a:lnTo>
                    <a:pt x="177" y="185"/>
                  </a:lnTo>
                  <a:lnTo>
                    <a:pt x="177" y="185"/>
                  </a:lnTo>
                  <a:lnTo>
                    <a:pt x="179" y="166"/>
                  </a:lnTo>
                  <a:lnTo>
                    <a:pt x="179" y="160"/>
                  </a:lnTo>
                  <a:lnTo>
                    <a:pt x="177" y="156"/>
                  </a:lnTo>
                  <a:lnTo>
                    <a:pt x="174" y="150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63" y="142"/>
                  </a:lnTo>
                  <a:lnTo>
                    <a:pt x="152" y="139"/>
                  </a:lnTo>
                  <a:lnTo>
                    <a:pt x="143" y="137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7" y="132"/>
                  </a:lnTo>
                  <a:lnTo>
                    <a:pt x="136" y="129"/>
                  </a:lnTo>
                  <a:lnTo>
                    <a:pt x="136" y="126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43" y="117"/>
                  </a:lnTo>
                  <a:lnTo>
                    <a:pt x="145" y="116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39" y="111"/>
                  </a:lnTo>
                  <a:lnTo>
                    <a:pt x="134" y="111"/>
                  </a:lnTo>
                  <a:lnTo>
                    <a:pt x="132" y="110"/>
                  </a:lnTo>
                  <a:lnTo>
                    <a:pt x="130" y="108"/>
                  </a:lnTo>
                  <a:lnTo>
                    <a:pt x="130" y="108"/>
                  </a:lnTo>
                  <a:lnTo>
                    <a:pt x="129" y="105"/>
                  </a:lnTo>
                  <a:lnTo>
                    <a:pt x="127" y="101"/>
                  </a:lnTo>
                  <a:lnTo>
                    <a:pt x="127" y="101"/>
                  </a:lnTo>
                  <a:lnTo>
                    <a:pt x="124" y="98"/>
                  </a:lnTo>
                  <a:lnTo>
                    <a:pt x="121" y="97"/>
                  </a:lnTo>
                  <a:lnTo>
                    <a:pt x="118" y="95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09" y="48"/>
                  </a:lnTo>
                  <a:lnTo>
                    <a:pt x="103" y="46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3"/>
                  </a:lnTo>
                  <a:lnTo>
                    <a:pt x="100" y="42"/>
                  </a:lnTo>
                  <a:lnTo>
                    <a:pt x="102" y="39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3"/>
                  </a:lnTo>
                  <a:lnTo>
                    <a:pt x="100" y="30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0"/>
                  </a:lnTo>
                  <a:lnTo>
                    <a:pt x="97" y="17"/>
                  </a:lnTo>
                  <a:lnTo>
                    <a:pt x="100" y="14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0" y="5"/>
                  </a:lnTo>
                  <a:lnTo>
                    <a:pt x="94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3" name="Freeform 132">
              <a:extLst>
                <a:ext uri="{FF2B5EF4-FFF2-40B4-BE49-F238E27FC236}">
                  <a16:creationId xmlns:a16="http://schemas.microsoft.com/office/drawing/2014/main" id="{DF9329C6-2E31-9F40-8D16-38795E0FF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744075" y="7959725"/>
              <a:ext cx="185738" cy="439737"/>
            </a:xfrm>
            <a:custGeom>
              <a:avLst/>
              <a:gdLst>
                <a:gd name="T0" fmla="*/ 46 w 117"/>
                <a:gd name="T1" fmla="*/ 0 h 277"/>
                <a:gd name="T2" fmla="*/ 37 w 117"/>
                <a:gd name="T3" fmla="*/ 3 h 277"/>
                <a:gd name="T4" fmla="*/ 33 w 117"/>
                <a:gd name="T5" fmla="*/ 3 h 277"/>
                <a:gd name="T6" fmla="*/ 26 w 117"/>
                <a:gd name="T7" fmla="*/ 6 h 277"/>
                <a:gd name="T8" fmla="*/ 24 w 117"/>
                <a:gd name="T9" fmla="*/ 11 h 277"/>
                <a:gd name="T10" fmla="*/ 24 w 117"/>
                <a:gd name="T11" fmla="*/ 13 h 277"/>
                <a:gd name="T12" fmla="*/ 18 w 117"/>
                <a:gd name="T13" fmla="*/ 21 h 277"/>
                <a:gd name="T14" fmla="*/ 12 w 117"/>
                <a:gd name="T15" fmla="*/ 30 h 277"/>
                <a:gd name="T16" fmla="*/ 14 w 117"/>
                <a:gd name="T17" fmla="*/ 36 h 277"/>
                <a:gd name="T18" fmla="*/ 17 w 117"/>
                <a:gd name="T19" fmla="*/ 46 h 277"/>
                <a:gd name="T20" fmla="*/ 15 w 117"/>
                <a:gd name="T21" fmla="*/ 49 h 277"/>
                <a:gd name="T22" fmla="*/ 6 w 117"/>
                <a:gd name="T23" fmla="*/ 52 h 277"/>
                <a:gd name="T24" fmla="*/ 0 w 117"/>
                <a:gd name="T25" fmla="*/ 55 h 277"/>
                <a:gd name="T26" fmla="*/ 0 w 117"/>
                <a:gd name="T27" fmla="*/ 58 h 277"/>
                <a:gd name="T28" fmla="*/ 3 w 117"/>
                <a:gd name="T29" fmla="*/ 64 h 277"/>
                <a:gd name="T30" fmla="*/ 14 w 117"/>
                <a:gd name="T31" fmla="*/ 76 h 277"/>
                <a:gd name="T32" fmla="*/ 15 w 117"/>
                <a:gd name="T33" fmla="*/ 82 h 277"/>
                <a:gd name="T34" fmla="*/ 17 w 117"/>
                <a:gd name="T35" fmla="*/ 86 h 277"/>
                <a:gd name="T36" fmla="*/ 26 w 117"/>
                <a:gd name="T37" fmla="*/ 93 h 277"/>
                <a:gd name="T38" fmla="*/ 33 w 117"/>
                <a:gd name="T39" fmla="*/ 96 h 277"/>
                <a:gd name="T40" fmla="*/ 43 w 117"/>
                <a:gd name="T41" fmla="*/ 101 h 277"/>
                <a:gd name="T42" fmla="*/ 48 w 117"/>
                <a:gd name="T43" fmla="*/ 99 h 277"/>
                <a:gd name="T44" fmla="*/ 49 w 117"/>
                <a:gd name="T45" fmla="*/ 93 h 277"/>
                <a:gd name="T46" fmla="*/ 49 w 117"/>
                <a:gd name="T47" fmla="*/ 86 h 277"/>
                <a:gd name="T48" fmla="*/ 49 w 117"/>
                <a:gd name="T49" fmla="*/ 76 h 277"/>
                <a:gd name="T50" fmla="*/ 54 w 117"/>
                <a:gd name="T51" fmla="*/ 74 h 277"/>
                <a:gd name="T52" fmla="*/ 60 w 117"/>
                <a:gd name="T53" fmla="*/ 73 h 277"/>
                <a:gd name="T54" fmla="*/ 66 w 117"/>
                <a:gd name="T55" fmla="*/ 76 h 277"/>
                <a:gd name="T56" fmla="*/ 70 w 117"/>
                <a:gd name="T57" fmla="*/ 85 h 277"/>
                <a:gd name="T58" fmla="*/ 70 w 117"/>
                <a:gd name="T59" fmla="*/ 92 h 277"/>
                <a:gd name="T60" fmla="*/ 68 w 117"/>
                <a:gd name="T61" fmla="*/ 99 h 277"/>
                <a:gd name="T62" fmla="*/ 67 w 117"/>
                <a:gd name="T63" fmla="*/ 104 h 277"/>
                <a:gd name="T64" fmla="*/ 66 w 117"/>
                <a:gd name="T65" fmla="*/ 113 h 277"/>
                <a:gd name="T66" fmla="*/ 71 w 117"/>
                <a:gd name="T67" fmla="*/ 123 h 277"/>
                <a:gd name="T68" fmla="*/ 74 w 117"/>
                <a:gd name="T69" fmla="*/ 133 h 277"/>
                <a:gd name="T70" fmla="*/ 82 w 117"/>
                <a:gd name="T71" fmla="*/ 148 h 277"/>
                <a:gd name="T72" fmla="*/ 88 w 117"/>
                <a:gd name="T73" fmla="*/ 159 h 277"/>
                <a:gd name="T74" fmla="*/ 97 w 117"/>
                <a:gd name="T75" fmla="*/ 176 h 277"/>
                <a:gd name="T76" fmla="*/ 103 w 117"/>
                <a:gd name="T77" fmla="*/ 182 h 277"/>
                <a:gd name="T78" fmla="*/ 116 w 117"/>
                <a:gd name="T79" fmla="*/ 196 h 277"/>
                <a:gd name="T80" fmla="*/ 117 w 117"/>
                <a:gd name="T81" fmla="*/ 202 h 277"/>
                <a:gd name="T82" fmla="*/ 114 w 117"/>
                <a:gd name="T83" fmla="*/ 205 h 277"/>
                <a:gd name="T84" fmla="*/ 108 w 117"/>
                <a:gd name="T85" fmla="*/ 205 h 277"/>
                <a:gd name="T86" fmla="*/ 104 w 117"/>
                <a:gd name="T87" fmla="*/ 203 h 277"/>
                <a:gd name="T88" fmla="*/ 100 w 117"/>
                <a:gd name="T89" fmla="*/ 206 h 277"/>
                <a:gd name="T90" fmla="*/ 85 w 117"/>
                <a:gd name="T91" fmla="*/ 213 h 277"/>
                <a:gd name="T92" fmla="*/ 83 w 117"/>
                <a:gd name="T93" fmla="*/ 216 h 277"/>
                <a:gd name="T94" fmla="*/ 86 w 117"/>
                <a:gd name="T95" fmla="*/ 224 h 277"/>
                <a:gd name="T96" fmla="*/ 91 w 117"/>
                <a:gd name="T97" fmla="*/ 230 h 277"/>
                <a:gd name="T98" fmla="*/ 92 w 117"/>
                <a:gd name="T99" fmla="*/ 250 h 277"/>
                <a:gd name="T100" fmla="*/ 94 w 117"/>
                <a:gd name="T101" fmla="*/ 258 h 277"/>
                <a:gd name="T102" fmla="*/ 103 w 117"/>
                <a:gd name="T103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7" h="277">
                  <a:moveTo>
                    <a:pt x="46" y="0"/>
                  </a:moveTo>
                  <a:lnTo>
                    <a:pt x="46" y="0"/>
                  </a:lnTo>
                  <a:lnTo>
                    <a:pt x="43" y="2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3" y="3"/>
                  </a:lnTo>
                  <a:lnTo>
                    <a:pt x="28" y="3"/>
                  </a:lnTo>
                  <a:lnTo>
                    <a:pt x="26" y="6"/>
                  </a:lnTo>
                  <a:lnTo>
                    <a:pt x="24" y="8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3"/>
                  </a:lnTo>
                  <a:lnTo>
                    <a:pt x="23" y="15"/>
                  </a:lnTo>
                  <a:lnTo>
                    <a:pt x="18" y="21"/>
                  </a:lnTo>
                  <a:lnTo>
                    <a:pt x="15" y="25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4" y="36"/>
                  </a:lnTo>
                  <a:lnTo>
                    <a:pt x="15" y="42"/>
                  </a:lnTo>
                  <a:lnTo>
                    <a:pt x="17" y="46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1" y="52"/>
                  </a:lnTo>
                  <a:lnTo>
                    <a:pt x="6" y="52"/>
                  </a:lnTo>
                  <a:lnTo>
                    <a:pt x="2" y="53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9" y="70"/>
                  </a:lnTo>
                  <a:lnTo>
                    <a:pt x="14" y="76"/>
                  </a:lnTo>
                  <a:lnTo>
                    <a:pt x="15" y="79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7" y="86"/>
                  </a:lnTo>
                  <a:lnTo>
                    <a:pt x="21" y="91"/>
                  </a:lnTo>
                  <a:lnTo>
                    <a:pt x="26" y="93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9" y="99"/>
                  </a:lnTo>
                  <a:lnTo>
                    <a:pt x="43" y="101"/>
                  </a:lnTo>
                  <a:lnTo>
                    <a:pt x="46" y="99"/>
                  </a:lnTo>
                  <a:lnTo>
                    <a:pt x="48" y="99"/>
                  </a:lnTo>
                  <a:lnTo>
                    <a:pt x="49" y="96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86"/>
                  </a:lnTo>
                  <a:lnTo>
                    <a:pt x="48" y="80"/>
                  </a:lnTo>
                  <a:lnTo>
                    <a:pt x="49" y="76"/>
                  </a:lnTo>
                  <a:lnTo>
                    <a:pt x="51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60" y="73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7" y="79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92"/>
                  </a:lnTo>
                  <a:lnTo>
                    <a:pt x="70" y="95"/>
                  </a:lnTo>
                  <a:lnTo>
                    <a:pt x="68" y="99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4" y="108"/>
                  </a:lnTo>
                  <a:lnTo>
                    <a:pt x="66" y="113"/>
                  </a:lnTo>
                  <a:lnTo>
                    <a:pt x="71" y="123"/>
                  </a:lnTo>
                  <a:lnTo>
                    <a:pt x="71" y="123"/>
                  </a:lnTo>
                  <a:lnTo>
                    <a:pt x="73" y="128"/>
                  </a:lnTo>
                  <a:lnTo>
                    <a:pt x="74" y="133"/>
                  </a:lnTo>
                  <a:lnTo>
                    <a:pt x="77" y="139"/>
                  </a:lnTo>
                  <a:lnTo>
                    <a:pt x="82" y="148"/>
                  </a:lnTo>
                  <a:lnTo>
                    <a:pt x="82" y="148"/>
                  </a:lnTo>
                  <a:lnTo>
                    <a:pt x="88" y="159"/>
                  </a:lnTo>
                  <a:lnTo>
                    <a:pt x="92" y="169"/>
                  </a:lnTo>
                  <a:lnTo>
                    <a:pt x="97" y="176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10" y="190"/>
                  </a:lnTo>
                  <a:lnTo>
                    <a:pt x="116" y="196"/>
                  </a:lnTo>
                  <a:lnTo>
                    <a:pt x="117" y="199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08" y="205"/>
                  </a:lnTo>
                  <a:lnTo>
                    <a:pt x="105" y="203"/>
                  </a:lnTo>
                  <a:lnTo>
                    <a:pt x="104" y="203"/>
                  </a:lnTo>
                  <a:lnTo>
                    <a:pt x="100" y="206"/>
                  </a:lnTo>
                  <a:lnTo>
                    <a:pt x="100" y="206"/>
                  </a:lnTo>
                  <a:lnTo>
                    <a:pt x="88" y="210"/>
                  </a:lnTo>
                  <a:lnTo>
                    <a:pt x="85" y="213"/>
                  </a:lnTo>
                  <a:lnTo>
                    <a:pt x="83" y="216"/>
                  </a:lnTo>
                  <a:lnTo>
                    <a:pt x="83" y="216"/>
                  </a:lnTo>
                  <a:lnTo>
                    <a:pt x="85" y="221"/>
                  </a:lnTo>
                  <a:lnTo>
                    <a:pt x="86" y="224"/>
                  </a:lnTo>
                  <a:lnTo>
                    <a:pt x="91" y="230"/>
                  </a:lnTo>
                  <a:lnTo>
                    <a:pt x="91" y="230"/>
                  </a:lnTo>
                  <a:lnTo>
                    <a:pt x="92" y="237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4" y="258"/>
                  </a:lnTo>
                  <a:lnTo>
                    <a:pt x="97" y="267"/>
                  </a:lnTo>
                  <a:lnTo>
                    <a:pt x="103" y="27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4" name="Freeform 133">
              <a:extLst>
                <a:ext uri="{FF2B5EF4-FFF2-40B4-BE49-F238E27FC236}">
                  <a16:creationId xmlns:a16="http://schemas.microsoft.com/office/drawing/2014/main" id="{039453A8-8C44-4C45-8184-3E649CA1E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272588" y="7842250"/>
              <a:ext cx="422275" cy="279400"/>
            </a:xfrm>
            <a:custGeom>
              <a:avLst/>
              <a:gdLst>
                <a:gd name="T0" fmla="*/ 0 w 266"/>
                <a:gd name="T1" fmla="*/ 176 h 176"/>
                <a:gd name="T2" fmla="*/ 25 w 266"/>
                <a:gd name="T3" fmla="*/ 172 h 176"/>
                <a:gd name="T4" fmla="*/ 32 w 266"/>
                <a:gd name="T5" fmla="*/ 172 h 176"/>
                <a:gd name="T6" fmla="*/ 46 w 266"/>
                <a:gd name="T7" fmla="*/ 167 h 176"/>
                <a:gd name="T8" fmla="*/ 49 w 266"/>
                <a:gd name="T9" fmla="*/ 162 h 176"/>
                <a:gd name="T10" fmla="*/ 49 w 266"/>
                <a:gd name="T11" fmla="*/ 156 h 176"/>
                <a:gd name="T12" fmla="*/ 46 w 266"/>
                <a:gd name="T13" fmla="*/ 145 h 176"/>
                <a:gd name="T14" fmla="*/ 38 w 266"/>
                <a:gd name="T15" fmla="*/ 141 h 176"/>
                <a:gd name="T16" fmla="*/ 16 w 266"/>
                <a:gd name="T17" fmla="*/ 127 h 176"/>
                <a:gd name="T18" fmla="*/ 13 w 266"/>
                <a:gd name="T19" fmla="*/ 123 h 176"/>
                <a:gd name="T20" fmla="*/ 15 w 266"/>
                <a:gd name="T21" fmla="*/ 116 h 176"/>
                <a:gd name="T22" fmla="*/ 23 w 266"/>
                <a:gd name="T23" fmla="*/ 111 h 176"/>
                <a:gd name="T24" fmla="*/ 29 w 266"/>
                <a:gd name="T25" fmla="*/ 111 h 176"/>
                <a:gd name="T26" fmla="*/ 34 w 266"/>
                <a:gd name="T27" fmla="*/ 107 h 176"/>
                <a:gd name="T28" fmla="*/ 37 w 266"/>
                <a:gd name="T29" fmla="*/ 105 h 176"/>
                <a:gd name="T30" fmla="*/ 49 w 266"/>
                <a:gd name="T31" fmla="*/ 102 h 176"/>
                <a:gd name="T32" fmla="*/ 57 w 266"/>
                <a:gd name="T33" fmla="*/ 102 h 176"/>
                <a:gd name="T34" fmla="*/ 87 w 266"/>
                <a:gd name="T35" fmla="*/ 102 h 176"/>
                <a:gd name="T36" fmla="*/ 90 w 266"/>
                <a:gd name="T37" fmla="*/ 101 h 176"/>
                <a:gd name="T38" fmla="*/ 93 w 266"/>
                <a:gd name="T39" fmla="*/ 98 h 176"/>
                <a:gd name="T40" fmla="*/ 103 w 266"/>
                <a:gd name="T41" fmla="*/ 96 h 176"/>
                <a:gd name="T42" fmla="*/ 106 w 266"/>
                <a:gd name="T43" fmla="*/ 96 h 176"/>
                <a:gd name="T44" fmla="*/ 112 w 266"/>
                <a:gd name="T45" fmla="*/ 98 h 176"/>
                <a:gd name="T46" fmla="*/ 120 w 266"/>
                <a:gd name="T47" fmla="*/ 95 h 176"/>
                <a:gd name="T48" fmla="*/ 126 w 266"/>
                <a:gd name="T49" fmla="*/ 95 h 176"/>
                <a:gd name="T50" fmla="*/ 133 w 266"/>
                <a:gd name="T51" fmla="*/ 96 h 176"/>
                <a:gd name="T52" fmla="*/ 134 w 266"/>
                <a:gd name="T53" fmla="*/ 95 h 176"/>
                <a:gd name="T54" fmla="*/ 136 w 266"/>
                <a:gd name="T55" fmla="*/ 85 h 176"/>
                <a:gd name="T56" fmla="*/ 140 w 266"/>
                <a:gd name="T57" fmla="*/ 82 h 176"/>
                <a:gd name="T58" fmla="*/ 151 w 266"/>
                <a:gd name="T59" fmla="*/ 77 h 176"/>
                <a:gd name="T60" fmla="*/ 157 w 266"/>
                <a:gd name="T61" fmla="*/ 71 h 176"/>
                <a:gd name="T62" fmla="*/ 160 w 266"/>
                <a:gd name="T63" fmla="*/ 68 h 176"/>
                <a:gd name="T64" fmla="*/ 166 w 266"/>
                <a:gd name="T65" fmla="*/ 64 h 176"/>
                <a:gd name="T66" fmla="*/ 166 w 266"/>
                <a:gd name="T67" fmla="*/ 62 h 176"/>
                <a:gd name="T68" fmla="*/ 161 w 266"/>
                <a:gd name="T69" fmla="*/ 55 h 176"/>
                <a:gd name="T70" fmla="*/ 161 w 266"/>
                <a:gd name="T71" fmla="*/ 52 h 176"/>
                <a:gd name="T72" fmla="*/ 161 w 266"/>
                <a:gd name="T73" fmla="*/ 43 h 176"/>
                <a:gd name="T74" fmla="*/ 166 w 266"/>
                <a:gd name="T75" fmla="*/ 40 h 176"/>
                <a:gd name="T76" fmla="*/ 171 w 266"/>
                <a:gd name="T77" fmla="*/ 42 h 176"/>
                <a:gd name="T78" fmla="*/ 180 w 266"/>
                <a:gd name="T79" fmla="*/ 45 h 176"/>
                <a:gd name="T80" fmla="*/ 195 w 266"/>
                <a:gd name="T81" fmla="*/ 53 h 176"/>
                <a:gd name="T82" fmla="*/ 200 w 266"/>
                <a:gd name="T83" fmla="*/ 56 h 176"/>
                <a:gd name="T84" fmla="*/ 214 w 266"/>
                <a:gd name="T85" fmla="*/ 55 h 176"/>
                <a:gd name="T86" fmla="*/ 219 w 266"/>
                <a:gd name="T87" fmla="*/ 55 h 176"/>
                <a:gd name="T88" fmla="*/ 229 w 266"/>
                <a:gd name="T89" fmla="*/ 56 h 176"/>
                <a:gd name="T90" fmla="*/ 234 w 266"/>
                <a:gd name="T91" fmla="*/ 55 h 176"/>
                <a:gd name="T92" fmla="*/ 240 w 266"/>
                <a:gd name="T93" fmla="*/ 49 h 176"/>
                <a:gd name="T94" fmla="*/ 241 w 266"/>
                <a:gd name="T95" fmla="*/ 37 h 176"/>
                <a:gd name="T96" fmla="*/ 240 w 266"/>
                <a:gd name="T97" fmla="*/ 28 h 176"/>
                <a:gd name="T98" fmla="*/ 240 w 266"/>
                <a:gd name="T99" fmla="*/ 19 h 176"/>
                <a:gd name="T100" fmla="*/ 243 w 266"/>
                <a:gd name="T101" fmla="*/ 8 h 176"/>
                <a:gd name="T102" fmla="*/ 247 w 266"/>
                <a:gd name="T103" fmla="*/ 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6" h="176">
                  <a:moveTo>
                    <a:pt x="0" y="176"/>
                  </a:moveTo>
                  <a:lnTo>
                    <a:pt x="0" y="176"/>
                  </a:lnTo>
                  <a:lnTo>
                    <a:pt x="10" y="173"/>
                  </a:lnTo>
                  <a:lnTo>
                    <a:pt x="25" y="172"/>
                  </a:lnTo>
                  <a:lnTo>
                    <a:pt x="25" y="172"/>
                  </a:lnTo>
                  <a:lnTo>
                    <a:pt x="32" y="172"/>
                  </a:lnTo>
                  <a:lnTo>
                    <a:pt x="40" y="170"/>
                  </a:lnTo>
                  <a:lnTo>
                    <a:pt x="46" y="167"/>
                  </a:lnTo>
                  <a:lnTo>
                    <a:pt x="47" y="166"/>
                  </a:lnTo>
                  <a:lnTo>
                    <a:pt x="49" y="162"/>
                  </a:lnTo>
                  <a:lnTo>
                    <a:pt x="49" y="162"/>
                  </a:lnTo>
                  <a:lnTo>
                    <a:pt x="49" y="156"/>
                  </a:lnTo>
                  <a:lnTo>
                    <a:pt x="49" y="150"/>
                  </a:lnTo>
                  <a:lnTo>
                    <a:pt x="46" y="145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22" y="132"/>
                  </a:lnTo>
                  <a:lnTo>
                    <a:pt x="16" y="127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3" y="120"/>
                  </a:lnTo>
                  <a:lnTo>
                    <a:pt x="15" y="116"/>
                  </a:lnTo>
                  <a:lnTo>
                    <a:pt x="19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9" y="111"/>
                  </a:lnTo>
                  <a:lnTo>
                    <a:pt x="32" y="110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7" y="105"/>
                  </a:lnTo>
                  <a:lnTo>
                    <a:pt x="41" y="102"/>
                  </a:lnTo>
                  <a:lnTo>
                    <a:pt x="49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78" y="102"/>
                  </a:lnTo>
                  <a:lnTo>
                    <a:pt x="87" y="102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3" y="98"/>
                  </a:lnTo>
                  <a:lnTo>
                    <a:pt x="97" y="96"/>
                  </a:lnTo>
                  <a:lnTo>
                    <a:pt x="103" y="96"/>
                  </a:lnTo>
                  <a:lnTo>
                    <a:pt x="106" y="96"/>
                  </a:lnTo>
                  <a:lnTo>
                    <a:pt x="106" y="96"/>
                  </a:lnTo>
                  <a:lnTo>
                    <a:pt x="109" y="98"/>
                  </a:lnTo>
                  <a:lnTo>
                    <a:pt x="112" y="98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21" y="95"/>
                  </a:lnTo>
                  <a:lnTo>
                    <a:pt x="126" y="95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3" y="96"/>
                  </a:lnTo>
                  <a:lnTo>
                    <a:pt x="134" y="95"/>
                  </a:lnTo>
                  <a:lnTo>
                    <a:pt x="134" y="90"/>
                  </a:lnTo>
                  <a:lnTo>
                    <a:pt x="136" y="85"/>
                  </a:lnTo>
                  <a:lnTo>
                    <a:pt x="137" y="83"/>
                  </a:lnTo>
                  <a:lnTo>
                    <a:pt x="140" y="82"/>
                  </a:lnTo>
                  <a:lnTo>
                    <a:pt x="140" y="82"/>
                  </a:lnTo>
                  <a:lnTo>
                    <a:pt x="151" y="77"/>
                  </a:lnTo>
                  <a:lnTo>
                    <a:pt x="154" y="74"/>
                  </a:lnTo>
                  <a:lnTo>
                    <a:pt x="157" y="71"/>
                  </a:lnTo>
                  <a:lnTo>
                    <a:pt x="157" y="71"/>
                  </a:lnTo>
                  <a:lnTo>
                    <a:pt x="160" y="68"/>
                  </a:lnTo>
                  <a:lnTo>
                    <a:pt x="164" y="65"/>
                  </a:lnTo>
                  <a:lnTo>
                    <a:pt x="166" y="64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3" y="58"/>
                  </a:lnTo>
                  <a:lnTo>
                    <a:pt x="161" y="55"/>
                  </a:lnTo>
                  <a:lnTo>
                    <a:pt x="161" y="52"/>
                  </a:lnTo>
                  <a:lnTo>
                    <a:pt x="161" y="52"/>
                  </a:lnTo>
                  <a:lnTo>
                    <a:pt x="161" y="48"/>
                  </a:lnTo>
                  <a:lnTo>
                    <a:pt x="161" y="43"/>
                  </a:lnTo>
                  <a:lnTo>
                    <a:pt x="163" y="42"/>
                  </a:lnTo>
                  <a:lnTo>
                    <a:pt x="166" y="40"/>
                  </a:lnTo>
                  <a:lnTo>
                    <a:pt x="167" y="40"/>
                  </a:lnTo>
                  <a:lnTo>
                    <a:pt x="171" y="42"/>
                  </a:lnTo>
                  <a:lnTo>
                    <a:pt x="171" y="42"/>
                  </a:lnTo>
                  <a:lnTo>
                    <a:pt x="180" y="45"/>
                  </a:lnTo>
                  <a:lnTo>
                    <a:pt x="186" y="48"/>
                  </a:lnTo>
                  <a:lnTo>
                    <a:pt x="195" y="53"/>
                  </a:lnTo>
                  <a:lnTo>
                    <a:pt x="195" y="53"/>
                  </a:lnTo>
                  <a:lnTo>
                    <a:pt x="200" y="56"/>
                  </a:lnTo>
                  <a:lnTo>
                    <a:pt x="204" y="56"/>
                  </a:lnTo>
                  <a:lnTo>
                    <a:pt x="214" y="55"/>
                  </a:lnTo>
                  <a:lnTo>
                    <a:pt x="214" y="55"/>
                  </a:lnTo>
                  <a:lnTo>
                    <a:pt x="219" y="55"/>
                  </a:lnTo>
                  <a:lnTo>
                    <a:pt x="225" y="55"/>
                  </a:lnTo>
                  <a:lnTo>
                    <a:pt x="229" y="56"/>
                  </a:lnTo>
                  <a:lnTo>
                    <a:pt x="234" y="55"/>
                  </a:lnTo>
                  <a:lnTo>
                    <a:pt x="234" y="55"/>
                  </a:lnTo>
                  <a:lnTo>
                    <a:pt x="238" y="52"/>
                  </a:lnTo>
                  <a:lnTo>
                    <a:pt x="240" y="49"/>
                  </a:lnTo>
                  <a:lnTo>
                    <a:pt x="241" y="43"/>
                  </a:lnTo>
                  <a:lnTo>
                    <a:pt x="241" y="37"/>
                  </a:lnTo>
                  <a:lnTo>
                    <a:pt x="241" y="37"/>
                  </a:lnTo>
                  <a:lnTo>
                    <a:pt x="240" y="28"/>
                  </a:lnTo>
                  <a:lnTo>
                    <a:pt x="240" y="19"/>
                  </a:lnTo>
                  <a:lnTo>
                    <a:pt x="240" y="19"/>
                  </a:lnTo>
                  <a:lnTo>
                    <a:pt x="241" y="10"/>
                  </a:lnTo>
                  <a:lnTo>
                    <a:pt x="243" y="8"/>
                  </a:lnTo>
                  <a:lnTo>
                    <a:pt x="247" y="5"/>
                  </a:lnTo>
                  <a:lnTo>
                    <a:pt x="247" y="5"/>
                  </a:lnTo>
                  <a:lnTo>
                    <a:pt x="266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5" name="Freeform 134">
              <a:extLst>
                <a:ext uri="{FF2B5EF4-FFF2-40B4-BE49-F238E27FC236}">
                  <a16:creationId xmlns:a16="http://schemas.microsoft.com/office/drawing/2014/main" id="{8D91BD6C-10D0-A944-8C50-6E9E9585D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1513" y="7158038"/>
              <a:ext cx="469900" cy="806450"/>
            </a:xfrm>
            <a:custGeom>
              <a:avLst/>
              <a:gdLst>
                <a:gd name="T0" fmla="*/ 277 w 296"/>
                <a:gd name="T1" fmla="*/ 15 h 508"/>
                <a:gd name="T2" fmla="*/ 262 w 296"/>
                <a:gd name="T3" fmla="*/ 21 h 508"/>
                <a:gd name="T4" fmla="*/ 260 w 296"/>
                <a:gd name="T5" fmla="*/ 27 h 508"/>
                <a:gd name="T6" fmla="*/ 283 w 296"/>
                <a:gd name="T7" fmla="*/ 59 h 508"/>
                <a:gd name="T8" fmla="*/ 295 w 296"/>
                <a:gd name="T9" fmla="*/ 95 h 508"/>
                <a:gd name="T10" fmla="*/ 292 w 296"/>
                <a:gd name="T11" fmla="*/ 110 h 508"/>
                <a:gd name="T12" fmla="*/ 255 w 296"/>
                <a:gd name="T13" fmla="*/ 132 h 508"/>
                <a:gd name="T14" fmla="*/ 235 w 296"/>
                <a:gd name="T15" fmla="*/ 150 h 508"/>
                <a:gd name="T16" fmla="*/ 234 w 296"/>
                <a:gd name="T17" fmla="*/ 162 h 508"/>
                <a:gd name="T18" fmla="*/ 231 w 296"/>
                <a:gd name="T19" fmla="*/ 181 h 508"/>
                <a:gd name="T20" fmla="*/ 243 w 296"/>
                <a:gd name="T21" fmla="*/ 205 h 508"/>
                <a:gd name="T22" fmla="*/ 235 w 296"/>
                <a:gd name="T23" fmla="*/ 227 h 508"/>
                <a:gd name="T24" fmla="*/ 219 w 296"/>
                <a:gd name="T25" fmla="*/ 253 h 508"/>
                <a:gd name="T26" fmla="*/ 207 w 296"/>
                <a:gd name="T27" fmla="*/ 258 h 508"/>
                <a:gd name="T28" fmla="*/ 219 w 296"/>
                <a:gd name="T29" fmla="*/ 271 h 508"/>
                <a:gd name="T30" fmla="*/ 231 w 296"/>
                <a:gd name="T31" fmla="*/ 270 h 508"/>
                <a:gd name="T32" fmla="*/ 237 w 296"/>
                <a:gd name="T33" fmla="*/ 270 h 508"/>
                <a:gd name="T34" fmla="*/ 247 w 296"/>
                <a:gd name="T35" fmla="*/ 280 h 508"/>
                <a:gd name="T36" fmla="*/ 259 w 296"/>
                <a:gd name="T37" fmla="*/ 286 h 508"/>
                <a:gd name="T38" fmla="*/ 255 w 296"/>
                <a:gd name="T39" fmla="*/ 301 h 508"/>
                <a:gd name="T40" fmla="*/ 252 w 296"/>
                <a:gd name="T41" fmla="*/ 330 h 508"/>
                <a:gd name="T42" fmla="*/ 235 w 296"/>
                <a:gd name="T43" fmla="*/ 338 h 508"/>
                <a:gd name="T44" fmla="*/ 220 w 296"/>
                <a:gd name="T45" fmla="*/ 370 h 508"/>
                <a:gd name="T46" fmla="*/ 216 w 296"/>
                <a:gd name="T47" fmla="*/ 378 h 508"/>
                <a:gd name="T48" fmla="*/ 229 w 296"/>
                <a:gd name="T49" fmla="*/ 394 h 508"/>
                <a:gd name="T50" fmla="*/ 228 w 296"/>
                <a:gd name="T51" fmla="*/ 406 h 508"/>
                <a:gd name="T52" fmla="*/ 215 w 296"/>
                <a:gd name="T53" fmla="*/ 419 h 508"/>
                <a:gd name="T54" fmla="*/ 216 w 296"/>
                <a:gd name="T55" fmla="*/ 427 h 508"/>
                <a:gd name="T56" fmla="*/ 226 w 296"/>
                <a:gd name="T57" fmla="*/ 428 h 508"/>
                <a:gd name="T58" fmla="*/ 225 w 296"/>
                <a:gd name="T59" fmla="*/ 443 h 508"/>
                <a:gd name="T60" fmla="*/ 218 w 296"/>
                <a:gd name="T61" fmla="*/ 461 h 508"/>
                <a:gd name="T62" fmla="*/ 206 w 296"/>
                <a:gd name="T63" fmla="*/ 473 h 508"/>
                <a:gd name="T64" fmla="*/ 182 w 296"/>
                <a:gd name="T65" fmla="*/ 499 h 508"/>
                <a:gd name="T66" fmla="*/ 161 w 296"/>
                <a:gd name="T67" fmla="*/ 507 h 508"/>
                <a:gd name="T68" fmla="*/ 166 w 296"/>
                <a:gd name="T69" fmla="*/ 484 h 508"/>
                <a:gd name="T70" fmla="*/ 160 w 296"/>
                <a:gd name="T71" fmla="*/ 471 h 508"/>
                <a:gd name="T72" fmla="*/ 148 w 296"/>
                <a:gd name="T73" fmla="*/ 468 h 508"/>
                <a:gd name="T74" fmla="*/ 132 w 296"/>
                <a:gd name="T75" fmla="*/ 458 h 508"/>
                <a:gd name="T76" fmla="*/ 117 w 296"/>
                <a:gd name="T77" fmla="*/ 461 h 508"/>
                <a:gd name="T78" fmla="*/ 92 w 296"/>
                <a:gd name="T79" fmla="*/ 444 h 508"/>
                <a:gd name="T80" fmla="*/ 86 w 296"/>
                <a:gd name="T81" fmla="*/ 437 h 508"/>
                <a:gd name="T82" fmla="*/ 81 w 296"/>
                <a:gd name="T83" fmla="*/ 425 h 508"/>
                <a:gd name="T84" fmla="*/ 81 w 296"/>
                <a:gd name="T85" fmla="*/ 415 h 508"/>
                <a:gd name="T86" fmla="*/ 87 w 296"/>
                <a:gd name="T87" fmla="*/ 400 h 508"/>
                <a:gd name="T88" fmla="*/ 78 w 296"/>
                <a:gd name="T89" fmla="*/ 376 h 508"/>
                <a:gd name="T90" fmla="*/ 68 w 296"/>
                <a:gd name="T91" fmla="*/ 363 h 508"/>
                <a:gd name="T92" fmla="*/ 81 w 296"/>
                <a:gd name="T93" fmla="*/ 354 h 508"/>
                <a:gd name="T94" fmla="*/ 81 w 296"/>
                <a:gd name="T95" fmla="*/ 339 h 508"/>
                <a:gd name="T96" fmla="*/ 59 w 296"/>
                <a:gd name="T97" fmla="*/ 307 h 508"/>
                <a:gd name="T98" fmla="*/ 50 w 296"/>
                <a:gd name="T99" fmla="*/ 282 h 508"/>
                <a:gd name="T100" fmla="*/ 28 w 296"/>
                <a:gd name="T101" fmla="*/ 249 h 508"/>
                <a:gd name="T102" fmla="*/ 16 w 296"/>
                <a:gd name="T103" fmla="*/ 245 h 508"/>
                <a:gd name="T104" fmla="*/ 9 w 296"/>
                <a:gd name="T105" fmla="*/ 228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6" h="508">
                  <a:moveTo>
                    <a:pt x="274" y="0"/>
                  </a:moveTo>
                  <a:lnTo>
                    <a:pt x="274" y="0"/>
                  </a:lnTo>
                  <a:lnTo>
                    <a:pt x="277" y="9"/>
                  </a:lnTo>
                  <a:lnTo>
                    <a:pt x="277" y="15"/>
                  </a:lnTo>
                  <a:lnTo>
                    <a:pt x="275" y="18"/>
                  </a:lnTo>
                  <a:lnTo>
                    <a:pt x="274" y="19"/>
                  </a:lnTo>
                  <a:lnTo>
                    <a:pt x="274" y="19"/>
                  </a:lnTo>
                  <a:lnTo>
                    <a:pt x="262" y="21"/>
                  </a:lnTo>
                  <a:lnTo>
                    <a:pt x="259" y="22"/>
                  </a:lnTo>
                  <a:lnTo>
                    <a:pt x="259" y="24"/>
                  </a:lnTo>
                  <a:lnTo>
                    <a:pt x="260" y="27"/>
                  </a:lnTo>
                  <a:lnTo>
                    <a:pt x="260" y="27"/>
                  </a:lnTo>
                  <a:lnTo>
                    <a:pt x="266" y="36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83" y="59"/>
                  </a:lnTo>
                  <a:lnTo>
                    <a:pt x="289" y="71"/>
                  </a:lnTo>
                  <a:lnTo>
                    <a:pt x="293" y="85"/>
                  </a:lnTo>
                  <a:lnTo>
                    <a:pt x="295" y="95"/>
                  </a:lnTo>
                  <a:lnTo>
                    <a:pt x="295" y="95"/>
                  </a:lnTo>
                  <a:lnTo>
                    <a:pt x="296" y="99"/>
                  </a:lnTo>
                  <a:lnTo>
                    <a:pt x="295" y="104"/>
                  </a:lnTo>
                  <a:lnTo>
                    <a:pt x="293" y="107"/>
                  </a:lnTo>
                  <a:lnTo>
                    <a:pt x="292" y="110"/>
                  </a:lnTo>
                  <a:lnTo>
                    <a:pt x="283" y="117"/>
                  </a:lnTo>
                  <a:lnTo>
                    <a:pt x="269" y="125"/>
                  </a:lnTo>
                  <a:lnTo>
                    <a:pt x="269" y="125"/>
                  </a:lnTo>
                  <a:lnTo>
                    <a:pt x="255" y="132"/>
                  </a:lnTo>
                  <a:lnTo>
                    <a:pt x="243" y="139"/>
                  </a:lnTo>
                  <a:lnTo>
                    <a:pt x="240" y="142"/>
                  </a:lnTo>
                  <a:lnTo>
                    <a:pt x="237" y="145"/>
                  </a:lnTo>
                  <a:lnTo>
                    <a:pt x="235" y="150"/>
                  </a:lnTo>
                  <a:lnTo>
                    <a:pt x="235" y="154"/>
                  </a:lnTo>
                  <a:lnTo>
                    <a:pt x="235" y="154"/>
                  </a:lnTo>
                  <a:lnTo>
                    <a:pt x="234" y="159"/>
                  </a:lnTo>
                  <a:lnTo>
                    <a:pt x="234" y="162"/>
                  </a:lnTo>
                  <a:lnTo>
                    <a:pt x="231" y="169"/>
                  </a:lnTo>
                  <a:lnTo>
                    <a:pt x="229" y="172"/>
                  </a:lnTo>
                  <a:lnTo>
                    <a:pt x="229" y="176"/>
                  </a:lnTo>
                  <a:lnTo>
                    <a:pt x="231" y="181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41" y="202"/>
                  </a:lnTo>
                  <a:lnTo>
                    <a:pt x="243" y="205"/>
                  </a:lnTo>
                  <a:lnTo>
                    <a:pt x="244" y="207"/>
                  </a:lnTo>
                  <a:lnTo>
                    <a:pt x="244" y="207"/>
                  </a:lnTo>
                  <a:lnTo>
                    <a:pt x="241" y="215"/>
                  </a:lnTo>
                  <a:lnTo>
                    <a:pt x="235" y="227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20" y="250"/>
                  </a:lnTo>
                  <a:lnTo>
                    <a:pt x="219" y="253"/>
                  </a:lnTo>
                  <a:lnTo>
                    <a:pt x="213" y="255"/>
                  </a:lnTo>
                  <a:lnTo>
                    <a:pt x="209" y="255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9" y="262"/>
                  </a:lnTo>
                  <a:lnTo>
                    <a:pt x="215" y="267"/>
                  </a:lnTo>
                  <a:lnTo>
                    <a:pt x="219" y="271"/>
                  </a:lnTo>
                  <a:lnTo>
                    <a:pt x="225" y="274"/>
                  </a:lnTo>
                  <a:lnTo>
                    <a:pt x="225" y="274"/>
                  </a:lnTo>
                  <a:lnTo>
                    <a:pt x="228" y="273"/>
                  </a:lnTo>
                  <a:lnTo>
                    <a:pt x="231" y="270"/>
                  </a:lnTo>
                  <a:lnTo>
                    <a:pt x="234" y="268"/>
                  </a:lnTo>
                  <a:lnTo>
                    <a:pt x="235" y="268"/>
                  </a:lnTo>
                  <a:lnTo>
                    <a:pt x="237" y="270"/>
                  </a:lnTo>
                  <a:lnTo>
                    <a:pt x="237" y="270"/>
                  </a:lnTo>
                  <a:lnTo>
                    <a:pt x="241" y="276"/>
                  </a:lnTo>
                  <a:lnTo>
                    <a:pt x="244" y="279"/>
                  </a:lnTo>
                  <a:lnTo>
                    <a:pt x="247" y="280"/>
                  </a:lnTo>
                  <a:lnTo>
                    <a:pt x="247" y="280"/>
                  </a:lnTo>
                  <a:lnTo>
                    <a:pt x="252" y="282"/>
                  </a:lnTo>
                  <a:lnTo>
                    <a:pt x="256" y="283"/>
                  </a:lnTo>
                  <a:lnTo>
                    <a:pt x="258" y="284"/>
                  </a:lnTo>
                  <a:lnTo>
                    <a:pt x="259" y="286"/>
                  </a:lnTo>
                  <a:lnTo>
                    <a:pt x="259" y="289"/>
                  </a:lnTo>
                  <a:lnTo>
                    <a:pt x="258" y="292"/>
                  </a:lnTo>
                  <a:lnTo>
                    <a:pt x="258" y="292"/>
                  </a:lnTo>
                  <a:lnTo>
                    <a:pt x="255" y="301"/>
                  </a:lnTo>
                  <a:lnTo>
                    <a:pt x="252" y="313"/>
                  </a:lnTo>
                  <a:lnTo>
                    <a:pt x="252" y="324"/>
                  </a:lnTo>
                  <a:lnTo>
                    <a:pt x="252" y="330"/>
                  </a:lnTo>
                  <a:lnTo>
                    <a:pt x="252" y="330"/>
                  </a:lnTo>
                  <a:lnTo>
                    <a:pt x="252" y="332"/>
                  </a:lnTo>
                  <a:lnTo>
                    <a:pt x="250" y="332"/>
                  </a:lnTo>
                  <a:lnTo>
                    <a:pt x="246" y="335"/>
                  </a:lnTo>
                  <a:lnTo>
                    <a:pt x="235" y="338"/>
                  </a:lnTo>
                  <a:lnTo>
                    <a:pt x="235" y="338"/>
                  </a:lnTo>
                  <a:lnTo>
                    <a:pt x="232" y="344"/>
                  </a:lnTo>
                  <a:lnTo>
                    <a:pt x="226" y="354"/>
                  </a:lnTo>
                  <a:lnTo>
                    <a:pt x="220" y="370"/>
                  </a:lnTo>
                  <a:lnTo>
                    <a:pt x="220" y="370"/>
                  </a:lnTo>
                  <a:lnTo>
                    <a:pt x="215" y="373"/>
                  </a:lnTo>
                  <a:lnTo>
                    <a:pt x="213" y="375"/>
                  </a:lnTo>
                  <a:lnTo>
                    <a:pt x="216" y="378"/>
                  </a:lnTo>
                  <a:lnTo>
                    <a:pt x="216" y="378"/>
                  </a:lnTo>
                  <a:lnTo>
                    <a:pt x="223" y="385"/>
                  </a:lnTo>
                  <a:lnTo>
                    <a:pt x="228" y="390"/>
                  </a:lnTo>
                  <a:lnTo>
                    <a:pt x="229" y="394"/>
                  </a:lnTo>
                  <a:lnTo>
                    <a:pt x="229" y="394"/>
                  </a:lnTo>
                  <a:lnTo>
                    <a:pt x="229" y="399"/>
                  </a:lnTo>
                  <a:lnTo>
                    <a:pt x="229" y="403"/>
                  </a:lnTo>
                  <a:lnTo>
                    <a:pt x="228" y="406"/>
                  </a:lnTo>
                  <a:lnTo>
                    <a:pt x="223" y="410"/>
                  </a:lnTo>
                  <a:lnTo>
                    <a:pt x="223" y="410"/>
                  </a:lnTo>
                  <a:lnTo>
                    <a:pt x="219" y="415"/>
                  </a:lnTo>
                  <a:lnTo>
                    <a:pt x="215" y="419"/>
                  </a:lnTo>
                  <a:lnTo>
                    <a:pt x="215" y="424"/>
                  </a:lnTo>
                  <a:lnTo>
                    <a:pt x="215" y="427"/>
                  </a:lnTo>
                  <a:lnTo>
                    <a:pt x="216" y="427"/>
                  </a:lnTo>
                  <a:lnTo>
                    <a:pt x="216" y="427"/>
                  </a:lnTo>
                  <a:lnTo>
                    <a:pt x="220" y="427"/>
                  </a:lnTo>
                  <a:lnTo>
                    <a:pt x="223" y="427"/>
                  </a:lnTo>
                  <a:lnTo>
                    <a:pt x="225" y="427"/>
                  </a:lnTo>
                  <a:lnTo>
                    <a:pt x="226" y="428"/>
                  </a:lnTo>
                  <a:lnTo>
                    <a:pt x="226" y="434"/>
                  </a:lnTo>
                  <a:lnTo>
                    <a:pt x="226" y="434"/>
                  </a:lnTo>
                  <a:lnTo>
                    <a:pt x="226" y="440"/>
                  </a:lnTo>
                  <a:lnTo>
                    <a:pt x="225" y="443"/>
                  </a:lnTo>
                  <a:lnTo>
                    <a:pt x="222" y="446"/>
                  </a:lnTo>
                  <a:lnTo>
                    <a:pt x="220" y="452"/>
                  </a:lnTo>
                  <a:lnTo>
                    <a:pt x="220" y="452"/>
                  </a:lnTo>
                  <a:lnTo>
                    <a:pt x="218" y="461"/>
                  </a:lnTo>
                  <a:lnTo>
                    <a:pt x="216" y="464"/>
                  </a:lnTo>
                  <a:lnTo>
                    <a:pt x="212" y="467"/>
                  </a:lnTo>
                  <a:lnTo>
                    <a:pt x="212" y="467"/>
                  </a:lnTo>
                  <a:lnTo>
                    <a:pt x="206" y="473"/>
                  </a:lnTo>
                  <a:lnTo>
                    <a:pt x="197" y="483"/>
                  </a:lnTo>
                  <a:lnTo>
                    <a:pt x="189" y="493"/>
                  </a:lnTo>
                  <a:lnTo>
                    <a:pt x="185" y="496"/>
                  </a:lnTo>
                  <a:lnTo>
                    <a:pt x="182" y="499"/>
                  </a:lnTo>
                  <a:lnTo>
                    <a:pt x="182" y="499"/>
                  </a:lnTo>
                  <a:lnTo>
                    <a:pt x="167" y="507"/>
                  </a:lnTo>
                  <a:lnTo>
                    <a:pt x="163" y="508"/>
                  </a:lnTo>
                  <a:lnTo>
                    <a:pt x="161" y="507"/>
                  </a:lnTo>
                  <a:lnTo>
                    <a:pt x="161" y="505"/>
                  </a:lnTo>
                  <a:lnTo>
                    <a:pt x="161" y="505"/>
                  </a:lnTo>
                  <a:lnTo>
                    <a:pt x="164" y="493"/>
                  </a:lnTo>
                  <a:lnTo>
                    <a:pt x="166" y="484"/>
                  </a:lnTo>
                  <a:lnTo>
                    <a:pt x="166" y="484"/>
                  </a:lnTo>
                  <a:lnTo>
                    <a:pt x="166" y="479"/>
                  </a:lnTo>
                  <a:lnTo>
                    <a:pt x="163" y="474"/>
                  </a:lnTo>
                  <a:lnTo>
                    <a:pt x="160" y="471"/>
                  </a:lnTo>
                  <a:lnTo>
                    <a:pt x="155" y="470"/>
                  </a:lnTo>
                  <a:lnTo>
                    <a:pt x="155" y="470"/>
                  </a:lnTo>
                  <a:lnTo>
                    <a:pt x="151" y="470"/>
                  </a:lnTo>
                  <a:lnTo>
                    <a:pt x="148" y="468"/>
                  </a:lnTo>
                  <a:lnTo>
                    <a:pt x="141" y="462"/>
                  </a:lnTo>
                  <a:lnTo>
                    <a:pt x="141" y="462"/>
                  </a:lnTo>
                  <a:lnTo>
                    <a:pt x="136" y="459"/>
                  </a:lnTo>
                  <a:lnTo>
                    <a:pt x="132" y="458"/>
                  </a:lnTo>
                  <a:lnTo>
                    <a:pt x="123" y="461"/>
                  </a:lnTo>
                  <a:lnTo>
                    <a:pt x="123" y="461"/>
                  </a:lnTo>
                  <a:lnTo>
                    <a:pt x="118" y="461"/>
                  </a:lnTo>
                  <a:lnTo>
                    <a:pt x="117" y="461"/>
                  </a:lnTo>
                  <a:lnTo>
                    <a:pt x="115" y="458"/>
                  </a:lnTo>
                  <a:lnTo>
                    <a:pt x="108" y="453"/>
                  </a:lnTo>
                  <a:lnTo>
                    <a:pt x="108" y="453"/>
                  </a:lnTo>
                  <a:lnTo>
                    <a:pt x="92" y="444"/>
                  </a:lnTo>
                  <a:lnTo>
                    <a:pt x="87" y="441"/>
                  </a:lnTo>
                  <a:lnTo>
                    <a:pt x="87" y="440"/>
                  </a:lnTo>
                  <a:lnTo>
                    <a:pt x="86" y="437"/>
                  </a:lnTo>
                  <a:lnTo>
                    <a:pt x="86" y="437"/>
                  </a:lnTo>
                  <a:lnTo>
                    <a:pt x="86" y="434"/>
                  </a:lnTo>
                  <a:lnTo>
                    <a:pt x="84" y="431"/>
                  </a:lnTo>
                  <a:lnTo>
                    <a:pt x="84" y="431"/>
                  </a:lnTo>
                  <a:lnTo>
                    <a:pt x="81" y="425"/>
                  </a:lnTo>
                  <a:lnTo>
                    <a:pt x="80" y="424"/>
                  </a:lnTo>
                  <a:lnTo>
                    <a:pt x="80" y="421"/>
                  </a:lnTo>
                  <a:lnTo>
                    <a:pt x="80" y="421"/>
                  </a:lnTo>
                  <a:lnTo>
                    <a:pt x="81" y="415"/>
                  </a:lnTo>
                  <a:lnTo>
                    <a:pt x="86" y="407"/>
                  </a:lnTo>
                  <a:lnTo>
                    <a:pt x="86" y="407"/>
                  </a:lnTo>
                  <a:lnTo>
                    <a:pt x="87" y="404"/>
                  </a:lnTo>
                  <a:lnTo>
                    <a:pt x="87" y="400"/>
                  </a:lnTo>
                  <a:lnTo>
                    <a:pt x="86" y="391"/>
                  </a:lnTo>
                  <a:lnTo>
                    <a:pt x="81" y="382"/>
                  </a:lnTo>
                  <a:lnTo>
                    <a:pt x="78" y="376"/>
                  </a:lnTo>
                  <a:lnTo>
                    <a:pt x="78" y="376"/>
                  </a:lnTo>
                  <a:lnTo>
                    <a:pt x="72" y="369"/>
                  </a:lnTo>
                  <a:lnTo>
                    <a:pt x="69" y="366"/>
                  </a:lnTo>
                  <a:lnTo>
                    <a:pt x="68" y="363"/>
                  </a:lnTo>
                  <a:lnTo>
                    <a:pt x="68" y="363"/>
                  </a:lnTo>
                  <a:lnTo>
                    <a:pt x="71" y="360"/>
                  </a:lnTo>
                  <a:lnTo>
                    <a:pt x="74" y="359"/>
                  </a:lnTo>
                  <a:lnTo>
                    <a:pt x="78" y="357"/>
                  </a:lnTo>
                  <a:lnTo>
                    <a:pt x="81" y="354"/>
                  </a:lnTo>
                  <a:lnTo>
                    <a:pt x="81" y="354"/>
                  </a:lnTo>
                  <a:lnTo>
                    <a:pt x="84" y="350"/>
                  </a:lnTo>
                  <a:lnTo>
                    <a:pt x="83" y="344"/>
                  </a:lnTo>
                  <a:lnTo>
                    <a:pt x="81" y="339"/>
                  </a:lnTo>
                  <a:lnTo>
                    <a:pt x="77" y="333"/>
                  </a:lnTo>
                  <a:lnTo>
                    <a:pt x="77" y="333"/>
                  </a:lnTo>
                  <a:lnTo>
                    <a:pt x="65" y="316"/>
                  </a:lnTo>
                  <a:lnTo>
                    <a:pt x="59" y="307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6" y="292"/>
                  </a:lnTo>
                  <a:lnTo>
                    <a:pt x="50" y="282"/>
                  </a:lnTo>
                  <a:lnTo>
                    <a:pt x="40" y="264"/>
                  </a:lnTo>
                  <a:lnTo>
                    <a:pt x="40" y="264"/>
                  </a:lnTo>
                  <a:lnTo>
                    <a:pt x="32" y="252"/>
                  </a:lnTo>
                  <a:lnTo>
                    <a:pt x="28" y="249"/>
                  </a:lnTo>
                  <a:lnTo>
                    <a:pt x="24" y="247"/>
                  </a:lnTo>
                  <a:lnTo>
                    <a:pt x="24" y="247"/>
                  </a:lnTo>
                  <a:lnTo>
                    <a:pt x="19" y="246"/>
                  </a:lnTo>
                  <a:lnTo>
                    <a:pt x="16" y="245"/>
                  </a:lnTo>
                  <a:lnTo>
                    <a:pt x="15" y="240"/>
                  </a:lnTo>
                  <a:lnTo>
                    <a:pt x="12" y="234"/>
                  </a:lnTo>
                  <a:lnTo>
                    <a:pt x="12" y="234"/>
                  </a:lnTo>
                  <a:lnTo>
                    <a:pt x="9" y="228"/>
                  </a:lnTo>
                  <a:lnTo>
                    <a:pt x="4" y="222"/>
                  </a:lnTo>
                  <a:lnTo>
                    <a:pt x="0" y="21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6" name="Freeform 135">
              <a:extLst>
                <a:ext uri="{FF2B5EF4-FFF2-40B4-BE49-F238E27FC236}">
                  <a16:creationId xmlns:a16="http://schemas.microsoft.com/office/drawing/2014/main" id="{9681E239-0634-0D48-8379-31DDCEC9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6175" y="7196138"/>
              <a:ext cx="819150" cy="382587"/>
            </a:xfrm>
            <a:custGeom>
              <a:avLst/>
              <a:gdLst>
                <a:gd name="T0" fmla="*/ 5 w 516"/>
                <a:gd name="T1" fmla="*/ 152 h 241"/>
                <a:gd name="T2" fmla="*/ 21 w 516"/>
                <a:gd name="T3" fmla="*/ 152 h 241"/>
                <a:gd name="T4" fmla="*/ 24 w 516"/>
                <a:gd name="T5" fmla="*/ 146 h 241"/>
                <a:gd name="T6" fmla="*/ 27 w 516"/>
                <a:gd name="T7" fmla="*/ 139 h 241"/>
                <a:gd name="T8" fmla="*/ 39 w 516"/>
                <a:gd name="T9" fmla="*/ 141 h 241"/>
                <a:gd name="T10" fmla="*/ 40 w 516"/>
                <a:gd name="T11" fmla="*/ 146 h 241"/>
                <a:gd name="T12" fmla="*/ 49 w 516"/>
                <a:gd name="T13" fmla="*/ 157 h 241"/>
                <a:gd name="T14" fmla="*/ 63 w 516"/>
                <a:gd name="T15" fmla="*/ 155 h 241"/>
                <a:gd name="T16" fmla="*/ 67 w 516"/>
                <a:gd name="T17" fmla="*/ 149 h 241"/>
                <a:gd name="T18" fmla="*/ 80 w 516"/>
                <a:gd name="T19" fmla="*/ 149 h 241"/>
                <a:gd name="T20" fmla="*/ 107 w 516"/>
                <a:gd name="T21" fmla="*/ 157 h 241"/>
                <a:gd name="T22" fmla="*/ 128 w 516"/>
                <a:gd name="T23" fmla="*/ 158 h 241"/>
                <a:gd name="T24" fmla="*/ 134 w 516"/>
                <a:gd name="T25" fmla="*/ 151 h 241"/>
                <a:gd name="T26" fmla="*/ 138 w 516"/>
                <a:gd name="T27" fmla="*/ 146 h 241"/>
                <a:gd name="T28" fmla="*/ 150 w 516"/>
                <a:gd name="T29" fmla="*/ 146 h 241"/>
                <a:gd name="T30" fmla="*/ 163 w 516"/>
                <a:gd name="T31" fmla="*/ 138 h 241"/>
                <a:gd name="T32" fmla="*/ 171 w 516"/>
                <a:gd name="T33" fmla="*/ 132 h 241"/>
                <a:gd name="T34" fmla="*/ 184 w 516"/>
                <a:gd name="T35" fmla="*/ 136 h 241"/>
                <a:gd name="T36" fmla="*/ 194 w 516"/>
                <a:gd name="T37" fmla="*/ 138 h 241"/>
                <a:gd name="T38" fmla="*/ 212 w 516"/>
                <a:gd name="T39" fmla="*/ 136 h 241"/>
                <a:gd name="T40" fmla="*/ 220 w 516"/>
                <a:gd name="T41" fmla="*/ 133 h 241"/>
                <a:gd name="T42" fmla="*/ 228 w 516"/>
                <a:gd name="T43" fmla="*/ 129 h 241"/>
                <a:gd name="T44" fmla="*/ 233 w 516"/>
                <a:gd name="T45" fmla="*/ 115 h 241"/>
                <a:gd name="T46" fmla="*/ 236 w 516"/>
                <a:gd name="T47" fmla="*/ 114 h 241"/>
                <a:gd name="T48" fmla="*/ 243 w 516"/>
                <a:gd name="T49" fmla="*/ 138 h 241"/>
                <a:gd name="T50" fmla="*/ 248 w 516"/>
                <a:gd name="T51" fmla="*/ 146 h 241"/>
                <a:gd name="T52" fmla="*/ 265 w 516"/>
                <a:gd name="T53" fmla="*/ 166 h 241"/>
                <a:gd name="T54" fmla="*/ 268 w 516"/>
                <a:gd name="T55" fmla="*/ 170 h 241"/>
                <a:gd name="T56" fmla="*/ 276 w 516"/>
                <a:gd name="T57" fmla="*/ 176 h 241"/>
                <a:gd name="T58" fmla="*/ 282 w 516"/>
                <a:gd name="T59" fmla="*/ 182 h 241"/>
                <a:gd name="T60" fmla="*/ 279 w 516"/>
                <a:gd name="T61" fmla="*/ 194 h 241"/>
                <a:gd name="T62" fmla="*/ 270 w 516"/>
                <a:gd name="T63" fmla="*/ 209 h 241"/>
                <a:gd name="T64" fmla="*/ 276 w 516"/>
                <a:gd name="T65" fmla="*/ 218 h 241"/>
                <a:gd name="T66" fmla="*/ 304 w 516"/>
                <a:gd name="T67" fmla="*/ 238 h 241"/>
                <a:gd name="T68" fmla="*/ 313 w 516"/>
                <a:gd name="T69" fmla="*/ 240 h 241"/>
                <a:gd name="T70" fmla="*/ 322 w 516"/>
                <a:gd name="T71" fmla="*/ 226 h 241"/>
                <a:gd name="T72" fmla="*/ 332 w 516"/>
                <a:gd name="T73" fmla="*/ 215 h 241"/>
                <a:gd name="T74" fmla="*/ 363 w 516"/>
                <a:gd name="T75" fmla="*/ 197 h 241"/>
                <a:gd name="T76" fmla="*/ 384 w 516"/>
                <a:gd name="T77" fmla="*/ 194 h 241"/>
                <a:gd name="T78" fmla="*/ 428 w 516"/>
                <a:gd name="T79" fmla="*/ 195 h 241"/>
                <a:gd name="T80" fmla="*/ 449 w 516"/>
                <a:gd name="T81" fmla="*/ 204 h 241"/>
                <a:gd name="T82" fmla="*/ 456 w 516"/>
                <a:gd name="T83" fmla="*/ 212 h 241"/>
                <a:gd name="T84" fmla="*/ 464 w 516"/>
                <a:gd name="T85" fmla="*/ 207 h 241"/>
                <a:gd name="T86" fmla="*/ 477 w 516"/>
                <a:gd name="T87" fmla="*/ 198 h 241"/>
                <a:gd name="T88" fmla="*/ 496 w 516"/>
                <a:gd name="T89" fmla="*/ 197 h 241"/>
                <a:gd name="T90" fmla="*/ 501 w 516"/>
                <a:gd name="T91" fmla="*/ 194 h 241"/>
                <a:gd name="T92" fmla="*/ 490 w 516"/>
                <a:gd name="T93" fmla="*/ 179 h 241"/>
                <a:gd name="T94" fmla="*/ 490 w 516"/>
                <a:gd name="T95" fmla="*/ 166 h 241"/>
                <a:gd name="T96" fmla="*/ 496 w 516"/>
                <a:gd name="T97" fmla="*/ 157 h 241"/>
                <a:gd name="T98" fmla="*/ 507 w 516"/>
                <a:gd name="T99" fmla="*/ 151 h 241"/>
                <a:gd name="T100" fmla="*/ 507 w 516"/>
                <a:gd name="T101" fmla="*/ 143 h 241"/>
                <a:gd name="T102" fmla="*/ 499 w 516"/>
                <a:gd name="T103" fmla="*/ 127 h 241"/>
                <a:gd name="T104" fmla="*/ 498 w 516"/>
                <a:gd name="T105" fmla="*/ 115 h 241"/>
                <a:gd name="T106" fmla="*/ 504 w 516"/>
                <a:gd name="T107" fmla="*/ 105 h 241"/>
                <a:gd name="T108" fmla="*/ 505 w 516"/>
                <a:gd name="T109" fmla="*/ 83 h 241"/>
                <a:gd name="T110" fmla="*/ 501 w 516"/>
                <a:gd name="T111" fmla="*/ 77 h 241"/>
                <a:gd name="T112" fmla="*/ 499 w 516"/>
                <a:gd name="T113" fmla="*/ 72 h 241"/>
                <a:gd name="T114" fmla="*/ 499 w 516"/>
                <a:gd name="T115" fmla="*/ 61 h 241"/>
                <a:gd name="T116" fmla="*/ 507 w 516"/>
                <a:gd name="T117" fmla="*/ 40 h 241"/>
                <a:gd name="T118" fmla="*/ 508 w 516"/>
                <a:gd name="T119" fmla="*/ 22 h 241"/>
                <a:gd name="T120" fmla="*/ 513 w 516"/>
                <a:gd name="T121" fmla="*/ 12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" h="241">
                  <a:moveTo>
                    <a:pt x="0" y="154"/>
                  </a:moveTo>
                  <a:lnTo>
                    <a:pt x="0" y="154"/>
                  </a:lnTo>
                  <a:lnTo>
                    <a:pt x="5" y="152"/>
                  </a:lnTo>
                  <a:lnTo>
                    <a:pt x="11" y="154"/>
                  </a:lnTo>
                  <a:lnTo>
                    <a:pt x="17" y="154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3" y="149"/>
                  </a:lnTo>
                  <a:lnTo>
                    <a:pt x="24" y="146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7" y="139"/>
                  </a:lnTo>
                  <a:lnTo>
                    <a:pt x="31" y="138"/>
                  </a:lnTo>
                  <a:lnTo>
                    <a:pt x="36" y="139"/>
                  </a:lnTo>
                  <a:lnTo>
                    <a:pt x="39" y="141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40" y="146"/>
                  </a:lnTo>
                  <a:lnTo>
                    <a:pt x="42" y="151"/>
                  </a:lnTo>
                  <a:lnTo>
                    <a:pt x="45" y="155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60" y="155"/>
                  </a:lnTo>
                  <a:lnTo>
                    <a:pt x="63" y="155"/>
                  </a:lnTo>
                  <a:lnTo>
                    <a:pt x="66" y="152"/>
                  </a:lnTo>
                  <a:lnTo>
                    <a:pt x="66" y="152"/>
                  </a:lnTo>
                  <a:lnTo>
                    <a:pt x="67" y="149"/>
                  </a:lnTo>
                  <a:lnTo>
                    <a:pt x="68" y="148"/>
                  </a:lnTo>
                  <a:lnTo>
                    <a:pt x="73" y="148"/>
                  </a:lnTo>
                  <a:lnTo>
                    <a:pt x="80" y="149"/>
                  </a:lnTo>
                  <a:lnTo>
                    <a:pt x="80" y="149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17" y="161"/>
                  </a:lnTo>
                  <a:lnTo>
                    <a:pt x="122" y="161"/>
                  </a:lnTo>
                  <a:lnTo>
                    <a:pt x="128" y="158"/>
                  </a:lnTo>
                  <a:lnTo>
                    <a:pt x="128" y="158"/>
                  </a:lnTo>
                  <a:lnTo>
                    <a:pt x="132" y="155"/>
                  </a:lnTo>
                  <a:lnTo>
                    <a:pt x="134" y="151"/>
                  </a:lnTo>
                  <a:lnTo>
                    <a:pt x="135" y="148"/>
                  </a:lnTo>
                  <a:lnTo>
                    <a:pt x="138" y="146"/>
                  </a:lnTo>
                  <a:lnTo>
                    <a:pt x="138" y="146"/>
                  </a:lnTo>
                  <a:lnTo>
                    <a:pt x="140" y="146"/>
                  </a:lnTo>
                  <a:lnTo>
                    <a:pt x="143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7" y="143"/>
                  </a:lnTo>
                  <a:lnTo>
                    <a:pt x="163" y="138"/>
                  </a:lnTo>
                  <a:lnTo>
                    <a:pt x="163" y="138"/>
                  </a:lnTo>
                  <a:lnTo>
                    <a:pt x="169" y="132"/>
                  </a:lnTo>
                  <a:lnTo>
                    <a:pt x="171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84" y="136"/>
                  </a:lnTo>
                  <a:lnTo>
                    <a:pt x="188" y="138"/>
                  </a:lnTo>
                  <a:lnTo>
                    <a:pt x="194" y="138"/>
                  </a:lnTo>
                  <a:lnTo>
                    <a:pt x="194" y="138"/>
                  </a:lnTo>
                  <a:lnTo>
                    <a:pt x="205" y="138"/>
                  </a:lnTo>
                  <a:lnTo>
                    <a:pt x="209" y="138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15" y="135"/>
                  </a:lnTo>
                  <a:lnTo>
                    <a:pt x="220" y="133"/>
                  </a:lnTo>
                  <a:lnTo>
                    <a:pt x="224" y="132"/>
                  </a:lnTo>
                  <a:lnTo>
                    <a:pt x="228" y="129"/>
                  </a:lnTo>
                  <a:lnTo>
                    <a:pt x="228" y="129"/>
                  </a:lnTo>
                  <a:lnTo>
                    <a:pt x="230" y="124"/>
                  </a:lnTo>
                  <a:lnTo>
                    <a:pt x="231" y="118"/>
                  </a:lnTo>
                  <a:lnTo>
                    <a:pt x="233" y="115"/>
                  </a:lnTo>
                  <a:lnTo>
                    <a:pt x="234" y="114"/>
                  </a:lnTo>
                  <a:lnTo>
                    <a:pt x="236" y="114"/>
                  </a:lnTo>
                  <a:lnTo>
                    <a:pt x="236" y="114"/>
                  </a:lnTo>
                  <a:lnTo>
                    <a:pt x="239" y="118"/>
                  </a:lnTo>
                  <a:lnTo>
                    <a:pt x="240" y="123"/>
                  </a:lnTo>
                  <a:lnTo>
                    <a:pt x="243" y="138"/>
                  </a:lnTo>
                  <a:lnTo>
                    <a:pt x="243" y="138"/>
                  </a:lnTo>
                  <a:lnTo>
                    <a:pt x="245" y="142"/>
                  </a:lnTo>
                  <a:lnTo>
                    <a:pt x="248" y="146"/>
                  </a:lnTo>
                  <a:lnTo>
                    <a:pt x="257" y="157"/>
                  </a:lnTo>
                  <a:lnTo>
                    <a:pt x="257" y="157"/>
                  </a:lnTo>
                  <a:lnTo>
                    <a:pt x="265" y="166"/>
                  </a:lnTo>
                  <a:lnTo>
                    <a:pt x="268" y="167"/>
                  </a:lnTo>
                  <a:lnTo>
                    <a:pt x="268" y="170"/>
                  </a:lnTo>
                  <a:lnTo>
                    <a:pt x="268" y="170"/>
                  </a:lnTo>
                  <a:lnTo>
                    <a:pt x="270" y="173"/>
                  </a:lnTo>
                  <a:lnTo>
                    <a:pt x="271" y="175"/>
                  </a:lnTo>
                  <a:lnTo>
                    <a:pt x="276" y="176"/>
                  </a:lnTo>
                  <a:lnTo>
                    <a:pt x="276" y="176"/>
                  </a:lnTo>
                  <a:lnTo>
                    <a:pt x="280" y="178"/>
                  </a:lnTo>
                  <a:lnTo>
                    <a:pt x="282" y="182"/>
                  </a:lnTo>
                  <a:lnTo>
                    <a:pt x="283" y="186"/>
                  </a:lnTo>
                  <a:lnTo>
                    <a:pt x="279" y="194"/>
                  </a:lnTo>
                  <a:lnTo>
                    <a:pt x="279" y="194"/>
                  </a:lnTo>
                  <a:lnTo>
                    <a:pt x="274" y="201"/>
                  </a:lnTo>
                  <a:lnTo>
                    <a:pt x="270" y="207"/>
                  </a:lnTo>
                  <a:lnTo>
                    <a:pt x="270" y="209"/>
                  </a:lnTo>
                  <a:lnTo>
                    <a:pt x="270" y="212"/>
                  </a:lnTo>
                  <a:lnTo>
                    <a:pt x="271" y="215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95" y="232"/>
                  </a:lnTo>
                  <a:lnTo>
                    <a:pt x="304" y="238"/>
                  </a:lnTo>
                  <a:lnTo>
                    <a:pt x="311" y="241"/>
                  </a:lnTo>
                  <a:lnTo>
                    <a:pt x="311" y="241"/>
                  </a:lnTo>
                  <a:lnTo>
                    <a:pt x="313" y="240"/>
                  </a:lnTo>
                  <a:lnTo>
                    <a:pt x="314" y="238"/>
                  </a:lnTo>
                  <a:lnTo>
                    <a:pt x="317" y="234"/>
                  </a:lnTo>
                  <a:lnTo>
                    <a:pt x="322" y="226"/>
                  </a:lnTo>
                  <a:lnTo>
                    <a:pt x="325" y="221"/>
                  </a:lnTo>
                  <a:lnTo>
                    <a:pt x="325" y="221"/>
                  </a:lnTo>
                  <a:lnTo>
                    <a:pt x="332" y="215"/>
                  </a:lnTo>
                  <a:lnTo>
                    <a:pt x="342" y="207"/>
                  </a:lnTo>
                  <a:lnTo>
                    <a:pt x="354" y="201"/>
                  </a:lnTo>
                  <a:lnTo>
                    <a:pt x="363" y="197"/>
                  </a:lnTo>
                  <a:lnTo>
                    <a:pt x="363" y="197"/>
                  </a:lnTo>
                  <a:lnTo>
                    <a:pt x="372" y="195"/>
                  </a:lnTo>
                  <a:lnTo>
                    <a:pt x="384" y="194"/>
                  </a:lnTo>
                  <a:lnTo>
                    <a:pt x="413" y="195"/>
                  </a:lnTo>
                  <a:lnTo>
                    <a:pt x="413" y="195"/>
                  </a:lnTo>
                  <a:lnTo>
                    <a:pt x="428" y="195"/>
                  </a:lnTo>
                  <a:lnTo>
                    <a:pt x="437" y="198"/>
                  </a:lnTo>
                  <a:lnTo>
                    <a:pt x="445" y="200"/>
                  </a:lnTo>
                  <a:lnTo>
                    <a:pt x="449" y="204"/>
                  </a:lnTo>
                  <a:lnTo>
                    <a:pt x="449" y="204"/>
                  </a:lnTo>
                  <a:lnTo>
                    <a:pt x="453" y="209"/>
                  </a:lnTo>
                  <a:lnTo>
                    <a:pt x="456" y="212"/>
                  </a:lnTo>
                  <a:lnTo>
                    <a:pt x="459" y="210"/>
                  </a:lnTo>
                  <a:lnTo>
                    <a:pt x="464" y="207"/>
                  </a:lnTo>
                  <a:lnTo>
                    <a:pt x="464" y="207"/>
                  </a:lnTo>
                  <a:lnTo>
                    <a:pt x="468" y="203"/>
                  </a:lnTo>
                  <a:lnTo>
                    <a:pt x="471" y="200"/>
                  </a:lnTo>
                  <a:lnTo>
                    <a:pt x="477" y="198"/>
                  </a:lnTo>
                  <a:lnTo>
                    <a:pt x="485" y="198"/>
                  </a:lnTo>
                  <a:lnTo>
                    <a:pt x="485" y="198"/>
                  </a:lnTo>
                  <a:lnTo>
                    <a:pt x="496" y="197"/>
                  </a:lnTo>
                  <a:lnTo>
                    <a:pt x="499" y="195"/>
                  </a:lnTo>
                  <a:lnTo>
                    <a:pt x="501" y="194"/>
                  </a:lnTo>
                  <a:lnTo>
                    <a:pt x="501" y="194"/>
                  </a:lnTo>
                  <a:lnTo>
                    <a:pt x="499" y="191"/>
                  </a:lnTo>
                  <a:lnTo>
                    <a:pt x="495" y="185"/>
                  </a:lnTo>
                  <a:lnTo>
                    <a:pt x="490" y="179"/>
                  </a:lnTo>
                  <a:lnTo>
                    <a:pt x="488" y="175"/>
                  </a:lnTo>
                  <a:lnTo>
                    <a:pt x="488" y="175"/>
                  </a:lnTo>
                  <a:lnTo>
                    <a:pt x="490" y="166"/>
                  </a:lnTo>
                  <a:lnTo>
                    <a:pt x="493" y="161"/>
                  </a:lnTo>
                  <a:lnTo>
                    <a:pt x="496" y="157"/>
                  </a:lnTo>
                  <a:lnTo>
                    <a:pt x="496" y="157"/>
                  </a:lnTo>
                  <a:lnTo>
                    <a:pt x="499" y="154"/>
                  </a:lnTo>
                  <a:lnTo>
                    <a:pt x="504" y="152"/>
                  </a:lnTo>
                  <a:lnTo>
                    <a:pt x="507" y="151"/>
                  </a:lnTo>
                  <a:lnTo>
                    <a:pt x="508" y="148"/>
                  </a:lnTo>
                  <a:lnTo>
                    <a:pt x="508" y="148"/>
                  </a:lnTo>
                  <a:lnTo>
                    <a:pt x="507" y="143"/>
                  </a:lnTo>
                  <a:lnTo>
                    <a:pt x="505" y="139"/>
                  </a:lnTo>
                  <a:lnTo>
                    <a:pt x="499" y="127"/>
                  </a:lnTo>
                  <a:lnTo>
                    <a:pt x="499" y="127"/>
                  </a:lnTo>
                  <a:lnTo>
                    <a:pt x="498" y="121"/>
                  </a:lnTo>
                  <a:lnTo>
                    <a:pt x="498" y="118"/>
                  </a:lnTo>
                  <a:lnTo>
                    <a:pt x="498" y="115"/>
                  </a:lnTo>
                  <a:lnTo>
                    <a:pt x="501" y="111"/>
                  </a:lnTo>
                  <a:lnTo>
                    <a:pt x="501" y="111"/>
                  </a:lnTo>
                  <a:lnTo>
                    <a:pt x="504" y="105"/>
                  </a:lnTo>
                  <a:lnTo>
                    <a:pt x="505" y="98"/>
                  </a:lnTo>
                  <a:lnTo>
                    <a:pt x="507" y="90"/>
                  </a:lnTo>
                  <a:lnTo>
                    <a:pt x="505" y="83"/>
                  </a:lnTo>
                  <a:lnTo>
                    <a:pt x="505" y="83"/>
                  </a:lnTo>
                  <a:lnTo>
                    <a:pt x="504" y="80"/>
                  </a:lnTo>
                  <a:lnTo>
                    <a:pt x="501" y="77"/>
                  </a:lnTo>
                  <a:lnTo>
                    <a:pt x="499" y="75"/>
                  </a:lnTo>
                  <a:lnTo>
                    <a:pt x="499" y="72"/>
                  </a:lnTo>
                  <a:lnTo>
                    <a:pt x="499" y="72"/>
                  </a:lnTo>
                  <a:lnTo>
                    <a:pt x="499" y="71"/>
                  </a:lnTo>
                  <a:lnTo>
                    <a:pt x="499" y="66"/>
                  </a:lnTo>
                  <a:lnTo>
                    <a:pt x="499" y="61"/>
                  </a:lnTo>
                  <a:lnTo>
                    <a:pt x="502" y="53"/>
                  </a:lnTo>
                  <a:lnTo>
                    <a:pt x="502" y="53"/>
                  </a:lnTo>
                  <a:lnTo>
                    <a:pt x="507" y="40"/>
                  </a:lnTo>
                  <a:lnTo>
                    <a:pt x="507" y="29"/>
                  </a:lnTo>
                  <a:lnTo>
                    <a:pt x="507" y="29"/>
                  </a:lnTo>
                  <a:lnTo>
                    <a:pt x="508" y="22"/>
                  </a:lnTo>
                  <a:lnTo>
                    <a:pt x="511" y="16"/>
                  </a:lnTo>
                  <a:lnTo>
                    <a:pt x="511" y="16"/>
                  </a:lnTo>
                  <a:lnTo>
                    <a:pt x="513" y="12"/>
                  </a:lnTo>
                  <a:lnTo>
                    <a:pt x="514" y="6"/>
                  </a:lnTo>
                  <a:lnTo>
                    <a:pt x="516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7" name="Freeform 136">
              <a:extLst>
                <a:ext uri="{FF2B5EF4-FFF2-40B4-BE49-F238E27FC236}">
                  <a16:creationId xmlns:a16="http://schemas.microsoft.com/office/drawing/2014/main" id="{7FFBCB77-F7CD-6347-8891-BB7B1B6A7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6175375"/>
              <a:ext cx="1220788" cy="1050925"/>
            </a:xfrm>
            <a:custGeom>
              <a:avLst/>
              <a:gdLst>
                <a:gd name="T0" fmla="*/ 47 w 769"/>
                <a:gd name="T1" fmla="*/ 382 h 662"/>
                <a:gd name="T2" fmla="*/ 116 w 769"/>
                <a:gd name="T3" fmla="*/ 409 h 662"/>
                <a:gd name="T4" fmla="*/ 130 w 769"/>
                <a:gd name="T5" fmla="*/ 430 h 662"/>
                <a:gd name="T6" fmla="*/ 187 w 769"/>
                <a:gd name="T7" fmla="*/ 475 h 662"/>
                <a:gd name="T8" fmla="*/ 212 w 769"/>
                <a:gd name="T9" fmla="*/ 530 h 662"/>
                <a:gd name="T10" fmla="*/ 273 w 769"/>
                <a:gd name="T11" fmla="*/ 560 h 662"/>
                <a:gd name="T12" fmla="*/ 304 w 769"/>
                <a:gd name="T13" fmla="*/ 567 h 662"/>
                <a:gd name="T14" fmla="*/ 354 w 769"/>
                <a:gd name="T15" fmla="*/ 570 h 662"/>
                <a:gd name="T16" fmla="*/ 376 w 769"/>
                <a:gd name="T17" fmla="*/ 563 h 662"/>
                <a:gd name="T18" fmla="*/ 384 w 769"/>
                <a:gd name="T19" fmla="*/ 590 h 662"/>
                <a:gd name="T20" fmla="*/ 375 w 769"/>
                <a:gd name="T21" fmla="*/ 635 h 662"/>
                <a:gd name="T22" fmla="*/ 358 w 769"/>
                <a:gd name="T23" fmla="*/ 658 h 662"/>
                <a:gd name="T24" fmla="*/ 397 w 769"/>
                <a:gd name="T25" fmla="*/ 644 h 662"/>
                <a:gd name="T26" fmla="*/ 422 w 769"/>
                <a:gd name="T27" fmla="*/ 635 h 662"/>
                <a:gd name="T28" fmla="*/ 468 w 769"/>
                <a:gd name="T29" fmla="*/ 643 h 662"/>
                <a:gd name="T30" fmla="*/ 499 w 769"/>
                <a:gd name="T31" fmla="*/ 630 h 662"/>
                <a:gd name="T32" fmla="*/ 530 w 769"/>
                <a:gd name="T33" fmla="*/ 624 h 662"/>
                <a:gd name="T34" fmla="*/ 551 w 769"/>
                <a:gd name="T35" fmla="*/ 627 h 662"/>
                <a:gd name="T36" fmla="*/ 570 w 769"/>
                <a:gd name="T37" fmla="*/ 603 h 662"/>
                <a:gd name="T38" fmla="*/ 576 w 769"/>
                <a:gd name="T39" fmla="*/ 613 h 662"/>
                <a:gd name="T40" fmla="*/ 609 w 769"/>
                <a:gd name="T41" fmla="*/ 624 h 662"/>
                <a:gd name="T42" fmla="*/ 646 w 769"/>
                <a:gd name="T43" fmla="*/ 618 h 662"/>
                <a:gd name="T44" fmla="*/ 663 w 769"/>
                <a:gd name="T45" fmla="*/ 622 h 662"/>
                <a:gd name="T46" fmla="*/ 681 w 769"/>
                <a:gd name="T47" fmla="*/ 622 h 662"/>
                <a:gd name="T48" fmla="*/ 714 w 769"/>
                <a:gd name="T49" fmla="*/ 619 h 662"/>
                <a:gd name="T50" fmla="*/ 717 w 769"/>
                <a:gd name="T51" fmla="*/ 575 h 662"/>
                <a:gd name="T52" fmla="*/ 760 w 769"/>
                <a:gd name="T53" fmla="*/ 526 h 662"/>
                <a:gd name="T54" fmla="*/ 761 w 769"/>
                <a:gd name="T55" fmla="*/ 499 h 662"/>
                <a:gd name="T56" fmla="*/ 732 w 769"/>
                <a:gd name="T57" fmla="*/ 471 h 662"/>
                <a:gd name="T58" fmla="*/ 705 w 769"/>
                <a:gd name="T59" fmla="*/ 421 h 662"/>
                <a:gd name="T60" fmla="*/ 727 w 769"/>
                <a:gd name="T61" fmla="*/ 393 h 662"/>
                <a:gd name="T62" fmla="*/ 767 w 769"/>
                <a:gd name="T63" fmla="*/ 378 h 662"/>
                <a:gd name="T64" fmla="*/ 761 w 769"/>
                <a:gd name="T65" fmla="*/ 358 h 662"/>
                <a:gd name="T66" fmla="*/ 748 w 769"/>
                <a:gd name="T67" fmla="*/ 330 h 662"/>
                <a:gd name="T68" fmla="*/ 718 w 769"/>
                <a:gd name="T69" fmla="*/ 298 h 662"/>
                <a:gd name="T70" fmla="*/ 692 w 769"/>
                <a:gd name="T71" fmla="*/ 280 h 662"/>
                <a:gd name="T72" fmla="*/ 681 w 769"/>
                <a:gd name="T73" fmla="*/ 256 h 662"/>
                <a:gd name="T74" fmla="*/ 561 w 769"/>
                <a:gd name="T75" fmla="*/ 225 h 662"/>
                <a:gd name="T76" fmla="*/ 558 w 769"/>
                <a:gd name="T77" fmla="*/ 187 h 662"/>
                <a:gd name="T78" fmla="*/ 570 w 769"/>
                <a:gd name="T79" fmla="*/ 164 h 662"/>
                <a:gd name="T80" fmla="*/ 576 w 769"/>
                <a:gd name="T81" fmla="*/ 136 h 662"/>
                <a:gd name="T82" fmla="*/ 564 w 769"/>
                <a:gd name="T83" fmla="*/ 120 h 662"/>
                <a:gd name="T84" fmla="*/ 532 w 769"/>
                <a:gd name="T85" fmla="*/ 84 h 662"/>
                <a:gd name="T86" fmla="*/ 465 w 769"/>
                <a:gd name="T87" fmla="*/ 108 h 662"/>
                <a:gd name="T88" fmla="*/ 434 w 769"/>
                <a:gd name="T89" fmla="*/ 102 h 662"/>
                <a:gd name="T90" fmla="*/ 391 w 769"/>
                <a:gd name="T91" fmla="*/ 79 h 662"/>
                <a:gd name="T92" fmla="*/ 321 w 769"/>
                <a:gd name="T93" fmla="*/ 62 h 662"/>
                <a:gd name="T94" fmla="*/ 305 w 769"/>
                <a:gd name="T95" fmla="*/ 37 h 662"/>
                <a:gd name="T96" fmla="*/ 278 w 769"/>
                <a:gd name="T97" fmla="*/ 33 h 662"/>
                <a:gd name="T98" fmla="*/ 241 w 769"/>
                <a:gd name="T99" fmla="*/ 21 h 662"/>
                <a:gd name="T100" fmla="*/ 194 w 769"/>
                <a:gd name="T101" fmla="*/ 0 h 662"/>
                <a:gd name="T102" fmla="*/ 170 w 769"/>
                <a:gd name="T103" fmla="*/ 25 h 662"/>
                <a:gd name="T104" fmla="*/ 154 w 769"/>
                <a:gd name="T105" fmla="*/ 58 h 662"/>
                <a:gd name="T106" fmla="*/ 148 w 769"/>
                <a:gd name="T107" fmla="*/ 74 h 662"/>
                <a:gd name="T108" fmla="*/ 133 w 769"/>
                <a:gd name="T109" fmla="*/ 105 h 662"/>
                <a:gd name="T110" fmla="*/ 119 w 769"/>
                <a:gd name="T111" fmla="*/ 119 h 662"/>
                <a:gd name="T112" fmla="*/ 82 w 769"/>
                <a:gd name="T113" fmla="*/ 124 h 662"/>
                <a:gd name="T114" fmla="*/ 58 w 769"/>
                <a:gd name="T115" fmla="*/ 135 h 662"/>
                <a:gd name="T116" fmla="*/ 36 w 769"/>
                <a:gd name="T117" fmla="*/ 178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69" h="662">
                  <a:moveTo>
                    <a:pt x="0" y="353"/>
                  </a:moveTo>
                  <a:lnTo>
                    <a:pt x="0" y="353"/>
                  </a:lnTo>
                  <a:lnTo>
                    <a:pt x="9" y="357"/>
                  </a:lnTo>
                  <a:lnTo>
                    <a:pt x="16" y="361"/>
                  </a:lnTo>
                  <a:lnTo>
                    <a:pt x="22" y="366"/>
                  </a:lnTo>
                  <a:lnTo>
                    <a:pt x="22" y="366"/>
                  </a:lnTo>
                  <a:lnTo>
                    <a:pt x="39" y="376"/>
                  </a:lnTo>
                  <a:lnTo>
                    <a:pt x="47" y="382"/>
                  </a:lnTo>
                  <a:lnTo>
                    <a:pt x="56" y="387"/>
                  </a:lnTo>
                  <a:lnTo>
                    <a:pt x="56" y="387"/>
                  </a:lnTo>
                  <a:lnTo>
                    <a:pt x="76" y="395"/>
                  </a:lnTo>
                  <a:lnTo>
                    <a:pt x="84" y="400"/>
                  </a:lnTo>
                  <a:lnTo>
                    <a:pt x="93" y="403"/>
                  </a:lnTo>
                  <a:lnTo>
                    <a:pt x="93" y="403"/>
                  </a:lnTo>
                  <a:lnTo>
                    <a:pt x="110" y="407"/>
                  </a:lnTo>
                  <a:lnTo>
                    <a:pt x="116" y="409"/>
                  </a:lnTo>
                  <a:lnTo>
                    <a:pt x="120" y="412"/>
                  </a:lnTo>
                  <a:lnTo>
                    <a:pt x="120" y="412"/>
                  </a:lnTo>
                  <a:lnTo>
                    <a:pt x="120" y="415"/>
                  </a:lnTo>
                  <a:lnTo>
                    <a:pt x="121" y="421"/>
                  </a:lnTo>
                  <a:lnTo>
                    <a:pt x="124" y="425"/>
                  </a:lnTo>
                  <a:lnTo>
                    <a:pt x="126" y="428"/>
                  </a:lnTo>
                  <a:lnTo>
                    <a:pt x="130" y="430"/>
                  </a:lnTo>
                  <a:lnTo>
                    <a:pt x="130" y="430"/>
                  </a:lnTo>
                  <a:lnTo>
                    <a:pt x="139" y="434"/>
                  </a:lnTo>
                  <a:lnTo>
                    <a:pt x="148" y="440"/>
                  </a:lnTo>
                  <a:lnTo>
                    <a:pt x="166" y="453"/>
                  </a:lnTo>
                  <a:lnTo>
                    <a:pt x="166" y="453"/>
                  </a:lnTo>
                  <a:lnTo>
                    <a:pt x="179" y="464"/>
                  </a:lnTo>
                  <a:lnTo>
                    <a:pt x="184" y="468"/>
                  </a:lnTo>
                  <a:lnTo>
                    <a:pt x="187" y="475"/>
                  </a:lnTo>
                  <a:lnTo>
                    <a:pt x="187" y="475"/>
                  </a:lnTo>
                  <a:lnTo>
                    <a:pt x="191" y="495"/>
                  </a:lnTo>
                  <a:lnTo>
                    <a:pt x="196" y="514"/>
                  </a:lnTo>
                  <a:lnTo>
                    <a:pt x="196" y="514"/>
                  </a:lnTo>
                  <a:lnTo>
                    <a:pt x="197" y="521"/>
                  </a:lnTo>
                  <a:lnTo>
                    <a:pt x="200" y="526"/>
                  </a:lnTo>
                  <a:lnTo>
                    <a:pt x="204" y="529"/>
                  </a:lnTo>
                  <a:lnTo>
                    <a:pt x="212" y="530"/>
                  </a:lnTo>
                  <a:lnTo>
                    <a:pt x="212" y="530"/>
                  </a:lnTo>
                  <a:lnTo>
                    <a:pt x="240" y="530"/>
                  </a:lnTo>
                  <a:lnTo>
                    <a:pt x="255" y="532"/>
                  </a:lnTo>
                  <a:lnTo>
                    <a:pt x="264" y="532"/>
                  </a:lnTo>
                  <a:lnTo>
                    <a:pt x="264" y="532"/>
                  </a:lnTo>
                  <a:lnTo>
                    <a:pt x="265" y="533"/>
                  </a:lnTo>
                  <a:lnTo>
                    <a:pt x="267" y="536"/>
                  </a:lnTo>
                  <a:lnTo>
                    <a:pt x="268" y="544"/>
                  </a:lnTo>
                  <a:lnTo>
                    <a:pt x="273" y="560"/>
                  </a:lnTo>
                  <a:lnTo>
                    <a:pt x="273" y="560"/>
                  </a:lnTo>
                  <a:lnTo>
                    <a:pt x="274" y="563"/>
                  </a:lnTo>
                  <a:lnTo>
                    <a:pt x="277" y="566"/>
                  </a:lnTo>
                  <a:lnTo>
                    <a:pt x="283" y="567"/>
                  </a:lnTo>
                  <a:lnTo>
                    <a:pt x="290" y="567"/>
                  </a:lnTo>
                  <a:lnTo>
                    <a:pt x="298" y="567"/>
                  </a:lnTo>
                  <a:lnTo>
                    <a:pt x="298" y="567"/>
                  </a:lnTo>
                  <a:lnTo>
                    <a:pt x="304" y="567"/>
                  </a:lnTo>
                  <a:lnTo>
                    <a:pt x="311" y="567"/>
                  </a:lnTo>
                  <a:lnTo>
                    <a:pt x="326" y="570"/>
                  </a:lnTo>
                  <a:lnTo>
                    <a:pt x="326" y="570"/>
                  </a:lnTo>
                  <a:lnTo>
                    <a:pt x="342" y="572"/>
                  </a:lnTo>
                  <a:lnTo>
                    <a:pt x="350" y="573"/>
                  </a:lnTo>
                  <a:lnTo>
                    <a:pt x="354" y="573"/>
                  </a:lnTo>
                  <a:lnTo>
                    <a:pt x="354" y="573"/>
                  </a:lnTo>
                  <a:lnTo>
                    <a:pt x="354" y="570"/>
                  </a:lnTo>
                  <a:lnTo>
                    <a:pt x="354" y="566"/>
                  </a:lnTo>
                  <a:lnTo>
                    <a:pt x="355" y="561"/>
                  </a:lnTo>
                  <a:lnTo>
                    <a:pt x="357" y="560"/>
                  </a:lnTo>
                  <a:lnTo>
                    <a:pt x="360" y="558"/>
                  </a:lnTo>
                  <a:lnTo>
                    <a:pt x="360" y="558"/>
                  </a:lnTo>
                  <a:lnTo>
                    <a:pt x="367" y="558"/>
                  </a:lnTo>
                  <a:lnTo>
                    <a:pt x="372" y="560"/>
                  </a:lnTo>
                  <a:lnTo>
                    <a:pt x="376" y="563"/>
                  </a:lnTo>
                  <a:lnTo>
                    <a:pt x="379" y="567"/>
                  </a:lnTo>
                  <a:lnTo>
                    <a:pt x="379" y="567"/>
                  </a:lnTo>
                  <a:lnTo>
                    <a:pt x="382" y="572"/>
                  </a:lnTo>
                  <a:lnTo>
                    <a:pt x="385" y="579"/>
                  </a:lnTo>
                  <a:lnTo>
                    <a:pt x="387" y="585"/>
                  </a:lnTo>
                  <a:lnTo>
                    <a:pt x="385" y="588"/>
                  </a:lnTo>
                  <a:lnTo>
                    <a:pt x="384" y="590"/>
                  </a:lnTo>
                  <a:lnTo>
                    <a:pt x="384" y="590"/>
                  </a:lnTo>
                  <a:lnTo>
                    <a:pt x="378" y="590"/>
                  </a:lnTo>
                  <a:lnTo>
                    <a:pt x="375" y="590"/>
                  </a:lnTo>
                  <a:lnTo>
                    <a:pt x="373" y="590"/>
                  </a:lnTo>
                  <a:lnTo>
                    <a:pt x="373" y="591"/>
                  </a:lnTo>
                  <a:lnTo>
                    <a:pt x="373" y="598"/>
                  </a:lnTo>
                  <a:lnTo>
                    <a:pt x="373" y="598"/>
                  </a:lnTo>
                  <a:lnTo>
                    <a:pt x="375" y="624"/>
                  </a:lnTo>
                  <a:lnTo>
                    <a:pt x="375" y="635"/>
                  </a:lnTo>
                  <a:lnTo>
                    <a:pt x="373" y="640"/>
                  </a:lnTo>
                  <a:lnTo>
                    <a:pt x="372" y="643"/>
                  </a:lnTo>
                  <a:lnTo>
                    <a:pt x="372" y="643"/>
                  </a:lnTo>
                  <a:lnTo>
                    <a:pt x="363" y="652"/>
                  </a:lnTo>
                  <a:lnTo>
                    <a:pt x="360" y="655"/>
                  </a:lnTo>
                  <a:lnTo>
                    <a:pt x="358" y="656"/>
                  </a:lnTo>
                  <a:lnTo>
                    <a:pt x="358" y="658"/>
                  </a:lnTo>
                  <a:lnTo>
                    <a:pt x="358" y="658"/>
                  </a:lnTo>
                  <a:lnTo>
                    <a:pt x="372" y="661"/>
                  </a:lnTo>
                  <a:lnTo>
                    <a:pt x="379" y="662"/>
                  </a:lnTo>
                  <a:lnTo>
                    <a:pt x="385" y="661"/>
                  </a:lnTo>
                  <a:lnTo>
                    <a:pt x="385" y="661"/>
                  </a:lnTo>
                  <a:lnTo>
                    <a:pt x="388" y="658"/>
                  </a:lnTo>
                  <a:lnTo>
                    <a:pt x="391" y="652"/>
                  </a:lnTo>
                  <a:lnTo>
                    <a:pt x="394" y="646"/>
                  </a:lnTo>
                  <a:lnTo>
                    <a:pt x="397" y="644"/>
                  </a:lnTo>
                  <a:lnTo>
                    <a:pt x="400" y="644"/>
                  </a:lnTo>
                  <a:lnTo>
                    <a:pt x="400" y="644"/>
                  </a:lnTo>
                  <a:lnTo>
                    <a:pt x="410" y="644"/>
                  </a:lnTo>
                  <a:lnTo>
                    <a:pt x="413" y="644"/>
                  </a:lnTo>
                  <a:lnTo>
                    <a:pt x="416" y="641"/>
                  </a:lnTo>
                  <a:lnTo>
                    <a:pt x="416" y="641"/>
                  </a:lnTo>
                  <a:lnTo>
                    <a:pt x="419" y="637"/>
                  </a:lnTo>
                  <a:lnTo>
                    <a:pt x="422" y="635"/>
                  </a:lnTo>
                  <a:lnTo>
                    <a:pt x="427" y="634"/>
                  </a:lnTo>
                  <a:lnTo>
                    <a:pt x="432" y="635"/>
                  </a:lnTo>
                  <a:lnTo>
                    <a:pt x="432" y="635"/>
                  </a:lnTo>
                  <a:lnTo>
                    <a:pt x="441" y="640"/>
                  </a:lnTo>
                  <a:lnTo>
                    <a:pt x="446" y="641"/>
                  </a:lnTo>
                  <a:lnTo>
                    <a:pt x="450" y="643"/>
                  </a:lnTo>
                  <a:lnTo>
                    <a:pt x="450" y="643"/>
                  </a:lnTo>
                  <a:lnTo>
                    <a:pt x="468" y="643"/>
                  </a:lnTo>
                  <a:lnTo>
                    <a:pt x="478" y="640"/>
                  </a:lnTo>
                  <a:lnTo>
                    <a:pt x="483" y="638"/>
                  </a:lnTo>
                  <a:lnTo>
                    <a:pt x="486" y="637"/>
                  </a:lnTo>
                  <a:lnTo>
                    <a:pt x="486" y="637"/>
                  </a:lnTo>
                  <a:lnTo>
                    <a:pt x="492" y="630"/>
                  </a:lnTo>
                  <a:lnTo>
                    <a:pt x="495" y="628"/>
                  </a:lnTo>
                  <a:lnTo>
                    <a:pt x="499" y="630"/>
                  </a:lnTo>
                  <a:lnTo>
                    <a:pt x="499" y="630"/>
                  </a:lnTo>
                  <a:lnTo>
                    <a:pt x="506" y="634"/>
                  </a:lnTo>
                  <a:lnTo>
                    <a:pt x="515" y="635"/>
                  </a:lnTo>
                  <a:lnTo>
                    <a:pt x="523" y="635"/>
                  </a:lnTo>
                  <a:lnTo>
                    <a:pt x="526" y="635"/>
                  </a:lnTo>
                  <a:lnTo>
                    <a:pt x="526" y="632"/>
                  </a:lnTo>
                  <a:lnTo>
                    <a:pt x="526" y="632"/>
                  </a:lnTo>
                  <a:lnTo>
                    <a:pt x="527" y="628"/>
                  </a:lnTo>
                  <a:lnTo>
                    <a:pt x="530" y="624"/>
                  </a:lnTo>
                  <a:lnTo>
                    <a:pt x="535" y="621"/>
                  </a:lnTo>
                  <a:lnTo>
                    <a:pt x="536" y="619"/>
                  </a:lnTo>
                  <a:lnTo>
                    <a:pt x="538" y="621"/>
                  </a:lnTo>
                  <a:lnTo>
                    <a:pt x="538" y="621"/>
                  </a:lnTo>
                  <a:lnTo>
                    <a:pt x="542" y="622"/>
                  </a:lnTo>
                  <a:lnTo>
                    <a:pt x="545" y="625"/>
                  </a:lnTo>
                  <a:lnTo>
                    <a:pt x="548" y="627"/>
                  </a:lnTo>
                  <a:lnTo>
                    <a:pt x="551" y="627"/>
                  </a:lnTo>
                  <a:lnTo>
                    <a:pt x="551" y="627"/>
                  </a:lnTo>
                  <a:lnTo>
                    <a:pt x="555" y="624"/>
                  </a:lnTo>
                  <a:lnTo>
                    <a:pt x="563" y="619"/>
                  </a:lnTo>
                  <a:lnTo>
                    <a:pt x="563" y="619"/>
                  </a:lnTo>
                  <a:lnTo>
                    <a:pt x="566" y="615"/>
                  </a:lnTo>
                  <a:lnTo>
                    <a:pt x="567" y="609"/>
                  </a:lnTo>
                  <a:lnTo>
                    <a:pt x="569" y="604"/>
                  </a:lnTo>
                  <a:lnTo>
                    <a:pt x="570" y="603"/>
                  </a:lnTo>
                  <a:lnTo>
                    <a:pt x="570" y="603"/>
                  </a:lnTo>
                  <a:lnTo>
                    <a:pt x="572" y="603"/>
                  </a:lnTo>
                  <a:lnTo>
                    <a:pt x="570" y="604"/>
                  </a:lnTo>
                  <a:lnTo>
                    <a:pt x="569" y="607"/>
                  </a:lnTo>
                  <a:lnTo>
                    <a:pt x="569" y="609"/>
                  </a:lnTo>
                  <a:lnTo>
                    <a:pt x="570" y="612"/>
                  </a:lnTo>
                  <a:lnTo>
                    <a:pt x="572" y="613"/>
                  </a:lnTo>
                  <a:lnTo>
                    <a:pt x="576" y="613"/>
                  </a:lnTo>
                  <a:lnTo>
                    <a:pt x="576" y="613"/>
                  </a:lnTo>
                  <a:lnTo>
                    <a:pt x="597" y="615"/>
                  </a:lnTo>
                  <a:lnTo>
                    <a:pt x="606" y="613"/>
                  </a:lnTo>
                  <a:lnTo>
                    <a:pt x="606" y="613"/>
                  </a:lnTo>
                  <a:lnTo>
                    <a:pt x="606" y="619"/>
                  </a:lnTo>
                  <a:lnTo>
                    <a:pt x="606" y="622"/>
                  </a:lnTo>
                  <a:lnTo>
                    <a:pt x="607" y="624"/>
                  </a:lnTo>
                  <a:lnTo>
                    <a:pt x="609" y="624"/>
                  </a:lnTo>
                  <a:lnTo>
                    <a:pt x="609" y="624"/>
                  </a:lnTo>
                  <a:lnTo>
                    <a:pt x="615" y="624"/>
                  </a:lnTo>
                  <a:lnTo>
                    <a:pt x="619" y="622"/>
                  </a:lnTo>
                  <a:lnTo>
                    <a:pt x="629" y="619"/>
                  </a:lnTo>
                  <a:lnTo>
                    <a:pt x="629" y="619"/>
                  </a:lnTo>
                  <a:lnTo>
                    <a:pt x="640" y="616"/>
                  </a:lnTo>
                  <a:lnTo>
                    <a:pt x="644" y="616"/>
                  </a:lnTo>
                  <a:lnTo>
                    <a:pt x="646" y="618"/>
                  </a:lnTo>
                  <a:lnTo>
                    <a:pt x="647" y="619"/>
                  </a:lnTo>
                  <a:lnTo>
                    <a:pt x="647" y="619"/>
                  </a:lnTo>
                  <a:lnTo>
                    <a:pt x="650" y="622"/>
                  </a:lnTo>
                  <a:lnTo>
                    <a:pt x="653" y="625"/>
                  </a:lnTo>
                  <a:lnTo>
                    <a:pt x="656" y="627"/>
                  </a:lnTo>
                  <a:lnTo>
                    <a:pt x="659" y="625"/>
                  </a:lnTo>
                  <a:lnTo>
                    <a:pt x="659" y="625"/>
                  </a:lnTo>
                  <a:lnTo>
                    <a:pt x="663" y="622"/>
                  </a:lnTo>
                  <a:lnTo>
                    <a:pt x="666" y="619"/>
                  </a:lnTo>
                  <a:lnTo>
                    <a:pt x="669" y="618"/>
                  </a:lnTo>
                  <a:lnTo>
                    <a:pt x="669" y="618"/>
                  </a:lnTo>
                  <a:lnTo>
                    <a:pt x="674" y="618"/>
                  </a:lnTo>
                  <a:lnTo>
                    <a:pt x="675" y="619"/>
                  </a:lnTo>
                  <a:lnTo>
                    <a:pt x="677" y="621"/>
                  </a:lnTo>
                  <a:lnTo>
                    <a:pt x="681" y="622"/>
                  </a:lnTo>
                  <a:lnTo>
                    <a:pt x="681" y="622"/>
                  </a:lnTo>
                  <a:lnTo>
                    <a:pt x="686" y="621"/>
                  </a:lnTo>
                  <a:lnTo>
                    <a:pt x="690" y="619"/>
                  </a:lnTo>
                  <a:lnTo>
                    <a:pt x="693" y="616"/>
                  </a:lnTo>
                  <a:lnTo>
                    <a:pt x="698" y="616"/>
                  </a:lnTo>
                  <a:lnTo>
                    <a:pt x="698" y="616"/>
                  </a:lnTo>
                  <a:lnTo>
                    <a:pt x="706" y="618"/>
                  </a:lnTo>
                  <a:lnTo>
                    <a:pt x="714" y="619"/>
                  </a:lnTo>
                  <a:lnTo>
                    <a:pt x="714" y="619"/>
                  </a:lnTo>
                  <a:lnTo>
                    <a:pt x="715" y="616"/>
                  </a:lnTo>
                  <a:lnTo>
                    <a:pt x="717" y="609"/>
                  </a:lnTo>
                  <a:lnTo>
                    <a:pt x="718" y="595"/>
                  </a:lnTo>
                  <a:lnTo>
                    <a:pt x="718" y="595"/>
                  </a:lnTo>
                  <a:lnTo>
                    <a:pt x="717" y="585"/>
                  </a:lnTo>
                  <a:lnTo>
                    <a:pt x="717" y="576"/>
                  </a:lnTo>
                  <a:lnTo>
                    <a:pt x="717" y="576"/>
                  </a:lnTo>
                  <a:lnTo>
                    <a:pt x="717" y="575"/>
                  </a:lnTo>
                  <a:lnTo>
                    <a:pt x="718" y="572"/>
                  </a:lnTo>
                  <a:lnTo>
                    <a:pt x="724" y="564"/>
                  </a:lnTo>
                  <a:lnTo>
                    <a:pt x="724" y="564"/>
                  </a:lnTo>
                  <a:lnTo>
                    <a:pt x="730" y="554"/>
                  </a:lnTo>
                  <a:lnTo>
                    <a:pt x="742" y="542"/>
                  </a:lnTo>
                  <a:lnTo>
                    <a:pt x="742" y="542"/>
                  </a:lnTo>
                  <a:lnTo>
                    <a:pt x="752" y="533"/>
                  </a:lnTo>
                  <a:lnTo>
                    <a:pt x="760" y="526"/>
                  </a:lnTo>
                  <a:lnTo>
                    <a:pt x="760" y="526"/>
                  </a:lnTo>
                  <a:lnTo>
                    <a:pt x="764" y="521"/>
                  </a:lnTo>
                  <a:lnTo>
                    <a:pt x="767" y="517"/>
                  </a:lnTo>
                  <a:lnTo>
                    <a:pt x="767" y="512"/>
                  </a:lnTo>
                  <a:lnTo>
                    <a:pt x="767" y="507"/>
                  </a:lnTo>
                  <a:lnTo>
                    <a:pt x="767" y="507"/>
                  </a:lnTo>
                  <a:lnTo>
                    <a:pt x="764" y="501"/>
                  </a:lnTo>
                  <a:lnTo>
                    <a:pt x="761" y="499"/>
                  </a:lnTo>
                  <a:lnTo>
                    <a:pt x="758" y="496"/>
                  </a:lnTo>
                  <a:lnTo>
                    <a:pt x="754" y="492"/>
                  </a:lnTo>
                  <a:lnTo>
                    <a:pt x="754" y="492"/>
                  </a:lnTo>
                  <a:lnTo>
                    <a:pt x="749" y="486"/>
                  </a:lnTo>
                  <a:lnTo>
                    <a:pt x="745" y="480"/>
                  </a:lnTo>
                  <a:lnTo>
                    <a:pt x="740" y="474"/>
                  </a:lnTo>
                  <a:lnTo>
                    <a:pt x="736" y="473"/>
                  </a:lnTo>
                  <a:lnTo>
                    <a:pt x="732" y="471"/>
                  </a:lnTo>
                  <a:lnTo>
                    <a:pt x="732" y="471"/>
                  </a:lnTo>
                  <a:lnTo>
                    <a:pt x="711" y="465"/>
                  </a:lnTo>
                  <a:lnTo>
                    <a:pt x="703" y="462"/>
                  </a:lnTo>
                  <a:lnTo>
                    <a:pt x="700" y="459"/>
                  </a:lnTo>
                  <a:lnTo>
                    <a:pt x="700" y="456"/>
                  </a:lnTo>
                  <a:lnTo>
                    <a:pt x="700" y="456"/>
                  </a:lnTo>
                  <a:lnTo>
                    <a:pt x="702" y="434"/>
                  </a:lnTo>
                  <a:lnTo>
                    <a:pt x="705" y="421"/>
                  </a:lnTo>
                  <a:lnTo>
                    <a:pt x="706" y="413"/>
                  </a:lnTo>
                  <a:lnTo>
                    <a:pt x="706" y="413"/>
                  </a:lnTo>
                  <a:lnTo>
                    <a:pt x="711" y="410"/>
                  </a:lnTo>
                  <a:lnTo>
                    <a:pt x="714" y="407"/>
                  </a:lnTo>
                  <a:lnTo>
                    <a:pt x="720" y="403"/>
                  </a:lnTo>
                  <a:lnTo>
                    <a:pt x="724" y="398"/>
                  </a:lnTo>
                  <a:lnTo>
                    <a:pt x="724" y="398"/>
                  </a:lnTo>
                  <a:lnTo>
                    <a:pt x="727" y="393"/>
                  </a:lnTo>
                  <a:lnTo>
                    <a:pt x="729" y="387"/>
                  </a:lnTo>
                  <a:lnTo>
                    <a:pt x="730" y="384"/>
                  </a:lnTo>
                  <a:lnTo>
                    <a:pt x="733" y="382"/>
                  </a:lnTo>
                  <a:lnTo>
                    <a:pt x="736" y="381"/>
                  </a:lnTo>
                  <a:lnTo>
                    <a:pt x="742" y="379"/>
                  </a:lnTo>
                  <a:lnTo>
                    <a:pt x="742" y="379"/>
                  </a:lnTo>
                  <a:lnTo>
                    <a:pt x="761" y="379"/>
                  </a:lnTo>
                  <a:lnTo>
                    <a:pt x="767" y="378"/>
                  </a:lnTo>
                  <a:lnTo>
                    <a:pt x="769" y="378"/>
                  </a:lnTo>
                  <a:lnTo>
                    <a:pt x="769" y="376"/>
                  </a:lnTo>
                  <a:lnTo>
                    <a:pt x="769" y="376"/>
                  </a:lnTo>
                  <a:lnTo>
                    <a:pt x="769" y="373"/>
                  </a:lnTo>
                  <a:lnTo>
                    <a:pt x="764" y="369"/>
                  </a:lnTo>
                  <a:lnTo>
                    <a:pt x="761" y="364"/>
                  </a:lnTo>
                  <a:lnTo>
                    <a:pt x="761" y="361"/>
                  </a:lnTo>
                  <a:lnTo>
                    <a:pt x="761" y="358"/>
                  </a:lnTo>
                  <a:lnTo>
                    <a:pt x="761" y="358"/>
                  </a:lnTo>
                  <a:lnTo>
                    <a:pt x="763" y="348"/>
                  </a:lnTo>
                  <a:lnTo>
                    <a:pt x="764" y="338"/>
                  </a:lnTo>
                  <a:lnTo>
                    <a:pt x="764" y="338"/>
                  </a:lnTo>
                  <a:lnTo>
                    <a:pt x="764" y="333"/>
                  </a:lnTo>
                  <a:lnTo>
                    <a:pt x="763" y="332"/>
                  </a:lnTo>
                  <a:lnTo>
                    <a:pt x="758" y="330"/>
                  </a:lnTo>
                  <a:lnTo>
                    <a:pt x="748" y="330"/>
                  </a:lnTo>
                  <a:lnTo>
                    <a:pt x="748" y="330"/>
                  </a:lnTo>
                  <a:lnTo>
                    <a:pt x="737" y="330"/>
                  </a:lnTo>
                  <a:lnTo>
                    <a:pt x="730" y="330"/>
                  </a:lnTo>
                  <a:lnTo>
                    <a:pt x="727" y="329"/>
                  </a:lnTo>
                  <a:lnTo>
                    <a:pt x="724" y="327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18" y="298"/>
                  </a:lnTo>
                  <a:lnTo>
                    <a:pt x="717" y="287"/>
                  </a:lnTo>
                  <a:lnTo>
                    <a:pt x="714" y="283"/>
                  </a:lnTo>
                  <a:lnTo>
                    <a:pt x="711" y="281"/>
                  </a:lnTo>
                  <a:lnTo>
                    <a:pt x="711" y="281"/>
                  </a:lnTo>
                  <a:lnTo>
                    <a:pt x="703" y="281"/>
                  </a:lnTo>
                  <a:lnTo>
                    <a:pt x="698" y="281"/>
                  </a:lnTo>
                  <a:lnTo>
                    <a:pt x="693" y="281"/>
                  </a:lnTo>
                  <a:lnTo>
                    <a:pt x="692" y="280"/>
                  </a:lnTo>
                  <a:lnTo>
                    <a:pt x="692" y="277"/>
                  </a:lnTo>
                  <a:lnTo>
                    <a:pt x="692" y="277"/>
                  </a:lnTo>
                  <a:lnTo>
                    <a:pt x="692" y="273"/>
                  </a:lnTo>
                  <a:lnTo>
                    <a:pt x="693" y="268"/>
                  </a:lnTo>
                  <a:lnTo>
                    <a:pt x="692" y="265"/>
                  </a:lnTo>
                  <a:lnTo>
                    <a:pt x="690" y="262"/>
                  </a:lnTo>
                  <a:lnTo>
                    <a:pt x="681" y="256"/>
                  </a:lnTo>
                  <a:lnTo>
                    <a:pt x="681" y="256"/>
                  </a:lnTo>
                  <a:lnTo>
                    <a:pt x="672" y="252"/>
                  </a:lnTo>
                  <a:lnTo>
                    <a:pt x="659" y="247"/>
                  </a:lnTo>
                  <a:lnTo>
                    <a:pt x="628" y="241"/>
                  </a:lnTo>
                  <a:lnTo>
                    <a:pt x="585" y="234"/>
                  </a:lnTo>
                  <a:lnTo>
                    <a:pt x="585" y="234"/>
                  </a:lnTo>
                  <a:lnTo>
                    <a:pt x="570" y="230"/>
                  </a:lnTo>
                  <a:lnTo>
                    <a:pt x="563" y="227"/>
                  </a:lnTo>
                  <a:lnTo>
                    <a:pt x="561" y="225"/>
                  </a:lnTo>
                  <a:lnTo>
                    <a:pt x="561" y="222"/>
                  </a:lnTo>
                  <a:lnTo>
                    <a:pt x="561" y="222"/>
                  </a:lnTo>
                  <a:lnTo>
                    <a:pt x="564" y="213"/>
                  </a:lnTo>
                  <a:lnTo>
                    <a:pt x="564" y="209"/>
                  </a:lnTo>
                  <a:lnTo>
                    <a:pt x="563" y="203"/>
                  </a:lnTo>
                  <a:lnTo>
                    <a:pt x="563" y="203"/>
                  </a:lnTo>
                  <a:lnTo>
                    <a:pt x="558" y="191"/>
                  </a:lnTo>
                  <a:lnTo>
                    <a:pt x="558" y="187"/>
                  </a:lnTo>
                  <a:lnTo>
                    <a:pt x="558" y="185"/>
                  </a:lnTo>
                  <a:lnTo>
                    <a:pt x="561" y="184"/>
                  </a:lnTo>
                  <a:lnTo>
                    <a:pt x="561" y="184"/>
                  </a:lnTo>
                  <a:lnTo>
                    <a:pt x="564" y="182"/>
                  </a:lnTo>
                  <a:lnTo>
                    <a:pt x="566" y="181"/>
                  </a:lnTo>
                  <a:lnTo>
                    <a:pt x="567" y="175"/>
                  </a:lnTo>
                  <a:lnTo>
                    <a:pt x="570" y="164"/>
                  </a:lnTo>
                  <a:lnTo>
                    <a:pt x="570" y="164"/>
                  </a:lnTo>
                  <a:lnTo>
                    <a:pt x="572" y="161"/>
                  </a:lnTo>
                  <a:lnTo>
                    <a:pt x="576" y="159"/>
                  </a:lnTo>
                  <a:lnTo>
                    <a:pt x="579" y="157"/>
                  </a:lnTo>
                  <a:lnTo>
                    <a:pt x="581" y="154"/>
                  </a:lnTo>
                  <a:lnTo>
                    <a:pt x="581" y="154"/>
                  </a:lnTo>
                  <a:lnTo>
                    <a:pt x="581" y="150"/>
                  </a:lnTo>
                  <a:lnTo>
                    <a:pt x="579" y="145"/>
                  </a:lnTo>
                  <a:lnTo>
                    <a:pt x="576" y="136"/>
                  </a:lnTo>
                  <a:lnTo>
                    <a:pt x="576" y="136"/>
                  </a:lnTo>
                  <a:lnTo>
                    <a:pt x="576" y="133"/>
                  </a:lnTo>
                  <a:lnTo>
                    <a:pt x="578" y="129"/>
                  </a:lnTo>
                  <a:lnTo>
                    <a:pt x="576" y="124"/>
                  </a:lnTo>
                  <a:lnTo>
                    <a:pt x="575" y="123"/>
                  </a:lnTo>
                  <a:lnTo>
                    <a:pt x="573" y="122"/>
                  </a:lnTo>
                  <a:lnTo>
                    <a:pt x="573" y="122"/>
                  </a:lnTo>
                  <a:lnTo>
                    <a:pt x="564" y="120"/>
                  </a:lnTo>
                  <a:lnTo>
                    <a:pt x="564" y="120"/>
                  </a:lnTo>
                  <a:lnTo>
                    <a:pt x="557" y="119"/>
                  </a:lnTo>
                  <a:lnTo>
                    <a:pt x="554" y="116"/>
                  </a:lnTo>
                  <a:lnTo>
                    <a:pt x="554" y="116"/>
                  </a:lnTo>
                  <a:lnTo>
                    <a:pt x="545" y="101"/>
                  </a:lnTo>
                  <a:lnTo>
                    <a:pt x="539" y="90"/>
                  </a:lnTo>
                  <a:lnTo>
                    <a:pt x="536" y="87"/>
                  </a:lnTo>
                  <a:lnTo>
                    <a:pt x="532" y="84"/>
                  </a:lnTo>
                  <a:lnTo>
                    <a:pt x="532" y="84"/>
                  </a:lnTo>
                  <a:lnTo>
                    <a:pt x="529" y="83"/>
                  </a:lnTo>
                  <a:lnTo>
                    <a:pt x="524" y="83"/>
                  </a:lnTo>
                  <a:lnTo>
                    <a:pt x="512" y="86"/>
                  </a:lnTo>
                  <a:lnTo>
                    <a:pt x="484" y="98"/>
                  </a:lnTo>
                  <a:lnTo>
                    <a:pt x="484" y="98"/>
                  </a:lnTo>
                  <a:lnTo>
                    <a:pt x="474" y="104"/>
                  </a:lnTo>
                  <a:lnTo>
                    <a:pt x="465" y="108"/>
                  </a:lnTo>
                  <a:lnTo>
                    <a:pt x="459" y="113"/>
                  </a:lnTo>
                  <a:lnTo>
                    <a:pt x="455" y="116"/>
                  </a:lnTo>
                  <a:lnTo>
                    <a:pt x="455" y="116"/>
                  </a:lnTo>
                  <a:lnTo>
                    <a:pt x="450" y="114"/>
                  </a:lnTo>
                  <a:lnTo>
                    <a:pt x="446" y="111"/>
                  </a:lnTo>
                  <a:lnTo>
                    <a:pt x="437" y="104"/>
                  </a:lnTo>
                  <a:lnTo>
                    <a:pt x="437" y="104"/>
                  </a:lnTo>
                  <a:lnTo>
                    <a:pt x="434" y="102"/>
                  </a:lnTo>
                  <a:lnTo>
                    <a:pt x="429" y="101"/>
                  </a:lnTo>
                  <a:lnTo>
                    <a:pt x="418" y="98"/>
                  </a:lnTo>
                  <a:lnTo>
                    <a:pt x="407" y="96"/>
                  </a:lnTo>
                  <a:lnTo>
                    <a:pt x="403" y="96"/>
                  </a:lnTo>
                  <a:lnTo>
                    <a:pt x="401" y="95"/>
                  </a:lnTo>
                  <a:lnTo>
                    <a:pt x="401" y="95"/>
                  </a:lnTo>
                  <a:lnTo>
                    <a:pt x="397" y="89"/>
                  </a:lnTo>
                  <a:lnTo>
                    <a:pt x="391" y="79"/>
                  </a:lnTo>
                  <a:lnTo>
                    <a:pt x="391" y="79"/>
                  </a:lnTo>
                  <a:lnTo>
                    <a:pt x="387" y="73"/>
                  </a:lnTo>
                  <a:lnTo>
                    <a:pt x="381" y="70"/>
                  </a:lnTo>
                  <a:lnTo>
                    <a:pt x="370" y="67"/>
                  </a:lnTo>
                  <a:lnTo>
                    <a:pt x="355" y="65"/>
                  </a:lnTo>
                  <a:lnTo>
                    <a:pt x="355" y="65"/>
                  </a:lnTo>
                  <a:lnTo>
                    <a:pt x="339" y="64"/>
                  </a:lnTo>
                  <a:lnTo>
                    <a:pt x="321" y="62"/>
                  </a:lnTo>
                  <a:lnTo>
                    <a:pt x="308" y="58"/>
                  </a:lnTo>
                  <a:lnTo>
                    <a:pt x="304" y="56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4" y="50"/>
                  </a:lnTo>
                  <a:lnTo>
                    <a:pt x="305" y="46"/>
                  </a:lnTo>
                  <a:lnTo>
                    <a:pt x="307" y="40"/>
                  </a:lnTo>
                  <a:lnTo>
                    <a:pt x="305" y="37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298" y="34"/>
                  </a:lnTo>
                  <a:lnTo>
                    <a:pt x="292" y="34"/>
                  </a:lnTo>
                  <a:lnTo>
                    <a:pt x="287" y="34"/>
                  </a:lnTo>
                  <a:lnTo>
                    <a:pt x="283" y="34"/>
                  </a:lnTo>
                  <a:lnTo>
                    <a:pt x="283" y="34"/>
                  </a:lnTo>
                  <a:lnTo>
                    <a:pt x="278" y="33"/>
                  </a:lnTo>
                  <a:lnTo>
                    <a:pt x="273" y="31"/>
                  </a:lnTo>
                  <a:lnTo>
                    <a:pt x="267" y="30"/>
                  </a:lnTo>
                  <a:lnTo>
                    <a:pt x="261" y="27"/>
                  </a:lnTo>
                  <a:lnTo>
                    <a:pt x="261" y="27"/>
                  </a:lnTo>
                  <a:lnTo>
                    <a:pt x="258" y="24"/>
                  </a:lnTo>
                  <a:lnTo>
                    <a:pt x="255" y="24"/>
                  </a:lnTo>
                  <a:lnTo>
                    <a:pt x="249" y="22"/>
                  </a:lnTo>
                  <a:lnTo>
                    <a:pt x="241" y="21"/>
                  </a:lnTo>
                  <a:lnTo>
                    <a:pt x="238" y="19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25" y="7"/>
                  </a:lnTo>
                  <a:lnTo>
                    <a:pt x="212" y="2"/>
                  </a:lnTo>
                  <a:lnTo>
                    <a:pt x="206" y="0"/>
                  </a:lnTo>
                  <a:lnTo>
                    <a:pt x="200" y="0"/>
                  </a:lnTo>
                  <a:lnTo>
                    <a:pt x="194" y="0"/>
                  </a:lnTo>
                  <a:lnTo>
                    <a:pt x="190" y="3"/>
                  </a:lnTo>
                  <a:lnTo>
                    <a:pt x="190" y="3"/>
                  </a:lnTo>
                  <a:lnTo>
                    <a:pt x="185" y="10"/>
                  </a:lnTo>
                  <a:lnTo>
                    <a:pt x="182" y="16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8" y="25"/>
                  </a:lnTo>
                  <a:lnTo>
                    <a:pt x="170" y="25"/>
                  </a:lnTo>
                  <a:lnTo>
                    <a:pt x="163" y="27"/>
                  </a:lnTo>
                  <a:lnTo>
                    <a:pt x="160" y="28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7" y="40"/>
                  </a:lnTo>
                  <a:lnTo>
                    <a:pt x="156" y="47"/>
                  </a:lnTo>
                  <a:lnTo>
                    <a:pt x="156" y="53"/>
                  </a:lnTo>
                  <a:lnTo>
                    <a:pt x="154" y="58"/>
                  </a:lnTo>
                  <a:lnTo>
                    <a:pt x="154" y="58"/>
                  </a:lnTo>
                  <a:lnTo>
                    <a:pt x="151" y="61"/>
                  </a:lnTo>
                  <a:lnTo>
                    <a:pt x="145" y="62"/>
                  </a:lnTo>
                  <a:lnTo>
                    <a:pt x="142" y="64"/>
                  </a:lnTo>
                  <a:lnTo>
                    <a:pt x="141" y="65"/>
                  </a:lnTo>
                  <a:lnTo>
                    <a:pt x="142" y="68"/>
                  </a:lnTo>
                  <a:lnTo>
                    <a:pt x="142" y="68"/>
                  </a:lnTo>
                  <a:lnTo>
                    <a:pt x="148" y="74"/>
                  </a:lnTo>
                  <a:lnTo>
                    <a:pt x="148" y="77"/>
                  </a:lnTo>
                  <a:lnTo>
                    <a:pt x="148" y="82"/>
                  </a:lnTo>
                  <a:lnTo>
                    <a:pt x="148" y="82"/>
                  </a:lnTo>
                  <a:lnTo>
                    <a:pt x="147" y="89"/>
                  </a:lnTo>
                  <a:lnTo>
                    <a:pt x="144" y="96"/>
                  </a:lnTo>
                  <a:lnTo>
                    <a:pt x="139" y="102"/>
                  </a:lnTo>
                  <a:lnTo>
                    <a:pt x="136" y="104"/>
                  </a:lnTo>
                  <a:lnTo>
                    <a:pt x="133" y="105"/>
                  </a:lnTo>
                  <a:lnTo>
                    <a:pt x="133" y="105"/>
                  </a:lnTo>
                  <a:lnTo>
                    <a:pt x="130" y="107"/>
                  </a:lnTo>
                  <a:lnTo>
                    <a:pt x="129" y="108"/>
                  </a:lnTo>
                  <a:lnTo>
                    <a:pt x="126" y="114"/>
                  </a:lnTo>
                  <a:lnTo>
                    <a:pt x="123" y="119"/>
                  </a:lnTo>
                  <a:lnTo>
                    <a:pt x="121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0" y="116"/>
                  </a:lnTo>
                  <a:lnTo>
                    <a:pt x="105" y="114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89" y="123"/>
                  </a:lnTo>
                  <a:lnTo>
                    <a:pt x="84" y="124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76" y="124"/>
                  </a:lnTo>
                  <a:lnTo>
                    <a:pt x="73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67" y="130"/>
                  </a:lnTo>
                  <a:lnTo>
                    <a:pt x="62" y="132"/>
                  </a:lnTo>
                  <a:lnTo>
                    <a:pt x="59" y="133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49" y="161"/>
                  </a:lnTo>
                  <a:lnTo>
                    <a:pt x="49" y="161"/>
                  </a:lnTo>
                  <a:lnTo>
                    <a:pt x="46" y="170"/>
                  </a:lnTo>
                  <a:lnTo>
                    <a:pt x="42" y="175"/>
                  </a:lnTo>
                  <a:lnTo>
                    <a:pt x="40" y="176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24" y="179"/>
                  </a:lnTo>
                  <a:lnTo>
                    <a:pt x="19" y="181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2" y="190"/>
                  </a:lnTo>
                  <a:lnTo>
                    <a:pt x="9" y="19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8" name="Freeform 137">
              <a:extLst>
                <a:ext uri="{FF2B5EF4-FFF2-40B4-BE49-F238E27FC236}">
                  <a16:creationId xmlns:a16="http://schemas.microsoft.com/office/drawing/2014/main" id="{9D4367D1-7088-DB45-B6E9-044BE206F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8063" y="6494463"/>
              <a:ext cx="255588" cy="769937"/>
            </a:xfrm>
            <a:custGeom>
              <a:avLst/>
              <a:gdLst>
                <a:gd name="T0" fmla="*/ 160 w 161"/>
                <a:gd name="T1" fmla="*/ 6 h 485"/>
                <a:gd name="T2" fmla="*/ 158 w 161"/>
                <a:gd name="T3" fmla="*/ 11 h 485"/>
                <a:gd name="T4" fmla="*/ 142 w 161"/>
                <a:gd name="T5" fmla="*/ 20 h 485"/>
                <a:gd name="T6" fmla="*/ 136 w 161"/>
                <a:gd name="T7" fmla="*/ 30 h 485"/>
                <a:gd name="T8" fmla="*/ 133 w 161"/>
                <a:gd name="T9" fmla="*/ 40 h 485"/>
                <a:gd name="T10" fmla="*/ 138 w 161"/>
                <a:gd name="T11" fmla="*/ 52 h 485"/>
                <a:gd name="T12" fmla="*/ 144 w 161"/>
                <a:gd name="T13" fmla="*/ 69 h 485"/>
                <a:gd name="T14" fmla="*/ 138 w 161"/>
                <a:gd name="T15" fmla="*/ 88 h 485"/>
                <a:gd name="T16" fmla="*/ 135 w 161"/>
                <a:gd name="T17" fmla="*/ 97 h 485"/>
                <a:gd name="T18" fmla="*/ 142 w 161"/>
                <a:gd name="T19" fmla="*/ 104 h 485"/>
                <a:gd name="T20" fmla="*/ 142 w 161"/>
                <a:gd name="T21" fmla="*/ 109 h 485"/>
                <a:gd name="T22" fmla="*/ 138 w 161"/>
                <a:gd name="T23" fmla="*/ 132 h 485"/>
                <a:gd name="T24" fmla="*/ 145 w 161"/>
                <a:gd name="T25" fmla="*/ 137 h 485"/>
                <a:gd name="T26" fmla="*/ 150 w 161"/>
                <a:gd name="T27" fmla="*/ 141 h 485"/>
                <a:gd name="T28" fmla="*/ 148 w 161"/>
                <a:gd name="T29" fmla="*/ 152 h 485"/>
                <a:gd name="T30" fmla="*/ 141 w 161"/>
                <a:gd name="T31" fmla="*/ 186 h 485"/>
                <a:gd name="T32" fmla="*/ 133 w 161"/>
                <a:gd name="T33" fmla="*/ 209 h 485"/>
                <a:gd name="T34" fmla="*/ 120 w 161"/>
                <a:gd name="T35" fmla="*/ 221 h 485"/>
                <a:gd name="T36" fmla="*/ 99 w 161"/>
                <a:gd name="T37" fmla="*/ 232 h 485"/>
                <a:gd name="T38" fmla="*/ 98 w 161"/>
                <a:gd name="T39" fmla="*/ 234 h 485"/>
                <a:gd name="T40" fmla="*/ 108 w 161"/>
                <a:gd name="T41" fmla="*/ 239 h 485"/>
                <a:gd name="T42" fmla="*/ 108 w 161"/>
                <a:gd name="T43" fmla="*/ 243 h 485"/>
                <a:gd name="T44" fmla="*/ 105 w 161"/>
                <a:gd name="T45" fmla="*/ 260 h 485"/>
                <a:gd name="T46" fmla="*/ 111 w 161"/>
                <a:gd name="T47" fmla="*/ 267 h 485"/>
                <a:gd name="T48" fmla="*/ 108 w 161"/>
                <a:gd name="T49" fmla="*/ 272 h 485"/>
                <a:gd name="T50" fmla="*/ 93 w 161"/>
                <a:gd name="T51" fmla="*/ 267 h 485"/>
                <a:gd name="T52" fmla="*/ 77 w 161"/>
                <a:gd name="T53" fmla="*/ 266 h 485"/>
                <a:gd name="T54" fmla="*/ 56 w 161"/>
                <a:gd name="T55" fmla="*/ 267 h 485"/>
                <a:gd name="T56" fmla="*/ 43 w 161"/>
                <a:gd name="T57" fmla="*/ 274 h 485"/>
                <a:gd name="T58" fmla="*/ 46 w 161"/>
                <a:gd name="T59" fmla="*/ 280 h 485"/>
                <a:gd name="T60" fmla="*/ 40 w 161"/>
                <a:gd name="T61" fmla="*/ 288 h 485"/>
                <a:gd name="T62" fmla="*/ 31 w 161"/>
                <a:gd name="T63" fmla="*/ 292 h 485"/>
                <a:gd name="T64" fmla="*/ 30 w 161"/>
                <a:gd name="T65" fmla="*/ 298 h 485"/>
                <a:gd name="T66" fmla="*/ 27 w 161"/>
                <a:gd name="T67" fmla="*/ 306 h 485"/>
                <a:gd name="T68" fmla="*/ 25 w 161"/>
                <a:gd name="T69" fmla="*/ 310 h 485"/>
                <a:gd name="T70" fmla="*/ 24 w 161"/>
                <a:gd name="T71" fmla="*/ 319 h 485"/>
                <a:gd name="T72" fmla="*/ 18 w 161"/>
                <a:gd name="T73" fmla="*/ 335 h 485"/>
                <a:gd name="T74" fmla="*/ 16 w 161"/>
                <a:gd name="T75" fmla="*/ 344 h 485"/>
                <a:gd name="T76" fmla="*/ 12 w 161"/>
                <a:gd name="T77" fmla="*/ 371 h 485"/>
                <a:gd name="T78" fmla="*/ 3 w 161"/>
                <a:gd name="T79" fmla="*/ 384 h 485"/>
                <a:gd name="T80" fmla="*/ 3 w 161"/>
                <a:gd name="T81" fmla="*/ 390 h 485"/>
                <a:gd name="T82" fmla="*/ 9 w 161"/>
                <a:gd name="T83" fmla="*/ 397 h 485"/>
                <a:gd name="T84" fmla="*/ 12 w 161"/>
                <a:gd name="T85" fmla="*/ 408 h 485"/>
                <a:gd name="T86" fmla="*/ 15 w 161"/>
                <a:gd name="T87" fmla="*/ 411 h 485"/>
                <a:gd name="T88" fmla="*/ 15 w 161"/>
                <a:gd name="T89" fmla="*/ 423 h 485"/>
                <a:gd name="T90" fmla="*/ 18 w 161"/>
                <a:gd name="T91" fmla="*/ 433 h 485"/>
                <a:gd name="T92" fmla="*/ 13 w 161"/>
                <a:gd name="T93" fmla="*/ 439 h 485"/>
                <a:gd name="T94" fmla="*/ 4 w 161"/>
                <a:gd name="T95" fmla="*/ 446 h 485"/>
                <a:gd name="T96" fmla="*/ 0 w 161"/>
                <a:gd name="T97" fmla="*/ 464 h 485"/>
                <a:gd name="T98" fmla="*/ 1 w 161"/>
                <a:gd name="T99" fmla="*/ 474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1" h="485">
                  <a:moveTo>
                    <a:pt x="154" y="0"/>
                  </a:moveTo>
                  <a:lnTo>
                    <a:pt x="154" y="0"/>
                  </a:lnTo>
                  <a:lnTo>
                    <a:pt x="160" y="6"/>
                  </a:lnTo>
                  <a:lnTo>
                    <a:pt x="161" y="8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48" y="12"/>
                  </a:lnTo>
                  <a:lnTo>
                    <a:pt x="145" y="15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39" y="26"/>
                  </a:lnTo>
                  <a:lnTo>
                    <a:pt x="136" y="30"/>
                  </a:lnTo>
                  <a:lnTo>
                    <a:pt x="133" y="35"/>
                  </a:lnTo>
                  <a:lnTo>
                    <a:pt x="133" y="38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5" y="46"/>
                  </a:lnTo>
                  <a:lnTo>
                    <a:pt x="138" y="52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9"/>
                  </a:lnTo>
                  <a:lnTo>
                    <a:pt x="144" y="73"/>
                  </a:lnTo>
                  <a:lnTo>
                    <a:pt x="141" y="80"/>
                  </a:lnTo>
                  <a:lnTo>
                    <a:pt x="138" y="88"/>
                  </a:lnTo>
                  <a:lnTo>
                    <a:pt x="135" y="94"/>
                  </a:lnTo>
                  <a:lnTo>
                    <a:pt x="135" y="94"/>
                  </a:lnTo>
                  <a:lnTo>
                    <a:pt x="135" y="97"/>
                  </a:lnTo>
                  <a:lnTo>
                    <a:pt x="136" y="98"/>
                  </a:lnTo>
                  <a:lnTo>
                    <a:pt x="139" y="101"/>
                  </a:lnTo>
                  <a:lnTo>
                    <a:pt x="142" y="104"/>
                  </a:lnTo>
                  <a:lnTo>
                    <a:pt x="144" y="107"/>
                  </a:lnTo>
                  <a:lnTo>
                    <a:pt x="142" y="109"/>
                  </a:lnTo>
                  <a:lnTo>
                    <a:pt x="142" y="109"/>
                  </a:lnTo>
                  <a:lnTo>
                    <a:pt x="138" y="122"/>
                  </a:lnTo>
                  <a:lnTo>
                    <a:pt x="136" y="129"/>
                  </a:lnTo>
                  <a:lnTo>
                    <a:pt x="138" y="132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45" y="137"/>
                  </a:lnTo>
                  <a:lnTo>
                    <a:pt x="148" y="138"/>
                  </a:lnTo>
                  <a:lnTo>
                    <a:pt x="150" y="140"/>
                  </a:lnTo>
                  <a:lnTo>
                    <a:pt x="150" y="141"/>
                  </a:lnTo>
                  <a:lnTo>
                    <a:pt x="148" y="149"/>
                  </a:lnTo>
                  <a:lnTo>
                    <a:pt x="148" y="149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4" y="168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38" y="197"/>
                  </a:lnTo>
                  <a:lnTo>
                    <a:pt x="133" y="209"/>
                  </a:lnTo>
                  <a:lnTo>
                    <a:pt x="127" y="217"/>
                  </a:lnTo>
                  <a:lnTo>
                    <a:pt x="124" y="220"/>
                  </a:lnTo>
                  <a:lnTo>
                    <a:pt x="120" y="221"/>
                  </a:lnTo>
                  <a:lnTo>
                    <a:pt x="120" y="221"/>
                  </a:lnTo>
                  <a:lnTo>
                    <a:pt x="104" y="229"/>
                  </a:lnTo>
                  <a:lnTo>
                    <a:pt x="99" y="232"/>
                  </a:lnTo>
                  <a:lnTo>
                    <a:pt x="98" y="233"/>
                  </a:lnTo>
                  <a:lnTo>
                    <a:pt x="98" y="234"/>
                  </a:lnTo>
                  <a:lnTo>
                    <a:pt x="98" y="234"/>
                  </a:lnTo>
                  <a:lnTo>
                    <a:pt x="102" y="236"/>
                  </a:lnTo>
                  <a:lnTo>
                    <a:pt x="105" y="237"/>
                  </a:lnTo>
                  <a:lnTo>
                    <a:pt x="108" y="239"/>
                  </a:lnTo>
                  <a:lnTo>
                    <a:pt x="108" y="240"/>
                  </a:lnTo>
                  <a:lnTo>
                    <a:pt x="108" y="243"/>
                  </a:lnTo>
                  <a:lnTo>
                    <a:pt x="108" y="243"/>
                  </a:lnTo>
                  <a:lnTo>
                    <a:pt x="104" y="252"/>
                  </a:lnTo>
                  <a:lnTo>
                    <a:pt x="102" y="257"/>
                  </a:lnTo>
                  <a:lnTo>
                    <a:pt x="105" y="260"/>
                  </a:lnTo>
                  <a:lnTo>
                    <a:pt x="105" y="260"/>
                  </a:lnTo>
                  <a:lnTo>
                    <a:pt x="110" y="263"/>
                  </a:lnTo>
                  <a:lnTo>
                    <a:pt x="111" y="267"/>
                  </a:lnTo>
                  <a:lnTo>
                    <a:pt x="111" y="270"/>
                  </a:lnTo>
                  <a:lnTo>
                    <a:pt x="108" y="272"/>
                  </a:lnTo>
                  <a:lnTo>
                    <a:pt x="108" y="272"/>
                  </a:lnTo>
                  <a:lnTo>
                    <a:pt x="105" y="270"/>
                  </a:lnTo>
                  <a:lnTo>
                    <a:pt x="99" y="269"/>
                  </a:lnTo>
                  <a:lnTo>
                    <a:pt x="93" y="267"/>
                  </a:lnTo>
                  <a:lnTo>
                    <a:pt x="86" y="266"/>
                  </a:lnTo>
                  <a:lnTo>
                    <a:pt x="86" y="266"/>
                  </a:lnTo>
                  <a:lnTo>
                    <a:pt x="7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56" y="267"/>
                  </a:lnTo>
                  <a:lnTo>
                    <a:pt x="49" y="269"/>
                  </a:lnTo>
                  <a:lnTo>
                    <a:pt x="43" y="273"/>
                  </a:lnTo>
                  <a:lnTo>
                    <a:pt x="43" y="274"/>
                  </a:lnTo>
                  <a:lnTo>
                    <a:pt x="43" y="276"/>
                  </a:lnTo>
                  <a:lnTo>
                    <a:pt x="43" y="276"/>
                  </a:lnTo>
                  <a:lnTo>
                    <a:pt x="46" y="280"/>
                  </a:lnTo>
                  <a:lnTo>
                    <a:pt x="46" y="283"/>
                  </a:lnTo>
                  <a:lnTo>
                    <a:pt x="44" y="286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34" y="291"/>
                  </a:lnTo>
                  <a:lnTo>
                    <a:pt x="31" y="292"/>
                  </a:lnTo>
                  <a:lnTo>
                    <a:pt x="30" y="295"/>
                  </a:lnTo>
                  <a:lnTo>
                    <a:pt x="30" y="298"/>
                  </a:lnTo>
                  <a:lnTo>
                    <a:pt x="30" y="298"/>
                  </a:lnTo>
                  <a:lnTo>
                    <a:pt x="31" y="301"/>
                  </a:lnTo>
                  <a:lnTo>
                    <a:pt x="30" y="303"/>
                  </a:lnTo>
                  <a:lnTo>
                    <a:pt x="27" y="306"/>
                  </a:lnTo>
                  <a:lnTo>
                    <a:pt x="27" y="309"/>
                  </a:lnTo>
                  <a:lnTo>
                    <a:pt x="27" y="309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4" y="319"/>
                  </a:lnTo>
                  <a:lnTo>
                    <a:pt x="24" y="319"/>
                  </a:lnTo>
                  <a:lnTo>
                    <a:pt x="22" y="326"/>
                  </a:lnTo>
                  <a:lnTo>
                    <a:pt x="19" y="332"/>
                  </a:lnTo>
                  <a:lnTo>
                    <a:pt x="18" y="335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6" y="344"/>
                  </a:lnTo>
                  <a:lnTo>
                    <a:pt x="16" y="353"/>
                  </a:lnTo>
                  <a:lnTo>
                    <a:pt x="15" y="362"/>
                  </a:lnTo>
                  <a:lnTo>
                    <a:pt x="12" y="371"/>
                  </a:lnTo>
                  <a:lnTo>
                    <a:pt x="12" y="371"/>
                  </a:lnTo>
                  <a:lnTo>
                    <a:pt x="4" y="380"/>
                  </a:lnTo>
                  <a:lnTo>
                    <a:pt x="3" y="384"/>
                  </a:lnTo>
                  <a:lnTo>
                    <a:pt x="1" y="387"/>
                  </a:lnTo>
                  <a:lnTo>
                    <a:pt x="1" y="387"/>
                  </a:lnTo>
                  <a:lnTo>
                    <a:pt x="3" y="390"/>
                  </a:lnTo>
                  <a:lnTo>
                    <a:pt x="6" y="393"/>
                  </a:lnTo>
                  <a:lnTo>
                    <a:pt x="9" y="394"/>
                  </a:lnTo>
                  <a:lnTo>
                    <a:pt x="9" y="397"/>
                  </a:lnTo>
                  <a:lnTo>
                    <a:pt x="9" y="397"/>
                  </a:lnTo>
                  <a:lnTo>
                    <a:pt x="10" y="405"/>
                  </a:lnTo>
                  <a:lnTo>
                    <a:pt x="12" y="408"/>
                  </a:lnTo>
                  <a:lnTo>
                    <a:pt x="13" y="409"/>
                  </a:lnTo>
                  <a:lnTo>
                    <a:pt x="13" y="409"/>
                  </a:lnTo>
                  <a:lnTo>
                    <a:pt x="15" y="411"/>
                  </a:lnTo>
                  <a:lnTo>
                    <a:pt x="13" y="414"/>
                  </a:lnTo>
                  <a:lnTo>
                    <a:pt x="13" y="418"/>
                  </a:lnTo>
                  <a:lnTo>
                    <a:pt x="15" y="423"/>
                  </a:lnTo>
                  <a:lnTo>
                    <a:pt x="15" y="423"/>
                  </a:lnTo>
                  <a:lnTo>
                    <a:pt x="16" y="429"/>
                  </a:lnTo>
                  <a:lnTo>
                    <a:pt x="18" y="433"/>
                  </a:lnTo>
                  <a:lnTo>
                    <a:pt x="16" y="437"/>
                  </a:lnTo>
                  <a:lnTo>
                    <a:pt x="13" y="439"/>
                  </a:lnTo>
                  <a:lnTo>
                    <a:pt x="13" y="439"/>
                  </a:lnTo>
                  <a:lnTo>
                    <a:pt x="7" y="442"/>
                  </a:lnTo>
                  <a:lnTo>
                    <a:pt x="6" y="443"/>
                  </a:lnTo>
                  <a:lnTo>
                    <a:pt x="4" y="446"/>
                  </a:lnTo>
                  <a:lnTo>
                    <a:pt x="4" y="446"/>
                  </a:lnTo>
                  <a:lnTo>
                    <a:pt x="3" y="455"/>
                  </a:lnTo>
                  <a:lnTo>
                    <a:pt x="0" y="464"/>
                  </a:lnTo>
                  <a:lnTo>
                    <a:pt x="0" y="464"/>
                  </a:lnTo>
                  <a:lnTo>
                    <a:pt x="0" y="468"/>
                  </a:lnTo>
                  <a:lnTo>
                    <a:pt x="1" y="474"/>
                  </a:lnTo>
                  <a:lnTo>
                    <a:pt x="3" y="485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59" name="Freeform 138">
              <a:extLst>
                <a:ext uri="{FF2B5EF4-FFF2-40B4-BE49-F238E27FC236}">
                  <a16:creationId xmlns:a16="http://schemas.microsoft.com/office/drawing/2014/main" id="{180C457A-7F61-A04B-B2CE-6675D00A1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8950" y="6048375"/>
              <a:ext cx="773113" cy="806450"/>
            </a:xfrm>
            <a:custGeom>
              <a:avLst/>
              <a:gdLst>
                <a:gd name="T0" fmla="*/ 75 w 487"/>
                <a:gd name="T1" fmla="*/ 481 h 508"/>
                <a:gd name="T2" fmla="*/ 97 w 487"/>
                <a:gd name="T3" fmla="*/ 477 h 508"/>
                <a:gd name="T4" fmla="*/ 89 w 487"/>
                <a:gd name="T5" fmla="*/ 462 h 508"/>
                <a:gd name="T6" fmla="*/ 97 w 487"/>
                <a:gd name="T7" fmla="*/ 455 h 508"/>
                <a:gd name="T8" fmla="*/ 117 w 487"/>
                <a:gd name="T9" fmla="*/ 443 h 508"/>
                <a:gd name="T10" fmla="*/ 139 w 487"/>
                <a:gd name="T11" fmla="*/ 403 h 508"/>
                <a:gd name="T12" fmla="*/ 148 w 487"/>
                <a:gd name="T13" fmla="*/ 400 h 508"/>
                <a:gd name="T14" fmla="*/ 155 w 487"/>
                <a:gd name="T15" fmla="*/ 385 h 508"/>
                <a:gd name="T16" fmla="*/ 167 w 487"/>
                <a:gd name="T17" fmla="*/ 369 h 508"/>
                <a:gd name="T18" fmla="*/ 185 w 487"/>
                <a:gd name="T19" fmla="*/ 381 h 508"/>
                <a:gd name="T20" fmla="*/ 201 w 487"/>
                <a:gd name="T21" fmla="*/ 381 h 508"/>
                <a:gd name="T22" fmla="*/ 210 w 487"/>
                <a:gd name="T23" fmla="*/ 357 h 508"/>
                <a:gd name="T24" fmla="*/ 206 w 487"/>
                <a:gd name="T25" fmla="*/ 320 h 508"/>
                <a:gd name="T26" fmla="*/ 201 w 487"/>
                <a:gd name="T27" fmla="*/ 302 h 508"/>
                <a:gd name="T28" fmla="*/ 182 w 487"/>
                <a:gd name="T29" fmla="*/ 314 h 508"/>
                <a:gd name="T30" fmla="*/ 173 w 487"/>
                <a:gd name="T31" fmla="*/ 305 h 508"/>
                <a:gd name="T32" fmla="*/ 164 w 487"/>
                <a:gd name="T33" fmla="*/ 293 h 508"/>
                <a:gd name="T34" fmla="*/ 172 w 487"/>
                <a:gd name="T35" fmla="*/ 283 h 508"/>
                <a:gd name="T36" fmla="*/ 191 w 487"/>
                <a:gd name="T37" fmla="*/ 268 h 508"/>
                <a:gd name="T38" fmla="*/ 191 w 487"/>
                <a:gd name="T39" fmla="*/ 234 h 508"/>
                <a:gd name="T40" fmla="*/ 243 w 487"/>
                <a:gd name="T41" fmla="*/ 182 h 508"/>
                <a:gd name="T42" fmla="*/ 256 w 487"/>
                <a:gd name="T43" fmla="*/ 185 h 508"/>
                <a:gd name="T44" fmla="*/ 266 w 487"/>
                <a:gd name="T45" fmla="*/ 200 h 508"/>
                <a:gd name="T46" fmla="*/ 256 w 487"/>
                <a:gd name="T47" fmla="*/ 227 h 508"/>
                <a:gd name="T48" fmla="*/ 291 w 487"/>
                <a:gd name="T49" fmla="*/ 239 h 508"/>
                <a:gd name="T50" fmla="*/ 296 w 487"/>
                <a:gd name="T51" fmla="*/ 262 h 508"/>
                <a:gd name="T52" fmla="*/ 331 w 487"/>
                <a:gd name="T53" fmla="*/ 281 h 508"/>
                <a:gd name="T54" fmla="*/ 355 w 487"/>
                <a:gd name="T55" fmla="*/ 270 h 508"/>
                <a:gd name="T56" fmla="*/ 389 w 487"/>
                <a:gd name="T57" fmla="*/ 286 h 508"/>
                <a:gd name="T58" fmla="*/ 417 w 487"/>
                <a:gd name="T59" fmla="*/ 299 h 508"/>
                <a:gd name="T60" fmla="*/ 457 w 487"/>
                <a:gd name="T61" fmla="*/ 292 h 508"/>
                <a:gd name="T62" fmla="*/ 481 w 487"/>
                <a:gd name="T63" fmla="*/ 281 h 508"/>
                <a:gd name="T64" fmla="*/ 484 w 487"/>
                <a:gd name="T65" fmla="*/ 271 h 508"/>
                <a:gd name="T66" fmla="*/ 465 w 487"/>
                <a:gd name="T67" fmla="*/ 244 h 508"/>
                <a:gd name="T68" fmla="*/ 434 w 487"/>
                <a:gd name="T69" fmla="*/ 231 h 508"/>
                <a:gd name="T70" fmla="*/ 417 w 487"/>
                <a:gd name="T71" fmla="*/ 215 h 508"/>
                <a:gd name="T72" fmla="*/ 391 w 487"/>
                <a:gd name="T73" fmla="*/ 207 h 508"/>
                <a:gd name="T74" fmla="*/ 385 w 487"/>
                <a:gd name="T75" fmla="*/ 194 h 508"/>
                <a:gd name="T76" fmla="*/ 383 w 487"/>
                <a:gd name="T77" fmla="*/ 172 h 508"/>
                <a:gd name="T78" fmla="*/ 389 w 487"/>
                <a:gd name="T79" fmla="*/ 163 h 508"/>
                <a:gd name="T80" fmla="*/ 373 w 487"/>
                <a:gd name="T81" fmla="*/ 151 h 508"/>
                <a:gd name="T82" fmla="*/ 370 w 487"/>
                <a:gd name="T83" fmla="*/ 119 h 508"/>
                <a:gd name="T84" fmla="*/ 349 w 487"/>
                <a:gd name="T85" fmla="*/ 93 h 508"/>
                <a:gd name="T86" fmla="*/ 333 w 487"/>
                <a:gd name="T87" fmla="*/ 62 h 508"/>
                <a:gd name="T88" fmla="*/ 333 w 487"/>
                <a:gd name="T89" fmla="*/ 42 h 508"/>
                <a:gd name="T90" fmla="*/ 302 w 487"/>
                <a:gd name="T91" fmla="*/ 36 h 508"/>
                <a:gd name="T92" fmla="*/ 266 w 487"/>
                <a:gd name="T93" fmla="*/ 13 h 508"/>
                <a:gd name="T94" fmla="*/ 241 w 487"/>
                <a:gd name="T95" fmla="*/ 2 h 508"/>
                <a:gd name="T96" fmla="*/ 207 w 487"/>
                <a:gd name="T97" fmla="*/ 18 h 508"/>
                <a:gd name="T98" fmla="*/ 176 w 487"/>
                <a:gd name="T99" fmla="*/ 27 h 508"/>
                <a:gd name="T100" fmla="*/ 133 w 487"/>
                <a:gd name="T101" fmla="*/ 34 h 508"/>
                <a:gd name="T102" fmla="*/ 124 w 487"/>
                <a:gd name="T103" fmla="*/ 28 h 508"/>
                <a:gd name="T104" fmla="*/ 83 w 487"/>
                <a:gd name="T105" fmla="*/ 40 h 508"/>
                <a:gd name="T106" fmla="*/ 66 w 487"/>
                <a:gd name="T107" fmla="*/ 39 h 508"/>
                <a:gd name="T108" fmla="*/ 43 w 487"/>
                <a:gd name="T109" fmla="*/ 52 h 508"/>
                <a:gd name="T110" fmla="*/ 9 w 487"/>
                <a:gd name="T111" fmla="*/ 37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7" h="508">
                  <a:moveTo>
                    <a:pt x="66" y="508"/>
                  </a:moveTo>
                  <a:lnTo>
                    <a:pt x="66" y="508"/>
                  </a:lnTo>
                  <a:lnTo>
                    <a:pt x="75" y="487"/>
                  </a:lnTo>
                  <a:lnTo>
                    <a:pt x="75" y="487"/>
                  </a:lnTo>
                  <a:lnTo>
                    <a:pt x="75" y="483"/>
                  </a:lnTo>
                  <a:lnTo>
                    <a:pt x="75" y="481"/>
                  </a:lnTo>
                  <a:lnTo>
                    <a:pt x="77" y="478"/>
                  </a:lnTo>
                  <a:lnTo>
                    <a:pt x="81" y="478"/>
                  </a:lnTo>
                  <a:lnTo>
                    <a:pt x="81" y="478"/>
                  </a:lnTo>
                  <a:lnTo>
                    <a:pt x="93" y="480"/>
                  </a:lnTo>
                  <a:lnTo>
                    <a:pt x="96" y="478"/>
                  </a:lnTo>
                  <a:lnTo>
                    <a:pt x="97" y="477"/>
                  </a:lnTo>
                  <a:lnTo>
                    <a:pt x="96" y="474"/>
                  </a:lnTo>
                  <a:lnTo>
                    <a:pt x="96" y="474"/>
                  </a:lnTo>
                  <a:lnTo>
                    <a:pt x="93" y="470"/>
                  </a:lnTo>
                  <a:lnTo>
                    <a:pt x="90" y="467"/>
                  </a:lnTo>
                  <a:lnTo>
                    <a:pt x="89" y="465"/>
                  </a:lnTo>
                  <a:lnTo>
                    <a:pt x="89" y="462"/>
                  </a:lnTo>
                  <a:lnTo>
                    <a:pt x="89" y="462"/>
                  </a:lnTo>
                  <a:lnTo>
                    <a:pt x="89" y="459"/>
                  </a:lnTo>
                  <a:lnTo>
                    <a:pt x="92" y="456"/>
                  </a:lnTo>
                  <a:lnTo>
                    <a:pt x="95" y="455"/>
                  </a:lnTo>
                  <a:lnTo>
                    <a:pt x="97" y="455"/>
                  </a:lnTo>
                  <a:lnTo>
                    <a:pt x="97" y="455"/>
                  </a:lnTo>
                  <a:lnTo>
                    <a:pt x="102" y="456"/>
                  </a:lnTo>
                  <a:lnTo>
                    <a:pt x="105" y="456"/>
                  </a:lnTo>
                  <a:lnTo>
                    <a:pt x="109" y="455"/>
                  </a:lnTo>
                  <a:lnTo>
                    <a:pt x="112" y="452"/>
                  </a:lnTo>
                  <a:lnTo>
                    <a:pt x="112" y="452"/>
                  </a:lnTo>
                  <a:lnTo>
                    <a:pt x="117" y="443"/>
                  </a:lnTo>
                  <a:lnTo>
                    <a:pt x="124" y="433"/>
                  </a:lnTo>
                  <a:lnTo>
                    <a:pt x="124" y="433"/>
                  </a:lnTo>
                  <a:lnTo>
                    <a:pt x="133" y="421"/>
                  </a:lnTo>
                  <a:lnTo>
                    <a:pt x="136" y="412"/>
                  </a:lnTo>
                  <a:lnTo>
                    <a:pt x="136" y="412"/>
                  </a:lnTo>
                  <a:lnTo>
                    <a:pt x="139" y="403"/>
                  </a:lnTo>
                  <a:lnTo>
                    <a:pt x="140" y="400"/>
                  </a:lnTo>
                  <a:lnTo>
                    <a:pt x="142" y="400"/>
                  </a:lnTo>
                  <a:lnTo>
                    <a:pt x="143" y="400"/>
                  </a:lnTo>
                  <a:lnTo>
                    <a:pt x="143" y="400"/>
                  </a:lnTo>
                  <a:lnTo>
                    <a:pt x="145" y="401"/>
                  </a:lnTo>
                  <a:lnTo>
                    <a:pt x="148" y="400"/>
                  </a:lnTo>
                  <a:lnTo>
                    <a:pt x="151" y="394"/>
                  </a:lnTo>
                  <a:lnTo>
                    <a:pt x="151" y="394"/>
                  </a:lnTo>
                  <a:lnTo>
                    <a:pt x="152" y="388"/>
                  </a:lnTo>
                  <a:lnTo>
                    <a:pt x="154" y="385"/>
                  </a:lnTo>
                  <a:lnTo>
                    <a:pt x="155" y="385"/>
                  </a:lnTo>
                  <a:lnTo>
                    <a:pt x="155" y="385"/>
                  </a:lnTo>
                  <a:lnTo>
                    <a:pt x="157" y="382"/>
                  </a:lnTo>
                  <a:lnTo>
                    <a:pt x="160" y="376"/>
                  </a:lnTo>
                  <a:lnTo>
                    <a:pt x="163" y="370"/>
                  </a:lnTo>
                  <a:lnTo>
                    <a:pt x="166" y="369"/>
                  </a:lnTo>
                  <a:lnTo>
                    <a:pt x="167" y="369"/>
                  </a:lnTo>
                  <a:lnTo>
                    <a:pt x="167" y="369"/>
                  </a:lnTo>
                  <a:lnTo>
                    <a:pt x="172" y="370"/>
                  </a:lnTo>
                  <a:lnTo>
                    <a:pt x="173" y="372"/>
                  </a:lnTo>
                  <a:lnTo>
                    <a:pt x="179" y="375"/>
                  </a:lnTo>
                  <a:lnTo>
                    <a:pt x="179" y="375"/>
                  </a:lnTo>
                  <a:lnTo>
                    <a:pt x="182" y="378"/>
                  </a:lnTo>
                  <a:lnTo>
                    <a:pt x="185" y="381"/>
                  </a:lnTo>
                  <a:lnTo>
                    <a:pt x="188" y="384"/>
                  </a:lnTo>
                  <a:lnTo>
                    <a:pt x="191" y="385"/>
                  </a:lnTo>
                  <a:lnTo>
                    <a:pt x="191" y="385"/>
                  </a:lnTo>
                  <a:lnTo>
                    <a:pt x="194" y="385"/>
                  </a:lnTo>
                  <a:lnTo>
                    <a:pt x="197" y="384"/>
                  </a:lnTo>
                  <a:lnTo>
                    <a:pt x="201" y="381"/>
                  </a:lnTo>
                  <a:lnTo>
                    <a:pt x="201" y="381"/>
                  </a:lnTo>
                  <a:lnTo>
                    <a:pt x="206" y="376"/>
                  </a:lnTo>
                  <a:lnTo>
                    <a:pt x="207" y="370"/>
                  </a:lnTo>
                  <a:lnTo>
                    <a:pt x="209" y="363"/>
                  </a:lnTo>
                  <a:lnTo>
                    <a:pt x="210" y="357"/>
                  </a:lnTo>
                  <a:lnTo>
                    <a:pt x="210" y="357"/>
                  </a:lnTo>
                  <a:lnTo>
                    <a:pt x="209" y="350"/>
                  </a:lnTo>
                  <a:lnTo>
                    <a:pt x="206" y="342"/>
                  </a:lnTo>
                  <a:lnTo>
                    <a:pt x="204" y="333"/>
                  </a:lnTo>
                  <a:lnTo>
                    <a:pt x="204" y="326"/>
                  </a:lnTo>
                  <a:lnTo>
                    <a:pt x="204" y="326"/>
                  </a:lnTo>
                  <a:lnTo>
                    <a:pt x="206" y="320"/>
                  </a:lnTo>
                  <a:lnTo>
                    <a:pt x="207" y="316"/>
                  </a:lnTo>
                  <a:lnTo>
                    <a:pt x="209" y="313"/>
                  </a:lnTo>
                  <a:lnTo>
                    <a:pt x="207" y="310"/>
                  </a:lnTo>
                  <a:lnTo>
                    <a:pt x="207" y="310"/>
                  </a:lnTo>
                  <a:lnTo>
                    <a:pt x="204" y="305"/>
                  </a:lnTo>
                  <a:lnTo>
                    <a:pt x="201" y="302"/>
                  </a:lnTo>
                  <a:lnTo>
                    <a:pt x="197" y="301"/>
                  </a:lnTo>
                  <a:lnTo>
                    <a:pt x="192" y="302"/>
                  </a:lnTo>
                  <a:lnTo>
                    <a:pt x="192" y="302"/>
                  </a:lnTo>
                  <a:lnTo>
                    <a:pt x="188" y="307"/>
                  </a:lnTo>
                  <a:lnTo>
                    <a:pt x="185" y="311"/>
                  </a:lnTo>
                  <a:lnTo>
                    <a:pt x="182" y="314"/>
                  </a:lnTo>
                  <a:lnTo>
                    <a:pt x="180" y="316"/>
                  </a:lnTo>
                  <a:lnTo>
                    <a:pt x="177" y="314"/>
                  </a:lnTo>
                  <a:lnTo>
                    <a:pt x="177" y="314"/>
                  </a:lnTo>
                  <a:lnTo>
                    <a:pt x="176" y="313"/>
                  </a:lnTo>
                  <a:lnTo>
                    <a:pt x="174" y="310"/>
                  </a:lnTo>
                  <a:lnTo>
                    <a:pt x="173" y="305"/>
                  </a:lnTo>
                  <a:lnTo>
                    <a:pt x="172" y="302"/>
                  </a:lnTo>
                  <a:lnTo>
                    <a:pt x="172" y="302"/>
                  </a:lnTo>
                  <a:lnTo>
                    <a:pt x="167" y="301"/>
                  </a:lnTo>
                  <a:lnTo>
                    <a:pt x="164" y="299"/>
                  </a:lnTo>
                  <a:lnTo>
                    <a:pt x="163" y="298"/>
                  </a:lnTo>
                  <a:lnTo>
                    <a:pt x="164" y="293"/>
                  </a:lnTo>
                  <a:lnTo>
                    <a:pt x="164" y="293"/>
                  </a:lnTo>
                  <a:lnTo>
                    <a:pt x="164" y="289"/>
                  </a:lnTo>
                  <a:lnTo>
                    <a:pt x="164" y="284"/>
                  </a:lnTo>
                  <a:lnTo>
                    <a:pt x="164" y="283"/>
                  </a:lnTo>
                  <a:lnTo>
                    <a:pt x="166" y="283"/>
                  </a:lnTo>
                  <a:lnTo>
                    <a:pt x="172" y="283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1"/>
                  </a:lnTo>
                  <a:lnTo>
                    <a:pt x="183" y="279"/>
                  </a:lnTo>
                  <a:lnTo>
                    <a:pt x="186" y="276"/>
                  </a:lnTo>
                  <a:lnTo>
                    <a:pt x="191" y="268"/>
                  </a:lnTo>
                  <a:lnTo>
                    <a:pt x="192" y="264"/>
                  </a:lnTo>
                  <a:lnTo>
                    <a:pt x="192" y="264"/>
                  </a:lnTo>
                  <a:lnTo>
                    <a:pt x="189" y="249"/>
                  </a:lnTo>
                  <a:lnTo>
                    <a:pt x="189" y="240"/>
                  </a:lnTo>
                  <a:lnTo>
                    <a:pt x="189" y="237"/>
                  </a:lnTo>
                  <a:lnTo>
                    <a:pt x="191" y="234"/>
                  </a:lnTo>
                  <a:lnTo>
                    <a:pt x="191" y="234"/>
                  </a:lnTo>
                  <a:lnTo>
                    <a:pt x="200" y="224"/>
                  </a:lnTo>
                  <a:lnTo>
                    <a:pt x="213" y="212"/>
                  </a:lnTo>
                  <a:lnTo>
                    <a:pt x="213" y="212"/>
                  </a:lnTo>
                  <a:lnTo>
                    <a:pt x="232" y="191"/>
                  </a:lnTo>
                  <a:lnTo>
                    <a:pt x="243" y="182"/>
                  </a:lnTo>
                  <a:lnTo>
                    <a:pt x="247" y="179"/>
                  </a:lnTo>
                  <a:lnTo>
                    <a:pt x="251" y="178"/>
                  </a:lnTo>
                  <a:lnTo>
                    <a:pt x="251" y="178"/>
                  </a:lnTo>
                  <a:lnTo>
                    <a:pt x="254" y="181"/>
                  </a:lnTo>
                  <a:lnTo>
                    <a:pt x="256" y="182"/>
                  </a:lnTo>
                  <a:lnTo>
                    <a:pt x="256" y="185"/>
                  </a:lnTo>
                  <a:lnTo>
                    <a:pt x="259" y="188"/>
                  </a:lnTo>
                  <a:lnTo>
                    <a:pt x="259" y="188"/>
                  </a:lnTo>
                  <a:lnTo>
                    <a:pt x="262" y="191"/>
                  </a:lnTo>
                  <a:lnTo>
                    <a:pt x="265" y="196"/>
                  </a:lnTo>
                  <a:lnTo>
                    <a:pt x="266" y="197"/>
                  </a:lnTo>
                  <a:lnTo>
                    <a:pt x="266" y="200"/>
                  </a:lnTo>
                  <a:lnTo>
                    <a:pt x="263" y="206"/>
                  </a:lnTo>
                  <a:lnTo>
                    <a:pt x="263" y="206"/>
                  </a:lnTo>
                  <a:lnTo>
                    <a:pt x="254" y="219"/>
                  </a:lnTo>
                  <a:lnTo>
                    <a:pt x="253" y="224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62" y="230"/>
                  </a:lnTo>
                  <a:lnTo>
                    <a:pt x="269" y="233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7" y="239"/>
                  </a:lnTo>
                  <a:lnTo>
                    <a:pt x="291" y="239"/>
                  </a:lnTo>
                  <a:lnTo>
                    <a:pt x="293" y="240"/>
                  </a:lnTo>
                  <a:lnTo>
                    <a:pt x="293" y="244"/>
                  </a:lnTo>
                  <a:lnTo>
                    <a:pt x="293" y="244"/>
                  </a:lnTo>
                  <a:lnTo>
                    <a:pt x="293" y="252"/>
                  </a:lnTo>
                  <a:lnTo>
                    <a:pt x="293" y="256"/>
                  </a:lnTo>
                  <a:lnTo>
                    <a:pt x="296" y="262"/>
                  </a:lnTo>
                  <a:lnTo>
                    <a:pt x="302" y="267"/>
                  </a:lnTo>
                  <a:lnTo>
                    <a:pt x="302" y="267"/>
                  </a:lnTo>
                  <a:lnTo>
                    <a:pt x="318" y="279"/>
                  </a:lnTo>
                  <a:lnTo>
                    <a:pt x="326" y="281"/>
                  </a:lnTo>
                  <a:lnTo>
                    <a:pt x="328" y="283"/>
                  </a:lnTo>
                  <a:lnTo>
                    <a:pt x="331" y="281"/>
                  </a:lnTo>
                  <a:lnTo>
                    <a:pt x="331" y="281"/>
                  </a:lnTo>
                  <a:lnTo>
                    <a:pt x="342" y="273"/>
                  </a:lnTo>
                  <a:lnTo>
                    <a:pt x="349" y="270"/>
                  </a:lnTo>
                  <a:lnTo>
                    <a:pt x="352" y="268"/>
                  </a:lnTo>
                  <a:lnTo>
                    <a:pt x="355" y="270"/>
                  </a:lnTo>
                  <a:lnTo>
                    <a:pt x="355" y="270"/>
                  </a:lnTo>
                  <a:lnTo>
                    <a:pt x="361" y="271"/>
                  </a:lnTo>
                  <a:lnTo>
                    <a:pt x="367" y="276"/>
                  </a:lnTo>
                  <a:lnTo>
                    <a:pt x="374" y="279"/>
                  </a:lnTo>
                  <a:lnTo>
                    <a:pt x="382" y="283"/>
                  </a:lnTo>
                  <a:lnTo>
                    <a:pt x="382" y="283"/>
                  </a:lnTo>
                  <a:lnTo>
                    <a:pt x="389" y="286"/>
                  </a:lnTo>
                  <a:lnTo>
                    <a:pt x="397" y="292"/>
                  </a:lnTo>
                  <a:lnTo>
                    <a:pt x="404" y="298"/>
                  </a:lnTo>
                  <a:lnTo>
                    <a:pt x="407" y="299"/>
                  </a:lnTo>
                  <a:lnTo>
                    <a:pt x="410" y="301"/>
                  </a:lnTo>
                  <a:lnTo>
                    <a:pt x="410" y="301"/>
                  </a:lnTo>
                  <a:lnTo>
                    <a:pt x="417" y="299"/>
                  </a:lnTo>
                  <a:lnTo>
                    <a:pt x="425" y="296"/>
                  </a:lnTo>
                  <a:lnTo>
                    <a:pt x="438" y="292"/>
                  </a:lnTo>
                  <a:lnTo>
                    <a:pt x="438" y="292"/>
                  </a:lnTo>
                  <a:lnTo>
                    <a:pt x="448" y="290"/>
                  </a:lnTo>
                  <a:lnTo>
                    <a:pt x="453" y="290"/>
                  </a:lnTo>
                  <a:lnTo>
                    <a:pt x="457" y="292"/>
                  </a:lnTo>
                  <a:lnTo>
                    <a:pt x="457" y="292"/>
                  </a:lnTo>
                  <a:lnTo>
                    <a:pt x="463" y="293"/>
                  </a:lnTo>
                  <a:lnTo>
                    <a:pt x="468" y="293"/>
                  </a:lnTo>
                  <a:lnTo>
                    <a:pt x="469" y="290"/>
                  </a:lnTo>
                  <a:lnTo>
                    <a:pt x="469" y="290"/>
                  </a:lnTo>
                  <a:lnTo>
                    <a:pt x="481" y="281"/>
                  </a:lnTo>
                  <a:lnTo>
                    <a:pt x="481" y="281"/>
                  </a:lnTo>
                  <a:lnTo>
                    <a:pt x="485" y="279"/>
                  </a:lnTo>
                  <a:lnTo>
                    <a:pt x="487" y="276"/>
                  </a:lnTo>
                  <a:lnTo>
                    <a:pt x="487" y="276"/>
                  </a:lnTo>
                  <a:lnTo>
                    <a:pt x="484" y="271"/>
                  </a:lnTo>
                  <a:lnTo>
                    <a:pt x="484" y="271"/>
                  </a:lnTo>
                  <a:lnTo>
                    <a:pt x="474" y="261"/>
                  </a:lnTo>
                  <a:lnTo>
                    <a:pt x="465" y="252"/>
                  </a:lnTo>
                  <a:lnTo>
                    <a:pt x="465" y="252"/>
                  </a:lnTo>
                  <a:lnTo>
                    <a:pt x="465" y="249"/>
                  </a:lnTo>
                  <a:lnTo>
                    <a:pt x="466" y="246"/>
                  </a:lnTo>
                  <a:lnTo>
                    <a:pt x="465" y="244"/>
                  </a:lnTo>
                  <a:lnTo>
                    <a:pt x="460" y="241"/>
                  </a:lnTo>
                  <a:lnTo>
                    <a:pt x="460" y="241"/>
                  </a:lnTo>
                  <a:lnTo>
                    <a:pt x="447" y="240"/>
                  </a:lnTo>
                  <a:lnTo>
                    <a:pt x="441" y="237"/>
                  </a:lnTo>
                  <a:lnTo>
                    <a:pt x="434" y="231"/>
                  </a:lnTo>
                  <a:lnTo>
                    <a:pt x="434" y="231"/>
                  </a:lnTo>
                  <a:lnTo>
                    <a:pt x="429" y="225"/>
                  </a:lnTo>
                  <a:lnTo>
                    <a:pt x="426" y="221"/>
                  </a:lnTo>
                  <a:lnTo>
                    <a:pt x="425" y="216"/>
                  </a:lnTo>
                  <a:lnTo>
                    <a:pt x="422" y="215"/>
                  </a:lnTo>
                  <a:lnTo>
                    <a:pt x="422" y="215"/>
                  </a:lnTo>
                  <a:lnTo>
                    <a:pt x="417" y="215"/>
                  </a:lnTo>
                  <a:lnTo>
                    <a:pt x="410" y="216"/>
                  </a:lnTo>
                  <a:lnTo>
                    <a:pt x="404" y="216"/>
                  </a:lnTo>
                  <a:lnTo>
                    <a:pt x="400" y="215"/>
                  </a:lnTo>
                  <a:lnTo>
                    <a:pt x="397" y="212"/>
                  </a:lnTo>
                  <a:lnTo>
                    <a:pt x="397" y="212"/>
                  </a:lnTo>
                  <a:lnTo>
                    <a:pt x="391" y="207"/>
                  </a:lnTo>
                  <a:lnTo>
                    <a:pt x="385" y="203"/>
                  </a:lnTo>
                  <a:lnTo>
                    <a:pt x="383" y="202"/>
                  </a:lnTo>
                  <a:lnTo>
                    <a:pt x="382" y="200"/>
                  </a:lnTo>
                  <a:lnTo>
                    <a:pt x="382" y="197"/>
                  </a:lnTo>
                  <a:lnTo>
                    <a:pt x="385" y="194"/>
                  </a:lnTo>
                  <a:lnTo>
                    <a:pt x="385" y="194"/>
                  </a:lnTo>
                  <a:lnTo>
                    <a:pt x="388" y="188"/>
                  </a:lnTo>
                  <a:lnTo>
                    <a:pt x="388" y="182"/>
                  </a:lnTo>
                  <a:lnTo>
                    <a:pt x="386" y="178"/>
                  </a:lnTo>
                  <a:lnTo>
                    <a:pt x="383" y="173"/>
                  </a:lnTo>
                  <a:lnTo>
                    <a:pt x="383" y="173"/>
                  </a:lnTo>
                  <a:lnTo>
                    <a:pt x="383" y="172"/>
                  </a:lnTo>
                  <a:lnTo>
                    <a:pt x="385" y="170"/>
                  </a:lnTo>
                  <a:lnTo>
                    <a:pt x="388" y="169"/>
                  </a:lnTo>
                  <a:lnTo>
                    <a:pt x="391" y="167"/>
                  </a:lnTo>
                  <a:lnTo>
                    <a:pt x="391" y="166"/>
                  </a:lnTo>
                  <a:lnTo>
                    <a:pt x="389" y="163"/>
                  </a:lnTo>
                  <a:lnTo>
                    <a:pt x="389" y="163"/>
                  </a:lnTo>
                  <a:lnTo>
                    <a:pt x="388" y="160"/>
                  </a:lnTo>
                  <a:lnTo>
                    <a:pt x="386" y="159"/>
                  </a:lnTo>
                  <a:lnTo>
                    <a:pt x="380" y="157"/>
                  </a:lnTo>
                  <a:lnTo>
                    <a:pt x="376" y="156"/>
                  </a:lnTo>
                  <a:lnTo>
                    <a:pt x="374" y="154"/>
                  </a:lnTo>
                  <a:lnTo>
                    <a:pt x="373" y="151"/>
                  </a:lnTo>
                  <a:lnTo>
                    <a:pt x="373" y="151"/>
                  </a:lnTo>
                  <a:lnTo>
                    <a:pt x="371" y="144"/>
                  </a:lnTo>
                  <a:lnTo>
                    <a:pt x="373" y="136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70" y="119"/>
                  </a:lnTo>
                  <a:lnTo>
                    <a:pt x="370" y="119"/>
                  </a:lnTo>
                  <a:lnTo>
                    <a:pt x="363" y="111"/>
                  </a:lnTo>
                  <a:lnTo>
                    <a:pt x="358" y="105"/>
                  </a:lnTo>
                  <a:lnTo>
                    <a:pt x="352" y="99"/>
                  </a:lnTo>
                  <a:lnTo>
                    <a:pt x="349" y="93"/>
                  </a:lnTo>
                  <a:lnTo>
                    <a:pt x="349" y="93"/>
                  </a:lnTo>
                  <a:lnTo>
                    <a:pt x="348" y="89"/>
                  </a:lnTo>
                  <a:lnTo>
                    <a:pt x="346" y="86"/>
                  </a:lnTo>
                  <a:lnTo>
                    <a:pt x="340" y="79"/>
                  </a:lnTo>
                  <a:lnTo>
                    <a:pt x="336" y="73"/>
                  </a:lnTo>
                  <a:lnTo>
                    <a:pt x="333" y="68"/>
                  </a:lnTo>
                  <a:lnTo>
                    <a:pt x="333" y="62"/>
                  </a:lnTo>
                  <a:lnTo>
                    <a:pt x="333" y="62"/>
                  </a:lnTo>
                  <a:lnTo>
                    <a:pt x="333" y="53"/>
                  </a:lnTo>
                  <a:lnTo>
                    <a:pt x="334" y="46"/>
                  </a:lnTo>
                  <a:lnTo>
                    <a:pt x="334" y="43"/>
                  </a:lnTo>
                  <a:lnTo>
                    <a:pt x="334" y="42"/>
                  </a:lnTo>
                  <a:lnTo>
                    <a:pt x="333" y="42"/>
                  </a:lnTo>
                  <a:lnTo>
                    <a:pt x="328" y="42"/>
                  </a:lnTo>
                  <a:lnTo>
                    <a:pt x="328" y="42"/>
                  </a:lnTo>
                  <a:lnTo>
                    <a:pt x="320" y="43"/>
                  </a:lnTo>
                  <a:lnTo>
                    <a:pt x="312" y="42"/>
                  </a:lnTo>
                  <a:lnTo>
                    <a:pt x="306" y="39"/>
                  </a:lnTo>
                  <a:lnTo>
                    <a:pt x="302" y="36"/>
                  </a:lnTo>
                  <a:lnTo>
                    <a:pt x="302" y="36"/>
                  </a:lnTo>
                  <a:lnTo>
                    <a:pt x="293" y="27"/>
                  </a:lnTo>
                  <a:lnTo>
                    <a:pt x="284" y="22"/>
                  </a:lnTo>
                  <a:lnTo>
                    <a:pt x="275" y="18"/>
                  </a:lnTo>
                  <a:lnTo>
                    <a:pt x="275" y="18"/>
                  </a:lnTo>
                  <a:lnTo>
                    <a:pt x="266" y="13"/>
                  </a:lnTo>
                  <a:lnTo>
                    <a:pt x="257" y="7"/>
                  </a:lnTo>
                  <a:lnTo>
                    <a:pt x="249" y="2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41" y="2"/>
                  </a:lnTo>
                  <a:lnTo>
                    <a:pt x="240" y="6"/>
                  </a:lnTo>
                  <a:lnTo>
                    <a:pt x="237" y="10"/>
                  </a:lnTo>
                  <a:lnTo>
                    <a:pt x="234" y="12"/>
                  </a:lnTo>
                  <a:lnTo>
                    <a:pt x="229" y="13"/>
                  </a:lnTo>
                  <a:lnTo>
                    <a:pt x="229" y="13"/>
                  </a:lnTo>
                  <a:lnTo>
                    <a:pt x="207" y="18"/>
                  </a:lnTo>
                  <a:lnTo>
                    <a:pt x="197" y="19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85" y="21"/>
                  </a:lnTo>
                  <a:lnTo>
                    <a:pt x="182" y="22"/>
                  </a:lnTo>
                  <a:lnTo>
                    <a:pt x="176" y="27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55" y="36"/>
                  </a:lnTo>
                  <a:lnTo>
                    <a:pt x="145" y="37"/>
                  </a:lnTo>
                  <a:lnTo>
                    <a:pt x="137" y="36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0"/>
                  </a:lnTo>
                  <a:lnTo>
                    <a:pt x="133" y="27"/>
                  </a:lnTo>
                  <a:lnTo>
                    <a:pt x="133" y="25"/>
                  </a:lnTo>
                  <a:lnTo>
                    <a:pt x="132" y="25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00" y="37"/>
                  </a:lnTo>
                  <a:lnTo>
                    <a:pt x="90" y="40"/>
                  </a:lnTo>
                  <a:lnTo>
                    <a:pt x="86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74" y="33"/>
                  </a:lnTo>
                  <a:lnTo>
                    <a:pt x="69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6" y="33"/>
                  </a:lnTo>
                  <a:lnTo>
                    <a:pt x="66" y="39"/>
                  </a:lnTo>
                  <a:lnTo>
                    <a:pt x="65" y="40"/>
                  </a:lnTo>
                  <a:lnTo>
                    <a:pt x="62" y="43"/>
                  </a:lnTo>
                  <a:lnTo>
                    <a:pt x="59" y="46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43" y="52"/>
                  </a:lnTo>
                  <a:lnTo>
                    <a:pt x="34" y="50"/>
                  </a:lnTo>
                  <a:lnTo>
                    <a:pt x="26" y="49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16" y="40"/>
                  </a:lnTo>
                  <a:lnTo>
                    <a:pt x="9" y="37"/>
                  </a:lnTo>
                  <a:lnTo>
                    <a:pt x="0" y="34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0" name="Freeform 139">
              <a:extLst>
                <a:ext uri="{FF2B5EF4-FFF2-40B4-BE49-F238E27FC236}">
                  <a16:creationId xmlns:a16="http://schemas.microsoft.com/office/drawing/2014/main" id="{9C76E8B4-5B35-2E4C-8812-269755CE7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32800" y="4302125"/>
              <a:ext cx="1609725" cy="1828800"/>
            </a:xfrm>
            <a:custGeom>
              <a:avLst/>
              <a:gdLst>
                <a:gd name="T0" fmla="*/ 50 w 1014"/>
                <a:gd name="T1" fmla="*/ 422 h 1152"/>
                <a:gd name="T2" fmla="*/ 27 w 1014"/>
                <a:gd name="T3" fmla="*/ 465 h 1152"/>
                <a:gd name="T4" fmla="*/ 2 w 1014"/>
                <a:gd name="T5" fmla="*/ 483 h 1152"/>
                <a:gd name="T6" fmla="*/ 22 w 1014"/>
                <a:gd name="T7" fmla="*/ 528 h 1152"/>
                <a:gd name="T8" fmla="*/ 76 w 1014"/>
                <a:gd name="T9" fmla="*/ 549 h 1152"/>
                <a:gd name="T10" fmla="*/ 120 w 1014"/>
                <a:gd name="T11" fmla="*/ 549 h 1152"/>
                <a:gd name="T12" fmla="*/ 153 w 1014"/>
                <a:gd name="T13" fmla="*/ 574 h 1152"/>
                <a:gd name="T14" fmla="*/ 163 w 1014"/>
                <a:gd name="T15" fmla="*/ 594 h 1152"/>
                <a:gd name="T16" fmla="*/ 145 w 1014"/>
                <a:gd name="T17" fmla="*/ 626 h 1152"/>
                <a:gd name="T18" fmla="*/ 163 w 1014"/>
                <a:gd name="T19" fmla="*/ 648 h 1152"/>
                <a:gd name="T20" fmla="*/ 219 w 1014"/>
                <a:gd name="T21" fmla="*/ 644 h 1152"/>
                <a:gd name="T22" fmla="*/ 249 w 1014"/>
                <a:gd name="T23" fmla="*/ 648 h 1152"/>
                <a:gd name="T24" fmla="*/ 270 w 1014"/>
                <a:gd name="T25" fmla="*/ 656 h 1152"/>
                <a:gd name="T26" fmla="*/ 307 w 1014"/>
                <a:gd name="T27" fmla="*/ 682 h 1152"/>
                <a:gd name="T28" fmla="*/ 308 w 1014"/>
                <a:gd name="T29" fmla="*/ 714 h 1152"/>
                <a:gd name="T30" fmla="*/ 311 w 1014"/>
                <a:gd name="T31" fmla="*/ 773 h 1152"/>
                <a:gd name="T32" fmla="*/ 313 w 1014"/>
                <a:gd name="T33" fmla="*/ 813 h 1152"/>
                <a:gd name="T34" fmla="*/ 382 w 1014"/>
                <a:gd name="T35" fmla="*/ 834 h 1152"/>
                <a:gd name="T36" fmla="*/ 424 w 1014"/>
                <a:gd name="T37" fmla="*/ 884 h 1152"/>
                <a:gd name="T38" fmla="*/ 471 w 1014"/>
                <a:gd name="T39" fmla="*/ 912 h 1152"/>
                <a:gd name="T40" fmla="*/ 532 w 1014"/>
                <a:gd name="T41" fmla="*/ 943 h 1152"/>
                <a:gd name="T42" fmla="*/ 552 w 1014"/>
                <a:gd name="T43" fmla="*/ 989 h 1152"/>
                <a:gd name="T44" fmla="*/ 582 w 1014"/>
                <a:gd name="T45" fmla="*/ 1030 h 1152"/>
                <a:gd name="T46" fmla="*/ 655 w 1014"/>
                <a:gd name="T47" fmla="*/ 1038 h 1152"/>
                <a:gd name="T48" fmla="*/ 711 w 1014"/>
                <a:gd name="T49" fmla="*/ 1013 h 1152"/>
                <a:gd name="T50" fmla="*/ 738 w 1014"/>
                <a:gd name="T51" fmla="*/ 1013 h 1152"/>
                <a:gd name="T52" fmla="*/ 772 w 1014"/>
                <a:gd name="T53" fmla="*/ 1059 h 1152"/>
                <a:gd name="T54" fmla="*/ 800 w 1014"/>
                <a:gd name="T55" fmla="*/ 1057 h 1152"/>
                <a:gd name="T56" fmla="*/ 820 w 1014"/>
                <a:gd name="T57" fmla="*/ 1094 h 1152"/>
                <a:gd name="T58" fmla="*/ 854 w 1014"/>
                <a:gd name="T59" fmla="*/ 1106 h 1152"/>
                <a:gd name="T60" fmla="*/ 874 w 1014"/>
                <a:gd name="T61" fmla="*/ 1137 h 1152"/>
                <a:gd name="T62" fmla="*/ 897 w 1014"/>
                <a:gd name="T63" fmla="*/ 1137 h 1152"/>
                <a:gd name="T64" fmla="*/ 909 w 1014"/>
                <a:gd name="T65" fmla="*/ 1113 h 1152"/>
                <a:gd name="T66" fmla="*/ 955 w 1014"/>
                <a:gd name="T67" fmla="*/ 1081 h 1152"/>
                <a:gd name="T68" fmla="*/ 967 w 1014"/>
                <a:gd name="T69" fmla="*/ 1041 h 1152"/>
                <a:gd name="T70" fmla="*/ 985 w 1014"/>
                <a:gd name="T71" fmla="*/ 973 h 1152"/>
                <a:gd name="T72" fmla="*/ 1013 w 1014"/>
                <a:gd name="T73" fmla="*/ 915 h 1152"/>
                <a:gd name="T74" fmla="*/ 988 w 1014"/>
                <a:gd name="T75" fmla="*/ 885 h 1152"/>
                <a:gd name="T76" fmla="*/ 964 w 1014"/>
                <a:gd name="T77" fmla="*/ 868 h 1152"/>
                <a:gd name="T78" fmla="*/ 960 w 1014"/>
                <a:gd name="T79" fmla="*/ 841 h 1152"/>
                <a:gd name="T80" fmla="*/ 969 w 1014"/>
                <a:gd name="T81" fmla="*/ 795 h 1152"/>
                <a:gd name="T82" fmla="*/ 952 w 1014"/>
                <a:gd name="T83" fmla="*/ 765 h 1152"/>
                <a:gd name="T84" fmla="*/ 934 w 1014"/>
                <a:gd name="T85" fmla="*/ 725 h 1152"/>
                <a:gd name="T86" fmla="*/ 940 w 1014"/>
                <a:gd name="T87" fmla="*/ 699 h 1152"/>
                <a:gd name="T88" fmla="*/ 945 w 1014"/>
                <a:gd name="T89" fmla="*/ 663 h 1152"/>
                <a:gd name="T90" fmla="*/ 934 w 1014"/>
                <a:gd name="T91" fmla="*/ 610 h 1152"/>
                <a:gd name="T92" fmla="*/ 939 w 1014"/>
                <a:gd name="T93" fmla="*/ 560 h 1152"/>
                <a:gd name="T94" fmla="*/ 924 w 1014"/>
                <a:gd name="T95" fmla="*/ 514 h 1152"/>
                <a:gd name="T96" fmla="*/ 955 w 1014"/>
                <a:gd name="T97" fmla="*/ 506 h 1152"/>
                <a:gd name="T98" fmla="*/ 977 w 1014"/>
                <a:gd name="T99" fmla="*/ 478 h 1152"/>
                <a:gd name="T100" fmla="*/ 997 w 1014"/>
                <a:gd name="T101" fmla="*/ 422 h 1152"/>
                <a:gd name="T102" fmla="*/ 997 w 1014"/>
                <a:gd name="T103" fmla="*/ 385 h 1152"/>
                <a:gd name="T104" fmla="*/ 979 w 1014"/>
                <a:gd name="T105" fmla="*/ 357 h 1152"/>
                <a:gd name="T106" fmla="*/ 948 w 1014"/>
                <a:gd name="T107" fmla="*/ 352 h 1152"/>
                <a:gd name="T108" fmla="*/ 894 w 1014"/>
                <a:gd name="T109" fmla="*/ 290 h 1152"/>
                <a:gd name="T110" fmla="*/ 900 w 1014"/>
                <a:gd name="T111" fmla="*/ 244 h 1152"/>
                <a:gd name="T112" fmla="*/ 957 w 1014"/>
                <a:gd name="T113" fmla="*/ 226 h 1152"/>
                <a:gd name="T114" fmla="*/ 985 w 1014"/>
                <a:gd name="T115" fmla="*/ 166 h 1152"/>
                <a:gd name="T116" fmla="*/ 952 w 1014"/>
                <a:gd name="T117" fmla="*/ 108 h 1152"/>
                <a:gd name="T118" fmla="*/ 986 w 1014"/>
                <a:gd name="T119" fmla="*/ 96 h 1152"/>
                <a:gd name="T120" fmla="*/ 991 w 1014"/>
                <a:gd name="T121" fmla="*/ 46 h 1152"/>
                <a:gd name="T122" fmla="*/ 970 w 1014"/>
                <a:gd name="T123" fmla="*/ 7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14" h="1152">
                  <a:moveTo>
                    <a:pt x="46" y="361"/>
                  </a:moveTo>
                  <a:lnTo>
                    <a:pt x="46" y="361"/>
                  </a:lnTo>
                  <a:lnTo>
                    <a:pt x="43" y="376"/>
                  </a:lnTo>
                  <a:lnTo>
                    <a:pt x="43" y="389"/>
                  </a:lnTo>
                  <a:lnTo>
                    <a:pt x="43" y="395"/>
                  </a:lnTo>
                  <a:lnTo>
                    <a:pt x="45" y="401"/>
                  </a:lnTo>
                  <a:lnTo>
                    <a:pt x="45" y="401"/>
                  </a:lnTo>
                  <a:lnTo>
                    <a:pt x="49" y="414"/>
                  </a:lnTo>
                  <a:lnTo>
                    <a:pt x="49" y="417"/>
                  </a:lnTo>
                  <a:lnTo>
                    <a:pt x="50" y="422"/>
                  </a:lnTo>
                  <a:lnTo>
                    <a:pt x="50" y="422"/>
                  </a:lnTo>
                  <a:lnTo>
                    <a:pt x="49" y="425"/>
                  </a:lnTo>
                  <a:lnTo>
                    <a:pt x="46" y="428"/>
                  </a:lnTo>
                  <a:lnTo>
                    <a:pt x="39" y="437"/>
                  </a:lnTo>
                  <a:lnTo>
                    <a:pt x="30" y="444"/>
                  </a:lnTo>
                  <a:lnTo>
                    <a:pt x="27" y="448"/>
                  </a:lnTo>
                  <a:lnTo>
                    <a:pt x="25" y="451"/>
                  </a:lnTo>
                  <a:lnTo>
                    <a:pt x="25" y="451"/>
                  </a:lnTo>
                  <a:lnTo>
                    <a:pt x="27" y="462"/>
                  </a:lnTo>
                  <a:lnTo>
                    <a:pt x="27" y="465"/>
                  </a:lnTo>
                  <a:lnTo>
                    <a:pt x="25" y="468"/>
                  </a:lnTo>
                  <a:lnTo>
                    <a:pt x="24" y="469"/>
                  </a:lnTo>
                  <a:lnTo>
                    <a:pt x="19" y="471"/>
                  </a:lnTo>
                  <a:lnTo>
                    <a:pt x="19" y="471"/>
                  </a:lnTo>
                  <a:lnTo>
                    <a:pt x="5" y="474"/>
                  </a:lnTo>
                  <a:lnTo>
                    <a:pt x="2" y="475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2" y="483"/>
                  </a:lnTo>
                  <a:lnTo>
                    <a:pt x="2" y="483"/>
                  </a:lnTo>
                  <a:lnTo>
                    <a:pt x="6" y="490"/>
                  </a:lnTo>
                  <a:lnTo>
                    <a:pt x="12" y="493"/>
                  </a:lnTo>
                  <a:lnTo>
                    <a:pt x="16" y="496"/>
                  </a:lnTo>
                  <a:lnTo>
                    <a:pt x="19" y="500"/>
                  </a:lnTo>
                  <a:lnTo>
                    <a:pt x="19" y="500"/>
                  </a:lnTo>
                  <a:lnTo>
                    <a:pt x="24" y="506"/>
                  </a:lnTo>
                  <a:lnTo>
                    <a:pt x="24" y="514"/>
                  </a:lnTo>
                  <a:lnTo>
                    <a:pt x="24" y="522"/>
                  </a:lnTo>
                  <a:lnTo>
                    <a:pt x="22" y="528"/>
                  </a:lnTo>
                  <a:lnTo>
                    <a:pt x="22" y="528"/>
                  </a:lnTo>
                  <a:lnTo>
                    <a:pt x="22" y="534"/>
                  </a:lnTo>
                  <a:lnTo>
                    <a:pt x="24" y="537"/>
                  </a:lnTo>
                  <a:lnTo>
                    <a:pt x="28" y="539"/>
                  </a:lnTo>
                  <a:lnTo>
                    <a:pt x="36" y="539"/>
                  </a:lnTo>
                  <a:lnTo>
                    <a:pt x="36" y="539"/>
                  </a:lnTo>
                  <a:lnTo>
                    <a:pt x="52" y="539"/>
                  </a:lnTo>
                  <a:lnTo>
                    <a:pt x="59" y="540"/>
                  </a:lnTo>
                  <a:lnTo>
                    <a:pt x="65" y="543"/>
                  </a:lnTo>
                  <a:lnTo>
                    <a:pt x="65" y="543"/>
                  </a:lnTo>
                  <a:lnTo>
                    <a:pt x="76" y="549"/>
                  </a:lnTo>
                  <a:lnTo>
                    <a:pt x="82" y="551"/>
                  </a:lnTo>
                  <a:lnTo>
                    <a:pt x="87" y="551"/>
                  </a:lnTo>
                  <a:lnTo>
                    <a:pt x="87" y="551"/>
                  </a:lnTo>
                  <a:lnTo>
                    <a:pt x="92" y="549"/>
                  </a:lnTo>
                  <a:lnTo>
                    <a:pt x="96" y="546"/>
                  </a:lnTo>
                  <a:lnTo>
                    <a:pt x="101" y="545"/>
                  </a:lnTo>
                  <a:lnTo>
                    <a:pt x="105" y="543"/>
                  </a:lnTo>
                  <a:lnTo>
                    <a:pt x="105" y="543"/>
                  </a:lnTo>
                  <a:lnTo>
                    <a:pt x="113" y="545"/>
                  </a:lnTo>
                  <a:lnTo>
                    <a:pt x="120" y="549"/>
                  </a:lnTo>
                  <a:lnTo>
                    <a:pt x="127" y="555"/>
                  </a:lnTo>
                  <a:lnTo>
                    <a:pt x="133" y="560"/>
                  </a:lnTo>
                  <a:lnTo>
                    <a:pt x="133" y="560"/>
                  </a:lnTo>
                  <a:lnTo>
                    <a:pt x="138" y="562"/>
                  </a:lnTo>
                  <a:lnTo>
                    <a:pt x="142" y="564"/>
                  </a:lnTo>
                  <a:lnTo>
                    <a:pt x="145" y="565"/>
                  </a:lnTo>
                  <a:lnTo>
                    <a:pt x="148" y="568"/>
                  </a:lnTo>
                  <a:lnTo>
                    <a:pt x="148" y="568"/>
                  </a:lnTo>
                  <a:lnTo>
                    <a:pt x="151" y="574"/>
                  </a:lnTo>
                  <a:lnTo>
                    <a:pt x="153" y="574"/>
                  </a:lnTo>
                  <a:lnTo>
                    <a:pt x="156" y="574"/>
                  </a:lnTo>
                  <a:lnTo>
                    <a:pt x="156" y="574"/>
                  </a:lnTo>
                  <a:lnTo>
                    <a:pt x="160" y="576"/>
                  </a:lnTo>
                  <a:lnTo>
                    <a:pt x="164" y="579"/>
                  </a:lnTo>
                  <a:lnTo>
                    <a:pt x="166" y="582"/>
                  </a:lnTo>
                  <a:lnTo>
                    <a:pt x="167" y="583"/>
                  </a:lnTo>
                  <a:lnTo>
                    <a:pt x="167" y="586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3" y="594"/>
                  </a:lnTo>
                  <a:lnTo>
                    <a:pt x="160" y="595"/>
                  </a:lnTo>
                  <a:lnTo>
                    <a:pt x="154" y="598"/>
                  </a:lnTo>
                  <a:lnTo>
                    <a:pt x="150" y="602"/>
                  </a:lnTo>
                  <a:lnTo>
                    <a:pt x="148" y="604"/>
                  </a:lnTo>
                  <a:lnTo>
                    <a:pt x="147" y="607"/>
                  </a:lnTo>
                  <a:lnTo>
                    <a:pt x="147" y="607"/>
                  </a:lnTo>
                  <a:lnTo>
                    <a:pt x="147" y="614"/>
                  </a:lnTo>
                  <a:lnTo>
                    <a:pt x="145" y="622"/>
                  </a:lnTo>
                  <a:lnTo>
                    <a:pt x="145" y="626"/>
                  </a:lnTo>
                  <a:lnTo>
                    <a:pt x="145" y="626"/>
                  </a:lnTo>
                  <a:lnTo>
                    <a:pt x="147" y="628"/>
                  </a:lnTo>
                  <a:lnTo>
                    <a:pt x="147" y="628"/>
                  </a:lnTo>
                  <a:lnTo>
                    <a:pt x="156" y="625"/>
                  </a:lnTo>
                  <a:lnTo>
                    <a:pt x="159" y="626"/>
                  </a:lnTo>
                  <a:lnTo>
                    <a:pt x="160" y="628"/>
                  </a:lnTo>
                  <a:lnTo>
                    <a:pt x="160" y="631"/>
                  </a:lnTo>
                  <a:lnTo>
                    <a:pt x="160" y="631"/>
                  </a:lnTo>
                  <a:lnTo>
                    <a:pt x="161" y="638"/>
                  </a:lnTo>
                  <a:lnTo>
                    <a:pt x="161" y="644"/>
                  </a:lnTo>
                  <a:lnTo>
                    <a:pt x="163" y="648"/>
                  </a:lnTo>
                  <a:lnTo>
                    <a:pt x="164" y="648"/>
                  </a:lnTo>
                  <a:lnTo>
                    <a:pt x="167" y="650"/>
                  </a:lnTo>
                  <a:lnTo>
                    <a:pt x="167" y="650"/>
                  </a:lnTo>
                  <a:lnTo>
                    <a:pt x="185" y="651"/>
                  </a:lnTo>
                  <a:lnTo>
                    <a:pt x="194" y="651"/>
                  </a:lnTo>
                  <a:lnTo>
                    <a:pt x="200" y="651"/>
                  </a:lnTo>
                  <a:lnTo>
                    <a:pt x="200" y="651"/>
                  </a:lnTo>
                  <a:lnTo>
                    <a:pt x="206" y="648"/>
                  </a:lnTo>
                  <a:lnTo>
                    <a:pt x="212" y="645"/>
                  </a:lnTo>
                  <a:lnTo>
                    <a:pt x="219" y="644"/>
                  </a:lnTo>
                  <a:lnTo>
                    <a:pt x="222" y="644"/>
                  </a:lnTo>
                  <a:lnTo>
                    <a:pt x="225" y="645"/>
                  </a:lnTo>
                  <a:lnTo>
                    <a:pt x="225" y="645"/>
                  </a:lnTo>
                  <a:lnTo>
                    <a:pt x="237" y="653"/>
                  </a:lnTo>
                  <a:lnTo>
                    <a:pt x="244" y="656"/>
                  </a:lnTo>
                  <a:lnTo>
                    <a:pt x="244" y="656"/>
                  </a:lnTo>
                  <a:lnTo>
                    <a:pt x="246" y="656"/>
                  </a:lnTo>
                  <a:lnTo>
                    <a:pt x="247" y="654"/>
                  </a:lnTo>
                  <a:lnTo>
                    <a:pt x="249" y="651"/>
                  </a:lnTo>
                  <a:lnTo>
                    <a:pt x="249" y="648"/>
                  </a:lnTo>
                  <a:lnTo>
                    <a:pt x="249" y="648"/>
                  </a:lnTo>
                  <a:lnTo>
                    <a:pt x="249" y="645"/>
                  </a:lnTo>
                  <a:lnTo>
                    <a:pt x="253" y="642"/>
                  </a:lnTo>
                  <a:lnTo>
                    <a:pt x="258" y="641"/>
                  </a:lnTo>
                  <a:lnTo>
                    <a:pt x="261" y="641"/>
                  </a:lnTo>
                  <a:lnTo>
                    <a:pt x="261" y="641"/>
                  </a:lnTo>
                  <a:lnTo>
                    <a:pt x="264" y="642"/>
                  </a:lnTo>
                  <a:lnTo>
                    <a:pt x="265" y="645"/>
                  </a:lnTo>
                  <a:lnTo>
                    <a:pt x="270" y="656"/>
                  </a:lnTo>
                  <a:lnTo>
                    <a:pt x="270" y="656"/>
                  </a:lnTo>
                  <a:lnTo>
                    <a:pt x="271" y="662"/>
                  </a:lnTo>
                  <a:lnTo>
                    <a:pt x="274" y="665"/>
                  </a:lnTo>
                  <a:lnTo>
                    <a:pt x="278" y="666"/>
                  </a:lnTo>
                  <a:lnTo>
                    <a:pt x="283" y="671"/>
                  </a:lnTo>
                  <a:lnTo>
                    <a:pt x="283" y="671"/>
                  </a:lnTo>
                  <a:lnTo>
                    <a:pt x="287" y="675"/>
                  </a:lnTo>
                  <a:lnTo>
                    <a:pt x="295" y="678"/>
                  </a:lnTo>
                  <a:lnTo>
                    <a:pt x="304" y="679"/>
                  </a:lnTo>
                  <a:lnTo>
                    <a:pt x="304" y="679"/>
                  </a:lnTo>
                  <a:lnTo>
                    <a:pt x="307" y="682"/>
                  </a:lnTo>
                  <a:lnTo>
                    <a:pt x="308" y="687"/>
                  </a:lnTo>
                  <a:lnTo>
                    <a:pt x="310" y="694"/>
                  </a:lnTo>
                  <a:lnTo>
                    <a:pt x="310" y="694"/>
                  </a:lnTo>
                  <a:lnTo>
                    <a:pt x="313" y="696"/>
                  </a:lnTo>
                  <a:lnTo>
                    <a:pt x="315" y="699"/>
                  </a:lnTo>
                  <a:lnTo>
                    <a:pt x="315" y="703"/>
                  </a:lnTo>
                  <a:lnTo>
                    <a:pt x="315" y="703"/>
                  </a:lnTo>
                  <a:lnTo>
                    <a:pt x="315" y="706"/>
                  </a:lnTo>
                  <a:lnTo>
                    <a:pt x="313" y="709"/>
                  </a:lnTo>
                  <a:lnTo>
                    <a:pt x="308" y="714"/>
                  </a:lnTo>
                  <a:lnTo>
                    <a:pt x="302" y="718"/>
                  </a:lnTo>
                  <a:lnTo>
                    <a:pt x="301" y="721"/>
                  </a:lnTo>
                  <a:lnTo>
                    <a:pt x="299" y="725"/>
                  </a:lnTo>
                  <a:lnTo>
                    <a:pt x="299" y="725"/>
                  </a:lnTo>
                  <a:lnTo>
                    <a:pt x="301" y="749"/>
                  </a:lnTo>
                  <a:lnTo>
                    <a:pt x="302" y="762"/>
                  </a:lnTo>
                  <a:lnTo>
                    <a:pt x="304" y="767"/>
                  </a:lnTo>
                  <a:lnTo>
                    <a:pt x="305" y="770"/>
                  </a:lnTo>
                  <a:lnTo>
                    <a:pt x="305" y="770"/>
                  </a:lnTo>
                  <a:lnTo>
                    <a:pt x="311" y="773"/>
                  </a:lnTo>
                  <a:lnTo>
                    <a:pt x="315" y="776"/>
                  </a:lnTo>
                  <a:lnTo>
                    <a:pt x="320" y="779"/>
                  </a:lnTo>
                  <a:lnTo>
                    <a:pt x="321" y="780"/>
                  </a:lnTo>
                  <a:lnTo>
                    <a:pt x="321" y="782"/>
                  </a:lnTo>
                  <a:lnTo>
                    <a:pt x="321" y="782"/>
                  </a:lnTo>
                  <a:lnTo>
                    <a:pt x="321" y="789"/>
                  </a:lnTo>
                  <a:lnTo>
                    <a:pt x="318" y="796"/>
                  </a:lnTo>
                  <a:lnTo>
                    <a:pt x="315" y="805"/>
                  </a:lnTo>
                  <a:lnTo>
                    <a:pt x="313" y="813"/>
                  </a:lnTo>
                  <a:lnTo>
                    <a:pt x="313" y="813"/>
                  </a:lnTo>
                  <a:lnTo>
                    <a:pt x="313" y="816"/>
                  </a:lnTo>
                  <a:lnTo>
                    <a:pt x="314" y="819"/>
                  </a:lnTo>
                  <a:lnTo>
                    <a:pt x="318" y="823"/>
                  </a:lnTo>
                  <a:lnTo>
                    <a:pt x="326" y="828"/>
                  </a:lnTo>
                  <a:lnTo>
                    <a:pt x="332" y="829"/>
                  </a:lnTo>
                  <a:lnTo>
                    <a:pt x="332" y="829"/>
                  </a:lnTo>
                  <a:lnTo>
                    <a:pt x="347" y="834"/>
                  </a:lnTo>
                  <a:lnTo>
                    <a:pt x="363" y="835"/>
                  </a:lnTo>
                  <a:lnTo>
                    <a:pt x="363" y="835"/>
                  </a:lnTo>
                  <a:lnTo>
                    <a:pt x="382" y="834"/>
                  </a:lnTo>
                  <a:lnTo>
                    <a:pt x="382" y="834"/>
                  </a:lnTo>
                  <a:lnTo>
                    <a:pt x="382" y="838"/>
                  </a:lnTo>
                  <a:lnTo>
                    <a:pt x="384" y="848"/>
                  </a:lnTo>
                  <a:lnTo>
                    <a:pt x="388" y="859"/>
                  </a:lnTo>
                  <a:lnTo>
                    <a:pt x="391" y="865"/>
                  </a:lnTo>
                  <a:lnTo>
                    <a:pt x="395" y="868"/>
                  </a:lnTo>
                  <a:lnTo>
                    <a:pt x="395" y="868"/>
                  </a:lnTo>
                  <a:lnTo>
                    <a:pt x="406" y="873"/>
                  </a:lnTo>
                  <a:lnTo>
                    <a:pt x="415" y="878"/>
                  </a:lnTo>
                  <a:lnTo>
                    <a:pt x="424" y="884"/>
                  </a:lnTo>
                  <a:lnTo>
                    <a:pt x="430" y="890"/>
                  </a:lnTo>
                  <a:lnTo>
                    <a:pt x="430" y="890"/>
                  </a:lnTo>
                  <a:lnTo>
                    <a:pt x="434" y="897"/>
                  </a:lnTo>
                  <a:lnTo>
                    <a:pt x="438" y="905"/>
                  </a:lnTo>
                  <a:lnTo>
                    <a:pt x="441" y="906"/>
                  </a:lnTo>
                  <a:lnTo>
                    <a:pt x="446" y="909"/>
                  </a:lnTo>
                  <a:lnTo>
                    <a:pt x="450" y="911"/>
                  </a:lnTo>
                  <a:lnTo>
                    <a:pt x="458" y="911"/>
                  </a:lnTo>
                  <a:lnTo>
                    <a:pt x="458" y="911"/>
                  </a:lnTo>
                  <a:lnTo>
                    <a:pt x="471" y="912"/>
                  </a:lnTo>
                  <a:lnTo>
                    <a:pt x="483" y="912"/>
                  </a:lnTo>
                  <a:lnTo>
                    <a:pt x="492" y="915"/>
                  </a:lnTo>
                  <a:lnTo>
                    <a:pt x="495" y="916"/>
                  </a:lnTo>
                  <a:lnTo>
                    <a:pt x="498" y="919"/>
                  </a:lnTo>
                  <a:lnTo>
                    <a:pt x="498" y="919"/>
                  </a:lnTo>
                  <a:lnTo>
                    <a:pt x="511" y="940"/>
                  </a:lnTo>
                  <a:lnTo>
                    <a:pt x="511" y="940"/>
                  </a:lnTo>
                  <a:lnTo>
                    <a:pt x="515" y="943"/>
                  </a:lnTo>
                  <a:lnTo>
                    <a:pt x="520" y="945"/>
                  </a:lnTo>
                  <a:lnTo>
                    <a:pt x="532" y="943"/>
                  </a:lnTo>
                  <a:lnTo>
                    <a:pt x="532" y="943"/>
                  </a:lnTo>
                  <a:lnTo>
                    <a:pt x="539" y="943"/>
                  </a:lnTo>
                  <a:lnTo>
                    <a:pt x="545" y="945"/>
                  </a:lnTo>
                  <a:lnTo>
                    <a:pt x="548" y="946"/>
                  </a:lnTo>
                  <a:lnTo>
                    <a:pt x="549" y="949"/>
                  </a:lnTo>
                  <a:lnTo>
                    <a:pt x="551" y="952"/>
                  </a:lnTo>
                  <a:lnTo>
                    <a:pt x="551" y="956"/>
                  </a:lnTo>
                  <a:lnTo>
                    <a:pt x="551" y="956"/>
                  </a:lnTo>
                  <a:lnTo>
                    <a:pt x="552" y="979"/>
                  </a:lnTo>
                  <a:lnTo>
                    <a:pt x="552" y="989"/>
                  </a:lnTo>
                  <a:lnTo>
                    <a:pt x="555" y="992"/>
                  </a:lnTo>
                  <a:lnTo>
                    <a:pt x="557" y="995"/>
                  </a:lnTo>
                  <a:lnTo>
                    <a:pt x="557" y="995"/>
                  </a:lnTo>
                  <a:lnTo>
                    <a:pt x="563" y="1001"/>
                  </a:lnTo>
                  <a:lnTo>
                    <a:pt x="567" y="1010"/>
                  </a:lnTo>
                  <a:lnTo>
                    <a:pt x="572" y="1019"/>
                  </a:lnTo>
                  <a:lnTo>
                    <a:pt x="578" y="1026"/>
                  </a:lnTo>
                  <a:lnTo>
                    <a:pt x="578" y="1026"/>
                  </a:lnTo>
                  <a:lnTo>
                    <a:pt x="579" y="1029"/>
                  </a:lnTo>
                  <a:lnTo>
                    <a:pt x="582" y="1030"/>
                  </a:lnTo>
                  <a:lnTo>
                    <a:pt x="589" y="1032"/>
                  </a:lnTo>
                  <a:lnTo>
                    <a:pt x="597" y="1032"/>
                  </a:lnTo>
                  <a:lnTo>
                    <a:pt x="606" y="1030"/>
                  </a:lnTo>
                  <a:lnTo>
                    <a:pt x="606" y="1030"/>
                  </a:lnTo>
                  <a:lnTo>
                    <a:pt x="615" y="1032"/>
                  </a:lnTo>
                  <a:lnTo>
                    <a:pt x="625" y="1033"/>
                  </a:lnTo>
                  <a:lnTo>
                    <a:pt x="646" y="1038"/>
                  </a:lnTo>
                  <a:lnTo>
                    <a:pt x="646" y="1038"/>
                  </a:lnTo>
                  <a:lnTo>
                    <a:pt x="650" y="1039"/>
                  </a:lnTo>
                  <a:lnTo>
                    <a:pt x="655" y="1038"/>
                  </a:lnTo>
                  <a:lnTo>
                    <a:pt x="661" y="1033"/>
                  </a:lnTo>
                  <a:lnTo>
                    <a:pt x="668" y="1028"/>
                  </a:lnTo>
                  <a:lnTo>
                    <a:pt x="672" y="1026"/>
                  </a:lnTo>
                  <a:lnTo>
                    <a:pt x="678" y="1025"/>
                  </a:lnTo>
                  <a:lnTo>
                    <a:pt x="678" y="1025"/>
                  </a:lnTo>
                  <a:lnTo>
                    <a:pt x="684" y="1025"/>
                  </a:lnTo>
                  <a:lnTo>
                    <a:pt x="690" y="1023"/>
                  </a:lnTo>
                  <a:lnTo>
                    <a:pt x="699" y="1020"/>
                  </a:lnTo>
                  <a:lnTo>
                    <a:pt x="706" y="1016"/>
                  </a:lnTo>
                  <a:lnTo>
                    <a:pt x="711" y="1013"/>
                  </a:lnTo>
                  <a:lnTo>
                    <a:pt x="711" y="1013"/>
                  </a:lnTo>
                  <a:lnTo>
                    <a:pt x="715" y="1011"/>
                  </a:lnTo>
                  <a:lnTo>
                    <a:pt x="721" y="1010"/>
                  </a:lnTo>
                  <a:lnTo>
                    <a:pt x="721" y="1010"/>
                  </a:lnTo>
                  <a:lnTo>
                    <a:pt x="729" y="1005"/>
                  </a:lnTo>
                  <a:lnTo>
                    <a:pt x="732" y="1005"/>
                  </a:lnTo>
                  <a:lnTo>
                    <a:pt x="735" y="1005"/>
                  </a:lnTo>
                  <a:lnTo>
                    <a:pt x="736" y="1008"/>
                  </a:lnTo>
                  <a:lnTo>
                    <a:pt x="736" y="1008"/>
                  </a:lnTo>
                  <a:lnTo>
                    <a:pt x="738" y="1013"/>
                  </a:lnTo>
                  <a:lnTo>
                    <a:pt x="739" y="1020"/>
                  </a:lnTo>
                  <a:lnTo>
                    <a:pt x="740" y="1028"/>
                  </a:lnTo>
                  <a:lnTo>
                    <a:pt x="743" y="1036"/>
                  </a:lnTo>
                  <a:lnTo>
                    <a:pt x="743" y="1036"/>
                  </a:lnTo>
                  <a:lnTo>
                    <a:pt x="751" y="1042"/>
                  </a:lnTo>
                  <a:lnTo>
                    <a:pt x="757" y="1047"/>
                  </a:lnTo>
                  <a:lnTo>
                    <a:pt x="763" y="1051"/>
                  </a:lnTo>
                  <a:lnTo>
                    <a:pt x="767" y="1054"/>
                  </a:lnTo>
                  <a:lnTo>
                    <a:pt x="767" y="1054"/>
                  </a:lnTo>
                  <a:lnTo>
                    <a:pt x="772" y="1059"/>
                  </a:lnTo>
                  <a:lnTo>
                    <a:pt x="777" y="1060"/>
                  </a:lnTo>
                  <a:lnTo>
                    <a:pt x="782" y="1062"/>
                  </a:lnTo>
                  <a:lnTo>
                    <a:pt x="785" y="1060"/>
                  </a:lnTo>
                  <a:lnTo>
                    <a:pt x="785" y="1060"/>
                  </a:lnTo>
                  <a:lnTo>
                    <a:pt x="786" y="1057"/>
                  </a:lnTo>
                  <a:lnTo>
                    <a:pt x="789" y="1054"/>
                  </a:lnTo>
                  <a:lnTo>
                    <a:pt x="792" y="1053"/>
                  </a:lnTo>
                  <a:lnTo>
                    <a:pt x="794" y="1053"/>
                  </a:lnTo>
                  <a:lnTo>
                    <a:pt x="797" y="1054"/>
                  </a:lnTo>
                  <a:lnTo>
                    <a:pt x="800" y="1057"/>
                  </a:lnTo>
                  <a:lnTo>
                    <a:pt x="800" y="1057"/>
                  </a:lnTo>
                  <a:lnTo>
                    <a:pt x="810" y="1072"/>
                  </a:lnTo>
                  <a:lnTo>
                    <a:pt x="817" y="1079"/>
                  </a:lnTo>
                  <a:lnTo>
                    <a:pt x="817" y="1079"/>
                  </a:lnTo>
                  <a:lnTo>
                    <a:pt x="819" y="1081"/>
                  </a:lnTo>
                  <a:lnTo>
                    <a:pt x="819" y="1085"/>
                  </a:lnTo>
                  <a:lnTo>
                    <a:pt x="819" y="1091"/>
                  </a:lnTo>
                  <a:lnTo>
                    <a:pt x="819" y="1091"/>
                  </a:lnTo>
                  <a:lnTo>
                    <a:pt x="819" y="1093"/>
                  </a:lnTo>
                  <a:lnTo>
                    <a:pt x="820" y="1094"/>
                  </a:lnTo>
                  <a:lnTo>
                    <a:pt x="823" y="1096"/>
                  </a:lnTo>
                  <a:lnTo>
                    <a:pt x="826" y="1100"/>
                  </a:lnTo>
                  <a:lnTo>
                    <a:pt x="826" y="1100"/>
                  </a:lnTo>
                  <a:lnTo>
                    <a:pt x="829" y="1107"/>
                  </a:lnTo>
                  <a:lnTo>
                    <a:pt x="832" y="1109"/>
                  </a:lnTo>
                  <a:lnTo>
                    <a:pt x="835" y="1109"/>
                  </a:lnTo>
                  <a:lnTo>
                    <a:pt x="835" y="1109"/>
                  </a:lnTo>
                  <a:lnTo>
                    <a:pt x="847" y="1106"/>
                  </a:lnTo>
                  <a:lnTo>
                    <a:pt x="853" y="1106"/>
                  </a:lnTo>
                  <a:lnTo>
                    <a:pt x="854" y="1106"/>
                  </a:lnTo>
                  <a:lnTo>
                    <a:pt x="856" y="1107"/>
                  </a:lnTo>
                  <a:lnTo>
                    <a:pt x="856" y="1107"/>
                  </a:lnTo>
                  <a:lnTo>
                    <a:pt x="862" y="1116"/>
                  </a:lnTo>
                  <a:lnTo>
                    <a:pt x="865" y="1121"/>
                  </a:lnTo>
                  <a:lnTo>
                    <a:pt x="869" y="1122"/>
                  </a:lnTo>
                  <a:lnTo>
                    <a:pt x="869" y="1122"/>
                  </a:lnTo>
                  <a:lnTo>
                    <a:pt x="872" y="1124"/>
                  </a:lnTo>
                  <a:lnTo>
                    <a:pt x="874" y="1127"/>
                  </a:lnTo>
                  <a:lnTo>
                    <a:pt x="874" y="1137"/>
                  </a:lnTo>
                  <a:lnTo>
                    <a:pt x="874" y="1137"/>
                  </a:lnTo>
                  <a:lnTo>
                    <a:pt x="877" y="1147"/>
                  </a:lnTo>
                  <a:lnTo>
                    <a:pt x="878" y="1152"/>
                  </a:lnTo>
                  <a:lnTo>
                    <a:pt x="878" y="1152"/>
                  </a:lnTo>
                  <a:lnTo>
                    <a:pt x="880" y="1152"/>
                  </a:lnTo>
                  <a:lnTo>
                    <a:pt x="881" y="1152"/>
                  </a:lnTo>
                  <a:lnTo>
                    <a:pt x="884" y="1149"/>
                  </a:lnTo>
                  <a:lnTo>
                    <a:pt x="889" y="1142"/>
                  </a:lnTo>
                  <a:lnTo>
                    <a:pt x="889" y="1142"/>
                  </a:lnTo>
                  <a:lnTo>
                    <a:pt x="893" y="1139"/>
                  </a:lnTo>
                  <a:lnTo>
                    <a:pt x="897" y="1137"/>
                  </a:lnTo>
                  <a:lnTo>
                    <a:pt x="902" y="1134"/>
                  </a:lnTo>
                  <a:lnTo>
                    <a:pt x="903" y="1133"/>
                  </a:lnTo>
                  <a:lnTo>
                    <a:pt x="905" y="1131"/>
                  </a:lnTo>
                  <a:lnTo>
                    <a:pt x="905" y="1131"/>
                  </a:lnTo>
                  <a:lnTo>
                    <a:pt x="903" y="1125"/>
                  </a:lnTo>
                  <a:lnTo>
                    <a:pt x="902" y="1121"/>
                  </a:lnTo>
                  <a:lnTo>
                    <a:pt x="902" y="1119"/>
                  </a:lnTo>
                  <a:lnTo>
                    <a:pt x="903" y="1116"/>
                  </a:lnTo>
                  <a:lnTo>
                    <a:pt x="905" y="1115"/>
                  </a:lnTo>
                  <a:lnTo>
                    <a:pt x="909" y="1113"/>
                  </a:lnTo>
                  <a:lnTo>
                    <a:pt x="909" y="1113"/>
                  </a:lnTo>
                  <a:lnTo>
                    <a:pt x="924" y="1109"/>
                  </a:lnTo>
                  <a:lnTo>
                    <a:pt x="929" y="1106"/>
                  </a:lnTo>
                  <a:lnTo>
                    <a:pt x="931" y="1102"/>
                  </a:lnTo>
                  <a:lnTo>
                    <a:pt x="931" y="1102"/>
                  </a:lnTo>
                  <a:lnTo>
                    <a:pt x="937" y="1096"/>
                  </a:lnTo>
                  <a:lnTo>
                    <a:pt x="943" y="1091"/>
                  </a:lnTo>
                  <a:lnTo>
                    <a:pt x="951" y="1087"/>
                  </a:lnTo>
                  <a:lnTo>
                    <a:pt x="955" y="1081"/>
                  </a:lnTo>
                  <a:lnTo>
                    <a:pt x="955" y="1081"/>
                  </a:lnTo>
                  <a:lnTo>
                    <a:pt x="958" y="1073"/>
                  </a:lnTo>
                  <a:lnTo>
                    <a:pt x="958" y="1069"/>
                  </a:lnTo>
                  <a:lnTo>
                    <a:pt x="961" y="1059"/>
                  </a:lnTo>
                  <a:lnTo>
                    <a:pt x="961" y="1059"/>
                  </a:lnTo>
                  <a:lnTo>
                    <a:pt x="964" y="1054"/>
                  </a:lnTo>
                  <a:lnTo>
                    <a:pt x="967" y="1050"/>
                  </a:lnTo>
                  <a:lnTo>
                    <a:pt x="970" y="1045"/>
                  </a:lnTo>
                  <a:lnTo>
                    <a:pt x="969" y="1042"/>
                  </a:lnTo>
                  <a:lnTo>
                    <a:pt x="967" y="1041"/>
                  </a:lnTo>
                  <a:lnTo>
                    <a:pt x="967" y="1041"/>
                  </a:lnTo>
                  <a:lnTo>
                    <a:pt x="954" y="1025"/>
                  </a:lnTo>
                  <a:lnTo>
                    <a:pt x="945" y="1014"/>
                  </a:lnTo>
                  <a:lnTo>
                    <a:pt x="945" y="1014"/>
                  </a:lnTo>
                  <a:lnTo>
                    <a:pt x="957" y="1002"/>
                  </a:lnTo>
                  <a:lnTo>
                    <a:pt x="966" y="993"/>
                  </a:lnTo>
                  <a:lnTo>
                    <a:pt x="971" y="985"/>
                  </a:lnTo>
                  <a:lnTo>
                    <a:pt x="971" y="985"/>
                  </a:lnTo>
                  <a:lnTo>
                    <a:pt x="974" y="980"/>
                  </a:lnTo>
                  <a:lnTo>
                    <a:pt x="980" y="977"/>
                  </a:lnTo>
                  <a:lnTo>
                    <a:pt x="985" y="973"/>
                  </a:lnTo>
                  <a:lnTo>
                    <a:pt x="992" y="967"/>
                  </a:lnTo>
                  <a:lnTo>
                    <a:pt x="992" y="967"/>
                  </a:lnTo>
                  <a:lnTo>
                    <a:pt x="998" y="958"/>
                  </a:lnTo>
                  <a:lnTo>
                    <a:pt x="1001" y="949"/>
                  </a:lnTo>
                  <a:lnTo>
                    <a:pt x="1004" y="940"/>
                  </a:lnTo>
                  <a:lnTo>
                    <a:pt x="1004" y="933"/>
                  </a:lnTo>
                  <a:lnTo>
                    <a:pt x="1004" y="933"/>
                  </a:lnTo>
                  <a:lnTo>
                    <a:pt x="1006" y="927"/>
                  </a:lnTo>
                  <a:lnTo>
                    <a:pt x="1007" y="922"/>
                  </a:lnTo>
                  <a:lnTo>
                    <a:pt x="1013" y="915"/>
                  </a:lnTo>
                  <a:lnTo>
                    <a:pt x="1013" y="915"/>
                  </a:lnTo>
                  <a:lnTo>
                    <a:pt x="1014" y="912"/>
                  </a:lnTo>
                  <a:lnTo>
                    <a:pt x="1014" y="908"/>
                  </a:lnTo>
                  <a:lnTo>
                    <a:pt x="1014" y="900"/>
                  </a:lnTo>
                  <a:lnTo>
                    <a:pt x="1010" y="893"/>
                  </a:lnTo>
                  <a:lnTo>
                    <a:pt x="1008" y="890"/>
                  </a:lnTo>
                  <a:lnTo>
                    <a:pt x="1006" y="888"/>
                  </a:lnTo>
                  <a:lnTo>
                    <a:pt x="1006" y="888"/>
                  </a:lnTo>
                  <a:lnTo>
                    <a:pt x="998" y="887"/>
                  </a:lnTo>
                  <a:lnTo>
                    <a:pt x="988" y="885"/>
                  </a:lnTo>
                  <a:lnTo>
                    <a:pt x="980" y="884"/>
                  </a:lnTo>
                  <a:lnTo>
                    <a:pt x="977" y="882"/>
                  </a:lnTo>
                  <a:lnTo>
                    <a:pt x="976" y="879"/>
                  </a:lnTo>
                  <a:lnTo>
                    <a:pt x="976" y="879"/>
                  </a:lnTo>
                  <a:lnTo>
                    <a:pt x="974" y="875"/>
                  </a:lnTo>
                  <a:lnTo>
                    <a:pt x="973" y="869"/>
                  </a:lnTo>
                  <a:lnTo>
                    <a:pt x="973" y="868"/>
                  </a:lnTo>
                  <a:lnTo>
                    <a:pt x="971" y="866"/>
                  </a:lnTo>
                  <a:lnTo>
                    <a:pt x="969" y="866"/>
                  </a:lnTo>
                  <a:lnTo>
                    <a:pt x="964" y="868"/>
                  </a:lnTo>
                  <a:lnTo>
                    <a:pt x="964" y="868"/>
                  </a:lnTo>
                  <a:lnTo>
                    <a:pt x="957" y="869"/>
                  </a:lnTo>
                  <a:lnTo>
                    <a:pt x="951" y="869"/>
                  </a:lnTo>
                  <a:lnTo>
                    <a:pt x="949" y="869"/>
                  </a:lnTo>
                  <a:lnTo>
                    <a:pt x="948" y="868"/>
                  </a:lnTo>
                  <a:lnTo>
                    <a:pt x="948" y="866"/>
                  </a:lnTo>
                  <a:lnTo>
                    <a:pt x="948" y="863"/>
                  </a:lnTo>
                  <a:lnTo>
                    <a:pt x="948" y="863"/>
                  </a:lnTo>
                  <a:lnTo>
                    <a:pt x="954" y="848"/>
                  </a:lnTo>
                  <a:lnTo>
                    <a:pt x="960" y="841"/>
                  </a:lnTo>
                  <a:lnTo>
                    <a:pt x="966" y="835"/>
                  </a:lnTo>
                  <a:lnTo>
                    <a:pt x="966" y="835"/>
                  </a:lnTo>
                  <a:lnTo>
                    <a:pt x="969" y="834"/>
                  </a:lnTo>
                  <a:lnTo>
                    <a:pt x="971" y="829"/>
                  </a:lnTo>
                  <a:lnTo>
                    <a:pt x="974" y="820"/>
                  </a:lnTo>
                  <a:lnTo>
                    <a:pt x="976" y="810"/>
                  </a:lnTo>
                  <a:lnTo>
                    <a:pt x="974" y="801"/>
                  </a:lnTo>
                  <a:lnTo>
                    <a:pt x="974" y="801"/>
                  </a:lnTo>
                  <a:lnTo>
                    <a:pt x="971" y="796"/>
                  </a:lnTo>
                  <a:lnTo>
                    <a:pt x="969" y="795"/>
                  </a:lnTo>
                  <a:lnTo>
                    <a:pt x="964" y="792"/>
                  </a:lnTo>
                  <a:lnTo>
                    <a:pt x="964" y="791"/>
                  </a:lnTo>
                  <a:lnTo>
                    <a:pt x="964" y="788"/>
                  </a:lnTo>
                  <a:lnTo>
                    <a:pt x="964" y="788"/>
                  </a:lnTo>
                  <a:lnTo>
                    <a:pt x="964" y="777"/>
                  </a:lnTo>
                  <a:lnTo>
                    <a:pt x="963" y="774"/>
                  </a:lnTo>
                  <a:lnTo>
                    <a:pt x="963" y="771"/>
                  </a:lnTo>
                  <a:lnTo>
                    <a:pt x="963" y="771"/>
                  </a:lnTo>
                  <a:lnTo>
                    <a:pt x="958" y="768"/>
                  </a:lnTo>
                  <a:lnTo>
                    <a:pt x="952" y="765"/>
                  </a:lnTo>
                  <a:lnTo>
                    <a:pt x="946" y="764"/>
                  </a:lnTo>
                  <a:lnTo>
                    <a:pt x="940" y="761"/>
                  </a:lnTo>
                  <a:lnTo>
                    <a:pt x="940" y="761"/>
                  </a:lnTo>
                  <a:lnTo>
                    <a:pt x="939" y="758"/>
                  </a:lnTo>
                  <a:lnTo>
                    <a:pt x="937" y="754"/>
                  </a:lnTo>
                  <a:lnTo>
                    <a:pt x="937" y="745"/>
                  </a:lnTo>
                  <a:lnTo>
                    <a:pt x="936" y="736"/>
                  </a:lnTo>
                  <a:lnTo>
                    <a:pt x="936" y="731"/>
                  </a:lnTo>
                  <a:lnTo>
                    <a:pt x="936" y="731"/>
                  </a:lnTo>
                  <a:lnTo>
                    <a:pt x="934" y="725"/>
                  </a:lnTo>
                  <a:lnTo>
                    <a:pt x="934" y="724"/>
                  </a:lnTo>
                  <a:lnTo>
                    <a:pt x="936" y="722"/>
                  </a:lnTo>
                  <a:lnTo>
                    <a:pt x="936" y="722"/>
                  </a:lnTo>
                  <a:lnTo>
                    <a:pt x="940" y="722"/>
                  </a:lnTo>
                  <a:lnTo>
                    <a:pt x="943" y="719"/>
                  </a:lnTo>
                  <a:lnTo>
                    <a:pt x="946" y="717"/>
                  </a:lnTo>
                  <a:lnTo>
                    <a:pt x="948" y="711"/>
                  </a:lnTo>
                  <a:lnTo>
                    <a:pt x="948" y="711"/>
                  </a:lnTo>
                  <a:lnTo>
                    <a:pt x="945" y="705"/>
                  </a:lnTo>
                  <a:lnTo>
                    <a:pt x="940" y="699"/>
                  </a:lnTo>
                  <a:lnTo>
                    <a:pt x="936" y="694"/>
                  </a:lnTo>
                  <a:lnTo>
                    <a:pt x="934" y="691"/>
                  </a:lnTo>
                  <a:lnTo>
                    <a:pt x="934" y="691"/>
                  </a:lnTo>
                  <a:lnTo>
                    <a:pt x="933" y="688"/>
                  </a:lnTo>
                  <a:lnTo>
                    <a:pt x="933" y="684"/>
                  </a:lnTo>
                  <a:lnTo>
                    <a:pt x="936" y="674"/>
                  </a:lnTo>
                  <a:lnTo>
                    <a:pt x="936" y="674"/>
                  </a:lnTo>
                  <a:lnTo>
                    <a:pt x="939" y="668"/>
                  </a:lnTo>
                  <a:lnTo>
                    <a:pt x="942" y="665"/>
                  </a:lnTo>
                  <a:lnTo>
                    <a:pt x="945" y="663"/>
                  </a:lnTo>
                  <a:lnTo>
                    <a:pt x="945" y="663"/>
                  </a:lnTo>
                  <a:lnTo>
                    <a:pt x="949" y="659"/>
                  </a:lnTo>
                  <a:lnTo>
                    <a:pt x="952" y="651"/>
                  </a:lnTo>
                  <a:lnTo>
                    <a:pt x="952" y="644"/>
                  </a:lnTo>
                  <a:lnTo>
                    <a:pt x="952" y="639"/>
                  </a:lnTo>
                  <a:lnTo>
                    <a:pt x="949" y="637"/>
                  </a:lnTo>
                  <a:lnTo>
                    <a:pt x="949" y="637"/>
                  </a:lnTo>
                  <a:lnTo>
                    <a:pt x="943" y="623"/>
                  </a:lnTo>
                  <a:lnTo>
                    <a:pt x="934" y="610"/>
                  </a:lnTo>
                  <a:lnTo>
                    <a:pt x="934" y="610"/>
                  </a:lnTo>
                  <a:lnTo>
                    <a:pt x="929" y="602"/>
                  </a:lnTo>
                  <a:lnTo>
                    <a:pt x="926" y="598"/>
                  </a:lnTo>
                  <a:lnTo>
                    <a:pt x="923" y="595"/>
                  </a:lnTo>
                  <a:lnTo>
                    <a:pt x="923" y="592"/>
                  </a:lnTo>
                  <a:lnTo>
                    <a:pt x="923" y="592"/>
                  </a:lnTo>
                  <a:lnTo>
                    <a:pt x="926" y="586"/>
                  </a:lnTo>
                  <a:lnTo>
                    <a:pt x="933" y="576"/>
                  </a:lnTo>
                  <a:lnTo>
                    <a:pt x="933" y="576"/>
                  </a:lnTo>
                  <a:lnTo>
                    <a:pt x="937" y="568"/>
                  </a:lnTo>
                  <a:lnTo>
                    <a:pt x="939" y="560"/>
                  </a:lnTo>
                  <a:lnTo>
                    <a:pt x="939" y="552"/>
                  </a:lnTo>
                  <a:lnTo>
                    <a:pt x="937" y="546"/>
                  </a:lnTo>
                  <a:lnTo>
                    <a:pt x="937" y="546"/>
                  </a:lnTo>
                  <a:lnTo>
                    <a:pt x="936" y="539"/>
                  </a:lnTo>
                  <a:lnTo>
                    <a:pt x="936" y="533"/>
                  </a:lnTo>
                  <a:lnTo>
                    <a:pt x="933" y="528"/>
                  </a:lnTo>
                  <a:lnTo>
                    <a:pt x="933" y="528"/>
                  </a:lnTo>
                  <a:lnTo>
                    <a:pt x="927" y="521"/>
                  </a:lnTo>
                  <a:lnTo>
                    <a:pt x="926" y="518"/>
                  </a:lnTo>
                  <a:lnTo>
                    <a:pt x="924" y="514"/>
                  </a:lnTo>
                  <a:lnTo>
                    <a:pt x="924" y="514"/>
                  </a:lnTo>
                  <a:lnTo>
                    <a:pt x="926" y="509"/>
                  </a:lnTo>
                  <a:lnTo>
                    <a:pt x="927" y="506"/>
                  </a:lnTo>
                  <a:lnTo>
                    <a:pt x="930" y="503"/>
                  </a:lnTo>
                  <a:lnTo>
                    <a:pt x="934" y="505"/>
                  </a:lnTo>
                  <a:lnTo>
                    <a:pt x="934" y="505"/>
                  </a:lnTo>
                  <a:lnTo>
                    <a:pt x="946" y="509"/>
                  </a:lnTo>
                  <a:lnTo>
                    <a:pt x="951" y="509"/>
                  </a:lnTo>
                  <a:lnTo>
                    <a:pt x="954" y="508"/>
                  </a:lnTo>
                  <a:lnTo>
                    <a:pt x="955" y="506"/>
                  </a:lnTo>
                  <a:lnTo>
                    <a:pt x="955" y="506"/>
                  </a:lnTo>
                  <a:lnTo>
                    <a:pt x="960" y="500"/>
                  </a:lnTo>
                  <a:lnTo>
                    <a:pt x="961" y="496"/>
                  </a:lnTo>
                  <a:lnTo>
                    <a:pt x="967" y="487"/>
                  </a:lnTo>
                  <a:lnTo>
                    <a:pt x="967" y="487"/>
                  </a:lnTo>
                  <a:lnTo>
                    <a:pt x="970" y="485"/>
                  </a:lnTo>
                  <a:lnTo>
                    <a:pt x="973" y="483"/>
                  </a:lnTo>
                  <a:lnTo>
                    <a:pt x="976" y="481"/>
                  </a:lnTo>
                  <a:lnTo>
                    <a:pt x="977" y="478"/>
                  </a:lnTo>
                  <a:lnTo>
                    <a:pt x="977" y="478"/>
                  </a:lnTo>
                  <a:lnTo>
                    <a:pt x="980" y="475"/>
                  </a:lnTo>
                  <a:lnTo>
                    <a:pt x="980" y="472"/>
                  </a:lnTo>
                  <a:lnTo>
                    <a:pt x="983" y="460"/>
                  </a:lnTo>
                  <a:lnTo>
                    <a:pt x="983" y="460"/>
                  </a:lnTo>
                  <a:lnTo>
                    <a:pt x="991" y="444"/>
                  </a:lnTo>
                  <a:lnTo>
                    <a:pt x="997" y="432"/>
                  </a:lnTo>
                  <a:lnTo>
                    <a:pt x="997" y="432"/>
                  </a:lnTo>
                  <a:lnTo>
                    <a:pt x="1000" y="429"/>
                  </a:lnTo>
                  <a:lnTo>
                    <a:pt x="1000" y="428"/>
                  </a:lnTo>
                  <a:lnTo>
                    <a:pt x="997" y="422"/>
                  </a:lnTo>
                  <a:lnTo>
                    <a:pt x="997" y="422"/>
                  </a:lnTo>
                  <a:lnTo>
                    <a:pt x="994" y="417"/>
                  </a:lnTo>
                  <a:lnTo>
                    <a:pt x="991" y="411"/>
                  </a:lnTo>
                  <a:lnTo>
                    <a:pt x="991" y="405"/>
                  </a:lnTo>
                  <a:lnTo>
                    <a:pt x="991" y="400"/>
                  </a:lnTo>
                  <a:lnTo>
                    <a:pt x="991" y="400"/>
                  </a:lnTo>
                  <a:lnTo>
                    <a:pt x="994" y="394"/>
                  </a:lnTo>
                  <a:lnTo>
                    <a:pt x="995" y="391"/>
                  </a:lnTo>
                  <a:lnTo>
                    <a:pt x="997" y="389"/>
                  </a:lnTo>
                  <a:lnTo>
                    <a:pt x="997" y="385"/>
                  </a:lnTo>
                  <a:lnTo>
                    <a:pt x="997" y="385"/>
                  </a:lnTo>
                  <a:lnTo>
                    <a:pt x="997" y="383"/>
                  </a:lnTo>
                  <a:lnTo>
                    <a:pt x="994" y="382"/>
                  </a:lnTo>
                  <a:lnTo>
                    <a:pt x="986" y="382"/>
                  </a:lnTo>
                  <a:lnTo>
                    <a:pt x="983" y="380"/>
                  </a:lnTo>
                  <a:lnTo>
                    <a:pt x="980" y="377"/>
                  </a:lnTo>
                  <a:lnTo>
                    <a:pt x="977" y="374"/>
                  </a:lnTo>
                  <a:lnTo>
                    <a:pt x="977" y="368"/>
                  </a:lnTo>
                  <a:lnTo>
                    <a:pt x="977" y="368"/>
                  </a:lnTo>
                  <a:lnTo>
                    <a:pt x="979" y="357"/>
                  </a:lnTo>
                  <a:lnTo>
                    <a:pt x="979" y="348"/>
                  </a:lnTo>
                  <a:lnTo>
                    <a:pt x="976" y="342"/>
                  </a:lnTo>
                  <a:lnTo>
                    <a:pt x="974" y="340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69" y="346"/>
                  </a:lnTo>
                  <a:lnTo>
                    <a:pt x="961" y="351"/>
                  </a:lnTo>
                  <a:lnTo>
                    <a:pt x="955" y="354"/>
                  </a:lnTo>
                  <a:lnTo>
                    <a:pt x="951" y="354"/>
                  </a:lnTo>
                  <a:lnTo>
                    <a:pt x="948" y="352"/>
                  </a:lnTo>
                  <a:lnTo>
                    <a:pt x="948" y="352"/>
                  </a:lnTo>
                  <a:lnTo>
                    <a:pt x="934" y="340"/>
                  </a:lnTo>
                  <a:lnTo>
                    <a:pt x="926" y="333"/>
                  </a:lnTo>
                  <a:lnTo>
                    <a:pt x="915" y="328"/>
                  </a:lnTo>
                  <a:lnTo>
                    <a:pt x="915" y="328"/>
                  </a:lnTo>
                  <a:lnTo>
                    <a:pt x="911" y="326"/>
                  </a:lnTo>
                  <a:lnTo>
                    <a:pt x="908" y="321"/>
                  </a:lnTo>
                  <a:lnTo>
                    <a:pt x="902" y="312"/>
                  </a:lnTo>
                  <a:lnTo>
                    <a:pt x="899" y="302"/>
                  </a:lnTo>
                  <a:lnTo>
                    <a:pt x="894" y="290"/>
                  </a:lnTo>
                  <a:lnTo>
                    <a:pt x="894" y="290"/>
                  </a:lnTo>
                  <a:lnTo>
                    <a:pt x="890" y="281"/>
                  </a:lnTo>
                  <a:lnTo>
                    <a:pt x="889" y="272"/>
                  </a:lnTo>
                  <a:lnTo>
                    <a:pt x="890" y="265"/>
                  </a:lnTo>
                  <a:lnTo>
                    <a:pt x="894" y="259"/>
                  </a:lnTo>
                  <a:lnTo>
                    <a:pt x="894" y="259"/>
                  </a:lnTo>
                  <a:lnTo>
                    <a:pt x="896" y="254"/>
                  </a:lnTo>
                  <a:lnTo>
                    <a:pt x="897" y="251"/>
                  </a:lnTo>
                  <a:lnTo>
                    <a:pt x="899" y="246"/>
                  </a:lnTo>
                  <a:lnTo>
                    <a:pt x="900" y="244"/>
                  </a:lnTo>
                  <a:lnTo>
                    <a:pt x="902" y="243"/>
                  </a:lnTo>
                  <a:lnTo>
                    <a:pt x="905" y="241"/>
                  </a:lnTo>
                  <a:lnTo>
                    <a:pt x="909" y="241"/>
                  </a:lnTo>
                  <a:lnTo>
                    <a:pt x="909" y="241"/>
                  </a:lnTo>
                  <a:lnTo>
                    <a:pt x="914" y="240"/>
                  </a:lnTo>
                  <a:lnTo>
                    <a:pt x="920" y="238"/>
                  </a:lnTo>
                  <a:lnTo>
                    <a:pt x="933" y="234"/>
                  </a:lnTo>
                  <a:lnTo>
                    <a:pt x="946" y="228"/>
                  </a:lnTo>
                  <a:lnTo>
                    <a:pt x="952" y="226"/>
                  </a:lnTo>
                  <a:lnTo>
                    <a:pt x="957" y="226"/>
                  </a:lnTo>
                  <a:lnTo>
                    <a:pt x="957" y="226"/>
                  </a:lnTo>
                  <a:lnTo>
                    <a:pt x="961" y="226"/>
                  </a:lnTo>
                  <a:lnTo>
                    <a:pt x="964" y="225"/>
                  </a:lnTo>
                  <a:lnTo>
                    <a:pt x="966" y="223"/>
                  </a:lnTo>
                  <a:lnTo>
                    <a:pt x="969" y="220"/>
                  </a:lnTo>
                  <a:lnTo>
                    <a:pt x="974" y="203"/>
                  </a:lnTo>
                  <a:lnTo>
                    <a:pt x="974" y="203"/>
                  </a:lnTo>
                  <a:lnTo>
                    <a:pt x="979" y="191"/>
                  </a:lnTo>
                  <a:lnTo>
                    <a:pt x="982" y="177"/>
                  </a:lnTo>
                  <a:lnTo>
                    <a:pt x="985" y="166"/>
                  </a:lnTo>
                  <a:lnTo>
                    <a:pt x="985" y="160"/>
                  </a:lnTo>
                  <a:lnTo>
                    <a:pt x="985" y="160"/>
                  </a:lnTo>
                  <a:lnTo>
                    <a:pt x="983" y="155"/>
                  </a:lnTo>
                  <a:lnTo>
                    <a:pt x="980" y="152"/>
                  </a:lnTo>
                  <a:lnTo>
                    <a:pt x="971" y="143"/>
                  </a:lnTo>
                  <a:lnTo>
                    <a:pt x="971" y="143"/>
                  </a:lnTo>
                  <a:lnTo>
                    <a:pt x="951" y="114"/>
                  </a:lnTo>
                  <a:lnTo>
                    <a:pt x="951" y="114"/>
                  </a:lnTo>
                  <a:lnTo>
                    <a:pt x="951" y="111"/>
                  </a:lnTo>
                  <a:lnTo>
                    <a:pt x="952" y="108"/>
                  </a:lnTo>
                  <a:lnTo>
                    <a:pt x="955" y="103"/>
                  </a:lnTo>
                  <a:lnTo>
                    <a:pt x="961" y="102"/>
                  </a:lnTo>
                  <a:lnTo>
                    <a:pt x="961" y="102"/>
                  </a:lnTo>
                  <a:lnTo>
                    <a:pt x="967" y="99"/>
                  </a:lnTo>
                  <a:lnTo>
                    <a:pt x="971" y="96"/>
                  </a:lnTo>
                  <a:lnTo>
                    <a:pt x="976" y="94"/>
                  </a:lnTo>
                  <a:lnTo>
                    <a:pt x="980" y="96"/>
                  </a:lnTo>
                  <a:lnTo>
                    <a:pt x="980" y="96"/>
                  </a:lnTo>
                  <a:lnTo>
                    <a:pt x="983" y="96"/>
                  </a:lnTo>
                  <a:lnTo>
                    <a:pt x="986" y="96"/>
                  </a:lnTo>
                  <a:lnTo>
                    <a:pt x="992" y="92"/>
                  </a:lnTo>
                  <a:lnTo>
                    <a:pt x="997" y="84"/>
                  </a:lnTo>
                  <a:lnTo>
                    <a:pt x="1000" y="75"/>
                  </a:lnTo>
                  <a:lnTo>
                    <a:pt x="1000" y="75"/>
                  </a:lnTo>
                  <a:lnTo>
                    <a:pt x="1003" y="66"/>
                  </a:lnTo>
                  <a:lnTo>
                    <a:pt x="1003" y="57"/>
                  </a:lnTo>
                  <a:lnTo>
                    <a:pt x="1000" y="52"/>
                  </a:lnTo>
                  <a:lnTo>
                    <a:pt x="997" y="47"/>
                  </a:lnTo>
                  <a:lnTo>
                    <a:pt x="997" y="47"/>
                  </a:lnTo>
                  <a:lnTo>
                    <a:pt x="991" y="46"/>
                  </a:lnTo>
                  <a:lnTo>
                    <a:pt x="986" y="44"/>
                  </a:lnTo>
                  <a:lnTo>
                    <a:pt x="982" y="43"/>
                  </a:lnTo>
                  <a:lnTo>
                    <a:pt x="977" y="40"/>
                  </a:lnTo>
                  <a:lnTo>
                    <a:pt x="977" y="40"/>
                  </a:lnTo>
                  <a:lnTo>
                    <a:pt x="976" y="37"/>
                  </a:lnTo>
                  <a:lnTo>
                    <a:pt x="974" y="31"/>
                  </a:lnTo>
                  <a:lnTo>
                    <a:pt x="974" y="20"/>
                  </a:lnTo>
                  <a:lnTo>
                    <a:pt x="974" y="20"/>
                  </a:lnTo>
                  <a:lnTo>
                    <a:pt x="973" y="15"/>
                  </a:lnTo>
                  <a:lnTo>
                    <a:pt x="970" y="7"/>
                  </a:lnTo>
                  <a:lnTo>
                    <a:pt x="966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1" name="Freeform 140">
              <a:extLst>
                <a:ext uri="{FF2B5EF4-FFF2-40B4-BE49-F238E27FC236}">
                  <a16:creationId xmlns:a16="http://schemas.microsoft.com/office/drawing/2014/main" id="{2746044D-8D23-9F4E-9DFD-72B7E075D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8575" y="3935413"/>
              <a:ext cx="188913" cy="280987"/>
            </a:xfrm>
            <a:custGeom>
              <a:avLst/>
              <a:gdLst>
                <a:gd name="T0" fmla="*/ 0 w 119"/>
                <a:gd name="T1" fmla="*/ 0 h 177"/>
                <a:gd name="T2" fmla="*/ 0 w 119"/>
                <a:gd name="T3" fmla="*/ 0 h 177"/>
                <a:gd name="T4" fmla="*/ 1 w 119"/>
                <a:gd name="T5" fmla="*/ 7 h 177"/>
                <a:gd name="T6" fmla="*/ 2 w 119"/>
                <a:gd name="T7" fmla="*/ 22 h 177"/>
                <a:gd name="T8" fmla="*/ 2 w 119"/>
                <a:gd name="T9" fmla="*/ 22 h 177"/>
                <a:gd name="T10" fmla="*/ 5 w 119"/>
                <a:gd name="T11" fmla="*/ 47 h 177"/>
                <a:gd name="T12" fmla="*/ 8 w 119"/>
                <a:gd name="T13" fmla="*/ 60 h 177"/>
                <a:gd name="T14" fmla="*/ 10 w 119"/>
                <a:gd name="T15" fmla="*/ 66 h 177"/>
                <a:gd name="T16" fmla="*/ 13 w 119"/>
                <a:gd name="T17" fmla="*/ 71 h 177"/>
                <a:gd name="T18" fmla="*/ 13 w 119"/>
                <a:gd name="T19" fmla="*/ 71 h 177"/>
                <a:gd name="T20" fmla="*/ 19 w 119"/>
                <a:gd name="T21" fmla="*/ 75 h 177"/>
                <a:gd name="T22" fmla="*/ 23 w 119"/>
                <a:gd name="T23" fmla="*/ 80 h 177"/>
                <a:gd name="T24" fmla="*/ 29 w 119"/>
                <a:gd name="T25" fmla="*/ 84 h 177"/>
                <a:gd name="T26" fmla="*/ 32 w 119"/>
                <a:gd name="T27" fmla="*/ 90 h 177"/>
                <a:gd name="T28" fmla="*/ 32 w 119"/>
                <a:gd name="T29" fmla="*/ 90 h 177"/>
                <a:gd name="T30" fmla="*/ 35 w 119"/>
                <a:gd name="T31" fmla="*/ 99 h 177"/>
                <a:gd name="T32" fmla="*/ 35 w 119"/>
                <a:gd name="T33" fmla="*/ 109 h 177"/>
                <a:gd name="T34" fmla="*/ 35 w 119"/>
                <a:gd name="T35" fmla="*/ 120 h 177"/>
                <a:gd name="T36" fmla="*/ 37 w 119"/>
                <a:gd name="T37" fmla="*/ 129 h 177"/>
                <a:gd name="T38" fmla="*/ 37 w 119"/>
                <a:gd name="T39" fmla="*/ 129 h 177"/>
                <a:gd name="T40" fmla="*/ 40 w 119"/>
                <a:gd name="T41" fmla="*/ 134 h 177"/>
                <a:gd name="T42" fmla="*/ 42 w 119"/>
                <a:gd name="T43" fmla="*/ 139 h 177"/>
                <a:gd name="T44" fmla="*/ 48 w 119"/>
                <a:gd name="T45" fmla="*/ 146 h 177"/>
                <a:gd name="T46" fmla="*/ 48 w 119"/>
                <a:gd name="T47" fmla="*/ 146 h 177"/>
                <a:gd name="T48" fmla="*/ 53 w 119"/>
                <a:gd name="T49" fmla="*/ 154 h 177"/>
                <a:gd name="T50" fmla="*/ 56 w 119"/>
                <a:gd name="T51" fmla="*/ 155 h 177"/>
                <a:gd name="T52" fmla="*/ 60 w 119"/>
                <a:gd name="T53" fmla="*/ 157 h 177"/>
                <a:gd name="T54" fmla="*/ 60 w 119"/>
                <a:gd name="T55" fmla="*/ 157 h 177"/>
                <a:gd name="T56" fmla="*/ 65 w 119"/>
                <a:gd name="T57" fmla="*/ 157 h 177"/>
                <a:gd name="T58" fmla="*/ 71 w 119"/>
                <a:gd name="T59" fmla="*/ 154 h 177"/>
                <a:gd name="T60" fmla="*/ 77 w 119"/>
                <a:gd name="T61" fmla="*/ 152 h 177"/>
                <a:gd name="T62" fmla="*/ 84 w 119"/>
                <a:gd name="T63" fmla="*/ 152 h 177"/>
                <a:gd name="T64" fmla="*/ 84 w 119"/>
                <a:gd name="T65" fmla="*/ 152 h 177"/>
                <a:gd name="T66" fmla="*/ 97 w 119"/>
                <a:gd name="T67" fmla="*/ 154 h 177"/>
                <a:gd name="T68" fmla="*/ 102 w 119"/>
                <a:gd name="T69" fmla="*/ 157 h 177"/>
                <a:gd name="T70" fmla="*/ 106 w 119"/>
                <a:gd name="T71" fmla="*/ 161 h 177"/>
                <a:gd name="T72" fmla="*/ 106 w 119"/>
                <a:gd name="T73" fmla="*/ 161 h 177"/>
                <a:gd name="T74" fmla="*/ 119 w 119"/>
                <a:gd name="T7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77">
                  <a:moveTo>
                    <a:pt x="0" y="0"/>
                  </a:moveTo>
                  <a:lnTo>
                    <a:pt x="0" y="0"/>
                  </a:lnTo>
                  <a:lnTo>
                    <a:pt x="1" y="7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47"/>
                  </a:lnTo>
                  <a:lnTo>
                    <a:pt x="8" y="60"/>
                  </a:lnTo>
                  <a:lnTo>
                    <a:pt x="10" y="66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9" y="75"/>
                  </a:lnTo>
                  <a:lnTo>
                    <a:pt x="23" y="80"/>
                  </a:lnTo>
                  <a:lnTo>
                    <a:pt x="29" y="84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5" y="99"/>
                  </a:lnTo>
                  <a:lnTo>
                    <a:pt x="35" y="109"/>
                  </a:lnTo>
                  <a:lnTo>
                    <a:pt x="35" y="120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40" y="134"/>
                  </a:lnTo>
                  <a:lnTo>
                    <a:pt x="42" y="139"/>
                  </a:lnTo>
                  <a:lnTo>
                    <a:pt x="48" y="146"/>
                  </a:lnTo>
                  <a:lnTo>
                    <a:pt x="48" y="146"/>
                  </a:lnTo>
                  <a:lnTo>
                    <a:pt x="53" y="154"/>
                  </a:lnTo>
                  <a:lnTo>
                    <a:pt x="56" y="155"/>
                  </a:lnTo>
                  <a:lnTo>
                    <a:pt x="60" y="157"/>
                  </a:lnTo>
                  <a:lnTo>
                    <a:pt x="60" y="157"/>
                  </a:lnTo>
                  <a:lnTo>
                    <a:pt x="65" y="157"/>
                  </a:lnTo>
                  <a:lnTo>
                    <a:pt x="71" y="154"/>
                  </a:lnTo>
                  <a:lnTo>
                    <a:pt x="77" y="152"/>
                  </a:lnTo>
                  <a:lnTo>
                    <a:pt x="84" y="152"/>
                  </a:lnTo>
                  <a:lnTo>
                    <a:pt x="84" y="152"/>
                  </a:lnTo>
                  <a:lnTo>
                    <a:pt x="97" y="154"/>
                  </a:lnTo>
                  <a:lnTo>
                    <a:pt x="102" y="157"/>
                  </a:lnTo>
                  <a:lnTo>
                    <a:pt x="106" y="161"/>
                  </a:lnTo>
                  <a:lnTo>
                    <a:pt x="106" y="161"/>
                  </a:lnTo>
                  <a:lnTo>
                    <a:pt x="119" y="17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2" name="Freeform 141">
              <a:extLst>
                <a:ext uri="{FF2B5EF4-FFF2-40B4-BE49-F238E27FC236}">
                  <a16:creationId xmlns:a16="http://schemas.microsoft.com/office/drawing/2014/main" id="{C097D5E4-002B-7940-A9DF-0F20D24A5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7663" y="4597400"/>
              <a:ext cx="1008063" cy="703262"/>
            </a:xfrm>
            <a:custGeom>
              <a:avLst/>
              <a:gdLst>
                <a:gd name="T0" fmla="*/ 622 w 635"/>
                <a:gd name="T1" fmla="*/ 9 h 443"/>
                <a:gd name="T2" fmla="*/ 608 w 635"/>
                <a:gd name="T3" fmla="*/ 23 h 443"/>
                <a:gd name="T4" fmla="*/ 603 w 635"/>
                <a:gd name="T5" fmla="*/ 33 h 443"/>
                <a:gd name="T6" fmla="*/ 601 w 635"/>
                <a:gd name="T7" fmla="*/ 43 h 443"/>
                <a:gd name="T8" fmla="*/ 610 w 635"/>
                <a:gd name="T9" fmla="*/ 43 h 443"/>
                <a:gd name="T10" fmla="*/ 620 w 635"/>
                <a:gd name="T11" fmla="*/ 42 h 443"/>
                <a:gd name="T12" fmla="*/ 620 w 635"/>
                <a:gd name="T13" fmla="*/ 55 h 443"/>
                <a:gd name="T14" fmla="*/ 619 w 635"/>
                <a:gd name="T15" fmla="*/ 70 h 443"/>
                <a:gd name="T16" fmla="*/ 617 w 635"/>
                <a:gd name="T17" fmla="*/ 80 h 443"/>
                <a:gd name="T18" fmla="*/ 610 w 635"/>
                <a:gd name="T19" fmla="*/ 86 h 443"/>
                <a:gd name="T20" fmla="*/ 606 w 635"/>
                <a:gd name="T21" fmla="*/ 79 h 443"/>
                <a:gd name="T22" fmla="*/ 600 w 635"/>
                <a:gd name="T23" fmla="*/ 74 h 443"/>
                <a:gd name="T24" fmla="*/ 589 w 635"/>
                <a:gd name="T25" fmla="*/ 83 h 443"/>
                <a:gd name="T26" fmla="*/ 588 w 635"/>
                <a:gd name="T27" fmla="*/ 91 h 443"/>
                <a:gd name="T28" fmla="*/ 595 w 635"/>
                <a:gd name="T29" fmla="*/ 97 h 443"/>
                <a:gd name="T30" fmla="*/ 595 w 635"/>
                <a:gd name="T31" fmla="*/ 101 h 443"/>
                <a:gd name="T32" fmla="*/ 579 w 635"/>
                <a:gd name="T33" fmla="*/ 116 h 443"/>
                <a:gd name="T34" fmla="*/ 561 w 635"/>
                <a:gd name="T35" fmla="*/ 122 h 443"/>
                <a:gd name="T36" fmla="*/ 546 w 635"/>
                <a:gd name="T37" fmla="*/ 128 h 443"/>
                <a:gd name="T38" fmla="*/ 524 w 635"/>
                <a:gd name="T39" fmla="*/ 141 h 443"/>
                <a:gd name="T40" fmla="*/ 490 w 635"/>
                <a:gd name="T41" fmla="*/ 141 h 443"/>
                <a:gd name="T42" fmla="*/ 462 w 635"/>
                <a:gd name="T43" fmla="*/ 144 h 443"/>
                <a:gd name="T44" fmla="*/ 449 w 635"/>
                <a:gd name="T45" fmla="*/ 153 h 443"/>
                <a:gd name="T46" fmla="*/ 434 w 635"/>
                <a:gd name="T47" fmla="*/ 150 h 443"/>
                <a:gd name="T48" fmla="*/ 426 w 635"/>
                <a:gd name="T49" fmla="*/ 159 h 443"/>
                <a:gd name="T50" fmla="*/ 417 w 635"/>
                <a:gd name="T51" fmla="*/ 162 h 443"/>
                <a:gd name="T52" fmla="*/ 401 w 635"/>
                <a:gd name="T53" fmla="*/ 166 h 443"/>
                <a:gd name="T54" fmla="*/ 394 w 635"/>
                <a:gd name="T55" fmla="*/ 171 h 443"/>
                <a:gd name="T56" fmla="*/ 367 w 635"/>
                <a:gd name="T57" fmla="*/ 171 h 443"/>
                <a:gd name="T58" fmla="*/ 330 w 635"/>
                <a:gd name="T59" fmla="*/ 177 h 443"/>
                <a:gd name="T60" fmla="*/ 298 w 635"/>
                <a:gd name="T61" fmla="*/ 180 h 443"/>
                <a:gd name="T62" fmla="*/ 289 w 635"/>
                <a:gd name="T63" fmla="*/ 185 h 443"/>
                <a:gd name="T64" fmla="*/ 280 w 635"/>
                <a:gd name="T65" fmla="*/ 199 h 443"/>
                <a:gd name="T66" fmla="*/ 271 w 635"/>
                <a:gd name="T67" fmla="*/ 206 h 443"/>
                <a:gd name="T68" fmla="*/ 243 w 635"/>
                <a:gd name="T69" fmla="*/ 218 h 443"/>
                <a:gd name="T70" fmla="*/ 237 w 635"/>
                <a:gd name="T71" fmla="*/ 214 h 443"/>
                <a:gd name="T72" fmla="*/ 235 w 635"/>
                <a:gd name="T73" fmla="*/ 199 h 443"/>
                <a:gd name="T74" fmla="*/ 229 w 635"/>
                <a:gd name="T75" fmla="*/ 187 h 443"/>
                <a:gd name="T76" fmla="*/ 209 w 635"/>
                <a:gd name="T77" fmla="*/ 188 h 443"/>
                <a:gd name="T78" fmla="*/ 188 w 635"/>
                <a:gd name="T79" fmla="*/ 193 h 443"/>
                <a:gd name="T80" fmla="*/ 184 w 635"/>
                <a:gd name="T81" fmla="*/ 206 h 443"/>
                <a:gd name="T82" fmla="*/ 173 w 635"/>
                <a:gd name="T83" fmla="*/ 211 h 443"/>
                <a:gd name="T84" fmla="*/ 161 w 635"/>
                <a:gd name="T85" fmla="*/ 227 h 443"/>
                <a:gd name="T86" fmla="*/ 155 w 635"/>
                <a:gd name="T87" fmla="*/ 243 h 443"/>
                <a:gd name="T88" fmla="*/ 149 w 635"/>
                <a:gd name="T89" fmla="*/ 261 h 443"/>
                <a:gd name="T90" fmla="*/ 133 w 635"/>
                <a:gd name="T91" fmla="*/ 273 h 443"/>
                <a:gd name="T92" fmla="*/ 96 w 635"/>
                <a:gd name="T93" fmla="*/ 307 h 443"/>
                <a:gd name="T94" fmla="*/ 83 w 635"/>
                <a:gd name="T95" fmla="*/ 325 h 443"/>
                <a:gd name="T96" fmla="*/ 72 w 635"/>
                <a:gd name="T97" fmla="*/ 328 h 443"/>
                <a:gd name="T98" fmla="*/ 58 w 635"/>
                <a:gd name="T99" fmla="*/ 332 h 443"/>
                <a:gd name="T100" fmla="*/ 58 w 635"/>
                <a:gd name="T101" fmla="*/ 347 h 443"/>
                <a:gd name="T102" fmla="*/ 53 w 635"/>
                <a:gd name="T103" fmla="*/ 363 h 443"/>
                <a:gd name="T104" fmla="*/ 49 w 635"/>
                <a:gd name="T105" fmla="*/ 385 h 443"/>
                <a:gd name="T106" fmla="*/ 49 w 635"/>
                <a:gd name="T107" fmla="*/ 393 h 443"/>
                <a:gd name="T108" fmla="*/ 41 w 635"/>
                <a:gd name="T109" fmla="*/ 402 h 443"/>
                <a:gd name="T110" fmla="*/ 35 w 635"/>
                <a:gd name="T111" fmla="*/ 406 h 443"/>
                <a:gd name="T112" fmla="*/ 24 w 635"/>
                <a:gd name="T113" fmla="*/ 419 h 443"/>
                <a:gd name="T114" fmla="*/ 13 w 635"/>
                <a:gd name="T115" fmla="*/ 43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5" h="443">
                  <a:moveTo>
                    <a:pt x="635" y="0"/>
                  </a:moveTo>
                  <a:lnTo>
                    <a:pt x="635" y="0"/>
                  </a:lnTo>
                  <a:lnTo>
                    <a:pt x="622" y="9"/>
                  </a:lnTo>
                  <a:lnTo>
                    <a:pt x="613" y="17"/>
                  </a:lnTo>
                  <a:lnTo>
                    <a:pt x="610" y="20"/>
                  </a:lnTo>
                  <a:lnTo>
                    <a:pt x="608" y="23"/>
                  </a:lnTo>
                  <a:lnTo>
                    <a:pt x="608" y="23"/>
                  </a:lnTo>
                  <a:lnTo>
                    <a:pt x="607" y="27"/>
                  </a:lnTo>
                  <a:lnTo>
                    <a:pt x="603" y="33"/>
                  </a:lnTo>
                  <a:lnTo>
                    <a:pt x="600" y="39"/>
                  </a:lnTo>
                  <a:lnTo>
                    <a:pt x="600" y="42"/>
                  </a:lnTo>
                  <a:lnTo>
                    <a:pt x="601" y="43"/>
                  </a:lnTo>
                  <a:lnTo>
                    <a:pt x="601" y="43"/>
                  </a:lnTo>
                  <a:lnTo>
                    <a:pt x="606" y="45"/>
                  </a:lnTo>
                  <a:lnTo>
                    <a:pt x="610" y="43"/>
                  </a:lnTo>
                  <a:lnTo>
                    <a:pt x="617" y="42"/>
                  </a:lnTo>
                  <a:lnTo>
                    <a:pt x="617" y="42"/>
                  </a:lnTo>
                  <a:lnTo>
                    <a:pt x="620" y="42"/>
                  </a:lnTo>
                  <a:lnTo>
                    <a:pt x="622" y="43"/>
                  </a:lnTo>
                  <a:lnTo>
                    <a:pt x="622" y="46"/>
                  </a:lnTo>
                  <a:lnTo>
                    <a:pt x="620" y="55"/>
                  </a:lnTo>
                  <a:lnTo>
                    <a:pt x="620" y="55"/>
                  </a:lnTo>
                  <a:lnTo>
                    <a:pt x="619" y="64"/>
                  </a:lnTo>
                  <a:lnTo>
                    <a:pt x="619" y="70"/>
                  </a:lnTo>
                  <a:lnTo>
                    <a:pt x="619" y="76"/>
                  </a:lnTo>
                  <a:lnTo>
                    <a:pt x="617" y="80"/>
                  </a:lnTo>
                  <a:lnTo>
                    <a:pt x="617" y="80"/>
                  </a:lnTo>
                  <a:lnTo>
                    <a:pt x="616" y="85"/>
                  </a:lnTo>
                  <a:lnTo>
                    <a:pt x="613" y="86"/>
                  </a:lnTo>
                  <a:lnTo>
                    <a:pt x="610" y="86"/>
                  </a:lnTo>
                  <a:lnTo>
                    <a:pt x="607" y="83"/>
                  </a:lnTo>
                  <a:lnTo>
                    <a:pt x="607" y="83"/>
                  </a:lnTo>
                  <a:lnTo>
                    <a:pt x="606" y="79"/>
                  </a:lnTo>
                  <a:lnTo>
                    <a:pt x="606" y="74"/>
                  </a:lnTo>
                  <a:lnTo>
                    <a:pt x="604" y="71"/>
                  </a:lnTo>
                  <a:lnTo>
                    <a:pt x="600" y="74"/>
                  </a:lnTo>
                  <a:lnTo>
                    <a:pt x="600" y="74"/>
                  </a:lnTo>
                  <a:lnTo>
                    <a:pt x="594" y="79"/>
                  </a:lnTo>
                  <a:lnTo>
                    <a:pt x="589" y="83"/>
                  </a:lnTo>
                  <a:lnTo>
                    <a:pt x="588" y="88"/>
                  </a:lnTo>
                  <a:lnTo>
                    <a:pt x="588" y="89"/>
                  </a:lnTo>
                  <a:lnTo>
                    <a:pt x="588" y="91"/>
                  </a:lnTo>
                  <a:lnTo>
                    <a:pt x="588" y="91"/>
                  </a:lnTo>
                  <a:lnTo>
                    <a:pt x="594" y="95"/>
                  </a:lnTo>
                  <a:lnTo>
                    <a:pt x="595" y="97"/>
                  </a:lnTo>
                  <a:lnTo>
                    <a:pt x="597" y="98"/>
                  </a:lnTo>
                  <a:lnTo>
                    <a:pt x="597" y="98"/>
                  </a:lnTo>
                  <a:lnTo>
                    <a:pt x="595" y="101"/>
                  </a:lnTo>
                  <a:lnTo>
                    <a:pt x="592" y="105"/>
                  </a:lnTo>
                  <a:lnTo>
                    <a:pt x="579" y="116"/>
                  </a:lnTo>
                  <a:lnTo>
                    <a:pt x="579" y="116"/>
                  </a:lnTo>
                  <a:lnTo>
                    <a:pt x="573" y="120"/>
                  </a:lnTo>
                  <a:lnTo>
                    <a:pt x="567" y="120"/>
                  </a:lnTo>
                  <a:lnTo>
                    <a:pt x="561" y="122"/>
                  </a:lnTo>
                  <a:lnTo>
                    <a:pt x="554" y="123"/>
                  </a:lnTo>
                  <a:lnTo>
                    <a:pt x="554" y="123"/>
                  </a:lnTo>
                  <a:lnTo>
                    <a:pt x="546" y="128"/>
                  </a:lnTo>
                  <a:lnTo>
                    <a:pt x="537" y="134"/>
                  </a:lnTo>
                  <a:lnTo>
                    <a:pt x="529" y="138"/>
                  </a:lnTo>
                  <a:lnTo>
                    <a:pt x="524" y="141"/>
                  </a:lnTo>
                  <a:lnTo>
                    <a:pt x="520" y="141"/>
                  </a:lnTo>
                  <a:lnTo>
                    <a:pt x="520" y="141"/>
                  </a:lnTo>
                  <a:lnTo>
                    <a:pt x="490" y="141"/>
                  </a:lnTo>
                  <a:lnTo>
                    <a:pt x="466" y="141"/>
                  </a:lnTo>
                  <a:lnTo>
                    <a:pt x="466" y="141"/>
                  </a:lnTo>
                  <a:lnTo>
                    <a:pt x="462" y="144"/>
                  </a:lnTo>
                  <a:lnTo>
                    <a:pt x="457" y="148"/>
                  </a:lnTo>
                  <a:lnTo>
                    <a:pt x="453" y="151"/>
                  </a:lnTo>
                  <a:lnTo>
                    <a:pt x="449" y="153"/>
                  </a:lnTo>
                  <a:lnTo>
                    <a:pt x="449" y="153"/>
                  </a:lnTo>
                  <a:lnTo>
                    <a:pt x="438" y="151"/>
                  </a:lnTo>
                  <a:lnTo>
                    <a:pt x="434" y="150"/>
                  </a:lnTo>
                  <a:lnTo>
                    <a:pt x="431" y="151"/>
                  </a:lnTo>
                  <a:lnTo>
                    <a:pt x="431" y="151"/>
                  </a:lnTo>
                  <a:lnTo>
                    <a:pt x="426" y="159"/>
                  </a:lnTo>
                  <a:lnTo>
                    <a:pt x="422" y="160"/>
                  </a:lnTo>
                  <a:lnTo>
                    <a:pt x="417" y="162"/>
                  </a:lnTo>
                  <a:lnTo>
                    <a:pt x="417" y="162"/>
                  </a:lnTo>
                  <a:lnTo>
                    <a:pt x="412" y="162"/>
                  </a:lnTo>
                  <a:lnTo>
                    <a:pt x="406" y="163"/>
                  </a:lnTo>
                  <a:lnTo>
                    <a:pt x="401" y="166"/>
                  </a:lnTo>
                  <a:lnTo>
                    <a:pt x="397" y="169"/>
                  </a:lnTo>
                  <a:lnTo>
                    <a:pt x="397" y="169"/>
                  </a:lnTo>
                  <a:lnTo>
                    <a:pt x="394" y="171"/>
                  </a:lnTo>
                  <a:lnTo>
                    <a:pt x="389" y="172"/>
                  </a:lnTo>
                  <a:lnTo>
                    <a:pt x="379" y="172"/>
                  </a:lnTo>
                  <a:lnTo>
                    <a:pt x="367" y="171"/>
                  </a:lnTo>
                  <a:lnTo>
                    <a:pt x="355" y="172"/>
                  </a:lnTo>
                  <a:lnTo>
                    <a:pt x="355" y="172"/>
                  </a:lnTo>
                  <a:lnTo>
                    <a:pt x="330" y="177"/>
                  </a:lnTo>
                  <a:lnTo>
                    <a:pt x="311" y="180"/>
                  </a:lnTo>
                  <a:lnTo>
                    <a:pt x="311" y="180"/>
                  </a:lnTo>
                  <a:lnTo>
                    <a:pt x="298" y="180"/>
                  </a:lnTo>
                  <a:lnTo>
                    <a:pt x="292" y="181"/>
                  </a:lnTo>
                  <a:lnTo>
                    <a:pt x="290" y="182"/>
                  </a:lnTo>
                  <a:lnTo>
                    <a:pt x="289" y="185"/>
                  </a:lnTo>
                  <a:lnTo>
                    <a:pt x="289" y="185"/>
                  </a:lnTo>
                  <a:lnTo>
                    <a:pt x="286" y="191"/>
                  </a:lnTo>
                  <a:lnTo>
                    <a:pt x="280" y="199"/>
                  </a:lnTo>
                  <a:lnTo>
                    <a:pt x="275" y="205"/>
                  </a:lnTo>
                  <a:lnTo>
                    <a:pt x="271" y="206"/>
                  </a:lnTo>
                  <a:lnTo>
                    <a:pt x="271" y="206"/>
                  </a:lnTo>
                  <a:lnTo>
                    <a:pt x="256" y="214"/>
                  </a:lnTo>
                  <a:lnTo>
                    <a:pt x="246" y="218"/>
                  </a:lnTo>
                  <a:lnTo>
                    <a:pt x="243" y="218"/>
                  </a:lnTo>
                  <a:lnTo>
                    <a:pt x="240" y="218"/>
                  </a:lnTo>
                  <a:lnTo>
                    <a:pt x="240" y="218"/>
                  </a:lnTo>
                  <a:lnTo>
                    <a:pt x="237" y="214"/>
                  </a:lnTo>
                  <a:lnTo>
                    <a:pt x="235" y="209"/>
                  </a:lnTo>
                  <a:lnTo>
                    <a:pt x="235" y="199"/>
                  </a:lnTo>
                  <a:lnTo>
                    <a:pt x="235" y="199"/>
                  </a:lnTo>
                  <a:lnTo>
                    <a:pt x="234" y="193"/>
                  </a:lnTo>
                  <a:lnTo>
                    <a:pt x="232" y="190"/>
                  </a:lnTo>
                  <a:lnTo>
                    <a:pt x="229" y="187"/>
                  </a:lnTo>
                  <a:lnTo>
                    <a:pt x="226" y="187"/>
                  </a:lnTo>
                  <a:lnTo>
                    <a:pt x="226" y="187"/>
                  </a:lnTo>
                  <a:lnTo>
                    <a:pt x="209" y="188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88" y="193"/>
                  </a:lnTo>
                  <a:lnTo>
                    <a:pt x="185" y="197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2" y="208"/>
                  </a:lnTo>
                  <a:lnTo>
                    <a:pt x="178" y="209"/>
                  </a:lnTo>
                  <a:lnTo>
                    <a:pt x="173" y="211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1" y="227"/>
                  </a:lnTo>
                  <a:lnTo>
                    <a:pt x="158" y="236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5" y="249"/>
                  </a:lnTo>
                  <a:lnTo>
                    <a:pt x="152" y="255"/>
                  </a:lnTo>
                  <a:lnTo>
                    <a:pt x="149" y="261"/>
                  </a:lnTo>
                  <a:lnTo>
                    <a:pt x="144" y="265"/>
                  </a:lnTo>
                  <a:lnTo>
                    <a:pt x="144" y="265"/>
                  </a:lnTo>
                  <a:lnTo>
                    <a:pt x="133" y="273"/>
                  </a:lnTo>
                  <a:lnTo>
                    <a:pt x="118" y="283"/>
                  </a:lnTo>
                  <a:lnTo>
                    <a:pt x="105" y="297"/>
                  </a:lnTo>
                  <a:lnTo>
                    <a:pt x="96" y="307"/>
                  </a:lnTo>
                  <a:lnTo>
                    <a:pt x="96" y="307"/>
                  </a:lnTo>
                  <a:lnTo>
                    <a:pt x="87" y="320"/>
                  </a:lnTo>
                  <a:lnTo>
                    <a:pt x="83" y="325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2" y="328"/>
                  </a:lnTo>
                  <a:lnTo>
                    <a:pt x="65" y="328"/>
                  </a:lnTo>
                  <a:lnTo>
                    <a:pt x="59" y="329"/>
                  </a:lnTo>
                  <a:lnTo>
                    <a:pt x="58" y="332"/>
                  </a:lnTo>
                  <a:lnTo>
                    <a:pt x="56" y="335"/>
                  </a:lnTo>
                  <a:lnTo>
                    <a:pt x="56" y="335"/>
                  </a:lnTo>
                  <a:lnTo>
                    <a:pt x="58" y="347"/>
                  </a:lnTo>
                  <a:lnTo>
                    <a:pt x="56" y="353"/>
                  </a:lnTo>
                  <a:lnTo>
                    <a:pt x="53" y="363"/>
                  </a:lnTo>
                  <a:lnTo>
                    <a:pt x="53" y="363"/>
                  </a:lnTo>
                  <a:lnTo>
                    <a:pt x="50" y="372"/>
                  </a:lnTo>
                  <a:lnTo>
                    <a:pt x="49" y="379"/>
                  </a:lnTo>
                  <a:lnTo>
                    <a:pt x="49" y="385"/>
                  </a:lnTo>
                  <a:lnTo>
                    <a:pt x="49" y="390"/>
                  </a:lnTo>
                  <a:lnTo>
                    <a:pt x="49" y="390"/>
                  </a:lnTo>
                  <a:lnTo>
                    <a:pt x="49" y="393"/>
                  </a:lnTo>
                  <a:lnTo>
                    <a:pt x="47" y="396"/>
                  </a:lnTo>
                  <a:lnTo>
                    <a:pt x="46" y="399"/>
                  </a:lnTo>
                  <a:lnTo>
                    <a:pt x="41" y="402"/>
                  </a:lnTo>
                  <a:lnTo>
                    <a:pt x="41" y="402"/>
                  </a:lnTo>
                  <a:lnTo>
                    <a:pt x="38" y="403"/>
                  </a:lnTo>
                  <a:lnTo>
                    <a:pt x="35" y="406"/>
                  </a:lnTo>
                  <a:lnTo>
                    <a:pt x="28" y="415"/>
                  </a:lnTo>
                  <a:lnTo>
                    <a:pt x="28" y="415"/>
                  </a:lnTo>
                  <a:lnTo>
                    <a:pt x="24" y="419"/>
                  </a:lnTo>
                  <a:lnTo>
                    <a:pt x="21" y="424"/>
                  </a:lnTo>
                  <a:lnTo>
                    <a:pt x="18" y="428"/>
                  </a:lnTo>
                  <a:lnTo>
                    <a:pt x="13" y="433"/>
                  </a:lnTo>
                  <a:lnTo>
                    <a:pt x="13" y="433"/>
                  </a:lnTo>
                  <a:lnTo>
                    <a:pt x="0" y="44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3" name="Freeform 142">
              <a:extLst>
                <a:ext uri="{FF2B5EF4-FFF2-40B4-BE49-F238E27FC236}">
                  <a16:creationId xmlns:a16="http://schemas.microsoft.com/office/drawing/2014/main" id="{450AE53C-6393-A845-87CE-6A4A820BC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5299075"/>
              <a:ext cx="236538" cy="1036637"/>
            </a:xfrm>
            <a:custGeom>
              <a:avLst/>
              <a:gdLst>
                <a:gd name="T0" fmla="*/ 4 w 149"/>
                <a:gd name="T1" fmla="*/ 648 h 653"/>
                <a:gd name="T2" fmla="*/ 17 w 149"/>
                <a:gd name="T3" fmla="*/ 626 h 653"/>
                <a:gd name="T4" fmla="*/ 28 w 149"/>
                <a:gd name="T5" fmla="*/ 610 h 653"/>
                <a:gd name="T6" fmla="*/ 32 w 149"/>
                <a:gd name="T7" fmla="*/ 591 h 653"/>
                <a:gd name="T8" fmla="*/ 40 w 149"/>
                <a:gd name="T9" fmla="*/ 585 h 653"/>
                <a:gd name="T10" fmla="*/ 44 w 149"/>
                <a:gd name="T11" fmla="*/ 576 h 653"/>
                <a:gd name="T12" fmla="*/ 57 w 149"/>
                <a:gd name="T13" fmla="*/ 567 h 653"/>
                <a:gd name="T14" fmla="*/ 74 w 149"/>
                <a:gd name="T15" fmla="*/ 568 h 653"/>
                <a:gd name="T16" fmla="*/ 77 w 149"/>
                <a:gd name="T17" fmla="*/ 573 h 653"/>
                <a:gd name="T18" fmla="*/ 80 w 149"/>
                <a:gd name="T19" fmla="*/ 577 h 653"/>
                <a:gd name="T20" fmla="*/ 103 w 149"/>
                <a:gd name="T21" fmla="*/ 576 h 653"/>
                <a:gd name="T22" fmla="*/ 127 w 149"/>
                <a:gd name="T23" fmla="*/ 565 h 653"/>
                <a:gd name="T24" fmla="*/ 133 w 149"/>
                <a:gd name="T25" fmla="*/ 555 h 653"/>
                <a:gd name="T26" fmla="*/ 139 w 149"/>
                <a:gd name="T27" fmla="*/ 530 h 653"/>
                <a:gd name="T28" fmla="*/ 145 w 149"/>
                <a:gd name="T29" fmla="*/ 512 h 653"/>
                <a:gd name="T30" fmla="*/ 145 w 149"/>
                <a:gd name="T31" fmla="*/ 497 h 653"/>
                <a:gd name="T32" fmla="*/ 140 w 149"/>
                <a:gd name="T33" fmla="*/ 477 h 653"/>
                <a:gd name="T34" fmla="*/ 145 w 149"/>
                <a:gd name="T35" fmla="*/ 457 h 653"/>
                <a:gd name="T36" fmla="*/ 149 w 149"/>
                <a:gd name="T37" fmla="*/ 435 h 653"/>
                <a:gd name="T38" fmla="*/ 145 w 149"/>
                <a:gd name="T39" fmla="*/ 413 h 653"/>
                <a:gd name="T40" fmla="*/ 120 w 149"/>
                <a:gd name="T41" fmla="*/ 395 h 653"/>
                <a:gd name="T42" fmla="*/ 99 w 149"/>
                <a:gd name="T43" fmla="*/ 374 h 653"/>
                <a:gd name="T44" fmla="*/ 100 w 149"/>
                <a:gd name="T45" fmla="*/ 354 h 653"/>
                <a:gd name="T46" fmla="*/ 108 w 149"/>
                <a:gd name="T47" fmla="*/ 336 h 653"/>
                <a:gd name="T48" fmla="*/ 120 w 149"/>
                <a:gd name="T49" fmla="*/ 306 h 653"/>
                <a:gd name="T50" fmla="*/ 124 w 149"/>
                <a:gd name="T51" fmla="*/ 299 h 653"/>
                <a:gd name="T52" fmla="*/ 123 w 149"/>
                <a:gd name="T53" fmla="*/ 287 h 653"/>
                <a:gd name="T54" fmla="*/ 120 w 149"/>
                <a:gd name="T55" fmla="*/ 269 h 653"/>
                <a:gd name="T56" fmla="*/ 124 w 149"/>
                <a:gd name="T57" fmla="*/ 263 h 653"/>
                <a:gd name="T58" fmla="*/ 127 w 149"/>
                <a:gd name="T59" fmla="*/ 241 h 653"/>
                <a:gd name="T60" fmla="*/ 136 w 149"/>
                <a:gd name="T61" fmla="*/ 201 h 653"/>
                <a:gd name="T62" fmla="*/ 142 w 149"/>
                <a:gd name="T63" fmla="*/ 194 h 653"/>
                <a:gd name="T64" fmla="*/ 148 w 149"/>
                <a:gd name="T65" fmla="*/ 170 h 653"/>
                <a:gd name="T66" fmla="*/ 145 w 149"/>
                <a:gd name="T67" fmla="*/ 154 h 653"/>
                <a:gd name="T68" fmla="*/ 133 w 149"/>
                <a:gd name="T69" fmla="*/ 131 h 653"/>
                <a:gd name="T70" fmla="*/ 128 w 149"/>
                <a:gd name="T71" fmla="*/ 102 h 653"/>
                <a:gd name="T72" fmla="*/ 121 w 149"/>
                <a:gd name="T73" fmla="*/ 72 h 653"/>
                <a:gd name="T74" fmla="*/ 97 w 149"/>
                <a:gd name="T75" fmla="*/ 56 h 653"/>
                <a:gd name="T76" fmla="*/ 78 w 149"/>
                <a:gd name="T77" fmla="*/ 43 h 653"/>
                <a:gd name="T78" fmla="*/ 75 w 149"/>
                <a:gd name="T79" fmla="*/ 28 h 653"/>
                <a:gd name="T80" fmla="*/ 72 w 149"/>
                <a:gd name="T81" fmla="*/ 14 h 653"/>
                <a:gd name="T82" fmla="*/ 59 w 149"/>
                <a:gd name="T83" fmla="*/ 1 h 653"/>
                <a:gd name="T84" fmla="*/ 49 w 149"/>
                <a:gd name="T85" fmla="*/ 4 h 653"/>
                <a:gd name="T86" fmla="*/ 37 w 149"/>
                <a:gd name="T87" fmla="*/ 23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9" h="653">
                  <a:moveTo>
                    <a:pt x="0" y="653"/>
                  </a:moveTo>
                  <a:lnTo>
                    <a:pt x="0" y="653"/>
                  </a:lnTo>
                  <a:lnTo>
                    <a:pt x="4" y="648"/>
                  </a:lnTo>
                  <a:lnTo>
                    <a:pt x="9" y="639"/>
                  </a:lnTo>
                  <a:lnTo>
                    <a:pt x="17" y="626"/>
                  </a:lnTo>
                  <a:lnTo>
                    <a:pt x="17" y="626"/>
                  </a:lnTo>
                  <a:lnTo>
                    <a:pt x="23" y="620"/>
                  </a:lnTo>
                  <a:lnTo>
                    <a:pt x="26" y="616"/>
                  </a:lnTo>
                  <a:lnTo>
                    <a:pt x="28" y="610"/>
                  </a:lnTo>
                  <a:lnTo>
                    <a:pt x="28" y="610"/>
                  </a:lnTo>
                  <a:lnTo>
                    <a:pt x="31" y="596"/>
                  </a:lnTo>
                  <a:lnTo>
                    <a:pt x="32" y="591"/>
                  </a:lnTo>
                  <a:lnTo>
                    <a:pt x="37" y="588"/>
                  </a:lnTo>
                  <a:lnTo>
                    <a:pt x="37" y="588"/>
                  </a:lnTo>
                  <a:lnTo>
                    <a:pt x="40" y="585"/>
                  </a:lnTo>
                  <a:lnTo>
                    <a:pt x="43" y="582"/>
                  </a:lnTo>
                  <a:lnTo>
                    <a:pt x="44" y="576"/>
                  </a:lnTo>
                  <a:lnTo>
                    <a:pt x="44" y="576"/>
                  </a:lnTo>
                  <a:lnTo>
                    <a:pt x="47" y="571"/>
                  </a:lnTo>
                  <a:lnTo>
                    <a:pt x="51" y="570"/>
                  </a:lnTo>
                  <a:lnTo>
                    <a:pt x="57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74" y="568"/>
                  </a:lnTo>
                  <a:lnTo>
                    <a:pt x="75" y="570"/>
                  </a:lnTo>
                  <a:lnTo>
                    <a:pt x="77" y="573"/>
                  </a:lnTo>
                  <a:lnTo>
                    <a:pt x="77" y="573"/>
                  </a:lnTo>
                  <a:lnTo>
                    <a:pt x="77" y="574"/>
                  </a:lnTo>
                  <a:lnTo>
                    <a:pt x="77" y="576"/>
                  </a:lnTo>
                  <a:lnTo>
                    <a:pt x="80" y="577"/>
                  </a:lnTo>
                  <a:lnTo>
                    <a:pt x="90" y="577"/>
                  </a:lnTo>
                  <a:lnTo>
                    <a:pt x="90" y="577"/>
                  </a:lnTo>
                  <a:lnTo>
                    <a:pt x="103" y="576"/>
                  </a:lnTo>
                  <a:lnTo>
                    <a:pt x="115" y="573"/>
                  </a:lnTo>
                  <a:lnTo>
                    <a:pt x="124" y="568"/>
                  </a:lnTo>
                  <a:lnTo>
                    <a:pt x="127" y="565"/>
                  </a:lnTo>
                  <a:lnTo>
                    <a:pt x="130" y="562"/>
                  </a:lnTo>
                  <a:lnTo>
                    <a:pt x="130" y="562"/>
                  </a:lnTo>
                  <a:lnTo>
                    <a:pt x="133" y="555"/>
                  </a:lnTo>
                  <a:lnTo>
                    <a:pt x="136" y="546"/>
                  </a:lnTo>
                  <a:lnTo>
                    <a:pt x="137" y="537"/>
                  </a:lnTo>
                  <a:lnTo>
                    <a:pt x="139" y="530"/>
                  </a:lnTo>
                  <a:lnTo>
                    <a:pt x="139" y="530"/>
                  </a:lnTo>
                  <a:lnTo>
                    <a:pt x="143" y="518"/>
                  </a:lnTo>
                  <a:lnTo>
                    <a:pt x="145" y="512"/>
                  </a:lnTo>
                  <a:lnTo>
                    <a:pt x="145" y="505"/>
                  </a:lnTo>
                  <a:lnTo>
                    <a:pt x="145" y="505"/>
                  </a:lnTo>
                  <a:lnTo>
                    <a:pt x="145" y="497"/>
                  </a:lnTo>
                  <a:lnTo>
                    <a:pt x="145" y="497"/>
                  </a:lnTo>
                  <a:lnTo>
                    <a:pt x="142" y="488"/>
                  </a:lnTo>
                  <a:lnTo>
                    <a:pt x="140" y="477"/>
                  </a:lnTo>
                  <a:lnTo>
                    <a:pt x="142" y="466"/>
                  </a:lnTo>
                  <a:lnTo>
                    <a:pt x="143" y="460"/>
                  </a:lnTo>
                  <a:lnTo>
                    <a:pt x="145" y="457"/>
                  </a:lnTo>
                  <a:lnTo>
                    <a:pt x="145" y="457"/>
                  </a:lnTo>
                  <a:lnTo>
                    <a:pt x="148" y="448"/>
                  </a:lnTo>
                  <a:lnTo>
                    <a:pt x="149" y="435"/>
                  </a:lnTo>
                  <a:lnTo>
                    <a:pt x="148" y="422"/>
                  </a:lnTo>
                  <a:lnTo>
                    <a:pt x="148" y="417"/>
                  </a:lnTo>
                  <a:lnTo>
                    <a:pt x="145" y="413"/>
                  </a:lnTo>
                  <a:lnTo>
                    <a:pt x="145" y="413"/>
                  </a:lnTo>
                  <a:lnTo>
                    <a:pt x="134" y="405"/>
                  </a:lnTo>
                  <a:lnTo>
                    <a:pt x="120" y="395"/>
                  </a:lnTo>
                  <a:lnTo>
                    <a:pt x="105" y="385"/>
                  </a:lnTo>
                  <a:lnTo>
                    <a:pt x="100" y="379"/>
                  </a:lnTo>
                  <a:lnTo>
                    <a:pt x="99" y="374"/>
                  </a:lnTo>
                  <a:lnTo>
                    <a:pt x="99" y="374"/>
                  </a:lnTo>
                  <a:lnTo>
                    <a:pt x="99" y="360"/>
                  </a:lnTo>
                  <a:lnTo>
                    <a:pt x="100" y="354"/>
                  </a:lnTo>
                  <a:lnTo>
                    <a:pt x="103" y="346"/>
                  </a:lnTo>
                  <a:lnTo>
                    <a:pt x="103" y="346"/>
                  </a:lnTo>
                  <a:lnTo>
                    <a:pt x="108" y="336"/>
                  </a:lnTo>
                  <a:lnTo>
                    <a:pt x="112" y="324"/>
                  </a:lnTo>
                  <a:lnTo>
                    <a:pt x="117" y="314"/>
                  </a:lnTo>
                  <a:lnTo>
                    <a:pt x="120" y="306"/>
                  </a:lnTo>
                  <a:lnTo>
                    <a:pt x="120" y="306"/>
                  </a:lnTo>
                  <a:lnTo>
                    <a:pt x="123" y="302"/>
                  </a:lnTo>
                  <a:lnTo>
                    <a:pt x="124" y="299"/>
                  </a:lnTo>
                  <a:lnTo>
                    <a:pt x="124" y="293"/>
                  </a:lnTo>
                  <a:lnTo>
                    <a:pt x="123" y="287"/>
                  </a:lnTo>
                  <a:lnTo>
                    <a:pt x="123" y="287"/>
                  </a:lnTo>
                  <a:lnTo>
                    <a:pt x="118" y="277"/>
                  </a:lnTo>
                  <a:lnTo>
                    <a:pt x="118" y="272"/>
                  </a:lnTo>
                  <a:lnTo>
                    <a:pt x="120" y="269"/>
                  </a:lnTo>
                  <a:lnTo>
                    <a:pt x="120" y="269"/>
                  </a:lnTo>
                  <a:lnTo>
                    <a:pt x="123" y="265"/>
                  </a:lnTo>
                  <a:lnTo>
                    <a:pt x="124" y="263"/>
                  </a:lnTo>
                  <a:lnTo>
                    <a:pt x="126" y="253"/>
                  </a:lnTo>
                  <a:lnTo>
                    <a:pt x="126" y="253"/>
                  </a:lnTo>
                  <a:lnTo>
                    <a:pt x="127" y="241"/>
                  </a:lnTo>
                  <a:lnTo>
                    <a:pt x="128" y="225"/>
                  </a:lnTo>
                  <a:lnTo>
                    <a:pt x="133" y="207"/>
                  </a:lnTo>
                  <a:lnTo>
                    <a:pt x="136" y="201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42" y="194"/>
                  </a:lnTo>
                  <a:lnTo>
                    <a:pt x="143" y="191"/>
                  </a:lnTo>
                  <a:lnTo>
                    <a:pt x="146" y="180"/>
                  </a:lnTo>
                  <a:lnTo>
                    <a:pt x="148" y="170"/>
                  </a:lnTo>
                  <a:lnTo>
                    <a:pt x="148" y="161"/>
                  </a:lnTo>
                  <a:lnTo>
                    <a:pt x="148" y="161"/>
                  </a:lnTo>
                  <a:lnTo>
                    <a:pt x="145" y="154"/>
                  </a:lnTo>
                  <a:lnTo>
                    <a:pt x="140" y="146"/>
                  </a:lnTo>
                  <a:lnTo>
                    <a:pt x="136" y="139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1" y="120"/>
                  </a:lnTo>
                  <a:lnTo>
                    <a:pt x="128" y="102"/>
                  </a:lnTo>
                  <a:lnTo>
                    <a:pt x="126" y="86"/>
                  </a:lnTo>
                  <a:lnTo>
                    <a:pt x="124" y="78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11" y="65"/>
                  </a:lnTo>
                  <a:lnTo>
                    <a:pt x="97" y="56"/>
                  </a:lnTo>
                  <a:lnTo>
                    <a:pt x="86" y="49"/>
                  </a:lnTo>
                  <a:lnTo>
                    <a:pt x="81" y="46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5" y="35"/>
                  </a:lnTo>
                  <a:lnTo>
                    <a:pt x="75" y="28"/>
                  </a:lnTo>
                  <a:lnTo>
                    <a:pt x="74" y="20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2" y="3"/>
                  </a:lnTo>
                  <a:lnTo>
                    <a:pt x="59" y="1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0" y="17"/>
                  </a:lnTo>
                  <a:lnTo>
                    <a:pt x="37" y="2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4" name="Freeform 143">
              <a:extLst>
                <a:ext uri="{FF2B5EF4-FFF2-40B4-BE49-F238E27FC236}">
                  <a16:creationId xmlns:a16="http://schemas.microsoft.com/office/drawing/2014/main" id="{10E612EF-3971-9A42-9862-E693187FC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1900" y="6237288"/>
              <a:ext cx="493713" cy="534987"/>
            </a:xfrm>
            <a:custGeom>
              <a:avLst/>
              <a:gdLst>
                <a:gd name="T0" fmla="*/ 2 w 311"/>
                <a:gd name="T1" fmla="*/ 28 h 337"/>
                <a:gd name="T2" fmla="*/ 5 w 311"/>
                <a:gd name="T3" fmla="*/ 20 h 337"/>
                <a:gd name="T4" fmla="*/ 19 w 311"/>
                <a:gd name="T5" fmla="*/ 20 h 337"/>
                <a:gd name="T6" fmla="*/ 22 w 311"/>
                <a:gd name="T7" fmla="*/ 17 h 337"/>
                <a:gd name="T8" fmla="*/ 39 w 311"/>
                <a:gd name="T9" fmla="*/ 1 h 337"/>
                <a:gd name="T10" fmla="*/ 46 w 311"/>
                <a:gd name="T11" fmla="*/ 0 h 337"/>
                <a:gd name="T12" fmla="*/ 55 w 311"/>
                <a:gd name="T13" fmla="*/ 10 h 337"/>
                <a:gd name="T14" fmla="*/ 74 w 311"/>
                <a:gd name="T15" fmla="*/ 8 h 337"/>
                <a:gd name="T16" fmla="*/ 80 w 311"/>
                <a:gd name="T17" fmla="*/ 8 h 337"/>
                <a:gd name="T18" fmla="*/ 83 w 311"/>
                <a:gd name="T19" fmla="*/ 16 h 337"/>
                <a:gd name="T20" fmla="*/ 87 w 311"/>
                <a:gd name="T21" fmla="*/ 32 h 337"/>
                <a:gd name="T22" fmla="*/ 98 w 311"/>
                <a:gd name="T23" fmla="*/ 28 h 337"/>
                <a:gd name="T24" fmla="*/ 102 w 311"/>
                <a:gd name="T25" fmla="*/ 29 h 337"/>
                <a:gd name="T26" fmla="*/ 102 w 311"/>
                <a:gd name="T27" fmla="*/ 45 h 337"/>
                <a:gd name="T28" fmla="*/ 105 w 311"/>
                <a:gd name="T29" fmla="*/ 51 h 337"/>
                <a:gd name="T30" fmla="*/ 126 w 311"/>
                <a:gd name="T31" fmla="*/ 59 h 337"/>
                <a:gd name="T32" fmla="*/ 135 w 311"/>
                <a:gd name="T33" fmla="*/ 59 h 337"/>
                <a:gd name="T34" fmla="*/ 144 w 311"/>
                <a:gd name="T35" fmla="*/ 53 h 337"/>
                <a:gd name="T36" fmla="*/ 156 w 311"/>
                <a:gd name="T37" fmla="*/ 53 h 337"/>
                <a:gd name="T38" fmla="*/ 160 w 311"/>
                <a:gd name="T39" fmla="*/ 47 h 337"/>
                <a:gd name="T40" fmla="*/ 167 w 311"/>
                <a:gd name="T41" fmla="*/ 43 h 337"/>
                <a:gd name="T42" fmla="*/ 182 w 311"/>
                <a:gd name="T43" fmla="*/ 47 h 337"/>
                <a:gd name="T44" fmla="*/ 187 w 311"/>
                <a:gd name="T45" fmla="*/ 57 h 337"/>
                <a:gd name="T46" fmla="*/ 185 w 311"/>
                <a:gd name="T47" fmla="*/ 69 h 337"/>
                <a:gd name="T48" fmla="*/ 178 w 311"/>
                <a:gd name="T49" fmla="*/ 88 h 337"/>
                <a:gd name="T50" fmla="*/ 172 w 311"/>
                <a:gd name="T51" fmla="*/ 114 h 337"/>
                <a:gd name="T52" fmla="*/ 175 w 311"/>
                <a:gd name="T53" fmla="*/ 122 h 337"/>
                <a:gd name="T54" fmla="*/ 188 w 311"/>
                <a:gd name="T55" fmla="*/ 130 h 337"/>
                <a:gd name="T56" fmla="*/ 194 w 311"/>
                <a:gd name="T57" fmla="*/ 140 h 337"/>
                <a:gd name="T58" fmla="*/ 193 w 311"/>
                <a:gd name="T59" fmla="*/ 154 h 337"/>
                <a:gd name="T60" fmla="*/ 193 w 311"/>
                <a:gd name="T61" fmla="*/ 162 h 337"/>
                <a:gd name="T62" fmla="*/ 213 w 311"/>
                <a:gd name="T63" fmla="*/ 179 h 337"/>
                <a:gd name="T64" fmla="*/ 252 w 311"/>
                <a:gd name="T65" fmla="*/ 202 h 337"/>
                <a:gd name="T66" fmla="*/ 259 w 311"/>
                <a:gd name="T67" fmla="*/ 226 h 337"/>
                <a:gd name="T68" fmla="*/ 264 w 311"/>
                <a:gd name="T69" fmla="*/ 245 h 337"/>
                <a:gd name="T70" fmla="*/ 274 w 311"/>
                <a:gd name="T71" fmla="*/ 260 h 337"/>
                <a:gd name="T72" fmla="*/ 278 w 311"/>
                <a:gd name="T73" fmla="*/ 266 h 337"/>
                <a:gd name="T74" fmla="*/ 286 w 311"/>
                <a:gd name="T75" fmla="*/ 265 h 337"/>
                <a:gd name="T76" fmla="*/ 293 w 311"/>
                <a:gd name="T77" fmla="*/ 263 h 337"/>
                <a:gd name="T78" fmla="*/ 295 w 311"/>
                <a:gd name="T79" fmla="*/ 271 h 337"/>
                <a:gd name="T80" fmla="*/ 292 w 311"/>
                <a:gd name="T81" fmla="*/ 287 h 337"/>
                <a:gd name="T82" fmla="*/ 296 w 311"/>
                <a:gd name="T83" fmla="*/ 308 h 337"/>
                <a:gd name="T84" fmla="*/ 304 w 311"/>
                <a:gd name="T85" fmla="*/ 314 h 337"/>
                <a:gd name="T86" fmla="*/ 307 w 311"/>
                <a:gd name="T87" fmla="*/ 324 h 337"/>
                <a:gd name="T88" fmla="*/ 310 w 311"/>
                <a:gd name="T89" fmla="*/ 33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1" h="337">
                  <a:moveTo>
                    <a:pt x="0" y="34"/>
                  </a:moveTo>
                  <a:lnTo>
                    <a:pt x="0" y="34"/>
                  </a:lnTo>
                  <a:lnTo>
                    <a:pt x="2" y="28"/>
                  </a:lnTo>
                  <a:lnTo>
                    <a:pt x="3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9" y="19"/>
                  </a:lnTo>
                  <a:lnTo>
                    <a:pt x="13" y="20"/>
                  </a:lnTo>
                  <a:lnTo>
                    <a:pt x="19" y="20"/>
                  </a:lnTo>
                  <a:lnTo>
                    <a:pt x="21" y="19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7" y="11"/>
                  </a:lnTo>
                  <a:lnTo>
                    <a:pt x="33" y="5"/>
                  </a:lnTo>
                  <a:lnTo>
                    <a:pt x="39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7" y="1"/>
                  </a:lnTo>
                  <a:lnTo>
                    <a:pt x="50" y="4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6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7" y="8"/>
                  </a:lnTo>
                  <a:lnTo>
                    <a:pt x="80" y="8"/>
                  </a:lnTo>
                  <a:lnTo>
                    <a:pt x="82" y="11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4" y="28"/>
                  </a:lnTo>
                  <a:lnTo>
                    <a:pt x="86" y="32"/>
                  </a:lnTo>
                  <a:lnTo>
                    <a:pt x="87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98" y="28"/>
                  </a:lnTo>
                  <a:lnTo>
                    <a:pt x="101" y="26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2" y="35"/>
                  </a:lnTo>
                  <a:lnTo>
                    <a:pt x="102" y="41"/>
                  </a:lnTo>
                  <a:lnTo>
                    <a:pt x="102" y="45"/>
                  </a:lnTo>
                  <a:lnTo>
                    <a:pt x="102" y="48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11" y="54"/>
                  </a:lnTo>
                  <a:lnTo>
                    <a:pt x="116" y="56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32" y="60"/>
                  </a:lnTo>
                  <a:lnTo>
                    <a:pt x="135" y="59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4" y="53"/>
                  </a:lnTo>
                  <a:lnTo>
                    <a:pt x="148" y="53"/>
                  </a:lnTo>
                  <a:lnTo>
                    <a:pt x="153" y="54"/>
                  </a:lnTo>
                  <a:lnTo>
                    <a:pt x="156" y="53"/>
                  </a:lnTo>
                  <a:lnTo>
                    <a:pt x="156" y="53"/>
                  </a:lnTo>
                  <a:lnTo>
                    <a:pt x="159" y="50"/>
                  </a:lnTo>
                  <a:lnTo>
                    <a:pt x="160" y="47"/>
                  </a:lnTo>
                  <a:lnTo>
                    <a:pt x="163" y="44"/>
                  </a:lnTo>
                  <a:lnTo>
                    <a:pt x="167" y="43"/>
                  </a:lnTo>
                  <a:lnTo>
                    <a:pt x="167" y="43"/>
                  </a:lnTo>
                  <a:lnTo>
                    <a:pt x="172" y="43"/>
                  </a:lnTo>
                  <a:lnTo>
                    <a:pt x="178" y="44"/>
                  </a:lnTo>
                  <a:lnTo>
                    <a:pt x="182" y="47"/>
                  </a:lnTo>
                  <a:lnTo>
                    <a:pt x="187" y="53"/>
                  </a:lnTo>
                  <a:lnTo>
                    <a:pt x="187" y="53"/>
                  </a:lnTo>
                  <a:lnTo>
                    <a:pt x="187" y="57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5" y="69"/>
                  </a:lnTo>
                  <a:lnTo>
                    <a:pt x="184" y="75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73" y="97"/>
                  </a:lnTo>
                  <a:lnTo>
                    <a:pt x="172" y="106"/>
                  </a:lnTo>
                  <a:lnTo>
                    <a:pt x="172" y="114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5" y="122"/>
                  </a:lnTo>
                  <a:lnTo>
                    <a:pt x="179" y="125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91" y="131"/>
                  </a:lnTo>
                  <a:lnTo>
                    <a:pt x="193" y="136"/>
                  </a:lnTo>
                  <a:lnTo>
                    <a:pt x="194" y="140"/>
                  </a:lnTo>
                  <a:lnTo>
                    <a:pt x="194" y="148"/>
                  </a:lnTo>
                  <a:lnTo>
                    <a:pt x="194" y="148"/>
                  </a:lnTo>
                  <a:lnTo>
                    <a:pt x="193" y="154"/>
                  </a:lnTo>
                  <a:lnTo>
                    <a:pt x="191" y="158"/>
                  </a:lnTo>
                  <a:lnTo>
                    <a:pt x="191" y="160"/>
                  </a:lnTo>
                  <a:lnTo>
                    <a:pt x="193" y="162"/>
                  </a:lnTo>
                  <a:lnTo>
                    <a:pt x="198" y="170"/>
                  </a:lnTo>
                  <a:lnTo>
                    <a:pt x="198" y="170"/>
                  </a:lnTo>
                  <a:lnTo>
                    <a:pt x="213" y="179"/>
                  </a:lnTo>
                  <a:lnTo>
                    <a:pt x="230" y="189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5" y="205"/>
                  </a:lnTo>
                  <a:lnTo>
                    <a:pt x="256" y="211"/>
                  </a:lnTo>
                  <a:lnTo>
                    <a:pt x="259" y="226"/>
                  </a:lnTo>
                  <a:lnTo>
                    <a:pt x="259" y="226"/>
                  </a:lnTo>
                  <a:lnTo>
                    <a:pt x="262" y="239"/>
                  </a:lnTo>
                  <a:lnTo>
                    <a:pt x="264" y="245"/>
                  </a:lnTo>
                  <a:lnTo>
                    <a:pt x="268" y="251"/>
                  </a:lnTo>
                  <a:lnTo>
                    <a:pt x="268" y="251"/>
                  </a:lnTo>
                  <a:lnTo>
                    <a:pt x="274" y="260"/>
                  </a:lnTo>
                  <a:lnTo>
                    <a:pt x="277" y="265"/>
                  </a:lnTo>
                  <a:lnTo>
                    <a:pt x="277" y="265"/>
                  </a:lnTo>
                  <a:lnTo>
                    <a:pt x="278" y="266"/>
                  </a:lnTo>
                  <a:lnTo>
                    <a:pt x="280" y="266"/>
                  </a:lnTo>
                  <a:lnTo>
                    <a:pt x="281" y="265"/>
                  </a:lnTo>
                  <a:lnTo>
                    <a:pt x="286" y="265"/>
                  </a:lnTo>
                  <a:lnTo>
                    <a:pt x="286" y="265"/>
                  </a:lnTo>
                  <a:lnTo>
                    <a:pt x="292" y="263"/>
                  </a:lnTo>
                  <a:lnTo>
                    <a:pt x="293" y="263"/>
                  </a:lnTo>
                  <a:lnTo>
                    <a:pt x="295" y="266"/>
                  </a:lnTo>
                  <a:lnTo>
                    <a:pt x="295" y="266"/>
                  </a:lnTo>
                  <a:lnTo>
                    <a:pt x="295" y="271"/>
                  </a:lnTo>
                  <a:lnTo>
                    <a:pt x="293" y="275"/>
                  </a:lnTo>
                  <a:lnTo>
                    <a:pt x="292" y="281"/>
                  </a:lnTo>
                  <a:lnTo>
                    <a:pt x="292" y="287"/>
                  </a:lnTo>
                  <a:lnTo>
                    <a:pt x="292" y="287"/>
                  </a:lnTo>
                  <a:lnTo>
                    <a:pt x="295" y="302"/>
                  </a:lnTo>
                  <a:lnTo>
                    <a:pt x="296" y="308"/>
                  </a:lnTo>
                  <a:lnTo>
                    <a:pt x="299" y="311"/>
                  </a:lnTo>
                  <a:lnTo>
                    <a:pt x="299" y="311"/>
                  </a:lnTo>
                  <a:lnTo>
                    <a:pt x="304" y="314"/>
                  </a:lnTo>
                  <a:lnTo>
                    <a:pt x="305" y="317"/>
                  </a:lnTo>
                  <a:lnTo>
                    <a:pt x="307" y="319"/>
                  </a:lnTo>
                  <a:lnTo>
                    <a:pt x="307" y="324"/>
                  </a:lnTo>
                  <a:lnTo>
                    <a:pt x="307" y="324"/>
                  </a:lnTo>
                  <a:lnTo>
                    <a:pt x="308" y="328"/>
                  </a:lnTo>
                  <a:lnTo>
                    <a:pt x="310" y="333"/>
                  </a:lnTo>
                  <a:lnTo>
                    <a:pt x="311" y="33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5" name="Freeform 144">
              <a:extLst>
                <a:ext uri="{FF2B5EF4-FFF2-40B4-BE49-F238E27FC236}">
                  <a16:creationId xmlns:a16="http://schemas.microsoft.com/office/drawing/2014/main" id="{B6CB2E55-9B45-E24A-A5A0-06EC89D64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3125" y="5202238"/>
              <a:ext cx="714375" cy="795337"/>
            </a:xfrm>
            <a:custGeom>
              <a:avLst/>
              <a:gdLst>
                <a:gd name="T0" fmla="*/ 222 w 450"/>
                <a:gd name="T1" fmla="*/ 0 h 501"/>
                <a:gd name="T2" fmla="*/ 231 w 450"/>
                <a:gd name="T3" fmla="*/ 3 h 501"/>
                <a:gd name="T4" fmla="*/ 241 w 450"/>
                <a:gd name="T5" fmla="*/ 0 h 501"/>
                <a:gd name="T6" fmla="*/ 250 w 450"/>
                <a:gd name="T7" fmla="*/ 4 h 501"/>
                <a:gd name="T8" fmla="*/ 260 w 450"/>
                <a:gd name="T9" fmla="*/ 12 h 501"/>
                <a:gd name="T10" fmla="*/ 268 w 450"/>
                <a:gd name="T11" fmla="*/ 4 h 501"/>
                <a:gd name="T12" fmla="*/ 273 w 450"/>
                <a:gd name="T13" fmla="*/ 10 h 501"/>
                <a:gd name="T14" fmla="*/ 291 w 450"/>
                <a:gd name="T15" fmla="*/ 16 h 501"/>
                <a:gd name="T16" fmla="*/ 300 w 450"/>
                <a:gd name="T17" fmla="*/ 10 h 501"/>
                <a:gd name="T18" fmla="*/ 315 w 450"/>
                <a:gd name="T19" fmla="*/ 4 h 501"/>
                <a:gd name="T20" fmla="*/ 325 w 450"/>
                <a:gd name="T21" fmla="*/ 16 h 501"/>
                <a:gd name="T22" fmla="*/ 337 w 450"/>
                <a:gd name="T23" fmla="*/ 25 h 501"/>
                <a:gd name="T24" fmla="*/ 362 w 450"/>
                <a:gd name="T25" fmla="*/ 43 h 501"/>
                <a:gd name="T26" fmla="*/ 413 w 450"/>
                <a:gd name="T27" fmla="*/ 77 h 501"/>
                <a:gd name="T28" fmla="*/ 442 w 450"/>
                <a:gd name="T29" fmla="*/ 78 h 501"/>
                <a:gd name="T30" fmla="*/ 450 w 450"/>
                <a:gd name="T31" fmla="*/ 86 h 501"/>
                <a:gd name="T32" fmla="*/ 439 w 450"/>
                <a:gd name="T33" fmla="*/ 99 h 501"/>
                <a:gd name="T34" fmla="*/ 427 w 450"/>
                <a:gd name="T35" fmla="*/ 110 h 501"/>
                <a:gd name="T36" fmla="*/ 416 w 450"/>
                <a:gd name="T37" fmla="*/ 138 h 501"/>
                <a:gd name="T38" fmla="*/ 411 w 450"/>
                <a:gd name="T39" fmla="*/ 152 h 501"/>
                <a:gd name="T40" fmla="*/ 396 w 450"/>
                <a:gd name="T41" fmla="*/ 173 h 501"/>
                <a:gd name="T42" fmla="*/ 359 w 450"/>
                <a:gd name="T43" fmla="*/ 194 h 501"/>
                <a:gd name="T44" fmla="*/ 328 w 450"/>
                <a:gd name="T45" fmla="*/ 218 h 501"/>
                <a:gd name="T46" fmla="*/ 312 w 450"/>
                <a:gd name="T47" fmla="*/ 227 h 501"/>
                <a:gd name="T48" fmla="*/ 287 w 450"/>
                <a:gd name="T49" fmla="*/ 228 h 501"/>
                <a:gd name="T50" fmla="*/ 269 w 450"/>
                <a:gd name="T51" fmla="*/ 235 h 501"/>
                <a:gd name="T52" fmla="*/ 268 w 450"/>
                <a:gd name="T53" fmla="*/ 241 h 501"/>
                <a:gd name="T54" fmla="*/ 278 w 450"/>
                <a:gd name="T55" fmla="*/ 256 h 501"/>
                <a:gd name="T56" fmla="*/ 265 w 450"/>
                <a:gd name="T57" fmla="*/ 269 h 501"/>
                <a:gd name="T58" fmla="*/ 268 w 450"/>
                <a:gd name="T59" fmla="*/ 281 h 501"/>
                <a:gd name="T60" fmla="*/ 278 w 450"/>
                <a:gd name="T61" fmla="*/ 298 h 501"/>
                <a:gd name="T62" fmla="*/ 266 w 450"/>
                <a:gd name="T63" fmla="*/ 324 h 501"/>
                <a:gd name="T64" fmla="*/ 253 w 450"/>
                <a:gd name="T65" fmla="*/ 330 h 501"/>
                <a:gd name="T66" fmla="*/ 247 w 450"/>
                <a:gd name="T67" fmla="*/ 341 h 501"/>
                <a:gd name="T68" fmla="*/ 254 w 450"/>
                <a:gd name="T69" fmla="*/ 357 h 501"/>
                <a:gd name="T70" fmla="*/ 232 w 450"/>
                <a:gd name="T71" fmla="*/ 373 h 501"/>
                <a:gd name="T72" fmla="*/ 219 w 450"/>
                <a:gd name="T73" fmla="*/ 378 h 501"/>
                <a:gd name="T74" fmla="*/ 208 w 450"/>
                <a:gd name="T75" fmla="*/ 373 h 501"/>
                <a:gd name="T76" fmla="*/ 186 w 450"/>
                <a:gd name="T77" fmla="*/ 372 h 501"/>
                <a:gd name="T78" fmla="*/ 177 w 450"/>
                <a:gd name="T79" fmla="*/ 379 h 501"/>
                <a:gd name="T80" fmla="*/ 176 w 450"/>
                <a:gd name="T81" fmla="*/ 404 h 501"/>
                <a:gd name="T82" fmla="*/ 167 w 450"/>
                <a:gd name="T83" fmla="*/ 422 h 501"/>
                <a:gd name="T84" fmla="*/ 143 w 450"/>
                <a:gd name="T85" fmla="*/ 423 h 501"/>
                <a:gd name="T86" fmla="*/ 137 w 450"/>
                <a:gd name="T87" fmla="*/ 410 h 501"/>
                <a:gd name="T88" fmla="*/ 133 w 450"/>
                <a:gd name="T89" fmla="*/ 404 h 501"/>
                <a:gd name="T90" fmla="*/ 114 w 450"/>
                <a:gd name="T91" fmla="*/ 415 h 501"/>
                <a:gd name="T92" fmla="*/ 109 w 450"/>
                <a:gd name="T93" fmla="*/ 437 h 501"/>
                <a:gd name="T94" fmla="*/ 99 w 450"/>
                <a:gd name="T95" fmla="*/ 444 h 501"/>
                <a:gd name="T96" fmla="*/ 93 w 450"/>
                <a:gd name="T97" fmla="*/ 458 h 501"/>
                <a:gd name="T98" fmla="*/ 84 w 450"/>
                <a:gd name="T99" fmla="*/ 453 h 501"/>
                <a:gd name="T100" fmla="*/ 48 w 450"/>
                <a:gd name="T101" fmla="*/ 441 h 501"/>
                <a:gd name="T102" fmla="*/ 39 w 450"/>
                <a:gd name="T103" fmla="*/ 441 h 501"/>
                <a:gd name="T104" fmla="*/ 31 w 450"/>
                <a:gd name="T105" fmla="*/ 458 h 501"/>
                <a:gd name="T106" fmla="*/ 0 w 450"/>
                <a:gd name="T107" fmla="*/ 501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0" h="501">
                  <a:moveTo>
                    <a:pt x="213" y="4"/>
                  </a:moveTo>
                  <a:lnTo>
                    <a:pt x="213" y="4"/>
                  </a:lnTo>
                  <a:lnTo>
                    <a:pt x="217" y="1"/>
                  </a:lnTo>
                  <a:lnTo>
                    <a:pt x="222" y="0"/>
                  </a:lnTo>
                  <a:lnTo>
                    <a:pt x="226" y="0"/>
                  </a:lnTo>
                  <a:lnTo>
                    <a:pt x="226" y="0"/>
                  </a:lnTo>
                  <a:lnTo>
                    <a:pt x="229" y="1"/>
                  </a:lnTo>
                  <a:lnTo>
                    <a:pt x="231" y="3"/>
                  </a:lnTo>
                  <a:lnTo>
                    <a:pt x="233" y="4"/>
                  </a:lnTo>
                  <a:lnTo>
                    <a:pt x="235" y="4"/>
                  </a:lnTo>
                  <a:lnTo>
                    <a:pt x="235" y="4"/>
                  </a:lnTo>
                  <a:lnTo>
                    <a:pt x="241" y="0"/>
                  </a:lnTo>
                  <a:lnTo>
                    <a:pt x="242" y="0"/>
                  </a:lnTo>
                  <a:lnTo>
                    <a:pt x="247" y="0"/>
                  </a:lnTo>
                  <a:lnTo>
                    <a:pt x="247" y="0"/>
                  </a:lnTo>
                  <a:lnTo>
                    <a:pt x="250" y="4"/>
                  </a:lnTo>
                  <a:lnTo>
                    <a:pt x="254" y="9"/>
                  </a:lnTo>
                  <a:lnTo>
                    <a:pt x="257" y="12"/>
                  </a:lnTo>
                  <a:lnTo>
                    <a:pt x="259" y="13"/>
                  </a:lnTo>
                  <a:lnTo>
                    <a:pt x="260" y="12"/>
                  </a:lnTo>
                  <a:lnTo>
                    <a:pt x="260" y="12"/>
                  </a:lnTo>
                  <a:lnTo>
                    <a:pt x="263" y="10"/>
                  </a:lnTo>
                  <a:lnTo>
                    <a:pt x="265" y="7"/>
                  </a:lnTo>
                  <a:lnTo>
                    <a:pt x="268" y="4"/>
                  </a:lnTo>
                  <a:lnTo>
                    <a:pt x="270" y="4"/>
                  </a:lnTo>
                  <a:lnTo>
                    <a:pt x="270" y="4"/>
                  </a:lnTo>
                  <a:lnTo>
                    <a:pt x="272" y="7"/>
                  </a:lnTo>
                  <a:lnTo>
                    <a:pt x="273" y="10"/>
                  </a:lnTo>
                  <a:lnTo>
                    <a:pt x="276" y="13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91" y="16"/>
                  </a:lnTo>
                  <a:lnTo>
                    <a:pt x="294" y="16"/>
                  </a:lnTo>
                  <a:lnTo>
                    <a:pt x="297" y="13"/>
                  </a:lnTo>
                  <a:lnTo>
                    <a:pt x="297" y="13"/>
                  </a:lnTo>
                  <a:lnTo>
                    <a:pt x="300" y="10"/>
                  </a:lnTo>
                  <a:lnTo>
                    <a:pt x="305" y="7"/>
                  </a:lnTo>
                  <a:lnTo>
                    <a:pt x="310" y="4"/>
                  </a:lnTo>
                  <a:lnTo>
                    <a:pt x="315" y="4"/>
                  </a:lnTo>
                  <a:lnTo>
                    <a:pt x="315" y="4"/>
                  </a:lnTo>
                  <a:lnTo>
                    <a:pt x="319" y="6"/>
                  </a:lnTo>
                  <a:lnTo>
                    <a:pt x="321" y="9"/>
                  </a:lnTo>
                  <a:lnTo>
                    <a:pt x="322" y="12"/>
                  </a:lnTo>
                  <a:lnTo>
                    <a:pt x="325" y="16"/>
                  </a:lnTo>
                  <a:lnTo>
                    <a:pt x="325" y="16"/>
                  </a:lnTo>
                  <a:lnTo>
                    <a:pt x="330" y="21"/>
                  </a:lnTo>
                  <a:lnTo>
                    <a:pt x="333" y="24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52" y="27"/>
                  </a:lnTo>
                  <a:lnTo>
                    <a:pt x="361" y="28"/>
                  </a:lnTo>
                  <a:lnTo>
                    <a:pt x="362" y="43"/>
                  </a:lnTo>
                  <a:lnTo>
                    <a:pt x="362" y="43"/>
                  </a:lnTo>
                  <a:lnTo>
                    <a:pt x="383" y="58"/>
                  </a:lnTo>
                  <a:lnTo>
                    <a:pt x="399" y="70"/>
                  </a:lnTo>
                  <a:lnTo>
                    <a:pt x="413" y="77"/>
                  </a:lnTo>
                  <a:lnTo>
                    <a:pt x="413" y="77"/>
                  </a:lnTo>
                  <a:lnTo>
                    <a:pt x="423" y="78"/>
                  </a:lnTo>
                  <a:lnTo>
                    <a:pt x="432" y="78"/>
                  </a:lnTo>
                  <a:lnTo>
                    <a:pt x="442" y="78"/>
                  </a:lnTo>
                  <a:lnTo>
                    <a:pt x="442" y="78"/>
                  </a:lnTo>
                  <a:lnTo>
                    <a:pt x="445" y="78"/>
                  </a:lnTo>
                  <a:lnTo>
                    <a:pt x="448" y="81"/>
                  </a:lnTo>
                  <a:lnTo>
                    <a:pt x="450" y="86"/>
                  </a:lnTo>
                  <a:lnTo>
                    <a:pt x="448" y="92"/>
                  </a:lnTo>
                  <a:lnTo>
                    <a:pt x="448" y="92"/>
                  </a:lnTo>
                  <a:lnTo>
                    <a:pt x="445" y="96"/>
                  </a:lnTo>
                  <a:lnTo>
                    <a:pt x="439" y="99"/>
                  </a:lnTo>
                  <a:lnTo>
                    <a:pt x="435" y="102"/>
                  </a:lnTo>
                  <a:lnTo>
                    <a:pt x="430" y="105"/>
                  </a:lnTo>
                  <a:lnTo>
                    <a:pt x="430" y="105"/>
                  </a:lnTo>
                  <a:lnTo>
                    <a:pt x="427" y="110"/>
                  </a:lnTo>
                  <a:lnTo>
                    <a:pt x="424" y="114"/>
                  </a:lnTo>
                  <a:lnTo>
                    <a:pt x="420" y="126"/>
                  </a:lnTo>
                  <a:lnTo>
                    <a:pt x="420" y="126"/>
                  </a:lnTo>
                  <a:lnTo>
                    <a:pt x="416" y="138"/>
                  </a:lnTo>
                  <a:lnTo>
                    <a:pt x="413" y="142"/>
                  </a:lnTo>
                  <a:lnTo>
                    <a:pt x="411" y="147"/>
                  </a:lnTo>
                  <a:lnTo>
                    <a:pt x="411" y="147"/>
                  </a:lnTo>
                  <a:lnTo>
                    <a:pt x="411" y="152"/>
                  </a:lnTo>
                  <a:lnTo>
                    <a:pt x="408" y="158"/>
                  </a:lnTo>
                  <a:lnTo>
                    <a:pt x="404" y="166"/>
                  </a:lnTo>
                  <a:lnTo>
                    <a:pt x="396" y="173"/>
                  </a:lnTo>
                  <a:lnTo>
                    <a:pt x="396" y="173"/>
                  </a:lnTo>
                  <a:lnTo>
                    <a:pt x="386" y="181"/>
                  </a:lnTo>
                  <a:lnTo>
                    <a:pt x="376" y="187"/>
                  </a:lnTo>
                  <a:lnTo>
                    <a:pt x="359" y="194"/>
                  </a:lnTo>
                  <a:lnTo>
                    <a:pt x="359" y="194"/>
                  </a:lnTo>
                  <a:lnTo>
                    <a:pt x="352" y="198"/>
                  </a:lnTo>
                  <a:lnTo>
                    <a:pt x="343" y="204"/>
                  </a:lnTo>
                  <a:lnTo>
                    <a:pt x="334" y="212"/>
                  </a:lnTo>
                  <a:lnTo>
                    <a:pt x="328" y="218"/>
                  </a:lnTo>
                  <a:lnTo>
                    <a:pt x="328" y="218"/>
                  </a:lnTo>
                  <a:lnTo>
                    <a:pt x="324" y="222"/>
                  </a:lnTo>
                  <a:lnTo>
                    <a:pt x="318" y="225"/>
                  </a:lnTo>
                  <a:lnTo>
                    <a:pt x="312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296" y="227"/>
                  </a:lnTo>
                  <a:lnTo>
                    <a:pt x="287" y="228"/>
                  </a:lnTo>
                  <a:lnTo>
                    <a:pt x="278" y="231"/>
                  </a:lnTo>
                  <a:lnTo>
                    <a:pt x="272" y="234"/>
                  </a:lnTo>
                  <a:lnTo>
                    <a:pt x="272" y="234"/>
                  </a:lnTo>
                  <a:lnTo>
                    <a:pt x="269" y="235"/>
                  </a:lnTo>
                  <a:lnTo>
                    <a:pt x="265" y="237"/>
                  </a:lnTo>
                  <a:lnTo>
                    <a:pt x="265" y="237"/>
                  </a:lnTo>
                  <a:lnTo>
                    <a:pt x="265" y="238"/>
                  </a:lnTo>
                  <a:lnTo>
                    <a:pt x="268" y="241"/>
                  </a:lnTo>
                  <a:lnTo>
                    <a:pt x="268" y="241"/>
                  </a:lnTo>
                  <a:lnTo>
                    <a:pt x="273" y="247"/>
                  </a:lnTo>
                  <a:lnTo>
                    <a:pt x="276" y="252"/>
                  </a:lnTo>
                  <a:lnTo>
                    <a:pt x="278" y="256"/>
                  </a:lnTo>
                  <a:lnTo>
                    <a:pt x="275" y="261"/>
                  </a:lnTo>
                  <a:lnTo>
                    <a:pt x="275" y="261"/>
                  </a:lnTo>
                  <a:lnTo>
                    <a:pt x="268" y="265"/>
                  </a:lnTo>
                  <a:lnTo>
                    <a:pt x="265" y="269"/>
                  </a:lnTo>
                  <a:lnTo>
                    <a:pt x="265" y="272"/>
                  </a:lnTo>
                  <a:lnTo>
                    <a:pt x="265" y="275"/>
                  </a:lnTo>
                  <a:lnTo>
                    <a:pt x="265" y="275"/>
                  </a:lnTo>
                  <a:lnTo>
                    <a:pt x="268" y="281"/>
                  </a:lnTo>
                  <a:lnTo>
                    <a:pt x="272" y="287"/>
                  </a:lnTo>
                  <a:lnTo>
                    <a:pt x="275" y="292"/>
                  </a:lnTo>
                  <a:lnTo>
                    <a:pt x="278" y="298"/>
                  </a:lnTo>
                  <a:lnTo>
                    <a:pt x="278" y="298"/>
                  </a:lnTo>
                  <a:lnTo>
                    <a:pt x="278" y="301"/>
                  </a:lnTo>
                  <a:lnTo>
                    <a:pt x="276" y="306"/>
                  </a:lnTo>
                  <a:lnTo>
                    <a:pt x="272" y="315"/>
                  </a:lnTo>
                  <a:lnTo>
                    <a:pt x="266" y="324"/>
                  </a:lnTo>
                  <a:lnTo>
                    <a:pt x="262" y="327"/>
                  </a:lnTo>
                  <a:lnTo>
                    <a:pt x="259" y="329"/>
                  </a:lnTo>
                  <a:lnTo>
                    <a:pt x="259" y="329"/>
                  </a:lnTo>
                  <a:lnTo>
                    <a:pt x="253" y="330"/>
                  </a:lnTo>
                  <a:lnTo>
                    <a:pt x="248" y="332"/>
                  </a:lnTo>
                  <a:lnTo>
                    <a:pt x="247" y="336"/>
                  </a:lnTo>
                  <a:lnTo>
                    <a:pt x="247" y="341"/>
                  </a:lnTo>
                  <a:lnTo>
                    <a:pt x="247" y="341"/>
                  </a:lnTo>
                  <a:lnTo>
                    <a:pt x="250" y="348"/>
                  </a:lnTo>
                  <a:lnTo>
                    <a:pt x="254" y="354"/>
                  </a:lnTo>
                  <a:lnTo>
                    <a:pt x="254" y="354"/>
                  </a:lnTo>
                  <a:lnTo>
                    <a:pt x="254" y="357"/>
                  </a:lnTo>
                  <a:lnTo>
                    <a:pt x="253" y="360"/>
                  </a:lnTo>
                  <a:lnTo>
                    <a:pt x="248" y="366"/>
                  </a:lnTo>
                  <a:lnTo>
                    <a:pt x="241" y="370"/>
                  </a:lnTo>
                  <a:lnTo>
                    <a:pt x="232" y="373"/>
                  </a:lnTo>
                  <a:lnTo>
                    <a:pt x="232" y="373"/>
                  </a:lnTo>
                  <a:lnTo>
                    <a:pt x="226" y="375"/>
                  </a:lnTo>
                  <a:lnTo>
                    <a:pt x="222" y="376"/>
                  </a:lnTo>
                  <a:lnTo>
                    <a:pt x="219" y="378"/>
                  </a:lnTo>
                  <a:lnTo>
                    <a:pt x="214" y="378"/>
                  </a:lnTo>
                  <a:lnTo>
                    <a:pt x="214" y="378"/>
                  </a:lnTo>
                  <a:lnTo>
                    <a:pt x="211" y="376"/>
                  </a:lnTo>
                  <a:lnTo>
                    <a:pt x="208" y="373"/>
                  </a:lnTo>
                  <a:lnTo>
                    <a:pt x="207" y="372"/>
                  </a:lnTo>
                  <a:lnTo>
                    <a:pt x="204" y="370"/>
                  </a:lnTo>
                  <a:lnTo>
                    <a:pt x="204" y="370"/>
                  </a:lnTo>
                  <a:lnTo>
                    <a:pt x="186" y="372"/>
                  </a:lnTo>
                  <a:lnTo>
                    <a:pt x="186" y="372"/>
                  </a:lnTo>
                  <a:lnTo>
                    <a:pt x="182" y="373"/>
                  </a:lnTo>
                  <a:lnTo>
                    <a:pt x="179" y="376"/>
                  </a:lnTo>
                  <a:lnTo>
                    <a:pt x="177" y="379"/>
                  </a:lnTo>
                  <a:lnTo>
                    <a:pt x="176" y="385"/>
                  </a:lnTo>
                  <a:lnTo>
                    <a:pt x="174" y="395"/>
                  </a:lnTo>
                  <a:lnTo>
                    <a:pt x="176" y="404"/>
                  </a:lnTo>
                  <a:lnTo>
                    <a:pt x="176" y="404"/>
                  </a:lnTo>
                  <a:lnTo>
                    <a:pt x="177" y="410"/>
                  </a:lnTo>
                  <a:lnTo>
                    <a:pt x="176" y="416"/>
                  </a:lnTo>
                  <a:lnTo>
                    <a:pt x="173" y="421"/>
                  </a:lnTo>
                  <a:lnTo>
                    <a:pt x="167" y="422"/>
                  </a:lnTo>
                  <a:lnTo>
                    <a:pt x="167" y="422"/>
                  </a:lnTo>
                  <a:lnTo>
                    <a:pt x="159" y="423"/>
                  </a:lnTo>
                  <a:lnTo>
                    <a:pt x="151" y="425"/>
                  </a:lnTo>
                  <a:lnTo>
                    <a:pt x="143" y="423"/>
                  </a:lnTo>
                  <a:lnTo>
                    <a:pt x="142" y="422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37" y="410"/>
                  </a:lnTo>
                  <a:lnTo>
                    <a:pt x="136" y="406"/>
                  </a:lnTo>
                  <a:lnTo>
                    <a:pt x="134" y="406"/>
                  </a:lnTo>
                  <a:lnTo>
                    <a:pt x="133" y="404"/>
                  </a:lnTo>
                  <a:lnTo>
                    <a:pt x="133" y="404"/>
                  </a:lnTo>
                  <a:lnTo>
                    <a:pt x="127" y="406"/>
                  </a:lnTo>
                  <a:lnTo>
                    <a:pt x="121" y="409"/>
                  </a:lnTo>
                  <a:lnTo>
                    <a:pt x="115" y="412"/>
                  </a:lnTo>
                  <a:lnTo>
                    <a:pt x="114" y="415"/>
                  </a:lnTo>
                  <a:lnTo>
                    <a:pt x="114" y="415"/>
                  </a:lnTo>
                  <a:lnTo>
                    <a:pt x="114" y="421"/>
                  </a:lnTo>
                  <a:lnTo>
                    <a:pt x="112" y="428"/>
                  </a:lnTo>
                  <a:lnTo>
                    <a:pt x="109" y="437"/>
                  </a:lnTo>
                  <a:lnTo>
                    <a:pt x="106" y="440"/>
                  </a:lnTo>
                  <a:lnTo>
                    <a:pt x="103" y="443"/>
                  </a:lnTo>
                  <a:lnTo>
                    <a:pt x="103" y="443"/>
                  </a:lnTo>
                  <a:lnTo>
                    <a:pt x="99" y="444"/>
                  </a:lnTo>
                  <a:lnTo>
                    <a:pt x="97" y="447"/>
                  </a:lnTo>
                  <a:lnTo>
                    <a:pt x="96" y="453"/>
                  </a:lnTo>
                  <a:lnTo>
                    <a:pt x="94" y="456"/>
                  </a:lnTo>
                  <a:lnTo>
                    <a:pt x="93" y="458"/>
                  </a:lnTo>
                  <a:lnTo>
                    <a:pt x="91" y="458"/>
                  </a:lnTo>
                  <a:lnTo>
                    <a:pt x="91" y="458"/>
                  </a:lnTo>
                  <a:lnTo>
                    <a:pt x="87" y="455"/>
                  </a:lnTo>
                  <a:lnTo>
                    <a:pt x="84" y="453"/>
                  </a:lnTo>
                  <a:lnTo>
                    <a:pt x="79" y="450"/>
                  </a:lnTo>
                  <a:lnTo>
                    <a:pt x="74" y="449"/>
                  </a:lnTo>
                  <a:lnTo>
                    <a:pt x="74" y="449"/>
                  </a:lnTo>
                  <a:lnTo>
                    <a:pt x="48" y="441"/>
                  </a:lnTo>
                  <a:lnTo>
                    <a:pt x="48" y="441"/>
                  </a:lnTo>
                  <a:lnTo>
                    <a:pt x="45" y="440"/>
                  </a:lnTo>
                  <a:lnTo>
                    <a:pt x="42" y="440"/>
                  </a:lnTo>
                  <a:lnTo>
                    <a:pt x="39" y="441"/>
                  </a:lnTo>
                  <a:lnTo>
                    <a:pt x="38" y="446"/>
                  </a:lnTo>
                  <a:lnTo>
                    <a:pt x="38" y="446"/>
                  </a:lnTo>
                  <a:lnTo>
                    <a:pt x="35" y="452"/>
                  </a:lnTo>
                  <a:lnTo>
                    <a:pt x="31" y="458"/>
                  </a:lnTo>
                  <a:lnTo>
                    <a:pt x="22" y="471"/>
                  </a:lnTo>
                  <a:lnTo>
                    <a:pt x="22" y="471"/>
                  </a:lnTo>
                  <a:lnTo>
                    <a:pt x="2" y="496"/>
                  </a:lnTo>
                  <a:lnTo>
                    <a:pt x="0" y="50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6" name="Freeform 145">
              <a:extLst>
                <a:ext uri="{FF2B5EF4-FFF2-40B4-BE49-F238E27FC236}">
                  <a16:creationId xmlns:a16="http://schemas.microsoft.com/office/drawing/2014/main" id="{76EC7449-D67E-2147-9334-D166A7C86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6788" y="5041900"/>
              <a:ext cx="244475" cy="166687"/>
            </a:xfrm>
            <a:custGeom>
              <a:avLst/>
              <a:gdLst>
                <a:gd name="T0" fmla="*/ 0 w 154"/>
                <a:gd name="T1" fmla="*/ 65 h 105"/>
                <a:gd name="T2" fmla="*/ 0 w 154"/>
                <a:gd name="T3" fmla="*/ 65 h 105"/>
                <a:gd name="T4" fmla="*/ 6 w 154"/>
                <a:gd name="T5" fmla="*/ 62 h 105"/>
                <a:gd name="T6" fmla="*/ 9 w 154"/>
                <a:gd name="T7" fmla="*/ 59 h 105"/>
                <a:gd name="T8" fmla="*/ 10 w 154"/>
                <a:gd name="T9" fmla="*/ 55 h 105"/>
                <a:gd name="T10" fmla="*/ 10 w 154"/>
                <a:gd name="T11" fmla="*/ 55 h 105"/>
                <a:gd name="T12" fmla="*/ 12 w 154"/>
                <a:gd name="T13" fmla="*/ 52 h 105"/>
                <a:gd name="T14" fmla="*/ 10 w 154"/>
                <a:gd name="T15" fmla="*/ 48 h 105"/>
                <a:gd name="T16" fmla="*/ 10 w 154"/>
                <a:gd name="T17" fmla="*/ 45 h 105"/>
                <a:gd name="T18" fmla="*/ 10 w 154"/>
                <a:gd name="T19" fmla="*/ 40 h 105"/>
                <a:gd name="T20" fmla="*/ 10 w 154"/>
                <a:gd name="T21" fmla="*/ 40 h 105"/>
                <a:gd name="T22" fmla="*/ 12 w 154"/>
                <a:gd name="T23" fmla="*/ 37 h 105"/>
                <a:gd name="T24" fmla="*/ 13 w 154"/>
                <a:gd name="T25" fmla="*/ 36 h 105"/>
                <a:gd name="T26" fmla="*/ 15 w 154"/>
                <a:gd name="T27" fmla="*/ 34 h 105"/>
                <a:gd name="T28" fmla="*/ 13 w 154"/>
                <a:gd name="T29" fmla="*/ 30 h 105"/>
                <a:gd name="T30" fmla="*/ 13 w 154"/>
                <a:gd name="T31" fmla="*/ 30 h 105"/>
                <a:gd name="T32" fmla="*/ 7 w 154"/>
                <a:gd name="T33" fmla="*/ 19 h 105"/>
                <a:gd name="T34" fmla="*/ 4 w 154"/>
                <a:gd name="T35" fmla="*/ 17 h 105"/>
                <a:gd name="T36" fmla="*/ 6 w 154"/>
                <a:gd name="T37" fmla="*/ 14 h 105"/>
                <a:gd name="T38" fmla="*/ 6 w 154"/>
                <a:gd name="T39" fmla="*/ 14 h 105"/>
                <a:gd name="T40" fmla="*/ 26 w 154"/>
                <a:gd name="T41" fmla="*/ 0 h 105"/>
                <a:gd name="T42" fmla="*/ 26 w 154"/>
                <a:gd name="T43" fmla="*/ 0 h 105"/>
                <a:gd name="T44" fmla="*/ 50 w 154"/>
                <a:gd name="T45" fmla="*/ 19 h 105"/>
                <a:gd name="T46" fmla="*/ 50 w 154"/>
                <a:gd name="T47" fmla="*/ 19 h 105"/>
                <a:gd name="T48" fmla="*/ 52 w 154"/>
                <a:gd name="T49" fmla="*/ 21 h 105"/>
                <a:gd name="T50" fmla="*/ 53 w 154"/>
                <a:gd name="T51" fmla="*/ 19 h 105"/>
                <a:gd name="T52" fmla="*/ 56 w 154"/>
                <a:gd name="T53" fmla="*/ 18 h 105"/>
                <a:gd name="T54" fmla="*/ 60 w 154"/>
                <a:gd name="T55" fmla="*/ 19 h 105"/>
                <a:gd name="T56" fmla="*/ 60 w 154"/>
                <a:gd name="T57" fmla="*/ 19 h 105"/>
                <a:gd name="T58" fmla="*/ 63 w 154"/>
                <a:gd name="T59" fmla="*/ 22 h 105"/>
                <a:gd name="T60" fmla="*/ 66 w 154"/>
                <a:gd name="T61" fmla="*/ 25 h 105"/>
                <a:gd name="T62" fmla="*/ 68 w 154"/>
                <a:gd name="T63" fmla="*/ 27 h 105"/>
                <a:gd name="T64" fmla="*/ 71 w 154"/>
                <a:gd name="T65" fmla="*/ 27 h 105"/>
                <a:gd name="T66" fmla="*/ 71 w 154"/>
                <a:gd name="T67" fmla="*/ 27 h 105"/>
                <a:gd name="T68" fmla="*/ 75 w 154"/>
                <a:gd name="T69" fmla="*/ 25 h 105"/>
                <a:gd name="T70" fmla="*/ 81 w 154"/>
                <a:gd name="T71" fmla="*/ 25 h 105"/>
                <a:gd name="T72" fmla="*/ 81 w 154"/>
                <a:gd name="T73" fmla="*/ 25 h 105"/>
                <a:gd name="T74" fmla="*/ 86 w 154"/>
                <a:gd name="T75" fmla="*/ 28 h 105"/>
                <a:gd name="T76" fmla="*/ 93 w 154"/>
                <a:gd name="T77" fmla="*/ 34 h 105"/>
                <a:gd name="T78" fmla="*/ 100 w 154"/>
                <a:gd name="T79" fmla="*/ 40 h 105"/>
                <a:gd name="T80" fmla="*/ 102 w 154"/>
                <a:gd name="T81" fmla="*/ 43 h 105"/>
                <a:gd name="T82" fmla="*/ 102 w 154"/>
                <a:gd name="T83" fmla="*/ 43 h 105"/>
                <a:gd name="T84" fmla="*/ 95 w 154"/>
                <a:gd name="T85" fmla="*/ 51 h 105"/>
                <a:gd name="T86" fmla="*/ 90 w 154"/>
                <a:gd name="T87" fmla="*/ 55 h 105"/>
                <a:gd name="T88" fmla="*/ 90 w 154"/>
                <a:gd name="T89" fmla="*/ 56 h 105"/>
                <a:gd name="T90" fmla="*/ 90 w 154"/>
                <a:gd name="T91" fmla="*/ 59 h 105"/>
                <a:gd name="T92" fmla="*/ 90 w 154"/>
                <a:gd name="T93" fmla="*/ 59 h 105"/>
                <a:gd name="T94" fmla="*/ 97 w 154"/>
                <a:gd name="T95" fmla="*/ 67 h 105"/>
                <a:gd name="T96" fmla="*/ 102 w 154"/>
                <a:gd name="T97" fmla="*/ 70 h 105"/>
                <a:gd name="T98" fmla="*/ 103 w 154"/>
                <a:gd name="T99" fmla="*/ 70 h 105"/>
                <a:gd name="T100" fmla="*/ 106 w 154"/>
                <a:gd name="T101" fmla="*/ 70 h 105"/>
                <a:gd name="T102" fmla="*/ 106 w 154"/>
                <a:gd name="T103" fmla="*/ 70 h 105"/>
                <a:gd name="T104" fmla="*/ 112 w 154"/>
                <a:gd name="T105" fmla="*/ 64 h 105"/>
                <a:gd name="T106" fmla="*/ 114 w 154"/>
                <a:gd name="T107" fmla="*/ 64 h 105"/>
                <a:gd name="T108" fmla="*/ 117 w 154"/>
                <a:gd name="T109" fmla="*/ 65 h 105"/>
                <a:gd name="T110" fmla="*/ 117 w 154"/>
                <a:gd name="T111" fmla="*/ 65 h 105"/>
                <a:gd name="T112" fmla="*/ 133 w 154"/>
                <a:gd name="T113" fmla="*/ 82 h 105"/>
                <a:gd name="T114" fmla="*/ 149 w 154"/>
                <a:gd name="T115" fmla="*/ 101 h 105"/>
                <a:gd name="T116" fmla="*/ 149 w 154"/>
                <a:gd name="T117" fmla="*/ 101 h 105"/>
                <a:gd name="T118" fmla="*/ 154 w 154"/>
                <a:gd name="T11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05">
                  <a:moveTo>
                    <a:pt x="0" y="65"/>
                  </a:moveTo>
                  <a:lnTo>
                    <a:pt x="0" y="65"/>
                  </a:lnTo>
                  <a:lnTo>
                    <a:pt x="6" y="62"/>
                  </a:lnTo>
                  <a:lnTo>
                    <a:pt x="9" y="59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2" y="52"/>
                  </a:lnTo>
                  <a:lnTo>
                    <a:pt x="10" y="48"/>
                  </a:lnTo>
                  <a:lnTo>
                    <a:pt x="10" y="45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2" y="37"/>
                  </a:lnTo>
                  <a:lnTo>
                    <a:pt x="13" y="36"/>
                  </a:lnTo>
                  <a:lnTo>
                    <a:pt x="15" y="34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7" y="19"/>
                  </a:lnTo>
                  <a:lnTo>
                    <a:pt x="4" y="17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2" y="21"/>
                  </a:lnTo>
                  <a:lnTo>
                    <a:pt x="53" y="19"/>
                  </a:lnTo>
                  <a:lnTo>
                    <a:pt x="56" y="18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3" y="22"/>
                  </a:lnTo>
                  <a:lnTo>
                    <a:pt x="66" y="25"/>
                  </a:lnTo>
                  <a:lnTo>
                    <a:pt x="68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5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6" y="28"/>
                  </a:lnTo>
                  <a:lnTo>
                    <a:pt x="93" y="34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95" y="51"/>
                  </a:lnTo>
                  <a:lnTo>
                    <a:pt x="90" y="55"/>
                  </a:lnTo>
                  <a:lnTo>
                    <a:pt x="90" y="56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7" y="67"/>
                  </a:lnTo>
                  <a:lnTo>
                    <a:pt x="102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12" y="64"/>
                  </a:lnTo>
                  <a:lnTo>
                    <a:pt x="114" y="64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33" y="82"/>
                  </a:lnTo>
                  <a:lnTo>
                    <a:pt x="149" y="101"/>
                  </a:lnTo>
                  <a:lnTo>
                    <a:pt x="149" y="101"/>
                  </a:lnTo>
                  <a:lnTo>
                    <a:pt x="154" y="105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7" name="Freeform 146">
              <a:extLst>
                <a:ext uri="{FF2B5EF4-FFF2-40B4-BE49-F238E27FC236}">
                  <a16:creationId xmlns:a16="http://schemas.microsoft.com/office/drawing/2014/main" id="{C0D8AA3F-29EA-C647-A264-58BF62B34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99288" y="4827588"/>
              <a:ext cx="392113" cy="647700"/>
            </a:xfrm>
            <a:custGeom>
              <a:avLst/>
              <a:gdLst>
                <a:gd name="T0" fmla="*/ 127 w 247"/>
                <a:gd name="T1" fmla="*/ 402 h 408"/>
                <a:gd name="T2" fmla="*/ 141 w 247"/>
                <a:gd name="T3" fmla="*/ 391 h 408"/>
                <a:gd name="T4" fmla="*/ 158 w 247"/>
                <a:gd name="T5" fmla="*/ 384 h 408"/>
                <a:gd name="T6" fmla="*/ 158 w 247"/>
                <a:gd name="T7" fmla="*/ 375 h 408"/>
                <a:gd name="T8" fmla="*/ 163 w 247"/>
                <a:gd name="T9" fmla="*/ 362 h 408"/>
                <a:gd name="T10" fmla="*/ 179 w 247"/>
                <a:gd name="T11" fmla="*/ 357 h 408"/>
                <a:gd name="T12" fmla="*/ 180 w 247"/>
                <a:gd name="T13" fmla="*/ 351 h 408"/>
                <a:gd name="T14" fmla="*/ 164 w 247"/>
                <a:gd name="T15" fmla="*/ 331 h 408"/>
                <a:gd name="T16" fmla="*/ 164 w 247"/>
                <a:gd name="T17" fmla="*/ 325 h 408"/>
                <a:gd name="T18" fmla="*/ 176 w 247"/>
                <a:gd name="T19" fmla="*/ 310 h 408"/>
                <a:gd name="T20" fmla="*/ 188 w 247"/>
                <a:gd name="T21" fmla="*/ 304 h 408"/>
                <a:gd name="T22" fmla="*/ 200 w 247"/>
                <a:gd name="T23" fmla="*/ 295 h 408"/>
                <a:gd name="T24" fmla="*/ 223 w 247"/>
                <a:gd name="T25" fmla="*/ 292 h 408"/>
                <a:gd name="T26" fmla="*/ 229 w 247"/>
                <a:gd name="T27" fmla="*/ 288 h 408"/>
                <a:gd name="T28" fmla="*/ 241 w 247"/>
                <a:gd name="T29" fmla="*/ 264 h 408"/>
                <a:gd name="T30" fmla="*/ 244 w 247"/>
                <a:gd name="T31" fmla="*/ 252 h 408"/>
                <a:gd name="T32" fmla="*/ 244 w 247"/>
                <a:gd name="T33" fmla="*/ 243 h 408"/>
                <a:gd name="T34" fmla="*/ 226 w 247"/>
                <a:gd name="T35" fmla="*/ 237 h 408"/>
                <a:gd name="T36" fmla="*/ 207 w 247"/>
                <a:gd name="T37" fmla="*/ 223 h 408"/>
                <a:gd name="T38" fmla="*/ 201 w 247"/>
                <a:gd name="T39" fmla="*/ 200 h 408"/>
                <a:gd name="T40" fmla="*/ 197 w 247"/>
                <a:gd name="T41" fmla="*/ 187 h 408"/>
                <a:gd name="T42" fmla="*/ 175 w 247"/>
                <a:gd name="T43" fmla="*/ 194 h 408"/>
                <a:gd name="T44" fmla="*/ 161 w 247"/>
                <a:gd name="T45" fmla="*/ 196 h 408"/>
                <a:gd name="T46" fmla="*/ 145 w 247"/>
                <a:gd name="T47" fmla="*/ 200 h 408"/>
                <a:gd name="T48" fmla="*/ 135 w 247"/>
                <a:gd name="T49" fmla="*/ 187 h 408"/>
                <a:gd name="T50" fmla="*/ 129 w 247"/>
                <a:gd name="T51" fmla="*/ 181 h 408"/>
                <a:gd name="T52" fmla="*/ 115 w 247"/>
                <a:gd name="T53" fmla="*/ 177 h 408"/>
                <a:gd name="T54" fmla="*/ 90 w 247"/>
                <a:gd name="T55" fmla="*/ 171 h 408"/>
                <a:gd name="T56" fmla="*/ 83 w 247"/>
                <a:gd name="T57" fmla="*/ 166 h 408"/>
                <a:gd name="T58" fmla="*/ 64 w 247"/>
                <a:gd name="T59" fmla="*/ 160 h 408"/>
                <a:gd name="T60" fmla="*/ 43 w 247"/>
                <a:gd name="T61" fmla="*/ 168 h 408"/>
                <a:gd name="T62" fmla="*/ 34 w 247"/>
                <a:gd name="T63" fmla="*/ 180 h 408"/>
                <a:gd name="T64" fmla="*/ 21 w 247"/>
                <a:gd name="T65" fmla="*/ 184 h 408"/>
                <a:gd name="T66" fmla="*/ 9 w 247"/>
                <a:gd name="T67" fmla="*/ 178 h 408"/>
                <a:gd name="T68" fmla="*/ 13 w 247"/>
                <a:gd name="T69" fmla="*/ 168 h 408"/>
                <a:gd name="T70" fmla="*/ 13 w 247"/>
                <a:gd name="T71" fmla="*/ 157 h 408"/>
                <a:gd name="T72" fmla="*/ 6 w 247"/>
                <a:gd name="T73" fmla="*/ 141 h 408"/>
                <a:gd name="T74" fmla="*/ 6 w 247"/>
                <a:gd name="T75" fmla="*/ 137 h 408"/>
                <a:gd name="T76" fmla="*/ 18 w 247"/>
                <a:gd name="T77" fmla="*/ 131 h 408"/>
                <a:gd name="T78" fmla="*/ 15 w 247"/>
                <a:gd name="T79" fmla="*/ 123 h 408"/>
                <a:gd name="T80" fmla="*/ 0 w 247"/>
                <a:gd name="T81" fmla="*/ 113 h 408"/>
                <a:gd name="T82" fmla="*/ 3 w 247"/>
                <a:gd name="T83" fmla="*/ 106 h 408"/>
                <a:gd name="T84" fmla="*/ 18 w 247"/>
                <a:gd name="T85" fmla="*/ 95 h 408"/>
                <a:gd name="T86" fmla="*/ 29 w 247"/>
                <a:gd name="T87" fmla="*/ 74 h 408"/>
                <a:gd name="T88" fmla="*/ 40 w 247"/>
                <a:gd name="T89" fmla="*/ 63 h 408"/>
                <a:gd name="T90" fmla="*/ 52 w 247"/>
                <a:gd name="T91" fmla="*/ 64 h 408"/>
                <a:gd name="T92" fmla="*/ 56 w 247"/>
                <a:gd name="T93" fmla="*/ 60 h 408"/>
                <a:gd name="T94" fmla="*/ 58 w 247"/>
                <a:gd name="T95" fmla="*/ 45 h 408"/>
                <a:gd name="T96" fmla="*/ 83 w 247"/>
                <a:gd name="T97" fmla="*/ 14 h 408"/>
                <a:gd name="T98" fmla="*/ 87 w 247"/>
                <a:gd name="T99" fmla="*/ 6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7" h="408">
                  <a:moveTo>
                    <a:pt x="121" y="408"/>
                  </a:moveTo>
                  <a:lnTo>
                    <a:pt x="121" y="408"/>
                  </a:lnTo>
                  <a:lnTo>
                    <a:pt x="127" y="402"/>
                  </a:lnTo>
                  <a:lnTo>
                    <a:pt x="135" y="396"/>
                  </a:lnTo>
                  <a:lnTo>
                    <a:pt x="141" y="391"/>
                  </a:lnTo>
                  <a:lnTo>
                    <a:pt x="141" y="391"/>
                  </a:lnTo>
                  <a:lnTo>
                    <a:pt x="154" y="387"/>
                  </a:lnTo>
                  <a:lnTo>
                    <a:pt x="154" y="387"/>
                  </a:lnTo>
                  <a:lnTo>
                    <a:pt x="158" y="384"/>
                  </a:lnTo>
                  <a:lnTo>
                    <a:pt x="160" y="381"/>
                  </a:lnTo>
                  <a:lnTo>
                    <a:pt x="160" y="381"/>
                  </a:lnTo>
                  <a:lnTo>
                    <a:pt x="158" y="375"/>
                  </a:lnTo>
                  <a:lnTo>
                    <a:pt x="160" y="369"/>
                  </a:lnTo>
                  <a:lnTo>
                    <a:pt x="161" y="365"/>
                  </a:lnTo>
                  <a:lnTo>
                    <a:pt x="163" y="362"/>
                  </a:lnTo>
                  <a:lnTo>
                    <a:pt x="167" y="360"/>
                  </a:lnTo>
                  <a:lnTo>
                    <a:pt x="167" y="360"/>
                  </a:lnTo>
                  <a:lnTo>
                    <a:pt x="179" y="357"/>
                  </a:lnTo>
                  <a:lnTo>
                    <a:pt x="180" y="356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76" y="346"/>
                  </a:lnTo>
                  <a:lnTo>
                    <a:pt x="169" y="338"/>
                  </a:lnTo>
                  <a:lnTo>
                    <a:pt x="164" y="331"/>
                  </a:lnTo>
                  <a:lnTo>
                    <a:pt x="163" y="328"/>
                  </a:lnTo>
                  <a:lnTo>
                    <a:pt x="164" y="325"/>
                  </a:lnTo>
                  <a:lnTo>
                    <a:pt x="164" y="325"/>
                  </a:lnTo>
                  <a:lnTo>
                    <a:pt x="167" y="319"/>
                  </a:lnTo>
                  <a:lnTo>
                    <a:pt x="172" y="314"/>
                  </a:lnTo>
                  <a:lnTo>
                    <a:pt x="176" y="310"/>
                  </a:lnTo>
                  <a:lnTo>
                    <a:pt x="183" y="307"/>
                  </a:lnTo>
                  <a:lnTo>
                    <a:pt x="183" y="307"/>
                  </a:lnTo>
                  <a:lnTo>
                    <a:pt x="188" y="304"/>
                  </a:lnTo>
                  <a:lnTo>
                    <a:pt x="192" y="300"/>
                  </a:lnTo>
                  <a:lnTo>
                    <a:pt x="197" y="297"/>
                  </a:lnTo>
                  <a:lnTo>
                    <a:pt x="200" y="295"/>
                  </a:lnTo>
                  <a:lnTo>
                    <a:pt x="200" y="295"/>
                  </a:lnTo>
                  <a:lnTo>
                    <a:pt x="215" y="294"/>
                  </a:lnTo>
                  <a:lnTo>
                    <a:pt x="223" y="292"/>
                  </a:lnTo>
                  <a:lnTo>
                    <a:pt x="228" y="289"/>
                  </a:lnTo>
                  <a:lnTo>
                    <a:pt x="229" y="288"/>
                  </a:lnTo>
                  <a:lnTo>
                    <a:pt x="229" y="288"/>
                  </a:lnTo>
                  <a:lnTo>
                    <a:pt x="234" y="282"/>
                  </a:lnTo>
                  <a:lnTo>
                    <a:pt x="238" y="273"/>
                  </a:lnTo>
                  <a:lnTo>
                    <a:pt x="241" y="264"/>
                  </a:lnTo>
                  <a:lnTo>
                    <a:pt x="243" y="257"/>
                  </a:lnTo>
                  <a:lnTo>
                    <a:pt x="243" y="257"/>
                  </a:lnTo>
                  <a:lnTo>
                    <a:pt x="244" y="252"/>
                  </a:lnTo>
                  <a:lnTo>
                    <a:pt x="246" y="248"/>
                  </a:lnTo>
                  <a:lnTo>
                    <a:pt x="247" y="245"/>
                  </a:lnTo>
                  <a:lnTo>
                    <a:pt x="244" y="243"/>
                  </a:lnTo>
                  <a:lnTo>
                    <a:pt x="244" y="243"/>
                  </a:lnTo>
                  <a:lnTo>
                    <a:pt x="238" y="242"/>
                  </a:lnTo>
                  <a:lnTo>
                    <a:pt x="226" y="237"/>
                  </a:lnTo>
                  <a:lnTo>
                    <a:pt x="215" y="230"/>
                  </a:lnTo>
                  <a:lnTo>
                    <a:pt x="210" y="227"/>
                  </a:lnTo>
                  <a:lnTo>
                    <a:pt x="207" y="223"/>
                  </a:lnTo>
                  <a:lnTo>
                    <a:pt x="207" y="223"/>
                  </a:lnTo>
                  <a:lnTo>
                    <a:pt x="204" y="212"/>
                  </a:lnTo>
                  <a:lnTo>
                    <a:pt x="201" y="200"/>
                  </a:lnTo>
                  <a:lnTo>
                    <a:pt x="198" y="191"/>
                  </a:lnTo>
                  <a:lnTo>
                    <a:pt x="197" y="187"/>
                  </a:lnTo>
                  <a:lnTo>
                    <a:pt x="197" y="187"/>
                  </a:lnTo>
                  <a:lnTo>
                    <a:pt x="192" y="189"/>
                  </a:lnTo>
                  <a:lnTo>
                    <a:pt x="183" y="191"/>
                  </a:lnTo>
                  <a:lnTo>
                    <a:pt x="175" y="194"/>
                  </a:lnTo>
                  <a:lnTo>
                    <a:pt x="167" y="196"/>
                  </a:lnTo>
                  <a:lnTo>
                    <a:pt x="167" y="196"/>
                  </a:lnTo>
                  <a:lnTo>
                    <a:pt x="161" y="196"/>
                  </a:lnTo>
                  <a:lnTo>
                    <a:pt x="155" y="197"/>
                  </a:lnTo>
                  <a:lnTo>
                    <a:pt x="145" y="200"/>
                  </a:lnTo>
                  <a:lnTo>
                    <a:pt x="145" y="200"/>
                  </a:lnTo>
                  <a:lnTo>
                    <a:pt x="142" y="199"/>
                  </a:lnTo>
                  <a:lnTo>
                    <a:pt x="139" y="194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3" y="184"/>
                  </a:lnTo>
                  <a:lnTo>
                    <a:pt x="129" y="181"/>
                  </a:lnTo>
                  <a:lnTo>
                    <a:pt x="123" y="178"/>
                  </a:lnTo>
                  <a:lnTo>
                    <a:pt x="115" y="177"/>
                  </a:lnTo>
                  <a:lnTo>
                    <a:pt x="115" y="177"/>
                  </a:lnTo>
                  <a:lnTo>
                    <a:pt x="99" y="175"/>
                  </a:lnTo>
                  <a:lnTo>
                    <a:pt x="93" y="174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87" y="168"/>
                  </a:lnTo>
                  <a:lnTo>
                    <a:pt x="83" y="166"/>
                  </a:lnTo>
                  <a:lnTo>
                    <a:pt x="71" y="162"/>
                  </a:lnTo>
                  <a:lnTo>
                    <a:pt x="71" y="162"/>
                  </a:lnTo>
                  <a:lnTo>
                    <a:pt x="64" y="160"/>
                  </a:lnTo>
                  <a:lnTo>
                    <a:pt x="55" y="162"/>
                  </a:lnTo>
                  <a:lnTo>
                    <a:pt x="47" y="163"/>
                  </a:lnTo>
                  <a:lnTo>
                    <a:pt x="43" y="168"/>
                  </a:lnTo>
                  <a:lnTo>
                    <a:pt x="43" y="168"/>
                  </a:lnTo>
                  <a:lnTo>
                    <a:pt x="37" y="177"/>
                  </a:lnTo>
                  <a:lnTo>
                    <a:pt x="34" y="180"/>
                  </a:lnTo>
                  <a:lnTo>
                    <a:pt x="28" y="183"/>
                  </a:lnTo>
                  <a:lnTo>
                    <a:pt x="28" y="183"/>
                  </a:lnTo>
                  <a:lnTo>
                    <a:pt x="21" y="184"/>
                  </a:lnTo>
                  <a:lnTo>
                    <a:pt x="13" y="183"/>
                  </a:lnTo>
                  <a:lnTo>
                    <a:pt x="10" y="180"/>
                  </a:lnTo>
                  <a:lnTo>
                    <a:pt x="9" y="178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3" y="168"/>
                  </a:lnTo>
                  <a:lnTo>
                    <a:pt x="13" y="163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0" y="152"/>
                  </a:lnTo>
                  <a:lnTo>
                    <a:pt x="7" y="146"/>
                  </a:lnTo>
                  <a:lnTo>
                    <a:pt x="6" y="141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6" y="137"/>
                  </a:lnTo>
                  <a:lnTo>
                    <a:pt x="10" y="134"/>
                  </a:lnTo>
                  <a:lnTo>
                    <a:pt x="16" y="131"/>
                  </a:lnTo>
                  <a:lnTo>
                    <a:pt x="18" y="131"/>
                  </a:lnTo>
                  <a:lnTo>
                    <a:pt x="18" y="129"/>
                  </a:lnTo>
                  <a:lnTo>
                    <a:pt x="18" y="126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" y="114"/>
                  </a:lnTo>
                  <a:lnTo>
                    <a:pt x="0" y="113"/>
                  </a:lnTo>
                  <a:lnTo>
                    <a:pt x="0" y="112"/>
                  </a:lnTo>
                  <a:lnTo>
                    <a:pt x="1" y="109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13" y="98"/>
                  </a:lnTo>
                  <a:lnTo>
                    <a:pt x="18" y="95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9" y="74"/>
                  </a:lnTo>
                  <a:lnTo>
                    <a:pt x="35" y="66"/>
                  </a:lnTo>
                  <a:lnTo>
                    <a:pt x="37" y="64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7" y="64"/>
                  </a:lnTo>
                  <a:lnTo>
                    <a:pt x="52" y="64"/>
                  </a:lnTo>
                  <a:lnTo>
                    <a:pt x="53" y="63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6" y="9"/>
                  </a:lnTo>
                  <a:lnTo>
                    <a:pt x="87" y="6"/>
                  </a:lnTo>
                  <a:lnTo>
                    <a:pt x="89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8" name="Freeform 147">
              <a:extLst>
                <a:ext uri="{FF2B5EF4-FFF2-40B4-BE49-F238E27FC236}">
                  <a16:creationId xmlns:a16="http://schemas.microsoft.com/office/drawing/2014/main" id="{D91AB5C6-8BBA-6443-8830-3B086A566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9100" y="5353050"/>
              <a:ext cx="431800" cy="439737"/>
            </a:xfrm>
            <a:custGeom>
              <a:avLst/>
              <a:gdLst>
                <a:gd name="T0" fmla="*/ 0 w 272"/>
                <a:gd name="T1" fmla="*/ 161 h 277"/>
                <a:gd name="T2" fmla="*/ 4 w 272"/>
                <a:gd name="T3" fmla="*/ 151 h 277"/>
                <a:gd name="T4" fmla="*/ 13 w 272"/>
                <a:gd name="T5" fmla="*/ 142 h 277"/>
                <a:gd name="T6" fmla="*/ 15 w 272"/>
                <a:gd name="T7" fmla="*/ 134 h 277"/>
                <a:gd name="T8" fmla="*/ 25 w 272"/>
                <a:gd name="T9" fmla="*/ 123 h 277"/>
                <a:gd name="T10" fmla="*/ 43 w 272"/>
                <a:gd name="T11" fmla="*/ 118 h 277"/>
                <a:gd name="T12" fmla="*/ 50 w 272"/>
                <a:gd name="T13" fmla="*/ 109 h 277"/>
                <a:gd name="T14" fmla="*/ 57 w 272"/>
                <a:gd name="T15" fmla="*/ 92 h 277"/>
                <a:gd name="T16" fmla="*/ 69 w 272"/>
                <a:gd name="T17" fmla="*/ 66 h 277"/>
                <a:gd name="T18" fmla="*/ 78 w 272"/>
                <a:gd name="T19" fmla="*/ 59 h 277"/>
                <a:gd name="T20" fmla="*/ 89 w 272"/>
                <a:gd name="T21" fmla="*/ 59 h 277"/>
                <a:gd name="T22" fmla="*/ 90 w 272"/>
                <a:gd name="T23" fmla="*/ 66 h 277"/>
                <a:gd name="T24" fmla="*/ 102 w 272"/>
                <a:gd name="T25" fmla="*/ 77 h 277"/>
                <a:gd name="T26" fmla="*/ 111 w 272"/>
                <a:gd name="T27" fmla="*/ 74 h 277"/>
                <a:gd name="T28" fmla="*/ 126 w 272"/>
                <a:gd name="T29" fmla="*/ 63 h 277"/>
                <a:gd name="T30" fmla="*/ 132 w 272"/>
                <a:gd name="T31" fmla="*/ 63 h 277"/>
                <a:gd name="T32" fmla="*/ 136 w 272"/>
                <a:gd name="T33" fmla="*/ 60 h 277"/>
                <a:gd name="T34" fmla="*/ 140 w 272"/>
                <a:gd name="T35" fmla="*/ 46 h 277"/>
                <a:gd name="T36" fmla="*/ 148 w 272"/>
                <a:gd name="T37" fmla="*/ 38 h 277"/>
                <a:gd name="T38" fmla="*/ 155 w 272"/>
                <a:gd name="T39" fmla="*/ 32 h 277"/>
                <a:gd name="T40" fmla="*/ 157 w 272"/>
                <a:gd name="T41" fmla="*/ 23 h 277"/>
                <a:gd name="T42" fmla="*/ 158 w 272"/>
                <a:gd name="T43" fmla="*/ 15 h 277"/>
                <a:gd name="T44" fmla="*/ 170 w 272"/>
                <a:gd name="T45" fmla="*/ 15 h 277"/>
                <a:gd name="T46" fmla="*/ 176 w 272"/>
                <a:gd name="T47" fmla="*/ 12 h 277"/>
                <a:gd name="T48" fmla="*/ 192 w 272"/>
                <a:gd name="T49" fmla="*/ 0 h 277"/>
                <a:gd name="T50" fmla="*/ 200 w 272"/>
                <a:gd name="T51" fmla="*/ 1 h 277"/>
                <a:gd name="T52" fmla="*/ 206 w 272"/>
                <a:gd name="T53" fmla="*/ 13 h 277"/>
                <a:gd name="T54" fmla="*/ 211 w 272"/>
                <a:gd name="T55" fmla="*/ 17 h 277"/>
                <a:gd name="T56" fmla="*/ 219 w 272"/>
                <a:gd name="T57" fmla="*/ 22 h 277"/>
                <a:gd name="T58" fmla="*/ 222 w 272"/>
                <a:gd name="T59" fmla="*/ 31 h 277"/>
                <a:gd name="T60" fmla="*/ 232 w 272"/>
                <a:gd name="T61" fmla="*/ 29 h 277"/>
                <a:gd name="T62" fmla="*/ 241 w 272"/>
                <a:gd name="T63" fmla="*/ 29 h 277"/>
                <a:gd name="T64" fmla="*/ 244 w 272"/>
                <a:gd name="T65" fmla="*/ 34 h 277"/>
                <a:gd name="T66" fmla="*/ 240 w 272"/>
                <a:gd name="T67" fmla="*/ 56 h 277"/>
                <a:gd name="T68" fmla="*/ 243 w 272"/>
                <a:gd name="T69" fmla="*/ 63 h 277"/>
                <a:gd name="T70" fmla="*/ 251 w 272"/>
                <a:gd name="T71" fmla="*/ 60 h 277"/>
                <a:gd name="T72" fmla="*/ 257 w 272"/>
                <a:gd name="T73" fmla="*/ 62 h 277"/>
                <a:gd name="T74" fmla="*/ 266 w 272"/>
                <a:gd name="T75" fmla="*/ 77 h 277"/>
                <a:gd name="T76" fmla="*/ 272 w 272"/>
                <a:gd name="T77" fmla="*/ 86 h 277"/>
                <a:gd name="T78" fmla="*/ 266 w 272"/>
                <a:gd name="T79" fmla="*/ 94 h 277"/>
                <a:gd name="T80" fmla="*/ 257 w 272"/>
                <a:gd name="T81" fmla="*/ 111 h 277"/>
                <a:gd name="T82" fmla="*/ 256 w 272"/>
                <a:gd name="T83" fmla="*/ 130 h 277"/>
                <a:gd name="T84" fmla="*/ 243 w 272"/>
                <a:gd name="T85" fmla="*/ 149 h 277"/>
                <a:gd name="T86" fmla="*/ 231 w 272"/>
                <a:gd name="T87" fmla="*/ 163 h 277"/>
                <a:gd name="T88" fmla="*/ 228 w 272"/>
                <a:gd name="T89" fmla="*/ 173 h 277"/>
                <a:gd name="T90" fmla="*/ 217 w 272"/>
                <a:gd name="T91" fmla="*/ 177 h 277"/>
                <a:gd name="T92" fmla="*/ 207 w 272"/>
                <a:gd name="T93" fmla="*/ 180 h 277"/>
                <a:gd name="T94" fmla="*/ 209 w 272"/>
                <a:gd name="T95" fmla="*/ 194 h 277"/>
                <a:gd name="T96" fmla="*/ 209 w 272"/>
                <a:gd name="T97" fmla="*/ 213 h 277"/>
                <a:gd name="T98" fmla="*/ 206 w 272"/>
                <a:gd name="T99" fmla="*/ 216 h 277"/>
                <a:gd name="T100" fmla="*/ 180 w 272"/>
                <a:gd name="T101" fmla="*/ 219 h 277"/>
                <a:gd name="T102" fmla="*/ 163 w 272"/>
                <a:gd name="T103" fmla="*/ 223 h 277"/>
                <a:gd name="T104" fmla="*/ 161 w 272"/>
                <a:gd name="T105" fmla="*/ 220 h 277"/>
                <a:gd name="T106" fmla="*/ 157 w 272"/>
                <a:gd name="T107" fmla="*/ 214 h 277"/>
                <a:gd name="T108" fmla="*/ 152 w 272"/>
                <a:gd name="T109" fmla="*/ 220 h 277"/>
                <a:gd name="T110" fmla="*/ 155 w 272"/>
                <a:gd name="T111" fmla="*/ 238 h 277"/>
                <a:gd name="T112" fmla="*/ 154 w 272"/>
                <a:gd name="T113" fmla="*/ 26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2" h="277">
                  <a:moveTo>
                    <a:pt x="0" y="170"/>
                  </a:moveTo>
                  <a:lnTo>
                    <a:pt x="0" y="170"/>
                  </a:lnTo>
                  <a:lnTo>
                    <a:pt x="0" y="161"/>
                  </a:lnTo>
                  <a:lnTo>
                    <a:pt x="1" y="155"/>
                  </a:lnTo>
                  <a:lnTo>
                    <a:pt x="3" y="152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12" y="145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5" y="134"/>
                  </a:lnTo>
                  <a:lnTo>
                    <a:pt x="17" y="129"/>
                  </a:lnTo>
                  <a:lnTo>
                    <a:pt x="22" y="126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35" y="121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6" y="115"/>
                  </a:lnTo>
                  <a:lnTo>
                    <a:pt x="50" y="109"/>
                  </a:lnTo>
                  <a:lnTo>
                    <a:pt x="55" y="100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60" y="83"/>
                  </a:lnTo>
                  <a:lnTo>
                    <a:pt x="65" y="74"/>
                  </a:lnTo>
                  <a:lnTo>
                    <a:pt x="69" y="66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8" y="59"/>
                  </a:lnTo>
                  <a:lnTo>
                    <a:pt x="83" y="57"/>
                  </a:lnTo>
                  <a:lnTo>
                    <a:pt x="87" y="57"/>
                  </a:lnTo>
                  <a:lnTo>
                    <a:pt x="89" y="59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90" y="66"/>
                  </a:lnTo>
                  <a:lnTo>
                    <a:pt x="94" y="71"/>
                  </a:lnTo>
                  <a:lnTo>
                    <a:pt x="99" y="75"/>
                  </a:lnTo>
                  <a:lnTo>
                    <a:pt x="102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11" y="74"/>
                  </a:lnTo>
                  <a:lnTo>
                    <a:pt x="117" y="71"/>
                  </a:lnTo>
                  <a:lnTo>
                    <a:pt x="121" y="66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9" y="62"/>
                  </a:lnTo>
                  <a:lnTo>
                    <a:pt x="132" y="63"/>
                  </a:lnTo>
                  <a:lnTo>
                    <a:pt x="133" y="63"/>
                  </a:lnTo>
                  <a:lnTo>
                    <a:pt x="136" y="60"/>
                  </a:lnTo>
                  <a:lnTo>
                    <a:pt x="136" y="60"/>
                  </a:lnTo>
                  <a:lnTo>
                    <a:pt x="139" y="52"/>
                  </a:lnTo>
                  <a:lnTo>
                    <a:pt x="140" y="46"/>
                  </a:lnTo>
                  <a:lnTo>
                    <a:pt x="140" y="46"/>
                  </a:lnTo>
                  <a:lnTo>
                    <a:pt x="140" y="43"/>
                  </a:lnTo>
                  <a:lnTo>
                    <a:pt x="142" y="41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52" y="37"/>
                  </a:lnTo>
                  <a:lnTo>
                    <a:pt x="155" y="32"/>
                  </a:lnTo>
                  <a:lnTo>
                    <a:pt x="157" y="28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5" y="19"/>
                  </a:lnTo>
                  <a:lnTo>
                    <a:pt x="157" y="16"/>
                  </a:lnTo>
                  <a:lnTo>
                    <a:pt x="158" y="15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70" y="15"/>
                  </a:lnTo>
                  <a:lnTo>
                    <a:pt x="173" y="15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85" y="4"/>
                  </a:lnTo>
                  <a:lnTo>
                    <a:pt x="191" y="0"/>
                  </a:lnTo>
                  <a:lnTo>
                    <a:pt x="192" y="0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200" y="1"/>
                  </a:lnTo>
                  <a:lnTo>
                    <a:pt x="201" y="4"/>
                  </a:lnTo>
                  <a:lnTo>
                    <a:pt x="203" y="9"/>
                  </a:lnTo>
                  <a:lnTo>
                    <a:pt x="206" y="13"/>
                  </a:lnTo>
                  <a:lnTo>
                    <a:pt x="206" y="13"/>
                  </a:lnTo>
                  <a:lnTo>
                    <a:pt x="209" y="16"/>
                  </a:lnTo>
                  <a:lnTo>
                    <a:pt x="211" y="17"/>
                  </a:lnTo>
                  <a:lnTo>
                    <a:pt x="216" y="19"/>
                  </a:lnTo>
                  <a:lnTo>
                    <a:pt x="219" y="22"/>
                  </a:lnTo>
                  <a:lnTo>
                    <a:pt x="219" y="22"/>
                  </a:lnTo>
                  <a:lnTo>
                    <a:pt x="220" y="25"/>
                  </a:lnTo>
                  <a:lnTo>
                    <a:pt x="222" y="29"/>
                  </a:lnTo>
                  <a:lnTo>
                    <a:pt x="222" y="31"/>
                  </a:lnTo>
                  <a:lnTo>
                    <a:pt x="222" y="32"/>
                  </a:lnTo>
                  <a:lnTo>
                    <a:pt x="222" y="32"/>
                  </a:lnTo>
                  <a:lnTo>
                    <a:pt x="232" y="29"/>
                  </a:lnTo>
                  <a:lnTo>
                    <a:pt x="237" y="28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3" y="32"/>
                  </a:lnTo>
                  <a:lnTo>
                    <a:pt x="244" y="34"/>
                  </a:lnTo>
                  <a:lnTo>
                    <a:pt x="241" y="43"/>
                  </a:lnTo>
                  <a:lnTo>
                    <a:pt x="241" y="43"/>
                  </a:lnTo>
                  <a:lnTo>
                    <a:pt x="240" y="56"/>
                  </a:lnTo>
                  <a:lnTo>
                    <a:pt x="240" y="60"/>
                  </a:lnTo>
                  <a:lnTo>
                    <a:pt x="241" y="62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7" y="62"/>
                  </a:lnTo>
                  <a:lnTo>
                    <a:pt x="251" y="60"/>
                  </a:lnTo>
                  <a:lnTo>
                    <a:pt x="254" y="60"/>
                  </a:lnTo>
                  <a:lnTo>
                    <a:pt x="256" y="60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63" y="71"/>
                  </a:lnTo>
                  <a:lnTo>
                    <a:pt x="266" y="77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2" y="86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66" y="94"/>
                  </a:lnTo>
                  <a:lnTo>
                    <a:pt x="262" y="100"/>
                  </a:lnTo>
                  <a:lnTo>
                    <a:pt x="259" y="105"/>
                  </a:lnTo>
                  <a:lnTo>
                    <a:pt x="257" y="111"/>
                  </a:lnTo>
                  <a:lnTo>
                    <a:pt x="257" y="111"/>
                  </a:lnTo>
                  <a:lnTo>
                    <a:pt x="257" y="124"/>
                  </a:lnTo>
                  <a:lnTo>
                    <a:pt x="256" y="130"/>
                  </a:lnTo>
                  <a:lnTo>
                    <a:pt x="253" y="136"/>
                  </a:lnTo>
                  <a:lnTo>
                    <a:pt x="253" y="136"/>
                  </a:lnTo>
                  <a:lnTo>
                    <a:pt x="243" y="149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1" y="163"/>
                  </a:lnTo>
                  <a:lnTo>
                    <a:pt x="229" y="166"/>
                  </a:lnTo>
                  <a:lnTo>
                    <a:pt x="228" y="173"/>
                  </a:lnTo>
                  <a:lnTo>
                    <a:pt x="228" y="173"/>
                  </a:lnTo>
                  <a:lnTo>
                    <a:pt x="226" y="174"/>
                  </a:lnTo>
                  <a:lnTo>
                    <a:pt x="223" y="176"/>
                  </a:lnTo>
                  <a:lnTo>
                    <a:pt x="217" y="177"/>
                  </a:lnTo>
                  <a:lnTo>
                    <a:pt x="210" y="179"/>
                  </a:lnTo>
                  <a:lnTo>
                    <a:pt x="207" y="180"/>
                  </a:lnTo>
                  <a:lnTo>
                    <a:pt x="207" y="180"/>
                  </a:lnTo>
                  <a:lnTo>
                    <a:pt x="206" y="183"/>
                  </a:lnTo>
                  <a:lnTo>
                    <a:pt x="207" y="186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10" y="207"/>
                  </a:lnTo>
                  <a:lnTo>
                    <a:pt x="209" y="213"/>
                  </a:lnTo>
                  <a:lnTo>
                    <a:pt x="207" y="216"/>
                  </a:lnTo>
                  <a:lnTo>
                    <a:pt x="206" y="216"/>
                  </a:lnTo>
                  <a:lnTo>
                    <a:pt x="206" y="216"/>
                  </a:lnTo>
                  <a:lnTo>
                    <a:pt x="195" y="217"/>
                  </a:lnTo>
                  <a:lnTo>
                    <a:pt x="188" y="217"/>
                  </a:lnTo>
                  <a:lnTo>
                    <a:pt x="180" y="219"/>
                  </a:lnTo>
                  <a:lnTo>
                    <a:pt x="180" y="219"/>
                  </a:lnTo>
                  <a:lnTo>
                    <a:pt x="169" y="223"/>
                  </a:lnTo>
                  <a:lnTo>
                    <a:pt x="163" y="223"/>
                  </a:lnTo>
                  <a:lnTo>
                    <a:pt x="161" y="222"/>
                  </a:lnTo>
                  <a:lnTo>
                    <a:pt x="161" y="220"/>
                  </a:lnTo>
                  <a:lnTo>
                    <a:pt x="161" y="220"/>
                  </a:lnTo>
                  <a:lnTo>
                    <a:pt x="160" y="217"/>
                  </a:lnTo>
                  <a:lnTo>
                    <a:pt x="160" y="214"/>
                  </a:lnTo>
                  <a:lnTo>
                    <a:pt x="157" y="214"/>
                  </a:lnTo>
                  <a:lnTo>
                    <a:pt x="154" y="217"/>
                  </a:lnTo>
                  <a:lnTo>
                    <a:pt x="154" y="217"/>
                  </a:lnTo>
                  <a:lnTo>
                    <a:pt x="152" y="220"/>
                  </a:lnTo>
                  <a:lnTo>
                    <a:pt x="152" y="223"/>
                  </a:lnTo>
                  <a:lnTo>
                    <a:pt x="154" y="231"/>
                  </a:lnTo>
                  <a:lnTo>
                    <a:pt x="155" y="238"/>
                  </a:lnTo>
                  <a:lnTo>
                    <a:pt x="155" y="249"/>
                  </a:lnTo>
                  <a:lnTo>
                    <a:pt x="155" y="249"/>
                  </a:lnTo>
                  <a:lnTo>
                    <a:pt x="154" y="266"/>
                  </a:lnTo>
                  <a:lnTo>
                    <a:pt x="155" y="27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69" name="Freeform 148">
              <a:extLst>
                <a:ext uri="{FF2B5EF4-FFF2-40B4-BE49-F238E27FC236}">
                  <a16:creationId xmlns:a16="http://schemas.microsoft.com/office/drawing/2014/main" id="{6A6E634F-EA0B-A247-B325-2D5990B07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200" y="5594350"/>
              <a:ext cx="222250" cy="479425"/>
            </a:xfrm>
            <a:custGeom>
              <a:avLst/>
              <a:gdLst>
                <a:gd name="T0" fmla="*/ 0 w 140"/>
                <a:gd name="T1" fmla="*/ 40 h 302"/>
                <a:gd name="T2" fmla="*/ 6 w 140"/>
                <a:gd name="T3" fmla="*/ 39 h 302"/>
                <a:gd name="T4" fmla="*/ 18 w 140"/>
                <a:gd name="T5" fmla="*/ 45 h 302"/>
                <a:gd name="T6" fmla="*/ 23 w 140"/>
                <a:gd name="T7" fmla="*/ 48 h 302"/>
                <a:gd name="T8" fmla="*/ 37 w 140"/>
                <a:gd name="T9" fmla="*/ 52 h 302"/>
                <a:gd name="T10" fmla="*/ 41 w 140"/>
                <a:gd name="T11" fmla="*/ 54 h 302"/>
                <a:gd name="T12" fmla="*/ 49 w 140"/>
                <a:gd name="T13" fmla="*/ 62 h 302"/>
                <a:gd name="T14" fmla="*/ 53 w 140"/>
                <a:gd name="T15" fmla="*/ 67 h 302"/>
                <a:gd name="T16" fmla="*/ 59 w 140"/>
                <a:gd name="T17" fmla="*/ 70 h 302"/>
                <a:gd name="T18" fmla="*/ 75 w 140"/>
                <a:gd name="T19" fmla="*/ 82 h 302"/>
                <a:gd name="T20" fmla="*/ 84 w 140"/>
                <a:gd name="T21" fmla="*/ 94 h 302"/>
                <a:gd name="T22" fmla="*/ 93 w 140"/>
                <a:gd name="T23" fmla="*/ 113 h 302"/>
                <a:gd name="T24" fmla="*/ 93 w 140"/>
                <a:gd name="T25" fmla="*/ 117 h 302"/>
                <a:gd name="T26" fmla="*/ 89 w 140"/>
                <a:gd name="T27" fmla="*/ 135 h 302"/>
                <a:gd name="T28" fmla="*/ 81 w 140"/>
                <a:gd name="T29" fmla="*/ 153 h 302"/>
                <a:gd name="T30" fmla="*/ 74 w 140"/>
                <a:gd name="T31" fmla="*/ 159 h 302"/>
                <a:gd name="T32" fmla="*/ 65 w 140"/>
                <a:gd name="T33" fmla="*/ 165 h 302"/>
                <a:gd name="T34" fmla="*/ 53 w 140"/>
                <a:gd name="T35" fmla="*/ 171 h 302"/>
                <a:gd name="T36" fmla="*/ 52 w 140"/>
                <a:gd name="T37" fmla="*/ 175 h 302"/>
                <a:gd name="T38" fmla="*/ 55 w 140"/>
                <a:gd name="T39" fmla="*/ 184 h 302"/>
                <a:gd name="T40" fmla="*/ 62 w 140"/>
                <a:gd name="T41" fmla="*/ 190 h 302"/>
                <a:gd name="T42" fmla="*/ 75 w 140"/>
                <a:gd name="T43" fmla="*/ 200 h 302"/>
                <a:gd name="T44" fmla="*/ 83 w 140"/>
                <a:gd name="T45" fmla="*/ 205 h 302"/>
                <a:gd name="T46" fmla="*/ 86 w 140"/>
                <a:gd name="T47" fmla="*/ 202 h 302"/>
                <a:gd name="T48" fmla="*/ 93 w 140"/>
                <a:gd name="T49" fmla="*/ 191 h 302"/>
                <a:gd name="T50" fmla="*/ 99 w 140"/>
                <a:gd name="T51" fmla="*/ 190 h 302"/>
                <a:gd name="T52" fmla="*/ 100 w 140"/>
                <a:gd name="T53" fmla="*/ 190 h 302"/>
                <a:gd name="T54" fmla="*/ 109 w 140"/>
                <a:gd name="T55" fmla="*/ 197 h 302"/>
                <a:gd name="T56" fmla="*/ 108 w 140"/>
                <a:gd name="T57" fmla="*/ 205 h 302"/>
                <a:gd name="T58" fmla="*/ 98 w 140"/>
                <a:gd name="T59" fmla="*/ 211 h 302"/>
                <a:gd name="T60" fmla="*/ 93 w 140"/>
                <a:gd name="T61" fmla="*/ 218 h 302"/>
                <a:gd name="T62" fmla="*/ 93 w 140"/>
                <a:gd name="T63" fmla="*/ 221 h 302"/>
                <a:gd name="T64" fmla="*/ 98 w 140"/>
                <a:gd name="T65" fmla="*/ 227 h 302"/>
                <a:gd name="T66" fmla="*/ 105 w 140"/>
                <a:gd name="T67" fmla="*/ 233 h 302"/>
                <a:gd name="T68" fmla="*/ 108 w 140"/>
                <a:gd name="T69" fmla="*/ 236 h 302"/>
                <a:gd name="T70" fmla="*/ 114 w 140"/>
                <a:gd name="T71" fmla="*/ 237 h 302"/>
                <a:gd name="T72" fmla="*/ 117 w 140"/>
                <a:gd name="T73" fmla="*/ 237 h 302"/>
                <a:gd name="T74" fmla="*/ 127 w 140"/>
                <a:gd name="T75" fmla="*/ 233 h 302"/>
                <a:gd name="T76" fmla="*/ 132 w 140"/>
                <a:gd name="T77" fmla="*/ 236 h 302"/>
                <a:gd name="T78" fmla="*/ 139 w 140"/>
                <a:gd name="T79" fmla="*/ 248 h 302"/>
                <a:gd name="T80" fmla="*/ 138 w 140"/>
                <a:gd name="T81" fmla="*/ 252 h 302"/>
                <a:gd name="T82" fmla="*/ 127 w 140"/>
                <a:gd name="T83" fmla="*/ 265 h 302"/>
                <a:gd name="T84" fmla="*/ 127 w 140"/>
                <a:gd name="T85" fmla="*/ 268 h 302"/>
                <a:gd name="T86" fmla="*/ 135 w 140"/>
                <a:gd name="T87" fmla="*/ 271 h 302"/>
                <a:gd name="T88" fmla="*/ 140 w 140"/>
                <a:gd name="T89" fmla="*/ 274 h 302"/>
                <a:gd name="T90" fmla="*/ 140 w 140"/>
                <a:gd name="T91" fmla="*/ 277 h 302"/>
                <a:gd name="T92" fmla="*/ 136 w 140"/>
                <a:gd name="T93" fmla="*/ 285 h 302"/>
                <a:gd name="T94" fmla="*/ 135 w 140"/>
                <a:gd name="T95" fmla="*/ 289 h 302"/>
                <a:gd name="T96" fmla="*/ 133 w 140"/>
                <a:gd name="T9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0" h="302">
                  <a:moveTo>
                    <a:pt x="0" y="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3" y="48"/>
                  </a:lnTo>
                  <a:lnTo>
                    <a:pt x="28" y="51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4" y="57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53" y="67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9" y="76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84" y="94"/>
                  </a:lnTo>
                  <a:lnTo>
                    <a:pt x="90" y="102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3" y="117"/>
                  </a:lnTo>
                  <a:lnTo>
                    <a:pt x="92" y="123"/>
                  </a:lnTo>
                  <a:lnTo>
                    <a:pt x="89" y="135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78" y="156"/>
                  </a:lnTo>
                  <a:lnTo>
                    <a:pt x="74" y="159"/>
                  </a:lnTo>
                  <a:lnTo>
                    <a:pt x="65" y="165"/>
                  </a:lnTo>
                  <a:lnTo>
                    <a:pt x="65" y="165"/>
                  </a:lnTo>
                  <a:lnTo>
                    <a:pt x="58" y="168"/>
                  </a:lnTo>
                  <a:lnTo>
                    <a:pt x="53" y="171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81"/>
                  </a:lnTo>
                  <a:lnTo>
                    <a:pt x="55" y="184"/>
                  </a:lnTo>
                  <a:lnTo>
                    <a:pt x="62" y="190"/>
                  </a:lnTo>
                  <a:lnTo>
                    <a:pt x="62" y="19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80" y="205"/>
                  </a:lnTo>
                  <a:lnTo>
                    <a:pt x="83" y="205"/>
                  </a:lnTo>
                  <a:lnTo>
                    <a:pt x="86" y="202"/>
                  </a:lnTo>
                  <a:lnTo>
                    <a:pt x="86" y="202"/>
                  </a:lnTo>
                  <a:lnTo>
                    <a:pt x="90" y="196"/>
                  </a:lnTo>
                  <a:lnTo>
                    <a:pt x="93" y="191"/>
                  </a:lnTo>
                  <a:lnTo>
                    <a:pt x="96" y="190"/>
                  </a:lnTo>
                  <a:lnTo>
                    <a:pt x="99" y="190"/>
                  </a:lnTo>
                  <a:lnTo>
                    <a:pt x="100" y="190"/>
                  </a:lnTo>
                  <a:lnTo>
                    <a:pt x="100" y="190"/>
                  </a:lnTo>
                  <a:lnTo>
                    <a:pt x="106" y="194"/>
                  </a:lnTo>
                  <a:lnTo>
                    <a:pt x="109" y="197"/>
                  </a:lnTo>
                  <a:lnTo>
                    <a:pt x="109" y="200"/>
                  </a:lnTo>
                  <a:lnTo>
                    <a:pt x="108" y="205"/>
                  </a:lnTo>
                  <a:lnTo>
                    <a:pt x="108" y="205"/>
                  </a:lnTo>
                  <a:lnTo>
                    <a:pt x="98" y="211"/>
                  </a:lnTo>
                  <a:lnTo>
                    <a:pt x="95" y="215"/>
                  </a:lnTo>
                  <a:lnTo>
                    <a:pt x="93" y="218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5" y="224"/>
                  </a:lnTo>
                  <a:lnTo>
                    <a:pt x="98" y="227"/>
                  </a:lnTo>
                  <a:lnTo>
                    <a:pt x="100" y="230"/>
                  </a:lnTo>
                  <a:lnTo>
                    <a:pt x="105" y="233"/>
                  </a:lnTo>
                  <a:lnTo>
                    <a:pt x="105" y="233"/>
                  </a:lnTo>
                  <a:lnTo>
                    <a:pt x="108" y="236"/>
                  </a:lnTo>
                  <a:lnTo>
                    <a:pt x="111" y="237"/>
                  </a:lnTo>
                  <a:lnTo>
                    <a:pt x="114" y="237"/>
                  </a:lnTo>
                  <a:lnTo>
                    <a:pt x="117" y="237"/>
                  </a:lnTo>
                  <a:lnTo>
                    <a:pt x="117" y="237"/>
                  </a:lnTo>
                  <a:lnTo>
                    <a:pt x="124" y="233"/>
                  </a:lnTo>
                  <a:lnTo>
                    <a:pt x="127" y="233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8" y="245"/>
                  </a:lnTo>
                  <a:lnTo>
                    <a:pt x="139" y="248"/>
                  </a:lnTo>
                  <a:lnTo>
                    <a:pt x="138" y="252"/>
                  </a:lnTo>
                  <a:lnTo>
                    <a:pt x="138" y="252"/>
                  </a:lnTo>
                  <a:lnTo>
                    <a:pt x="129" y="261"/>
                  </a:lnTo>
                  <a:lnTo>
                    <a:pt x="127" y="265"/>
                  </a:lnTo>
                  <a:lnTo>
                    <a:pt x="127" y="268"/>
                  </a:lnTo>
                  <a:lnTo>
                    <a:pt x="127" y="268"/>
                  </a:lnTo>
                  <a:lnTo>
                    <a:pt x="127" y="268"/>
                  </a:lnTo>
                  <a:lnTo>
                    <a:pt x="135" y="271"/>
                  </a:lnTo>
                  <a:lnTo>
                    <a:pt x="139" y="273"/>
                  </a:lnTo>
                  <a:lnTo>
                    <a:pt x="140" y="274"/>
                  </a:lnTo>
                  <a:lnTo>
                    <a:pt x="140" y="274"/>
                  </a:lnTo>
                  <a:lnTo>
                    <a:pt x="140" y="277"/>
                  </a:lnTo>
                  <a:lnTo>
                    <a:pt x="140" y="279"/>
                  </a:lnTo>
                  <a:lnTo>
                    <a:pt x="136" y="285"/>
                  </a:lnTo>
                  <a:lnTo>
                    <a:pt x="136" y="285"/>
                  </a:lnTo>
                  <a:lnTo>
                    <a:pt x="135" y="289"/>
                  </a:lnTo>
                  <a:lnTo>
                    <a:pt x="135" y="295"/>
                  </a:lnTo>
                  <a:lnTo>
                    <a:pt x="133" y="30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0" name="Freeform 149">
              <a:extLst>
                <a:ext uri="{FF2B5EF4-FFF2-40B4-BE49-F238E27FC236}">
                  <a16:creationId xmlns:a16="http://schemas.microsoft.com/office/drawing/2014/main" id="{E777FF55-757F-D54A-BC32-5DD1F56BF6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9075" y="6096000"/>
              <a:ext cx="180975" cy="123825"/>
            </a:xfrm>
            <a:custGeom>
              <a:avLst/>
              <a:gdLst>
                <a:gd name="T0" fmla="*/ 0 w 114"/>
                <a:gd name="T1" fmla="*/ 22 h 78"/>
                <a:gd name="T2" fmla="*/ 0 w 114"/>
                <a:gd name="T3" fmla="*/ 22 h 78"/>
                <a:gd name="T4" fmla="*/ 14 w 114"/>
                <a:gd name="T5" fmla="*/ 7 h 78"/>
                <a:gd name="T6" fmla="*/ 14 w 114"/>
                <a:gd name="T7" fmla="*/ 7 h 78"/>
                <a:gd name="T8" fmla="*/ 19 w 114"/>
                <a:gd name="T9" fmla="*/ 1 h 78"/>
                <a:gd name="T10" fmla="*/ 22 w 114"/>
                <a:gd name="T11" fmla="*/ 0 h 78"/>
                <a:gd name="T12" fmla="*/ 25 w 114"/>
                <a:gd name="T13" fmla="*/ 0 h 78"/>
                <a:gd name="T14" fmla="*/ 27 w 114"/>
                <a:gd name="T15" fmla="*/ 3 h 78"/>
                <a:gd name="T16" fmla="*/ 27 w 114"/>
                <a:gd name="T17" fmla="*/ 3 h 78"/>
                <a:gd name="T18" fmla="*/ 34 w 114"/>
                <a:gd name="T19" fmla="*/ 10 h 78"/>
                <a:gd name="T20" fmla="*/ 36 w 114"/>
                <a:gd name="T21" fmla="*/ 12 h 78"/>
                <a:gd name="T22" fmla="*/ 39 w 114"/>
                <a:gd name="T23" fmla="*/ 12 h 78"/>
                <a:gd name="T24" fmla="*/ 39 w 114"/>
                <a:gd name="T25" fmla="*/ 12 h 78"/>
                <a:gd name="T26" fmla="*/ 42 w 114"/>
                <a:gd name="T27" fmla="*/ 9 h 78"/>
                <a:gd name="T28" fmla="*/ 43 w 114"/>
                <a:gd name="T29" fmla="*/ 7 h 78"/>
                <a:gd name="T30" fmla="*/ 45 w 114"/>
                <a:gd name="T31" fmla="*/ 6 h 78"/>
                <a:gd name="T32" fmla="*/ 48 w 114"/>
                <a:gd name="T33" fmla="*/ 6 h 78"/>
                <a:gd name="T34" fmla="*/ 48 w 114"/>
                <a:gd name="T35" fmla="*/ 6 h 78"/>
                <a:gd name="T36" fmla="*/ 52 w 114"/>
                <a:gd name="T37" fmla="*/ 9 h 78"/>
                <a:gd name="T38" fmla="*/ 57 w 114"/>
                <a:gd name="T39" fmla="*/ 13 h 78"/>
                <a:gd name="T40" fmla="*/ 59 w 114"/>
                <a:gd name="T41" fmla="*/ 16 h 78"/>
                <a:gd name="T42" fmla="*/ 65 w 114"/>
                <a:gd name="T43" fmla="*/ 19 h 78"/>
                <a:gd name="T44" fmla="*/ 65 w 114"/>
                <a:gd name="T45" fmla="*/ 19 h 78"/>
                <a:gd name="T46" fmla="*/ 83 w 114"/>
                <a:gd name="T47" fmla="*/ 19 h 78"/>
                <a:gd name="T48" fmla="*/ 96 w 114"/>
                <a:gd name="T49" fmla="*/ 19 h 78"/>
                <a:gd name="T50" fmla="*/ 96 w 114"/>
                <a:gd name="T51" fmla="*/ 19 h 78"/>
                <a:gd name="T52" fmla="*/ 99 w 114"/>
                <a:gd name="T53" fmla="*/ 28 h 78"/>
                <a:gd name="T54" fmla="*/ 105 w 114"/>
                <a:gd name="T55" fmla="*/ 49 h 78"/>
                <a:gd name="T56" fmla="*/ 114 w 114"/>
                <a:gd name="T57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4" h="78">
                  <a:moveTo>
                    <a:pt x="0" y="22"/>
                  </a:moveTo>
                  <a:lnTo>
                    <a:pt x="0" y="22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9" y="1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4" y="10"/>
                  </a:lnTo>
                  <a:lnTo>
                    <a:pt x="36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2" y="9"/>
                  </a:lnTo>
                  <a:lnTo>
                    <a:pt x="43" y="7"/>
                  </a:lnTo>
                  <a:lnTo>
                    <a:pt x="45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2" y="9"/>
                  </a:lnTo>
                  <a:lnTo>
                    <a:pt x="57" y="13"/>
                  </a:lnTo>
                  <a:lnTo>
                    <a:pt x="59" y="16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83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9" y="28"/>
                  </a:lnTo>
                  <a:lnTo>
                    <a:pt x="105" y="49"/>
                  </a:lnTo>
                  <a:lnTo>
                    <a:pt x="114" y="7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1" name="Freeform 150">
              <a:extLst>
                <a:ext uri="{FF2B5EF4-FFF2-40B4-BE49-F238E27FC236}">
                  <a16:creationId xmlns:a16="http://schemas.microsoft.com/office/drawing/2014/main" id="{BEDA51B7-5E8B-C744-8734-AF5A03851A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525" y="6064250"/>
              <a:ext cx="252413" cy="598487"/>
            </a:xfrm>
            <a:custGeom>
              <a:avLst/>
              <a:gdLst>
                <a:gd name="T0" fmla="*/ 9 w 159"/>
                <a:gd name="T1" fmla="*/ 8 h 377"/>
                <a:gd name="T2" fmla="*/ 23 w 159"/>
                <a:gd name="T3" fmla="*/ 3 h 377"/>
                <a:gd name="T4" fmla="*/ 39 w 159"/>
                <a:gd name="T5" fmla="*/ 0 h 377"/>
                <a:gd name="T6" fmla="*/ 51 w 159"/>
                <a:gd name="T7" fmla="*/ 5 h 377"/>
                <a:gd name="T8" fmla="*/ 57 w 159"/>
                <a:gd name="T9" fmla="*/ 6 h 377"/>
                <a:gd name="T10" fmla="*/ 67 w 159"/>
                <a:gd name="T11" fmla="*/ 5 h 377"/>
                <a:gd name="T12" fmla="*/ 70 w 159"/>
                <a:gd name="T13" fmla="*/ 15 h 377"/>
                <a:gd name="T14" fmla="*/ 72 w 159"/>
                <a:gd name="T15" fmla="*/ 24 h 377"/>
                <a:gd name="T16" fmla="*/ 79 w 159"/>
                <a:gd name="T17" fmla="*/ 26 h 377"/>
                <a:gd name="T18" fmla="*/ 97 w 159"/>
                <a:gd name="T19" fmla="*/ 20 h 377"/>
                <a:gd name="T20" fmla="*/ 98 w 159"/>
                <a:gd name="T21" fmla="*/ 14 h 377"/>
                <a:gd name="T22" fmla="*/ 106 w 159"/>
                <a:gd name="T23" fmla="*/ 3 h 377"/>
                <a:gd name="T24" fmla="*/ 112 w 159"/>
                <a:gd name="T25" fmla="*/ 6 h 377"/>
                <a:gd name="T26" fmla="*/ 112 w 159"/>
                <a:gd name="T27" fmla="*/ 21 h 377"/>
                <a:gd name="T28" fmla="*/ 113 w 159"/>
                <a:gd name="T29" fmla="*/ 33 h 377"/>
                <a:gd name="T30" fmla="*/ 119 w 159"/>
                <a:gd name="T31" fmla="*/ 39 h 377"/>
                <a:gd name="T32" fmla="*/ 131 w 159"/>
                <a:gd name="T33" fmla="*/ 39 h 377"/>
                <a:gd name="T34" fmla="*/ 135 w 159"/>
                <a:gd name="T35" fmla="*/ 48 h 377"/>
                <a:gd name="T36" fmla="*/ 138 w 159"/>
                <a:gd name="T37" fmla="*/ 70 h 377"/>
                <a:gd name="T38" fmla="*/ 147 w 159"/>
                <a:gd name="T39" fmla="*/ 83 h 377"/>
                <a:gd name="T40" fmla="*/ 147 w 159"/>
                <a:gd name="T41" fmla="*/ 89 h 377"/>
                <a:gd name="T42" fmla="*/ 132 w 159"/>
                <a:gd name="T43" fmla="*/ 104 h 377"/>
                <a:gd name="T44" fmla="*/ 123 w 159"/>
                <a:gd name="T45" fmla="*/ 122 h 377"/>
                <a:gd name="T46" fmla="*/ 119 w 159"/>
                <a:gd name="T47" fmla="*/ 140 h 377"/>
                <a:gd name="T48" fmla="*/ 120 w 159"/>
                <a:gd name="T49" fmla="*/ 154 h 377"/>
                <a:gd name="T50" fmla="*/ 122 w 159"/>
                <a:gd name="T51" fmla="*/ 160 h 377"/>
                <a:gd name="T52" fmla="*/ 129 w 159"/>
                <a:gd name="T53" fmla="*/ 174 h 377"/>
                <a:gd name="T54" fmla="*/ 149 w 159"/>
                <a:gd name="T55" fmla="*/ 186 h 377"/>
                <a:gd name="T56" fmla="*/ 156 w 159"/>
                <a:gd name="T57" fmla="*/ 192 h 377"/>
                <a:gd name="T58" fmla="*/ 128 w 159"/>
                <a:gd name="T59" fmla="*/ 192 h 377"/>
                <a:gd name="T60" fmla="*/ 125 w 159"/>
                <a:gd name="T61" fmla="*/ 209 h 377"/>
                <a:gd name="T62" fmla="*/ 123 w 159"/>
                <a:gd name="T63" fmla="*/ 236 h 377"/>
                <a:gd name="T64" fmla="*/ 122 w 159"/>
                <a:gd name="T65" fmla="*/ 270 h 377"/>
                <a:gd name="T66" fmla="*/ 119 w 159"/>
                <a:gd name="T67" fmla="*/ 274 h 377"/>
                <a:gd name="T68" fmla="*/ 100 w 159"/>
                <a:gd name="T69" fmla="*/ 276 h 377"/>
                <a:gd name="T70" fmla="*/ 92 w 159"/>
                <a:gd name="T71" fmla="*/ 269 h 377"/>
                <a:gd name="T72" fmla="*/ 77 w 159"/>
                <a:gd name="T73" fmla="*/ 276 h 377"/>
                <a:gd name="T74" fmla="*/ 72 w 159"/>
                <a:gd name="T75" fmla="*/ 274 h 377"/>
                <a:gd name="T76" fmla="*/ 63 w 159"/>
                <a:gd name="T77" fmla="*/ 266 h 377"/>
                <a:gd name="T78" fmla="*/ 60 w 159"/>
                <a:gd name="T79" fmla="*/ 267 h 377"/>
                <a:gd name="T80" fmla="*/ 60 w 159"/>
                <a:gd name="T81" fmla="*/ 280 h 377"/>
                <a:gd name="T82" fmla="*/ 58 w 159"/>
                <a:gd name="T83" fmla="*/ 294 h 377"/>
                <a:gd name="T84" fmla="*/ 64 w 159"/>
                <a:gd name="T85" fmla="*/ 307 h 377"/>
                <a:gd name="T86" fmla="*/ 70 w 159"/>
                <a:gd name="T87" fmla="*/ 313 h 377"/>
                <a:gd name="T88" fmla="*/ 63 w 159"/>
                <a:gd name="T89" fmla="*/ 317 h 377"/>
                <a:gd name="T90" fmla="*/ 36 w 159"/>
                <a:gd name="T91" fmla="*/ 322 h 377"/>
                <a:gd name="T92" fmla="*/ 14 w 159"/>
                <a:gd name="T93" fmla="*/ 332 h 377"/>
                <a:gd name="T94" fmla="*/ 9 w 159"/>
                <a:gd name="T95" fmla="*/ 343 h 377"/>
                <a:gd name="T96" fmla="*/ 15 w 159"/>
                <a:gd name="T97" fmla="*/ 34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9" h="377">
                  <a:moveTo>
                    <a:pt x="0" y="12"/>
                  </a:moveTo>
                  <a:lnTo>
                    <a:pt x="0" y="12"/>
                  </a:lnTo>
                  <a:lnTo>
                    <a:pt x="9" y="8"/>
                  </a:lnTo>
                  <a:lnTo>
                    <a:pt x="17" y="5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9" y="2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51" y="5"/>
                  </a:lnTo>
                  <a:lnTo>
                    <a:pt x="54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9"/>
                  </a:lnTo>
                  <a:lnTo>
                    <a:pt x="70" y="15"/>
                  </a:lnTo>
                  <a:lnTo>
                    <a:pt x="70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9" y="26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97" y="20"/>
                  </a:lnTo>
                  <a:lnTo>
                    <a:pt x="98" y="17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100" y="9"/>
                  </a:lnTo>
                  <a:lnTo>
                    <a:pt x="103" y="6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12" y="6"/>
                  </a:lnTo>
                  <a:lnTo>
                    <a:pt x="113" y="11"/>
                  </a:lnTo>
                  <a:lnTo>
                    <a:pt x="113" y="15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9"/>
                  </a:lnTo>
                  <a:lnTo>
                    <a:pt x="113" y="33"/>
                  </a:lnTo>
                  <a:lnTo>
                    <a:pt x="116" y="37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23" y="39"/>
                  </a:lnTo>
                  <a:lnTo>
                    <a:pt x="126" y="39"/>
                  </a:lnTo>
                  <a:lnTo>
                    <a:pt x="131" y="39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5" y="48"/>
                  </a:lnTo>
                  <a:lnTo>
                    <a:pt x="137" y="55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41" y="76"/>
                  </a:lnTo>
                  <a:lnTo>
                    <a:pt x="144" y="80"/>
                  </a:lnTo>
                  <a:lnTo>
                    <a:pt x="147" y="83"/>
                  </a:lnTo>
                  <a:lnTo>
                    <a:pt x="150" y="85"/>
                  </a:lnTo>
                  <a:lnTo>
                    <a:pt x="150" y="85"/>
                  </a:lnTo>
                  <a:lnTo>
                    <a:pt x="147" y="89"/>
                  </a:lnTo>
                  <a:lnTo>
                    <a:pt x="141" y="9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28" y="109"/>
                  </a:lnTo>
                  <a:lnTo>
                    <a:pt x="126" y="113"/>
                  </a:lnTo>
                  <a:lnTo>
                    <a:pt x="123" y="122"/>
                  </a:lnTo>
                  <a:lnTo>
                    <a:pt x="123" y="122"/>
                  </a:lnTo>
                  <a:lnTo>
                    <a:pt x="122" y="132"/>
                  </a:lnTo>
                  <a:lnTo>
                    <a:pt x="119" y="140"/>
                  </a:lnTo>
                  <a:lnTo>
                    <a:pt x="117" y="147"/>
                  </a:lnTo>
                  <a:lnTo>
                    <a:pt x="119" y="150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7"/>
                  </a:lnTo>
                  <a:lnTo>
                    <a:pt x="122" y="160"/>
                  </a:lnTo>
                  <a:lnTo>
                    <a:pt x="122" y="163"/>
                  </a:lnTo>
                  <a:lnTo>
                    <a:pt x="122" y="168"/>
                  </a:lnTo>
                  <a:lnTo>
                    <a:pt x="129" y="174"/>
                  </a:lnTo>
                  <a:lnTo>
                    <a:pt x="129" y="174"/>
                  </a:lnTo>
                  <a:lnTo>
                    <a:pt x="138" y="181"/>
                  </a:lnTo>
                  <a:lnTo>
                    <a:pt x="149" y="186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6" y="192"/>
                  </a:lnTo>
                  <a:lnTo>
                    <a:pt x="146" y="192"/>
                  </a:lnTo>
                  <a:lnTo>
                    <a:pt x="134" y="192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6" y="197"/>
                  </a:lnTo>
                  <a:lnTo>
                    <a:pt x="125" y="209"/>
                  </a:lnTo>
                  <a:lnTo>
                    <a:pt x="122" y="223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5" y="249"/>
                  </a:lnTo>
                  <a:lnTo>
                    <a:pt x="123" y="261"/>
                  </a:lnTo>
                  <a:lnTo>
                    <a:pt x="122" y="270"/>
                  </a:lnTo>
                  <a:lnTo>
                    <a:pt x="120" y="273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0" y="277"/>
                  </a:lnTo>
                  <a:lnTo>
                    <a:pt x="104" y="277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95" y="270"/>
                  </a:lnTo>
                  <a:lnTo>
                    <a:pt x="92" y="269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77" y="276"/>
                  </a:lnTo>
                  <a:lnTo>
                    <a:pt x="74" y="276"/>
                  </a:lnTo>
                  <a:lnTo>
                    <a:pt x="72" y="274"/>
                  </a:lnTo>
                  <a:lnTo>
                    <a:pt x="72" y="274"/>
                  </a:lnTo>
                  <a:lnTo>
                    <a:pt x="67" y="269"/>
                  </a:lnTo>
                  <a:lnTo>
                    <a:pt x="64" y="266"/>
                  </a:lnTo>
                  <a:lnTo>
                    <a:pt x="63" y="266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7"/>
                  </a:lnTo>
                  <a:lnTo>
                    <a:pt x="58" y="270"/>
                  </a:lnTo>
                  <a:lnTo>
                    <a:pt x="58" y="274"/>
                  </a:lnTo>
                  <a:lnTo>
                    <a:pt x="60" y="280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58" y="294"/>
                  </a:lnTo>
                  <a:lnTo>
                    <a:pt x="58" y="300"/>
                  </a:lnTo>
                  <a:lnTo>
                    <a:pt x="60" y="304"/>
                  </a:lnTo>
                  <a:lnTo>
                    <a:pt x="64" y="307"/>
                  </a:lnTo>
                  <a:lnTo>
                    <a:pt x="64" y="307"/>
                  </a:lnTo>
                  <a:lnTo>
                    <a:pt x="67" y="310"/>
                  </a:lnTo>
                  <a:lnTo>
                    <a:pt x="70" y="313"/>
                  </a:lnTo>
                  <a:lnTo>
                    <a:pt x="70" y="314"/>
                  </a:lnTo>
                  <a:lnTo>
                    <a:pt x="69" y="314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51" y="319"/>
                  </a:lnTo>
                  <a:lnTo>
                    <a:pt x="36" y="322"/>
                  </a:lnTo>
                  <a:lnTo>
                    <a:pt x="21" y="328"/>
                  </a:lnTo>
                  <a:lnTo>
                    <a:pt x="17" y="329"/>
                  </a:lnTo>
                  <a:lnTo>
                    <a:pt x="14" y="332"/>
                  </a:lnTo>
                  <a:lnTo>
                    <a:pt x="14" y="332"/>
                  </a:lnTo>
                  <a:lnTo>
                    <a:pt x="11" y="337"/>
                  </a:lnTo>
                  <a:lnTo>
                    <a:pt x="9" y="343"/>
                  </a:lnTo>
                  <a:lnTo>
                    <a:pt x="12" y="346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36" y="359"/>
                  </a:lnTo>
                  <a:lnTo>
                    <a:pt x="39" y="37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2" name="Freeform 151">
              <a:extLst>
                <a:ext uri="{FF2B5EF4-FFF2-40B4-BE49-F238E27FC236}">
                  <a16:creationId xmlns:a16="http://schemas.microsoft.com/office/drawing/2014/main" id="{1072CA27-DFD8-C24C-B516-109D816A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4388" y="5564188"/>
              <a:ext cx="660400" cy="674687"/>
            </a:xfrm>
            <a:custGeom>
              <a:avLst/>
              <a:gdLst>
                <a:gd name="T0" fmla="*/ 413 w 416"/>
                <a:gd name="T1" fmla="*/ 13 h 425"/>
                <a:gd name="T2" fmla="*/ 415 w 416"/>
                <a:gd name="T3" fmla="*/ 28 h 425"/>
                <a:gd name="T4" fmla="*/ 410 w 416"/>
                <a:gd name="T5" fmla="*/ 41 h 425"/>
                <a:gd name="T6" fmla="*/ 412 w 416"/>
                <a:gd name="T7" fmla="*/ 56 h 425"/>
                <a:gd name="T8" fmla="*/ 412 w 416"/>
                <a:gd name="T9" fmla="*/ 81 h 425"/>
                <a:gd name="T10" fmla="*/ 396 w 416"/>
                <a:gd name="T11" fmla="*/ 92 h 425"/>
                <a:gd name="T12" fmla="*/ 375 w 416"/>
                <a:gd name="T13" fmla="*/ 110 h 425"/>
                <a:gd name="T14" fmla="*/ 367 w 416"/>
                <a:gd name="T15" fmla="*/ 126 h 425"/>
                <a:gd name="T16" fmla="*/ 370 w 416"/>
                <a:gd name="T17" fmla="*/ 141 h 425"/>
                <a:gd name="T18" fmla="*/ 367 w 416"/>
                <a:gd name="T19" fmla="*/ 163 h 425"/>
                <a:gd name="T20" fmla="*/ 351 w 416"/>
                <a:gd name="T21" fmla="*/ 187 h 425"/>
                <a:gd name="T22" fmla="*/ 335 w 416"/>
                <a:gd name="T23" fmla="*/ 187 h 425"/>
                <a:gd name="T24" fmla="*/ 320 w 416"/>
                <a:gd name="T25" fmla="*/ 178 h 425"/>
                <a:gd name="T26" fmla="*/ 296 w 416"/>
                <a:gd name="T27" fmla="*/ 176 h 425"/>
                <a:gd name="T28" fmla="*/ 271 w 416"/>
                <a:gd name="T29" fmla="*/ 188 h 425"/>
                <a:gd name="T30" fmla="*/ 271 w 416"/>
                <a:gd name="T31" fmla="*/ 204 h 425"/>
                <a:gd name="T32" fmla="*/ 283 w 416"/>
                <a:gd name="T33" fmla="*/ 218 h 425"/>
                <a:gd name="T34" fmla="*/ 283 w 416"/>
                <a:gd name="T35" fmla="*/ 228 h 425"/>
                <a:gd name="T36" fmla="*/ 273 w 416"/>
                <a:gd name="T37" fmla="*/ 255 h 425"/>
                <a:gd name="T38" fmla="*/ 271 w 416"/>
                <a:gd name="T39" fmla="*/ 280 h 425"/>
                <a:gd name="T40" fmla="*/ 273 w 416"/>
                <a:gd name="T41" fmla="*/ 299 h 425"/>
                <a:gd name="T42" fmla="*/ 285 w 416"/>
                <a:gd name="T43" fmla="*/ 318 h 425"/>
                <a:gd name="T44" fmla="*/ 293 w 416"/>
                <a:gd name="T45" fmla="*/ 327 h 425"/>
                <a:gd name="T46" fmla="*/ 293 w 416"/>
                <a:gd name="T47" fmla="*/ 348 h 425"/>
                <a:gd name="T48" fmla="*/ 293 w 416"/>
                <a:gd name="T49" fmla="*/ 364 h 425"/>
                <a:gd name="T50" fmla="*/ 310 w 416"/>
                <a:gd name="T51" fmla="*/ 358 h 425"/>
                <a:gd name="T52" fmla="*/ 323 w 416"/>
                <a:gd name="T53" fmla="*/ 351 h 425"/>
                <a:gd name="T54" fmla="*/ 329 w 416"/>
                <a:gd name="T55" fmla="*/ 355 h 425"/>
                <a:gd name="T56" fmla="*/ 304 w 416"/>
                <a:gd name="T57" fmla="*/ 382 h 425"/>
                <a:gd name="T58" fmla="*/ 267 w 416"/>
                <a:gd name="T59" fmla="*/ 407 h 425"/>
                <a:gd name="T60" fmla="*/ 239 w 416"/>
                <a:gd name="T61" fmla="*/ 397 h 425"/>
                <a:gd name="T62" fmla="*/ 231 w 416"/>
                <a:gd name="T63" fmla="*/ 410 h 425"/>
                <a:gd name="T64" fmla="*/ 218 w 416"/>
                <a:gd name="T65" fmla="*/ 425 h 425"/>
                <a:gd name="T66" fmla="*/ 197 w 416"/>
                <a:gd name="T67" fmla="*/ 421 h 425"/>
                <a:gd name="T68" fmla="*/ 184 w 416"/>
                <a:gd name="T69" fmla="*/ 401 h 425"/>
                <a:gd name="T70" fmla="*/ 179 w 416"/>
                <a:gd name="T71" fmla="*/ 372 h 425"/>
                <a:gd name="T72" fmla="*/ 169 w 416"/>
                <a:gd name="T73" fmla="*/ 360 h 425"/>
                <a:gd name="T74" fmla="*/ 165 w 416"/>
                <a:gd name="T75" fmla="*/ 361 h 425"/>
                <a:gd name="T76" fmla="*/ 157 w 416"/>
                <a:gd name="T77" fmla="*/ 351 h 425"/>
                <a:gd name="T78" fmla="*/ 159 w 416"/>
                <a:gd name="T79" fmla="*/ 326 h 425"/>
                <a:gd name="T80" fmla="*/ 159 w 416"/>
                <a:gd name="T81" fmla="*/ 311 h 425"/>
                <a:gd name="T82" fmla="*/ 117 w 416"/>
                <a:gd name="T83" fmla="*/ 317 h 425"/>
                <a:gd name="T84" fmla="*/ 110 w 416"/>
                <a:gd name="T85" fmla="*/ 320 h 425"/>
                <a:gd name="T86" fmla="*/ 86 w 416"/>
                <a:gd name="T87" fmla="*/ 310 h 425"/>
                <a:gd name="T88" fmla="*/ 76 w 416"/>
                <a:gd name="T89" fmla="*/ 311 h 425"/>
                <a:gd name="T90" fmla="*/ 43 w 416"/>
                <a:gd name="T91" fmla="*/ 280 h 425"/>
                <a:gd name="T92" fmla="*/ 54 w 416"/>
                <a:gd name="T93" fmla="*/ 264 h 425"/>
                <a:gd name="T94" fmla="*/ 70 w 416"/>
                <a:gd name="T95" fmla="*/ 240 h 425"/>
                <a:gd name="T96" fmla="*/ 70 w 416"/>
                <a:gd name="T97" fmla="*/ 234 h 425"/>
                <a:gd name="T98" fmla="*/ 51 w 416"/>
                <a:gd name="T99" fmla="*/ 233 h 425"/>
                <a:gd name="T100" fmla="*/ 34 w 416"/>
                <a:gd name="T101" fmla="*/ 209 h 425"/>
                <a:gd name="T102" fmla="*/ 39 w 416"/>
                <a:gd name="T103" fmla="*/ 198 h 425"/>
                <a:gd name="T104" fmla="*/ 55 w 416"/>
                <a:gd name="T105" fmla="*/ 182 h 425"/>
                <a:gd name="T106" fmla="*/ 61 w 416"/>
                <a:gd name="T107" fmla="*/ 163 h 425"/>
                <a:gd name="T108" fmla="*/ 65 w 416"/>
                <a:gd name="T109" fmla="*/ 153 h 425"/>
                <a:gd name="T110" fmla="*/ 40 w 416"/>
                <a:gd name="T111" fmla="*/ 121 h 425"/>
                <a:gd name="T112" fmla="*/ 24 w 416"/>
                <a:gd name="T113" fmla="*/ 108 h 425"/>
                <a:gd name="T114" fmla="*/ 15 w 416"/>
                <a:gd name="T115" fmla="*/ 116 h 425"/>
                <a:gd name="T116" fmla="*/ 5 w 416"/>
                <a:gd name="T117" fmla="*/ 105 h 425"/>
                <a:gd name="T118" fmla="*/ 2 w 416"/>
                <a:gd name="T119" fmla="*/ 93 h 425"/>
                <a:gd name="T120" fmla="*/ 12 w 416"/>
                <a:gd name="T121" fmla="*/ 86 h 425"/>
                <a:gd name="T122" fmla="*/ 6 w 416"/>
                <a:gd name="T123" fmla="*/ 73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6" h="425">
                  <a:moveTo>
                    <a:pt x="416" y="0"/>
                  </a:moveTo>
                  <a:lnTo>
                    <a:pt x="416" y="0"/>
                  </a:lnTo>
                  <a:lnTo>
                    <a:pt x="415" y="7"/>
                  </a:lnTo>
                  <a:lnTo>
                    <a:pt x="413" y="13"/>
                  </a:lnTo>
                  <a:lnTo>
                    <a:pt x="413" y="19"/>
                  </a:lnTo>
                  <a:lnTo>
                    <a:pt x="413" y="19"/>
                  </a:lnTo>
                  <a:lnTo>
                    <a:pt x="415" y="24"/>
                  </a:lnTo>
                  <a:lnTo>
                    <a:pt x="415" y="28"/>
                  </a:lnTo>
                  <a:lnTo>
                    <a:pt x="415" y="33"/>
                  </a:lnTo>
                  <a:lnTo>
                    <a:pt x="413" y="37"/>
                  </a:lnTo>
                  <a:lnTo>
                    <a:pt x="413" y="37"/>
                  </a:lnTo>
                  <a:lnTo>
                    <a:pt x="410" y="41"/>
                  </a:lnTo>
                  <a:lnTo>
                    <a:pt x="409" y="44"/>
                  </a:lnTo>
                  <a:lnTo>
                    <a:pt x="409" y="49"/>
                  </a:lnTo>
                  <a:lnTo>
                    <a:pt x="412" y="56"/>
                  </a:lnTo>
                  <a:lnTo>
                    <a:pt x="412" y="56"/>
                  </a:lnTo>
                  <a:lnTo>
                    <a:pt x="413" y="65"/>
                  </a:lnTo>
                  <a:lnTo>
                    <a:pt x="415" y="74"/>
                  </a:lnTo>
                  <a:lnTo>
                    <a:pt x="415" y="78"/>
                  </a:lnTo>
                  <a:lnTo>
                    <a:pt x="412" y="81"/>
                  </a:lnTo>
                  <a:lnTo>
                    <a:pt x="410" y="84"/>
                  </a:lnTo>
                  <a:lnTo>
                    <a:pt x="406" y="87"/>
                  </a:lnTo>
                  <a:lnTo>
                    <a:pt x="406" y="87"/>
                  </a:lnTo>
                  <a:lnTo>
                    <a:pt x="396" y="92"/>
                  </a:lnTo>
                  <a:lnTo>
                    <a:pt x="387" y="98"/>
                  </a:lnTo>
                  <a:lnTo>
                    <a:pt x="379" y="105"/>
                  </a:lnTo>
                  <a:lnTo>
                    <a:pt x="375" y="110"/>
                  </a:lnTo>
                  <a:lnTo>
                    <a:pt x="375" y="110"/>
                  </a:lnTo>
                  <a:lnTo>
                    <a:pt x="373" y="114"/>
                  </a:lnTo>
                  <a:lnTo>
                    <a:pt x="370" y="118"/>
                  </a:lnTo>
                  <a:lnTo>
                    <a:pt x="369" y="123"/>
                  </a:lnTo>
                  <a:lnTo>
                    <a:pt x="367" y="126"/>
                  </a:lnTo>
                  <a:lnTo>
                    <a:pt x="367" y="126"/>
                  </a:lnTo>
                  <a:lnTo>
                    <a:pt x="370" y="132"/>
                  </a:lnTo>
                  <a:lnTo>
                    <a:pt x="372" y="135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69" y="151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5" y="172"/>
                  </a:lnTo>
                  <a:lnTo>
                    <a:pt x="359" y="181"/>
                  </a:lnTo>
                  <a:lnTo>
                    <a:pt x="356" y="185"/>
                  </a:lnTo>
                  <a:lnTo>
                    <a:pt x="351" y="187"/>
                  </a:lnTo>
                  <a:lnTo>
                    <a:pt x="347" y="190"/>
                  </a:lnTo>
                  <a:lnTo>
                    <a:pt x="342" y="190"/>
                  </a:lnTo>
                  <a:lnTo>
                    <a:pt x="342" y="190"/>
                  </a:lnTo>
                  <a:lnTo>
                    <a:pt x="335" y="187"/>
                  </a:lnTo>
                  <a:lnTo>
                    <a:pt x="329" y="184"/>
                  </a:lnTo>
                  <a:lnTo>
                    <a:pt x="325" y="181"/>
                  </a:lnTo>
                  <a:lnTo>
                    <a:pt x="320" y="178"/>
                  </a:lnTo>
                  <a:lnTo>
                    <a:pt x="320" y="178"/>
                  </a:lnTo>
                  <a:lnTo>
                    <a:pt x="314" y="175"/>
                  </a:lnTo>
                  <a:lnTo>
                    <a:pt x="310" y="173"/>
                  </a:lnTo>
                  <a:lnTo>
                    <a:pt x="304" y="173"/>
                  </a:lnTo>
                  <a:lnTo>
                    <a:pt x="296" y="176"/>
                  </a:lnTo>
                  <a:lnTo>
                    <a:pt x="296" y="176"/>
                  </a:lnTo>
                  <a:lnTo>
                    <a:pt x="280" y="182"/>
                  </a:lnTo>
                  <a:lnTo>
                    <a:pt x="274" y="184"/>
                  </a:lnTo>
                  <a:lnTo>
                    <a:pt x="271" y="188"/>
                  </a:lnTo>
                  <a:lnTo>
                    <a:pt x="271" y="188"/>
                  </a:lnTo>
                  <a:lnTo>
                    <a:pt x="270" y="193"/>
                  </a:lnTo>
                  <a:lnTo>
                    <a:pt x="270" y="200"/>
                  </a:lnTo>
                  <a:lnTo>
                    <a:pt x="271" y="204"/>
                  </a:lnTo>
                  <a:lnTo>
                    <a:pt x="274" y="209"/>
                  </a:lnTo>
                  <a:lnTo>
                    <a:pt x="274" y="209"/>
                  </a:lnTo>
                  <a:lnTo>
                    <a:pt x="279" y="213"/>
                  </a:lnTo>
                  <a:lnTo>
                    <a:pt x="283" y="218"/>
                  </a:lnTo>
                  <a:lnTo>
                    <a:pt x="285" y="222"/>
                  </a:lnTo>
                  <a:lnTo>
                    <a:pt x="285" y="225"/>
                  </a:lnTo>
                  <a:lnTo>
                    <a:pt x="283" y="228"/>
                  </a:lnTo>
                  <a:lnTo>
                    <a:pt x="283" y="228"/>
                  </a:lnTo>
                  <a:lnTo>
                    <a:pt x="277" y="237"/>
                  </a:lnTo>
                  <a:lnTo>
                    <a:pt x="276" y="243"/>
                  </a:lnTo>
                  <a:lnTo>
                    <a:pt x="276" y="243"/>
                  </a:lnTo>
                  <a:lnTo>
                    <a:pt x="273" y="255"/>
                  </a:lnTo>
                  <a:lnTo>
                    <a:pt x="271" y="264"/>
                  </a:lnTo>
                  <a:lnTo>
                    <a:pt x="270" y="273"/>
                  </a:lnTo>
                  <a:lnTo>
                    <a:pt x="270" y="273"/>
                  </a:lnTo>
                  <a:lnTo>
                    <a:pt x="271" y="280"/>
                  </a:lnTo>
                  <a:lnTo>
                    <a:pt x="273" y="287"/>
                  </a:lnTo>
                  <a:lnTo>
                    <a:pt x="273" y="293"/>
                  </a:lnTo>
                  <a:lnTo>
                    <a:pt x="273" y="299"/>
                  </a:lnTo>
                  <a:lnTo>
                    <a:pt x="273" y="299"/>
                  </a:lnTo>
                  <a:lnTo>
                    <a:pt x="273" y="304"/>
                  </a:lnTo>
                  <a:lnTo>
                    <a:pt x="274" y="310"/>
                  </a:lnTo>
                  <a:lnTo>
                    <a:pt x="279" y="314"/>
                  </a:lnTo>
                  <a:lnTo>
                    <a:pt x="285" y="318"/>
                  </a:lnTo>
                  <a:lnTo>
                    <a:pt x="285" y="318"/>
                  </a:lnTo>
                  <a:lnTo>
                    <a:pt x="290" y="323"/>
                  </a:lnTo>
                  <a:lnTo>
                    <a:pt x="293" y="327"/>
                  </a:lnTo>
                  <a:lnTo>
                    <a:pt x="293" y="327"/>
                  </a:lnTo>
                  <a:lnTo>
                    <a:pt x="295" y="333"/>
                  </a:lnTo>
                  <a:lnTo>
                    <a:pt x="295" y="339"/>
                  </a:lnTo>
                  <a:lnTo>
                    <a:pt x="295" y="339"/>
                  </a:lnTo>
                  <a:lnTo>
                    <a:pt x="293" y="348"/>
                  </a:lnTo>
                  <a:lnTo>
                    <a:pt x="292" y="355"/>
                  </a:lnTo>
                  <a:lnTo>
                    <a:pt x="292" y="361"/>
                  </a:lnTo>
                  <a:lnTo>
                    <a:pt x="292" y="363"/>
                  </a:lnTo>
                  <a:lnTo>
                    <a:pt x="293" y="364"/>
                  </a:lnTo>
                  <a:lnTo>
                    <a:pt x="293" y="364"/>
                  </a:lnTo>
                  <a:lnTo>
                    <a:pt x="298" y="366"/>
                  </a:lnTo>
                  <a:lnTo>
                    <a:pt x="302" y="364"/>
                  </a:lnTo>
                  <a:lnTo>
                    <a:pt x="310" y="358"/>
                  </a:lnTo>
                  <a:lnTo>
                    <a:pt x="310" y="358"/>
                  </a:lnTo>
                  <a:lnTo>
                    <a:pt x="314" y="355"/>
                  </a:lnTo>
                  <a:lnTo>
                    <a:pt x="320" y="352"/>
                  </a:lnTo>
                  <a:lnTo>
                    <a:pt x="323" y="351"/>
                  </a:lnTo>
                  <a:lnTo>
                    <a:pt x="326" y="351"/>
                  </a:lnTo>
                  <a:lnTo>
                    <a:pt x="328" y="352"/>
                  </a:lnTo>
                  <a:lnTo>
                    <a:pt x="329" y="355"/>
                  </a:lnTo>
                  <a:lnTo>
                    <a:pt x="329" y="355"/>
                  </a:lnTo>
                  <a:lnTo>
                    <a:pt x="329" y="357"/>
                  </a:lnTo>
                  <a:lnTo>
                    <a:pt x="328" y="360"/>
                  </a:lnTo>
                  <a:lnTo>
                    <a:pt x="322" y="367"/>
                  </a:lnTo>
                  <a:lnTo>
                    <a:pt x="304" y="382"/>
                  </a:lnTo>
                  <a:lnTo>
                    <a:pt x="285" y="397"/>
                  </a:lnTo>
                  <a:lnTo>
                    <a:pt x="271" y="406"/>
                  </a:lnTo>
                  <a:lnTo>
                    <a:pt x="271" y="406"/>
                  </a:lnTo>
                  <a:lnTo>
                    <a:pt x="267" y="407"/>
                  </a:lnTo>
                  <a:lnTo>
                    <a:pt x="259" y="406"/>
                  </a:lnTo>
                  <a:lnTo>
                    <a:pt x="248" y="400"/>
                  </a:lnTo>
                  <a:lnTo>
                    <a:pt x="243" y="398"/>
                  </a:lnTo>
                  <a:lnTo>
                    <a:pt x="239" y="397"/>
                  </a:lnTo>
                  <a:lnTo>
                    <a:pt x="236" y="398"/>
                  </a:lnTo>
                  <a:lnTo>
                    <a:pt x="233" y="403"/>
                  </a:lnTo>
                  <a:lnTo>
                    <a:pt x="233" y="403"/>
                  </a:lnTo>
                  <a:lnTo>
                    <a:pt x="231" y="410"/>
                  </a:lnTo>
                  <a:lnTo>
                    <a:pt x="227" y="416"/>
                  </a:lnTo>
                  <a:lnTo>
                    <a:pt x="222" y="422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3" y="425"/>
                  </a:lnTo>
                  <a:lnTo>
                    <a:pt x="209" y="425"/>
                  </a:lnTo>
                  <a:lnTo>
                    <a:pt x="203" y="424"/>
                  </a:lnTo>
                  <a:lnTo>
                    <a:pt x="197" y="421"/>
                  </a:lnTo>
                  <a:lnTo>
                    <a:pt x="193" y="418"/>
                  </a:lnTo>
                  <a:lnTo>
                    <a:pt x="188" y="413"/>
                  </a:lnTo>
                  <a:lnTo>
                    <a:pt x="185" y="407"/>
                  </a:lnTo>
                  <a:lnTo>
                    <a:pt x="184" y="401"/>
                  </a:lnTo>
                  <a:lnTo>
                    <a:pt x="184" y="401"/>
                  </a:lnTo>
                  <a:lnTo>
                    <a:pt x="184" y="391"/>
                  </a:lnTo>
                  <a:lnTo>
                    <a:pt x="182" y="381"/>
                  </a:lnTo>
                  <a:lnTo>
                    <a:pt x="179" y="372"/>
                  </a:lnTo>
                  <a:lnTo>
                    <a:pt x="176" y="366"/>
                  </a:lnTo>
                  <a:lnTo>
                    <a:pt x="176" y="366"/>
                  </a:lnTo>
                  <a:lnTo>
                    <a:pt x="174" y="363"/>
                  </a:lnTo>
                  <a:lnTo>
                    <a:pt x="169" y="360"/>
                  </a:lnTo>
                  <a:lnTo>
                    <a:pt x="166" y="360"/>
                  </a:lnTo>
                  <a:lnTo>
                    <a:pt x="165" y="360"/>
                  </a:lnTo>
                  <a:lnTo>
                    <a:pt x="165" y="361"/>
                  </a:lnTo>
                  <a:lnTo>
                    <a:pt x="165" y="361"/>
                  </a:lnTo>
                  <a:lnTo>
                    <a:pt x="165" y="364"/>
                  </a:lnTo>
                  <a:lnTo>
                    <a:pt x="163" y="363"/>
                  </a:lnTo>
                  <a:lnTo>
                    <a:pt x="160" y="358"/>
                  </a:lnTo>
                  <a:lnTo>
                    <a:pt x="157" y="351"/>
                  </a:lnTo>
                  <a:lnTo>
                    <a:pt x="156" y="344"/>
                  </a:lnTo>
                  <a:lnTo>
                    <a:pt x="156" y="344"/>
                  </a:lnTo>
                  <a:lnTo>
                    <a:pt x="157" y="336"/>
                  </a:lnTo>
                  <a:lnTo>
                    <a:pt x="159" y="326"/>
                  </a:lnTo>
                  <a:lnTo>
                    <a:pt x="160" y="317"/>
                  </a:lnTo>
                  <a:lnTo>
                    <a:pt x="160" y="312"/>
                  </a:lnTo>
                  <a:lnTo>
                    <a:pt x="159" y="311"/>
                  </a:lnTo>
                  <a:lnTo>
                    <a:pt x="159" y="311"/>
                  </a:lnTo>
                  <a:lnTo>
                    <a:pt x="141" y="287"/>
                  </a:lnTo>
                  <a:lnTo>
                    <a:pt x="141" y="287"/>
                  </a:lnTo>
                  <a:lnTo>
                    <a:pt x="128" y="305"/>
                  </a:lnTo>
                  <a:lnTo>
                    <a:pt x="117" y="317"/>
                  </a:lnTo>
                  <a:lnTo>
                    <a:pt x="113" y="320"/>
                  </a:lnTo>
                  <a:lnTo>
                    <a:pt x="111" y="320"/>
                  </a:lnTo>
                  <a:lnTo>
                    <a:pt x="110" y="320"/>
                  </a:lnTo>
                  <a:lnTo>
                    <a:pt x="110" y="320"/>
                  </a:lnTo>
                  <a:lnTo>
                    <a:pt x="99" y="311"/>
                  </a:lnTo>
                  <a:lnTo>
                    <a:pt x="91" y="305"/>
                  </a:lnTo>
                  <a:lnTo>
                    <a:pt x="91" y="305"/>
                  </a:lnTo>
                  <a:lnTo>
                    <a:pt x="86" y="310"/>
                  </a:lnTo>
                  <a:lnTo>
                    <a:pt x="82" y="312"/>
                  </a:lnTo>
                  <a:lnTo>
                    <a:pt x="79" y="312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65" y="305"/>
                  </a:lnTo>
                  <a:lnTo>
                    <a:pt x="55" y="295"/>
                  </a:lnTo>
                  <a:lnTo>
                    <a:pt x="43" y="280"/>
                  </a:lnTo>
                  <a:lnTo>
                    <a:pt x="43" y="280"/>
                  </a:lnTo>
                  <a:lnTo>
                    <a:pt x="43" y="278"/>
                  </a:lnTo>
                  <a:lnTo>
                    <a:pt x="45" y="275"/>
                  </a:lnTo>
                  <a:lnTo>
                    <a:pt x="48" y="270"/>
                  </a:lnTo>
                  <a:lnTo>
                    <a:pt x="54" y="264"/>
                  </a:lnTo>
                  <a:lnTo>
                    <a:pt x="58" y="258"/>
                  </a:lnTo>
                  <a:lnTo>
                    <a:pt x="58" y="258"/>
                  </a:lnTo>
                  <a:lnTo>
                    <a:pt x="67" y="244"/>
                  </a:lnTo>
                  <a:lnTo>
                    <a:pt x="70" y="240"/>
                  </a:lnTo>
                  <a:lnTo>
                    <a:pt x="71" y="237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67" y="234"/>
                  </a:lnTo>
                  <a:lnTo>
                    <a:pt x="62" y="234"/>
                  </a:lnTo>
                  <a:lnTo>
                    <a:pt x="57" y="234"/>
                  </a:lnTo>
                  <a:lnTo>
                    <a:pt x="51" y="233"/>
                  </a:lnTo>
                  <a:lnTo>
                    <a:pt x="51" y="233"/>
                  </a:lnTo>
                  <a:lnTo>
                    <a:pt x="46" y="228"/>
                  </a:lnTo>
                  <a:lnTo>
                    <a:pt x="42" y="222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4" y="206"/>
                  </a:lnTo>
                  <a:lnTo>
                    <a:pt x="34" y="203"/>
                  </a:lnTo>
                  <a:lnTo>
                    <a:pt x="39" y="198"/>
                  </a:lnTo>
                  <a:lnTo>
                    <a:pt x="51" y="191"/>
                  </a:lnTo>
                  <a:lnTo>
                    <a:pt x="51" y="191"/>
                  </a:lnTo>
                  <a:lnTo>
                    <a:pt x="54" y="187"/>
                  </a:lnTo>
                  <a:lnTo>
                    <a:pt x="55" y="182"/>
                  </a:lnTo>
                  <a:lnTo>
                    <a:pt x="57" y="172"/>
                  </a:lnTo>
                  <a:lnTo>
                    <a:pt x="57" y="172"/>
                  </a:lnTo>
                  <a:lnTo>
                    <a:pt x="58" y="166"/>
                  </a:lnTo>
                  <a:lnTo>
                    <a:pt x="61" y="163"/>
                  </a:lnTo>
                  <a:lnTo>
                    <a:pt x="64" y="160"/>
                  </a:lnTo>
                  <a:lnTo>
                    <a:pt x="65" y="157"/>
                  </a:lnTo>
                  <a:lnTo>
                    <a:pt x="65" y="157"/>
                  </a:lnTo>
                  <a:lnTo>
                    <a:pt x="65" y="153"/>
                  </a:lnTo>
                  <a:lnTo>
                    <a:pt x="62" y="148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40" y="121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25" y="108"/>
                  </a:lnTo>
                  <a:lnTo>
                    <a:pt x="24" y="108"/>
                  </a:lnTo>
                  <a:lnTo>
                    <a:pt x="22" y="110"/>
                  </a:lnTo>
                  <a:lnTo>
                    <a:pt x="20" y="113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2" y="116"/>
                  </a:lnTo>
                  <a:lnTo>
                    <a:pt x="11" y="116"/>
                  </a:lnTo>
                  <a:lnTo>
                    <a:pt x="8" y="111"/>
                  </a:lnTo>
                  <a:lnTo>
                    <a:pt x="5" y="105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0" y="95"/>
                  </a:lnTo>
                  <a:lnTo>
                    <a:pt x="2" y="93"/>
                  </a:lnTo>
                  <a:lnTo>
                    <a:pt x="6" y="90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2" y="86"/>
                  </a:lnTo>
                  <a:lnTo>
                    <a:pt x="12" y="83"/>
                  </a:lnTo>
                  <a:lnTo>
                    <a:pt x="11" y="80"/>
                  </a:lnTo>
                  <a:lnTo>
                    <a:pt x="8" y="76"/>
                  </a:lnTo>
                  <a:lnTo>
                    <a:pt x="6" y="7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3" name="Freeform 152">
              <a:extLst>
                <a:ext uri="{FF2B5EF4-FFF2-40B4-BE49-F238E27FC236}">
                  <a16:creationId xmlns:a16="http://schemas.microsoft.com/office/drawing/2014/main" id="{C1F460CB-ACB2-9B4C-8177-081FC19F8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5822950"/>
              <a:ext cx="519113" cy="333375"/>
            </a:xfrm>
            <a:custGeom>
              <a:avLst/>
              <a:gdLst>
                <a:gd name="T0" fmla="*/ 3 w 327"/>
                <a:gd name="T1" fmla="*/ 1 h 210"/>
                <a:gd name="T2" fmla="*/ 0 w 327"/>
                <a:gd name="T3" fmla="*/ 22 h 210"/>
                <a:gd name="T4" fmla="*/ 7 w 327"/>
                <a:gd name="T5" fmla="*/ 32 h 210"/>
                <a:gd name="T6" fmla="*/ 12 w 327"/>
                <a:gd name="T7" fmla="*/ 46 h 210"/>
                <a:gd name="T8" fmla="*/ 1 w 327"/>
                <a:gd name="T9" fmla="*/ 55 h 210"/>
                <a:gd name="T10" fmla="*/ 3 w 327"/>
                <a:gd name="T11" fmla="*/ 62 h 210"/>
                <a:gd name="T12" fmla="*/ 12 w 327"/>
                <a:gd name="T13" fmla="*/ 65 h 210"/>
                <a:gd name="T14" fmla="*/ 18 w 327"/>
                <a:gd name="T15" fmla="*/ 70 h 210"/>
                <a:gd name="T16" fmla="*/ 15 w 327"/>
                <a:gd name="T17" fmla="*/ 75 h 210"/>
                <a:gd name="T18" fmla="*/ 18 w 327"/>
                <a:gd name="T19" fmla="*/ 83 h 210"/>
                <a:gd name="T20" fmla="*/ 31 w 327"/>
                <a:gd name="T21" fmla="*/ 95 h 210"/>
                <a:gd name="T22" fmla="*/ 40 w 327"/>
                <a:gd name="T23" fmla="*/ 104 h 210"/>
                <a:gd name="T24" fmla="*/ 30 w 327"/>
                <a:gd name="T25" fmla="*/ 114 h 210"/>
                <a:gd name="T26" fmla="*/ 30 w 327"/>
                <a:gd name="T27" fmla="*/ 120 h 210"/>
                <a:gd name="T28" fmla="*/ 31 w 327"/>
                <a:gd name="T29" fmla="*/ 135 h 210"/>
                <a:gd name="T30" fmla="*/ 41 w 327"/>
                <a:gd name="T31" fmla="*/ 147 h 210"/>
                <a:gd name="T32" fmla="*/ 41 w 327"/>
                <a:gd name="T33" fmla="*/ 149 h 210"/>
                <a:gd name="T34" fmla="*/ 33 w 327"/>
                <a:gd name="T35" fmla="*/ 158 h 210"/>
                <a:gd name="T36" fmla="*/ 38 w 327"/>
                <a:gd name="T37" fmla="*/ 161 h 210"/>
                <a:gd name="T38" fmla="*/ 47 w 327"/>
                <a:gd name="T39" fmla="*/ 166 h 210"/>
                <a:gd name="T40" fmla="*/ 52 w 327"/>
                <a:gd name="T41" fmla="*/ 179 h 210"/>
                <a:gd name="T42" fmla="*/ 52 w 327"/>
                <a:gd name="T43" fmla="*/ 189 h 210"/>
                <a:gd name="T44" fmla="*/ 43 w 327"/>
                <a:gd name="T45" fmla="*/ 203 h 210"/>
                <a:gd name="T46" fmla="*/ 44 w 327"/>
                <a:gd name="T47" fmla="*/ 206 h 210"/>
                <a:gd name="T48" fmla="*/ 65 w 327"/>
                <a:gd name="T49" fmla="*/ 209 h 210"/>
                <a:gd name="T50" fmla="*/ 89 w 327"/>
                <a:gd name="T51" fmla="*/ 210 h 210"/>
                <a:gd name="T52" fmla="*/ 110 w 327"/>
                <a:gd name="T53" fmla="*/ 201 h 210"/>
                <a:gd name="T54" fmla="*/ 115 w 327"/>
                <a:gd name="T55" fmla="*/ 191 h 210"/>
                <a:gd name="T56" fmla="*/ 129 w 327"/>
                <a:gd name="T57" fmla="*/ 184 h 210"/>
                <a:gd name="T58" fmla="*/ 133 w 327"/>
                <a:gd name="T59" fmla="*/ 170 h 210"/>
                <a:gd name="T60" fmla="*/ 138 w 327"/>
                <a:gd name="T61" fmla="*/ 164 h 210"/>
                <a:gd name="T62" fmla="*/ 142 w 327"/>
                <a:gd name="T63" fmla="*/ 167 h 210"/>
                <a:gd name="T64" fmla="*/ 154 w 327"/>
                <a:gd name="T65" fmla="*/ 175 h 210"/>
                <a:gd name="T66" fmla="*/ 160 w 327"/>
                <a:gd name="T67" fmla="*/ 172 h 210"/>
                <a:gd name="T68" fmla="*/ 172 w 327"/>
                <a:gd name="T69" fmla="*/ 161 h 210"/>
                <a:gd name="T70" fmla="*/ 181 w 327"/>
                <a:gd name="T71" fmla="*/ 164 h 210"/>
                <a:gd name="T72" fmla="*/ 195 w 327"/>
                <a:gd name="T73" fmla="*/ 166 h 210"/>
                <a:gd name="T74" fmla="*/ 207 w 327"/>
                <a:gd name="T75" fmla="*/ 169 h 210"/>
                <a:gd name="T76" fmla="*/ 209 w 327"/>
                <a:gd name="T77" fmla="*/ 163 h 210"/>
                <a:gd name="T78" fmla="*/ 209 w 327"/>
                <a:gd name="T79" fmla="*/ 151 h 210"/>
                <a:gd name="T80" fmla="*/ 215 w 327"/>
                <a:gd name="T81" fmla="*/ 147 h 210"/>
                <a:gd name="T82" fmla="*/ 225 w 327"/>
                <a:gd name="T83" fmla="*/ 138 h 210"/>
                <a:gd name="T84" fmla="*/ 229 w 327"/>
                <a:gd name="T85" fmla="*/ 126 h 210"/>
                <a:gd name="T86" fmla="*/ 241 w 327"/>
                <a:gd name="T87" fmla="*/ 120 h 210"/>
                <a:gd name="T88" fmla="*/ 268 w 327"/>
                <a:gd name="T89" fmla="*/ 112 h 210"/>
                <a:gd name="T90" fmla="*/ 281 w 327"/>
                <a:gd name="T91" fmla="*/ 105 h 210"/>
                <a:gd name="T92" fmla="*/ 292 w 327"/>
                <a:gd name="T93" fmla="*/ 96 h 210"/>
                <a:gd name="T94" fmla="*/ 308 w 327"/>
                <a:gd name="T95" fmla="*/ 83 h 210"/>
                <a:gd name="T96" fmla="*/ 320 w 327"/>
                <a:gd name="T97" fmla="*/ 81 h 210"/>
                <a:gd name="T98" fmla="*/ 327 w 327"/>
                <a:gd name="T99" fmla="*/ 7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7" h="210">
                  <a:moveTo>
                    <a:pt x="4" y="0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0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7" y="32"/>
                  </a:lnTo>
                  <a:lnTo>
                    <a:pt x="12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" y="55"/>
                  </a:lnTo>
                  <a:lnTo>
                    <a:pt x="0" y="58"/>
                  </a:lnTo>
                  <a:lnTo>
                    <a:pt x="0" y="61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7" y="64"/>
                  </a:lnTo>
                  <a:lnTo>
                    <a:pt x="12" y="65"/>
                  </a:lnTo>
                  <a:lnTo>
                    <a:pt x="15" y="67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1"/>
                  </a:lnTo>
                  <a:lnTo>
                    <a:pt x="18" y="74"/>
                  </a:lnTo>
                  <a:lnTo>
                    <a:pt x="15" y="75"/>
                  </a:lnTo>
                  <a:lnTo>
                    <a:pt x="15" y="78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4" y="90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40" y="99"/>
                  </a:lnTo>
                  <a:lnTo>
                    <a:pt x="41" y="101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3" y="110"/>
                  </a:lnTo>
                  <a:lnTo>
                    <a:pt x="30" y="114"/>
                  </a:lnTo>
                  <a:lnTo>
                    <a:pt x="30" y="117"/>
                  </a:lnTo>
                  <a:lnTo>
                    <a:pt x="30" y="120"/>
                  </a:lnTo>
                  <a:lnTo>
                    <a:pt x="30" y="120"/>
                  </a:lnTo>
                  <a:lnTo>
                    <a:pt x="31" y="126"/>
                  </a:lnTo>
                  <a:lnTo>
                    <a:pt x="30" y="130"/>
                  </a:lnTo>
                  <a:lnTo>
                    <a:pt x="31" y="135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41" y="147"/>
                  </a:lnTo>
                  <a:lnTo>
                    <a:pt x="43" y="148"/>
                  </a:lnTo>
                  <a:lnTo>
                    <a:pt x="41" y="149"/>
                  </a:lnTo>
                  <a:lnTo>
                    <a:pt x="41" y="149"/>
                  </a:lnTo>
                  <a:lnTo>
                    <a:pt x="35" y="155"/>
                  </a:lnTo>
                  <a:lnTo>
                    <a:pt x="33" y="157"/>
                  </a:lnTo>
                  <a:lnTo>
                    <a:pt x="33" y="158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8" y="161"/>
                  </a:lnTo>
                  <a:lnTo>
                    <a:pt x="41" y="161"/>
                  </a:lnTo>
                  <a:lnTo>
                    <a:pt x="44" y="163"/>
                  </a:lnTo>
                  <a:lnTo>
                    <a:pt x="47" y="166"/>
                  </a:lnTo>
                  <a:lnTo>
                    <a:pt x="47" y="166"/>
                  </a:lnTo>
                  <a:lnTo>
                    <a:pt x="50" y="172"/>
                  </a:lnTo>
                  <a:lnTo>
                    <a:pt x="52" y="179"/>
                  </a:lnTo>
                  <a:lnTo>
                    <a:pt x="52" y="185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49" y="192"/>
                  </a:lnTo>
                  <a:lnTo>
                    <a:pt x="46" y="198"/>
                  </a:lnTo>
                  <a:lnTo>
                    <a:pt x="43" y="203"/>
                  </a:lnTo>
                  <a:lnTo>
                    <a:pt x="41" y="204"/>
                  </a:lnTo>
                  <a:lnTo>
                    <a:pt x="41" y="204"/>
                  </a:lnTo>
                  <a:lnTo>
                    <a:pt x="44" y="206"/>
                  </a:lnTo>
                  <a:lnTo>
                    <a:pt x="52" y="206"/>
                  </a:lnTo>
                  <a:lnTo>
                    <a:pt x="59" y="207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74" y="210"/>
                  </a:lnTo>
                  <a:lnTo>
                    <a:pt x="89" y="210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1"/>
                  </a:lnTo>
                  <a:lnTo>
                    <a:pt x="112" y="195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23" y="187"/>
                  </a:lnTo>
                  <a:lnTo>
                    <a:pt x="129" y="184"/>
                  </a:lnTo>
                  <a:lnTo>
                    <a:pt x="129" y="184"/>
                  </a:lnTo>
                  <a:lnTo>
                    <a:pt x="130" y="181"/>
                  </a:lnTo>
                  <a:lnTo>
                    <a:pt x="130" y="178"/>
                  </a:lnTo>
                  <a:lnTo>
                    <a:pt x="133" y="170"/>
                  </a:lnTo>
                  <a:lnTo>
                    <a:pt x="133" y="170"/>
                  </a:lnTo>
                  <a:lnTo>
                    <a:pt x="136" y="167"/>
                  </a:lnTo>
                  <a:lnTo>
                    <a:pt x="138" y="164"/>
                  </a:lnTo>
                  <a:lnTo>
                    <a:pt x="139" y="164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4" y="170"/>
                  </a:lnTo>
                  <a:lnTo>
                    <a:pt x="150" y="173"/>
                  </a:lnTo>
                  <a:lnTo>
                    <a:pt x="154" y="175"/>
                  </a:lnTo>
                  <a:lnTo>
                    <a:pt x="157" y="173"/>
                  </a:lnTo>
                  <a:lnTo>
                    <a:pt x="160" y="172"/>
                  </a:lnTo>
                  <a:lnTo>
                    <a:pt x="160" y="172"/>
                  </a:lnTo>
                  <a:lnTo>
                    <a:pt x="167" y="163"/>
                  </a:lnTo>
                  <a:lnTo>
                    <a:pt x="170" y="161"/>
                  </a:lnTo>
                  <a:lnTo>
                    <a:pt x="172" y="161"/>
                  </a:lnTo>
                  <a:lnTo>
                    <a:pt x="172" y="161"/>
                  </a:lnTo>
                  <a:lnTo>
                    <a:pt x="176" y="163"/>
                  </a:lnTo>
                  <a:lnTo>
                    <a:pt x="181" y="164"/>
                  </a:lnTo>
                  <a:lnTo>
                    <a:pt x="191" y="164"/>
                  </a:lnTo>
                  <a:lnTo>
                    <a:pt x="191" y="164"/>
                  </a:lnTo>
                  <a:lnTo>
                    <a:pt x="195" y="166"/>
                  </a:lnTo>
                  <a:lnTo>
                    <a:pt x="201" y="167"/>
                  </a:lnTo>
                  <a:lnTo>
                    <a:pt x="204" y="169"/>
                  </a:lnTo>
                  <a:lnTo>
                    <a:pt x="207" y="169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9" y="163"/>
                  </a:lnTo>
                  <a:lnTo>
                    <a:pt x="207" y="160"/>
                  </a:lnTo>
                  <a:lnTo>
                    <a:pt x="207" y="155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12" y="148"/>
                  </a:lnTo>
                  <a:lnTo>
                    <a:pt x="215" y="147"/>
                  </a:lnTo>
                  <a:lnTo>
                    <a:pt x="221" y="142"/>
                  </a:lnTo>
                  <a:lnTo>
                    <a:pt x="221" y="142"/>
                  </a:lnTo>
                  <a:lnTo>
                    <a:pt x="225" y="138"/>
                  </a:lnTo>
                  <a:lnTo>
                    <a:pt x="228" y="133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4" y="123"/>
                  </a:lnTo>
                  <a:lnTo>
                    <a:pt x="237" y="121"/>
                  </a:lnTo>
                  <a:lnTo>
                    <a:pt x="241" y="120"/>
                  </a:lnTo>
                  <a:lnTo>
                    <a:pt x="241" y="120"/>
                  </a:lnTo>
                  <a:lnTo>
                    <a:pt x="252" y="117"/>
                  </a:lnTo>
                  <a:lnTo>
                    <a:pt x="268" y="112"/>
                  </a:lnTo>
                  <a:lnTo>
                    <a:pt x="268" y="112"/>
                  </a:lnTo>
                  <a:lnTo>
                    <a:pt x="275" y="110"/>
                  </a:lnTo>
                  <a:lnTo>
                    <a:pt x="281" y="105"/>
                  </a:lnTo>
                  <a:lnTo>
                    <a:pt x="287" y="101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301" y="87"/>
                  </a:lnTo>
                  <a:lnTo>
                    <a:pt x="304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17" y="81"/>
                  </a:lnTo>
                  <a:lnTo>
                    <a:pt x="320" y="81"/>
                  </a:lnTo>
                  <a:lnTo>
                    <a:pt x="323" y="78"/>
                  </a:lnTo>
                  <a:lnTo>
                    <a:pt x="323" y="78"/>
                  </a:lnTo>
                  <a:lnTo>
                    <a:pt x="327" y="74"/>
                  </a:lnTo>
                  <a:lnTo>
                    <a:pt x="327" y="7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4" name="Freeform 153">
              <a:extLst>
                <a:ext uri="{FF2B5EF4-FFF2-40B4-BE49-F238E27FC236}">
                  <a16:creationId xmlns:a16="http://schemas.microsoft.com/office/drawing/2014/main" id="{6E408F39-4270-584B-A4EE-FA8237A26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763" y="5486400"/>
              <a:ext cx="488950" cy="566737"/>
            </a:xfrm>
            <a:custGeom>
              <a:avLst/>
              <a:gdLst>
                <a:gd name="T0" fmla="*/ 9 w 308"/>
                <a:gd name="T1" fmla="*/ 166 h 357"/>
                <a:gd name="T2" fmla="*/ 15 w 308"/>
                <a:gd name="T3" fmla="*/ 193 h 357"/>
                <a:gd name="T4" fmla="*/ 22 w 308"/>
                <a:gd name="T5" fmla="*/ 212 h 357"/>
                <a:gd name="T6" fmla="*/ 34 w 308"/>
                <a:gd name="T7" fmla="*/ 202 h 357"/>
                <a:gd name="T8" fmla="*/ 49 w 308"/>
                <a:gd name="T9" fmla="*/ 197 h 357"/>
                <a:gd name="T10" fmla="*/ 62 w 308"/>
                <a:gd name="T11" fmla="*/ 203 h 357"/>
                <a:gd name="T12" fmla="*/ 70 w 308"/>
                <a:gd name="T13" fmla="*/ 239 h 357"/>
                <a:gd name="T14" fmla="*/ 83 w 308"/>
                <a:gd name="T15" fmla="*/ 252 h 357"/>
                <a:gd name="T16" fmla="*/ 93 w 308"/>
                <a:gd name="T17" fmla="*/ 268 h 357"/>
                <a:gd name="T18" fmla="*/ 105 w 308"/>
                <a:gd name="T19" fmla="*/ 284 h 357"/>
                <a:gd name="T20" fmla="*/ 111 w 308"/>
                <a:gd name="T21" fmla="*/ 304 h 357"/>
                <a:gd name="T22" fmla="*/ 111 w 308"/>
                <a:gd name="T23" fmla="*/ 324 h 357"/>
                <a:gd name="T24" fmla="*/ 110 w 308"/>
                <a:gd name="T25" fmla="*/ 336 h 357"/>
                <a:gd name="T26" fmla="*/ 114 w 308"/>
                <a:gd name="T27" fmla="*/ 350 h 357"/>
                <a:gd name="T28" fmla="*/ 117 w 308"/>
                <a:gd name="T29" fmla="*/ 357 h 357"/>
                <a:gd name="T30" fmla="*/ 159 w 308"/>
                <a:gd name="T31" fmla="*/ 302 h 357"/>
                <a:gd name="T32" fmla="*/ 185 w 308"/>
                <a:gd name="T33" fmla="*/ 293 h 357"/>
                <a:gd name="T34" fmla="*/ 187 w 308"/>
                <a:gd name="T35" fmla="*/ 265 h 357"/>
                <a:gd name="T36" fmla="*/ 193 w 308"/>
                <a:gd name="T37" fmla="*/ 252 h 357"/>
                <a:gd name="T38" fmla="*/ 213 w 308"/>
                <a:gd name="T39" fmla="*/ 262 h 357"/>
                <a:gd name="T40" fmla="*/ 227 w 308"/>
                <a:gd name="T41" fmla="*/ 262 h 357"/>
                <a:gd name="T42" fmla="*/ 249 w 308"/>
                <a:gd name="T43" fmla="*/ 264 h 357"/>
                <a:gd name="T44" fmla="*/ 261 w 308"/>
                <a:gd name="T45" fmla="*/ 250 h 357"/>
                <a:gd name="T46" fmla="*/ 274 w 308"/>
                <a:gd name="T47" fmla="*/ 234 h 357"/>
                <a:gd name="T48" fmla="*/ 273 w 308"/>
                <a:gd name="T49" fmla="*/ 210 h 357"/>
                <a:gd name="T50" fmla="*/ 280 w 308"/>
                <a:gd name="T51" fmla="*/ 200 h 357"/>
                <a:gd name="T52" fmla="*/ 308 w 308"/>
                <a:gd name="T53" fmla="*/ 196 h 357"/>
                <a:gd name="T54" fmla="*/ 304 w 308"/>
                <a:gd name="T55" fmla="*/ 188 h 357"/>
                <a:gd name="T56" fmla="*/ 287 w 308"/>
                <a:gd name="T57" fmla="*/ 182 h 357"/>
                <a:gd name="T58" fmla="*/ 286 w 308"/>
                <a:gd name="T59" fmla="*/ 170 h 357"/>
                <a:gd name="T60" fmla="*/ 280 w 308"/>
                <a:gd name="T61" fmla="*/ 165 h 357"/>
                <a:gd name="T62" fmla="*/ 271 w 308"/>
                <a:gd name="T63" fmla="*/ 176 h 357"/>
                <a:gd name="T64" fmla="*/ 265 w 308"/>
                <a:gd name="T65" fmla="*/ 173 h 357"/>
                <a:gd name="T66" fmla="*/ 261 w 308"/>
                <a:gd name="T67" fmla="*/ 150 h 357"/>
                <a:gd name="T68" fmla="*/ 274 w 308"/>
                <a:gd name="T69" fmla="*/ 136 h 357"/>
                <a:gd name="T70" fmla="*/ 280 w 308"/>
                <a:gd name="T71" fmla="*/ 122 h 357"/>
                <a:gd name="T72" fmla="*/ 268 w 308"/>
                <a:gd name="T73" fmla="*/ 125 h 357"/>
                <a:gd name="T74" fmla="*/ 253 w 308"/>
                <a:gd name="T75" fmla="*/ 125 h 357"/>
                <a:gd name="T76" fmla="*/ 243 w 308"/>
                <a:gd name="T77" fmla="*/ 123 h 357"/>
                <a:gd name="T78" fmla="*/ 238 w 308"/>
                <a:gd name="T79" fmla="*/ 135 h 357"/>
                <a:gd name="T80" fmla="*/ 236 w 308"/>
                <a:gd name="T81" fmla="*/ 141 h 357"/>
                <a:gd name="T82" fmla="*/ 212 w 308"/>
                <a:gd name="T83" fmla="*/ 138 h 357"/>
                <a:gd name="T84" fmla="*/ 194 w 308"/>
                <a:gd name="T85" fmla="*/ 138 h 357"/>
                <a:gd name="T86" fmla="*/ 185 w 308"/>
                <a:gd name="T87" fmla="*/ 129 h 357"/>
                <a:gd name="T88" fmla="*/ 169 w 308"/>
                <a:gd name="T89" fmla="*/ 117 h 357"/>
                <a:gd name="T90" fmla="*/ 166 w 308"/>
                <a:gd name="T91" fmla="*/ 104 h 357"/>
                <a:gd name="T92" fmla="*/ 175 w 308"/>
                <a:gd name="T93" fmla="*/ 99 h 357"/>
                <a:gd name="T94" fmla="*/ 184 w 308"/>
                <a:gd name="T95" fmla="*/ 95 h 357"/>
                <a:gd name="T96" fmla="*/ 170 w 308"/>
                <a:gd name="T97" fmla="*/ 83 h 357"/>
                <a:gd name="T98" fmla="*/ 157 w 308"/>
                <a:gd name="T99" fmla="*/ 82 h 357"/>
                <a:gd name="T100" fmla="*/ 157 w 308"/>
                <a:gd name="T101" fmla="*/ 74 h 357"/>
                <a:gd name="T102" fmla="*/ 159 w 308"/>
                <a:gd name="T103" fmla="*/ 43 h 357"/>
                <a:gd name="T104" fmla="*/ 154 w 308"/>
                <a:gd name="T105" fmla="*/ 33 h 357"/>
                <a:gd name="T106" fmla="*/ 170 w 308"/>
                <a:gd name="T107" fmla="*/ 13 h 357"/>
                <a:gd name="T108" fmla="*/ 167 w 308"/>
                <a:gd name="T109" fmla="*/ 5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8" h="357">
                  <a:moveTo>
                    <a:pt x="0" y="159"/>
                  </a:moveTo>
                  <a:lnTo>
                    <a:pt x="0" y="159"/>
                  </a:lnTo>
                  <a:lnTo>
                    <a:pt x="5" y="163"/>
                  </a:lnTo>
                  <a:lnTo>
                    <a:pt x="9" y="166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2" y="181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8" y="206"/>
                  </a:lnTo>
                  <a:lnTo>
                    <a:pt x="21" y="209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5" y="210"/>
                  </a:lnTo>
                  <a:lnTo>
                    <a:pt x="27" y="209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6" y="200"/>
                  </a:lnTo>
                  <a:lnTo>
                    <a:pt x="40" y="199"/>
                  </a:lnTo>
                  <a:lnTo>
                    <a:pt x="49" y="197"/>
                  </a:lnTo>
                  <a:lnTo>
                    <a:pt x="58" y="199"/>
                  </a:lnTo>
                  <a:lnTo>
                    <a:pt x="61" y="200"/>
                  </a:lnTo>
                  <a:lnTo>
                    <a:pt x="62" y="203"/>
                  </a:lnTo>
                  <a:lnTo>
                    <a:pt x="62" y="203"/>
                  </a:lnTo>
                  <a:lnTo>
                    <a:pt x="65" y="212"/>
                  </a:lnTo>
                  <a:lnTo>
                    <a:pt x="67" y="222"/>
                  </a:lnTo>
                  <a:lnTo>
                    <a:pt x="68" y="231"/>
                  </a:lnTo>
                  <a:lnTo>
                    <a:pt x="70" y="239"/>
                  </a:lnTo>
                  <a:lnTo>
                    <a:pt x="70" y="239"/>
                  </a:lnTo>
                  <a:lnTo>
                    <a:pt x="74" y="244"/>
                  </a:lnTo>
                  <a:lnTo>
                    <a:pt x="79" y="247"/>
                  </a:lnTo>
                  <a:lnTo>
                    <a:pt x="83" y="252"/>
                  </a:lnTo>
                  <a:lnTo>
                    <a:pt x="86" y="258"/>
                  </a:lnTo>
                  <a:lnTo>
                    <a:pt x="86" y="258"/>
                  </a:lnTo>
                  <a:lnTo>
                    <a:pt x="90" y="264"/>
                  </a:lnTo>
                  <a:lnTo>
                    <a:pt x="93" y="268"/>
                  </a:lnTo>
                  <a:lnTo>
                    <a:pt x="101" y="276"/>
                  </a:lnTo>
                  <a:lnTo>
                    <a:pt x="101" y="276"/>
                  </a:lnTo>
                  <a:lnTo>
                    <a:pt x="104" y="280"/>
                  </a:lnTo>
                  <a:lnTo>
                    <a:pt x="105" y="284"/>
                  </a:lnTo>
                  <a:lnTo>
                    <a:pt x="105" y="284"/>
                  </a:lnTo>
                  <a:lnTo>
                    <a:pt x="107" y="289"/>
                  </a:lnTo>
                  <a:lnTo>
                    <a:pt x="107" y="289"/>
                  </a:lnTo>
                  <a:lnTo>
                    <a:pt x="111" y="304"/>
                  </a:lnTo>
                  <a:lnTo>
                    <a:pt x="113" y="311"/>
                  </a:lnTo>
                  <a:lnTo>
                    <a:pt x="113" y="319"/>
                  </a:lnTo>
                  <a:lnTo>
                    <a:pt x="113" y="319"/>
                  </a:lnTo>
                  <a:lnTo>
                    <a:pt x="111" y="324"/>
                  </a:lnTo>
                  <a:lnTo>
                    <a:pt x="108" y="329"/>
                  </a:lnTo>
                  <a:lnTo>
                    <a:pt x="108" y="332"/>
                  </a:lnTo>
                  <a:lnTo>
                    <a:pt x="110" y="336"/>
                  </a:lnTo>
                  <a:lnTo>
                    <a:pt x="110" y="336"/>
                  </a:lnTo>
                  <a:lnTo>
                    <a:pt x="113" y="339"/>
                  </a:lnTo>
                  <a:lnTo>
                    <a:pt x="114" y="342"/>
                  </a:lnTo>
                  <a:lnTo>
                    <a:pt x="114" y="350"/>
                  </a:lnTo>
                  <a:lnTo>
                    <a:pt x="114" y="350"/>
                  </a:lnTo>
                  <a:lnTo>
                    <a:pt x="114" y="356"/>
                  </a:lnTo>
                  <a:lnTo>
                    <a:pt x="114" y="357"/>
                  </a:lnTo>
                  <a:lnTo>
                    <a:pt x="117" y="357"/>
                  </a:lnTo>
                  <a:lnTo>
                    <a:pt x="117" y="357"/>
                  </a:lnTo>
                  <a:lnTo>
                    <a:pt x="138" y="329"/>
                  </a:lnTo>
                  <a:lnTo>
                    <a:pt x="153" y="310"/>
                  </a:lnTo>
                  <a:lnTo>
                    <a:pt x="159" y="302"/>
                  </a:lnTo>
                  <a:lnTo>
                    <a:pt x="159" y="302"/>
                  </a:lnTo>
                  <a:lnTo>
                    <a:pt x="172" y="301"/>
                  </a:lnTo>
                  <a:lnTo>
                    <a:pt x="181" y="298"/>
                  </a:lnTo>
                  <a:lnTo>
                    <a:pt x="184" y="295"/>
                  </a:lnTo>
                  <a:lnTo>
                    <a:pt x="185" y="293"/>
                  </a:lnTo>
                  <a:lnTo>
                    <a:pt x="185" y="293"/>
                  </a:lnTo>
                  <a:lnTo>
                    <a:pt x="188" y="287"/>
                  </a:lnTo>
                  <a:lnTo>
                    <a:pt x="188" y="282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58"/>
                  </a:lnTo>
                  <a:lnTo>
                    <a:pt x="190" y="253"/>
                  </a:lnTo>
                  <a:lnTo>
                    <a:pt x="193" y="252"/>
                  </a:lnTo>
                  <a:lnTo>
                    <a:pt x="197" y="253"/>
                  </a:lnTo>
                  <a:lnTo>
                    <a:pt x="197" y="253"/>
                  </a:lnTo>
                  <a:lnTo>
                    <a:pt x="204" y="258"/>
                  </a:lnTo>
                  <a:lnTo>
                    <a:pt x="213" y="262"/>
                  </a:lnTo>
                  <a:lnTo>
                    <a:pt x="213" y="262"/>
                  </a:lnTo>
                  <a:lnTo>
                    <a:pt x="218" y="265"/>
                  </a:lnTo>
                  <a:lnTo>
                    <a:pt x="222" y="264"/>
                  </a:lnTo>
                  <a:lnTo>
                    <a:pt x="227" y="262"/>
                  </a:lnTo>
                  <a:lnTo>
                    <a:pt x="227" y="262"/>
                  </a:lnTo>
                  <a:lnTo>
                    <a:pt x="237" y="264"/>
                  </a:lnTo>
                  <a:lnTo>
                    <a:pt x="244" y="265"/>
                  </a:lnTo>
                  <a:lnTo>
                    <a:pt x="249" y="264"/>
                  </a:lnTo>
                  <a:lnTo>
                    <a:pt x="249" y="264"/>
                  </a:lnTo>
                  <a:lnTo>
                    <a:pt x="253" y="259"/>
                  </a:lnTo>
                  <a:lnTo>
                    <a:pt x="261" y="250"/>
                  </a:lnTo>
                  <a:lnTo>
                    <a:pt x="261" y="250"/>
                  </a:lnTo>
                  <a:lnTo>
                    <a:pt x="268" y="240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5" y="231"/>
                  </a:lnTo>
                  <a:lnTo>
                    <a:pt x="274" y="224"/>
                  </a:lnTo>
                  <a:lnTo>
                    <a:pt x="273" y="210"/>
                  </a:lnTo>
                  <a:lnTo>
                    <a:pt x="273" y="210"/>
                  </a:lnTo>
                  <a:lnTo>
                    <a:pt x="273" y="205"/>
                  </a:lnTo>
                  <a:lnTo>
                    <a:pt x="274" y="202"/>
                  </a:lnTo>
                  <a:lnTo>
                    <a:pt x="280" y="200"/>
                  </a:lnTo>
                  <a:lnTo>
                    <a:pt x="280" y="200"/>
                  </a:lnTo>
                  <a:lnTo>
                    <a:pt x="289" y="200"/>
                  </a:lnTo>
                  <a:lnTo>
                    <a:pt x="299" y="199"/>
                  </a:lnTo>
                  <a:lnTo>
                    <a:pt x="307" y="197"/>
                  </a:lnTo>
                  <a:lnTo>
                    <a:pt x="308" y="196"/>
                  </a:lnTo>
                  <a:lnTo>
                    <a:pt x="308" y="196"/>
                  </a:lnTo>
                  <a:lnTo>
                    <a:pt x="308" y="191"/>
                  </a:lnTo>
                  <a:lnTo>
                    <a:pt x="307" y="190"/>
                  </a:lnTo>
                  <a:lnTo>
                    <a:pt x="304" y="188"/>
                  </a:lnTo>
                  <a:lnTo>
                    <a:pt x="304" y="188"/>
                  </a:lnTo>
                  <a:lnTo>
                    <a:pt x="293" y="185"/>
                  </a:lnTo>
                  <a:lnTo>
                    <a:pt x="287" y="184"/>
                  </a:lnTo>
                  <a:lnTo>
                    <a:pt x="287" y="182"/>
                  </a:lnTo>
                  <a:lnTo>
                    <a:pt x="287" y="181"/>
                  </a:lnTo>
                  <a:lnTo>
                    <a:pt x="287" y="181"/>
                  </a:lnTo>
                  <a:lnTo>
                    <a:pt x="287" y="178"/>
                  </a:lnTo>
                  <a:lnTo>
                    <a:pt x="286" y="170"/>
                  </a:lnTo>
                  <a:lnTo>
                    <a:pt x="283" y="162"/>
                  </a:lnTo>
                  <a:lnTo>
                    <a:pt x="283" y="162"/>
                  </a:lnTo>
                  <a:lnTo>
                    <a:pt x="281" y="162"/>
                  </a:lnTo>
                  <a:lnTo>
                    <a:pt x="280" y="165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5" y="173"/>
                  </a:lnTo>
                  <a:lnTo>
                    <a:pt x="271" y="176"/>
                  </a:lnTo>
                  <a:lnTo>
                    <a:pt x="267" y="178"/>
                  </a:lnTo>
                  <a:lnTo>
                    <a:pt x="265" y="176"/>
                  </a:lnTo>
                  <a:lnTo>
                    <a:pt x="265" y="173"/>
                  </a:lnTo>
                  <a:lnTo>
                    <a:pt x="265" y="173"/>
                  </a:lnTo>
                  <a:lnTo>
                    <a:pt x="259" y="160"/>
                  </a:lnTo>
                  <a:lnTo>
                    <a:pt x="259" y="157"/>
                  </a:lnTo>
                  <a:lnTo>
                    <a:pt x="259" y="153"/>
                  </a:lnTo>
                  <a:lnTo>
                    <a:pt x="261" y="150"/>
                  </a:lnTo>
                  <a:lnTo>
                    <a:pt x="262" y="145"/>
                  </a:lnTo>
                  <a:lnTo>
                    <a:pt x="262" y="145"/>
                  </a:lnTo>
                  <a:lnTo>
                    <a:pt x="270" y="141"/>
                  </a:lnTo>
                  <a:lnTo>
                    <a:pt x="274" y="136"/>
                  </a:lnTo>
                  <a:lnTo>
                    <a:pt x="277" y="135"/>
                  </a:lnTo>
                  <a:lnTo>
                    <a:pt x="278" y="130"/>
                  </a:lnTo>
                  <a:lnTo>
                    <a:pt x="278" y="130"/>
                  </a:lnTo>
                  <a:lnTo>
                    <a:pt x="280" y="122"/>
                  </a:lnTo>
                  <a:lnTo>
                    <a:pt x="278" y="120"/>
                  </a:lnTo>
                  <a:lnTo>
                    <a:pt x="275" y="120"/>
                  </a:lnTo>
                  <a:lnTo>
                    <a:pt x="275" y="120"/>
                  </a:lnTo>
                  <a:lnTo>
                    <a:pt x="268" y="125"/>
                  </a:lnTo>
                  <a:lnTo>
                    <a:pt x="262" y="127"/>
                  </a:lnTo>
                  <a:lnTo>
                    <a:pt x="258" y="127"/>
                  </a:lnTo>
                  <a:lnTo>
                    <a:pt x="258" y="127"/>
                  </a:lnTo>
                  <a:lnTo>
                    <a:pt x="253" y="125"/>
                  </a:lnTo>
                  <a:lnTo>
                    <a:pt x="249" y="123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3" y="123"/>
                  </a:lnTo>
                  <a:lnTo>
                    <a:pt x="243" y="123"/>
                  </a:lnTo>
                  <a:lnTo>
                    <a:pt x="238" y="130"/>
                  </a:lnTo>
                  <a:lnTo>
                    <a:pt x="237" y="133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40" y="136"/>
                  </a:lnTo>
                  <a:lnTo>
                    <a:pt x="240" y="138"/>
                  </a:lnTo>
                  <a:lnTo>
                    <a:pt x="236" y="141"/>
                  </a:lnTo>
                  <a:lnTo>
                    <a:pt x="230" y="144"/>
                  </a:lnTo>
                  <a:lnTo>
                    <a:pt x="222" y="142"/>
                  </a:lnTo>
                  <a:lnTo>
                    <a:pt x="222" y="142"/>
                  </a:lnTo>
                  <a:lnTo>
                    <a:pt x="212" y="138"/>
                  </a:lnTo>
                  <a:lnTo>
                    <a:pt x="207" y="138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194" y="138"/>
                  </a:lnTo>
                  <a:lnTo>
                    <a:pt x="190" y="136"/>
                  </a:lnTo>
                  <a:lnTo>
                    <a:pt x="187" y="133"/>
                  </a:lnTo>
                  <a:lnTo>
                    <a:pt x="185" y="129"/>
                  </a:lnTo>
                  <a:lnTo>
                    <a:pt x="185" y="129"/>
                  </a:lnTo>
                  <a:lnTo>
                    <a:pt x="184" y="126"/>
                  </a:lnTo>
                  <a:lnTo>
                    <a:pt x="181" y="125"/>
                  </a:lnTo>
                  <a:lnTo>
                    <a:pt x="175" y="120"/>
                  </a:lnTo>
                  <a:lnTo>
                    <a:pt x="169" y="117"/>
                  </a:lnTo>
                  <a:lnTo>
                    <a:pt x="167" y="114"/>
                  </a:lnTo>
                  <a:lnTo>
                    <a:pt x="167" y="113"/>
                  </a:lnTo>
                  <a:lnTo>
                    <a:pt x="167" y="113"/>
                  </a:lnTo>
                  <a:lnTo>
                    <a:pt x="166" y="104"/>
                  </a:lnTo>
                  <a:lnTo>
                    <a:pt x="167" y="101"/>
                  </a:lnTo>
                  <a:lnTo>
                    <a:pt x="170" y="99"/>
                  </a:lnTo>
                  <a:lnTo>
                    <a:pt x="170" y="99"/>
                  </a:lnTo>
                  <a:lnTo>
                    <a:pt x="175" y="99"/>
                  </a:lnTo>
                  <a:lnTo>
                    <a:pt x="179" y="101"/>
                  </a:lnTo>
                  <a:lnTo>
                    <a:pt x="182" y="99"/>
                  </a:lnTo>
                  <a:lnTo>
                    <a:pt x="184" y="95"/>
                  </a:lnTo>
                  <a:lnTo>
                    <a:pt x="184" y="95"/>
                  </a:lnTo>
                  <a:lnTo>
                    <a:pt x="184" y="89"/>
                  </a:lnTo>
                  <a:lnTo>
                    <a:pt x="181" y="86"/>
                  </a:lnTo>
                  <a:lnTo>
                    <a:pt x="176" y="85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64" y="83"/>
                  </a:lnTo>
                  <a:lnTo>
                    <a:pt x="160" y="82"/>
                  </a:lnTo>
                  <a:lnTo>
                    <a:pt x="157" y="82"/>
                  </a:lnTo>
                  <a:lnTo>
                    <a:pt x="157" y="79"/>
                  </a:lnTo>
                  <a:lnTo>
                    <a:pt x="156" y="77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60" y="58"/>
                  </a:lnTo>
                  <a:lnTo>
                    <a:pt x="161" y="49"/>
                  </a:lnTo>
                  <a:lnTo>
                    <a:pt x="159" y="43"/>
                  </a:lnTo>
                  <a:lnTo>
                    <a:pt x="159" y="43"/>
                  </a:lnTo>
                  <a:lnTo>
                    <a:pt x="156" y="40"/>
                  </a:lnTo>
                  <a:lnTo>
                    <a:pt x="153" y="39"/>
                  </a:lnTo>
                  <a:lnTo>
                    <a:pt x="151" y="37"/>
                  </a:lnTo>
                  <a:lnTo>
                    <a:pt x="154" y="33"/>
                  </a:lnTo>
                  <a:lnTo>
                    <a:pt x="154" y="33"/>
                  </a:lnTo>
                  <a:lnTo>
                    <a:pt x="164" y="25"/>
                  </a:lnTo>
                  <a:lnTo>
                    <a:pt x="169" y="19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0"/>
                  </a:lnTo>
                  <a:lnTo>
                    <a:pt x="170" y="8"/>
                  </a:lnTo>
                  <a:lnTo>
                    <a:pt x="167" y="5"/>
                  </a:lnTo>
                  <a:lnTo>
                    <a:pt x="163" y="0"/>
                  </a:lnTo>
                  <a:lnTo>
                    <a:pt x="156" y="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5" name="Freeform 154">
              <a:extLst>
                <a:ext uri="{FF2B5EF4-FFF2-40B4-BE49-F238E27FC236}">
                  <a16:creationId xmlns:a16="http://schemas.microsoft.com/office/drawing/2014/main" id="{1B6A7A2F-5E47-6B4F-8FA8-E42313FB3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5524500"/>
              <a:ext cx="473075" cy="298450"/>
            </a:xfrm>
            <a:custGeom>
              <a:avLst/>
              <a:gdLst>
                <a:gd name="T0" fmla="*/ 1 w 298"/>
                <a:gd name="T1" fmla="*/ 142 h 188"/>
                <a:gd name="T2" fmla="*/ 9 w 298"/>
                <a:gd name="T3" fmla="*/ 155 h 188"/>
                <a:gd name="T4" fmla="*/ 34 w 298"/>
                <a:gd name="T5" fmla="*/ 172 h 188"/>
                <a:gd name="T6" fmla="*/ 41 w 298"/>
                <a:gd name="T7" fmla="*/ 170 h 188"/>
                <a:gd name="T8" fmla="*/ 52 w 298"/>
                <a:gd name="T9" fmla="*/ 164 h 188"/>
                <a:gd name="T10" fmla="*/ 56 w 298"/>
                <a:gd name="T11" fmla="*/ 170 h 188"/>
                <a:gd name="T12" fmla="*/ 67 w 298"/>
                <a:gd name="T13" fmla="*/ 183 h 188"/>
                <a:gd name="T14" fmla="*/ 78 w 298"/>
                <a:gd name="T15" fmla="*/ 188 h 188"/>
                <a:gd name="T16" fmla="*/ 84 w 298"/>
                <a:gd name="T17" fmla="*/ 186 h 188"/>
                <a:gd name="T18" fmla="*/ 83 w 298"/>
                <a:gd name="T19" fmla="*/ 178 h 188"/>
                <a:gd name="T20" fmla="*/ 81 w 298"/>
                <a:gd name="T21" fmla="*/ 166 h 188"/>
                <a:gd name="T22" fmla="*/ 89 w 298"/>
                <a:gd name="T23" fmla="*/ 154 h 188"/>
                <a:gd name="T24" fmla="*/ 99 w 298"/>
                <a:gd name="T25" fmla="*/ 136 h 188"/>
                <a:gd name="T26" fmla="*/ 112 w 298"/>
                <a:gd name="T27" fmla="*/ 132 h 188"/>
                <a:gd name="T28" fmla="*/ 124 w 298"/>
                <a:gd name="T29" fmla="*/ 135 h 188"/>
                <a:gd name="T30" fmla="*/ 149 w 298"/>
                <a:gd name="T31" fmla="*/ 129 h 188"/>
                <a:gd name="T32" fmla="*/ 157 w 298"/>
                <a:gd name="T33" fmla="*/ 118 h 188"/>
                <a:gd name="T34" fmla="*/ 163 w 298"/>
                <a:gd name="T35" fmla="*/ 117 h 188"/>
                <a:gd name="T36" fmla="*/ 169 w 298"/>
                <a:gd name="T37" fmla="*/ 123 h 188"/>
                <a:gd name="T38" fmla="*/ 176 w 298"/>
                <a:gd name="T39" fmla="*/ 136 h 188"/>
                <a:gd name="T40" fmla="*/ 185 w 298"/>
                <a:gd name="T41" fmla="*/ 141 h 188"/>
                <a:gd name="T42" fmla="*/ 200 w 298"/>
                <a:gd name="T43" fmla="*/ 145 h 188"/>
                <a:gd name="T44" fmla="*/ 204 w 298"/>
                <a:gd name="T45" fmla="*/ 152 h 188"/>
                <a:gd name="T46" fmla="*/ 216 w 298"/>
                <a:gd name="T47" fmla="*/ 172 h 188"/>
                <a:gd name="T48" fmla="*/ 221 w 298"/>
                <a:gd name="T49" fmla="*/ 181 h 188"/>
                <a:gd name="T50" fmla="*/ 224 w 298"/>
                <a:gd name="T51" fmla="*/ 188 h 188"/>
                <a:gd name="T52" fmla="*/ 232 w 298"/>
                <a:gd name="T53" fmla="*/ 186 h 188"/>
                <a:gd name="T54" fmla="*/ 238 w 298"/>
                <a:gd name="T55" fmla="*/ 181 h 188"/>
                <a:gd name="T56" fmla="*/ 250 w 298"/>
                <a:gd name="T57" fmla="*/ 186 h 188"/>
                <a:gd name="T58" fmla="*/ 256 w 298"/>
                <a:gd name="T59" fmla="*/ 183 h 188"/>
                <a:gd name="T60" fmla="*/ 272 w 298"/>
                <a:gd name="T61" fmla="*/ 169 h 188"/>
                <a:gd name="T62" fmla="*/ 283 w 298"/>
                <a:gd name="T63" fmla="*/ 163 h 188"/>
                <a:gd name="T64" fmla="*/ 292 w 298"/>
                <a:gd name="T65" fmla="*/ 149 h 188"/>
                <a:gd name="T66" fmla="*/ 298 w 298"/>
                <a:gd name="T67" fmla="*/ 139 h 188"/>
                <a:gd name="T68" fmla="*/ 293 w 298"/>
                <a:gd name="T69" fmla="*/ 130 h 188"/>
                <a:gd name="T70" fmla="*/ 286 w 298"/>
                <a:gd name="T71" fmla="*/ 121 h 188"/>
                <a:gd name="T72" fmla="*/ 280 w 298"/>
                <a:gd name="T73" fmla="*/ 102 h 188"/>
                <a:gd name="T74" fmla="*/ 283 w 298"/>
                <a:gd name="T75" fmla="*/ 98 h 188"/>
                <a:gd name="T76" fmla="*/ 295 w 298"/>
                <a:gd name="T77" fmla="*/ 87 h 188"/>
                <a:gd name="T78" fmla="*/ 289 w 298"/>
                <a:gd name="T79" fmla="*/ 81 h 188"/>
                <a:gd name="T80" fmla="*/ 269 w 298"/>
                <a:gd name="T81" fmla="*/ 66 h 188"/>
                <a:gd name="T82" fmla="*/ 256 w 298"/>
                <a:gd name="T83" fmla="*/ 65 h 188"/>
                <a:gd name="T84" fmla="*/ 235 w 298"/>
                <a:gd name="T85" fmla="*/ 59 h 188"/>
                <a:gd name="T86" fmla="*/ 229 w 298"/>
                <a:gd name="T87" fmla="*/ 55 h 188"/>
                <a:gd name="T88" fmla="*/ 218 w 298"/>
                <a:gd name="T89" fmla="*/ 32 h 188"/>
                <a:gd name="T90" fmla="*/ 212 w 298"/>
                <a:gd name="T91" fmla="*/ 26 h 188"/>
                <a:gd name="T92" fmla="*/ 189 w 298"/>
                <a:gd name="T93" fmla="*/ 18 h 188"/>
                <a:gd name="T94" fmla="*/ 178 w 298"/>
                <a:gd name="T95" fmla="*/ 16 h 188"/>
                <a:gd name="T96" fmla="*/ 175 w 298"/>
                <a:gd name="T97" fmla="*/ 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8" h="188">
                  <a:moveTo>
                    <a:pt x="0" y="132"/>
                  </a:moveTo>
                  <a:lnTo>
                    <a:pt x="0" y="132"/>
                  </a:lnTo>
                  <a:lnTo>
                    <a:pt x="1" y="142"/>
                  </a:lnTo>
                  <a:lnTo>
                    <a:pt x="4" y="149"/>
                  </a:lnTo>
                  <a:lnTo>
                    <a:pt x="6" y="152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25" y="167"/>
                  </a:lnTo>
                  <a:lnTo>
                    <a:pt x="34" y="172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41" y="170"/>
                  </a:lnTo>
                  <a:lnTo>
                    <a:pt x="46" y="167"/>
                  </a:lnTo>
                  <a:lnTo>
                    <a:pt x="49" y="164"/>
                  </a:lnTo>
                  <a:lnTo>
                    <a:pt x="52" y="164"/>
                  </a:lnTo>
                  <a:lnTo>
                    <a:pt x="53" y="166"/>
                  </a:lnTo>
                  <a:lnTo>
                    <a:pt x="53" y="166"/>
                  </a:lnTo>
                  <a:lnTo>
                    <a:pt x="56" y="170"/>
                  </a:lnTo>
                  <a:lnTo>
                    <a:pt x="59" y="176"/>
                  </a:lnTo>
                  <a:lnTo>
                    <a:pt x="62" y="181"/>
                  </a:lnTo>
                  <a:lnTo>
                    <a:pt x="67" y="183"/>
                  </a:lnTo>
                  <a:lnTo>
                    <a:pt x="67" y="183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81" y="188"/>
                  </a:lnTo>
                  <a:lnTo>
                    <a:pt x="83" y="188"/>
                  </a:lnTo>
                  <a:lnTo>
                    <a:pt x="84" y="186"/>
                  </a:lnTo>
                  <a:lnTo>
                    <a:pt x="84" y="183"/>
                  </a:lnTo>
                  <a:lnTo>
                    <a:pt x="84" y="183"/>
                  </a:lnTo>
                  <a:lnTo>
                    <a:pt x="83" y="178"/>
                  </a:lnTo>
                  <a:lnTo>
                    <a:pt x="81" y="173"/>
                  </a:lnTo>
                  <a:lnTo>
                    <a:pt x="80" y="169"/>
                  </a:lnTo>
                  <a:lnTo>
                    <a:pt x="81" y="166"/>
                  </a:lnTo>
                  <a:lnTo>
                    <a:pt x="81" y="166"/>
                  </a:lnTo>
                  <a:lnTo>
                    <a:pt x="86" y="161"/>
                  </a:lnTo>
                  <a:lnTo>
                    <a:pt x="89" y="154"/>
                  </a:lnTo>
                  <a:lnTo>
                    <a:pt x="96" y="141"/>
                  </a:lnTo>
                  <a:lnTo>
                    <a:pt x="96" y="141"/>
                  </a:lnTo>
                  <a:lnTo>
                    <a:pt x="99" y="136"/>
                  </a:lnTo>
                  <a:lnTo>
                    <a:pt x="104" y="132"/>
                  </a:lnTo>
                  <a:lnTo>
                    <a:pt x="109" y="130"/>
                  </a:lnTo>
                  <a:lnTo>
                    <a:pt x="112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24" y="135"/>
                  </a:lnTo>
                  <a:lnTo>
                    <a:pt x="133" y="135"/>
                  </a:lnTo>
                  <a:lnTo>
                    <a:pt x="142" y="132"/>
                  </a:lnTo>
                  <a:lnTo>
                    <a:pt x="149" y="129"/>
                  </a:lnTo>
                  <a:lnTo>
                    <a:pt x="149" y="129"/>
                  </a:lnTo>
                  <a:lnTo>
                    <a:pt x="152" y="124"/>
                  </a:lnTo>
                  <a:lnTo>
                    <a:pt x="157" y="118"/>
                  </a:lnTo>
                  <a:lnTo>
                    <a:pt x="158" y="117"/>
                  </a:lnTo>
                  <a:lnTo>
                    <a:pt x="161" y="115"/>
                  </a:lnTo>
                  <a:lnTo>
                    <a:pt x="163" y="117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9" y="123"/>
                  </a:lnTo>
                  <a:lnTo>
                    <a:pt x="169" y="127"/>
                  </a:lnTo>
                  <a:lnTo>
                    <a:pt x="170" y="132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81" y="139"/>
                  </a:lnTo>
                  <a:lnTo>
                    <a:pt x="185" y="141"/>
                  </a:lnTo>
                  <a:lnTo>
                    <a:pt x="192" y="142"/>
                  </a:lnTo>
                  <a:lnTo>
                    <a:pt x="197" y="143"/>
                  </a:lnTo>
                  <a:lnTo>
                    <a:pt x="200" y="145"/>
                  </a:lnTo>
                  <a:lnTo>
                    <a:pt x="201" y="148"/>
                  </a:lnTo>
                  <a:lnTo>
                    <a:pt x="204" y="152"/>
                  </a:lnTo>
                  <a:lnTo>
                    <a:pt x="204" y="152"/>
                  </a:lnTo>
                  <a:lnTo>
                    <a:pt x="207" y="161"/>
                  </a:lnTo>
                  <a:lnTo>
                    <a:pt x="212" y="167"/>
                  </a:lnTo>
                  <a:lnTo>
                    <a:pt x="216" y="172"/>
                  </a:lnTo>
                  <a:lnTo>
                    <a:pt x="219" y="176"/>
                  </a:lnTo>
                  <a:lnTo>
                    <a:pt x="219" y="176"/>
                  </a:lnTo>
                  <a:lnTo>
                    <a:pt x="221" y="181"/>
                  </a:lnTo>
                  <a:lnTo>
                    <a:pt x="221" y="183"/>
                  </a:lnTo>
                  <a:lnTo>
                    <a:pt x="221" y="186"/>
                  </a:lnTo>
                  <a:lnTo>
                    <a:pt x="224" y="188"/>
                  </a:lnTo>
                  <a:lnTo>
                    <a:pt x="224" y="188"/>
                  </a:lnTo>
                  <a:lnTo>
                    <a:pt x="228" y="188"/>
                  </a:lnTo>
                  <a:lnTo>
                    <a:pt x="232" y="186"/>
                  </a:lnTo>
                  <a:lnTo>
                    <a:pt x="237" y="181"/>
                  </a:lnTo>
                  <a:lnTo>
                    <a:pt x="237" y="181"/>
                  </a:lnTo>
                  <a:lnTo>
                    <a:pt x="238" y="181"/>
                  </a:lnTo>
                  <a:lnTo>
                    <a:pt x="241" y="183"/>
                  </a:lnTo>
                  <a:lnTo>
                    <a:pt x="246" y="185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3" y="185"/>
                  </a:lnTo>
                  <a:lnTo>
                    <a:pt x="256" y="183"/>
                  </a:lnTo>
                  <a:lnTo>
                    <a:pt x="262" y="179"/>
                  </a:lnTo>
                  <a:lnTo>
                    <a:pt x="272" y="169"/>
                  </a:lnTo>
                  <a:lnTo>
                    <a:pt x="272" y="169"/>
                  </a:lnTo>
                  <a:lnTo>
                    <a:pt x="277" y="166"/>
                  </a:lnTo>
                  <a:lnTo>
                    <a:pt x="280" y="164"/>
                  </a:lnTo>
                  <a:lnTo>
                    <a:pt x="283" y="163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92" y="149"/>
                  </a:lnTo>
                  <a:lnTo>
                    <a:pt x="296" y="143"/>
                  </a:lnTo>
                  <a:lnTo>
                    <a:pt x="296" y="143"/>
                  </a:lnTo>
                  <a:lnTo>
                    <a:pt x="298" y="139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3" y="130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86" y="121"/>
                  </a:lnTo>
                  <a:lnTo>
                    <a:pt x="281" y="115"/>
                  </a:lnTo>
                  <a:lnTo>
                    <a:pt x="280" y="108"/>
                  </a:lnTo>
                  <a:lnTo>
                    <a:pt x="280" y="102"/>
                  </a:lnTo>
                  <a:lnTo>
                    <a:pt x="280" y="102"/>
                  </a:lnTo>
                  <a:lnTo>
                    <a:pt x="281" y="99"/>
                  </a:lnTo>
                  <a:lnTo>
                    <a:pt x="283" y="98"/>
                  </a:lnTo>
                  <a:lnTo>
                    <a:pt x="289" y="93"/>
                  </a:lnTo>
                  <a:lnTo>
                    <a:pt x="293" y="89"/>
                  </a:lnTo>
                  <a:lnTo>
                    <a:pt x="295" y="87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89" y="81"/>
                  </a:lnTo>
                  <a:lnTo>
                    <a:pt x="281" y="75"/>
                  </a:lnTo>
                  <a:lnTo>
                    <a:pt x="269" y="66"/>
                  </a:lnTo>
                  <a:lnTo>
                    <a:pt x="269" y="66"/>
                  </a:lnTo>
                  <a:lnTo>
                    <a:pt x="266" y="66"/>
                  </a:lnTo>
                  <a:lnTo>
                    <a:pt x="262" y="66"/>
                  </a:lnTo>
                  <a:lnTo>
                    <a:pt x="256" y="65"/>
                  </a:lnTo>
                  <a:lnTo>
                    <a:pt x="249" y="64"/>
                  </a:lnTo>
                  <a:lnTo>
                    <a:pt x="249" y="64"/>
                  </a:lnTo>
                  <a:lnTo>
                    <a:pt x="235" y="59"/>
                  </a:lnTo>
                  <a:lnTo>
                    <a:pt x="231" y="58"/>
                  </a:lnTo>
                  <a:lnTo>
                    <a:pt x="229" y="55"/>
                  </a:lnTo>
                  <a:lnTo>
                    <a:pt x="229" y="55"/>
                  </a:lnTo>
                  <a:lnTo>
                    <a:pt x="226" y="49"/>
                  </a:lnTo>
                  <a:lnTo>
                    <a:pt x="224" y="40"/>
                  </a:lnTo>
                  <a:lnTo>
                    <a:pt x="218" y="32"/>
                  </a:lnTo>
                  <a:lnTo>
                    <a:pt x="215" y="29"/>
                  </a:lnTo>
                  <a:lnTo>
                    <a:pt x="212" y="26"/>
                  </a:lnTo>
                  <a:lnTo>
                    <a:pt x="212" y="26"/>
                  </a:lnTo>
                  <a:lnTo>
                    <a:pt x="198" y="21"/>
                  </a:lnTo>
                  <a:lnTo>
                    <a:pt x="194" y="18"/>
                  </a:lnTo>
                  <a:lnTo>
                    <a:pt x="189" y="18"/>
                  </a:lnTo>
                  <a:lnTo>
                    <a:pt x="189" y="18"/>
                  </a:lnTo>
                  <a:lnTo>
                    <a:pt x="181" y="18"/>
                  </a:lnTo>
                  <a:lnTo>
                    <a:pt x="178" y="16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5" y="6"/>
                  </a:lnTo>
                  <a:lnTo>
                    <a:pt x="176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6" name="Freeform 155">
              <a:extLst>
                <a:ext uri="{FF2B5EF4-FFF2-40B4-BE49-F238E27FC236}">
                  <a16:creationId xmlns:a16="http://schemas.microsoft.com/office/drawing/2014/main" id="{5A33BD39-FCCB-5647-BA9D-BF20E7DEB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338" y="5187950"/>
              <a:ext cx="250825" cy="312737"/>
            </a:xfrm>
            <a:custGeom>
              <a:avLst/>
              <a:gdLst>
                <a:gd name="T0" fmla="*/ 0 w 158"/>
                <a:gd name="T1" fmla="*/ 159 h 197"/>
                <a:gd name="T2" fmla="*/ 19 w 158"/>
                <a:gd name="T3" fmla="*/ 166 h 197"/>
                <a:gd name="T4" fmla="*/ 24 w 158"/>
                <a:gd name="T5" fmla="*/ 167 h 197"/>
                <a:gd name="T6" fmla="*/ 29 w 158"/>
                <a:gd name="T7" fmla="*/ 172 h 197"/>
                <a:gd name="T8" fmla="*/ 38 w 158"/>
                <a:gd name="T9" fmla="*/ 172 h 197"/>
                <a:gd name="T10" fmla="*/ 75 w 158"/>
                <a:gd name="T11" fmla="*/ 167 h 197"/>
                <a:gd name="T12" fmla="*/ 92 w 158"/>
                <a:gd name="T13" fmla="*/ 169 h 197"/>
                <a:gd name="T14" fmla="*/ 106 w 158"/>
                <a:gd name="T15" fmla="*/ 172 h 197"/>
                <a:gd name="T16" fmla="*/ 109 w 158"/>
                <a:gd name="T17" fmla="*/ 175 h 197"/>
                <a:gd name="T18" fmla="*/ 111 w 158"/>
                <a:gd name="T19" fmla="*/ 184 h 197"/>
                <a:gd name="T20" fmla="*/ 118 w 158"/>
                <a:gd name="T21" fmla="*/ 196 h 197"/>
                <a:gd name="T22" fmla="*/ 126 w 158"/>
                <a:gd name="T23" fmla="*/ 197 h 197"/>
                <a:gd name="T24" fmla="*/ 129 w 158"/>
                <a:gd name="T25" fmla="*/ 196 h 197"/>
                <a:gd name="T26" fmla="*/ 136 w 158"/>
                <a:gd name="T27" fmla="*/ 190 h 197"/>
                <a:gd name="T28" fmla="*/ 142 w 158"/>
                <a:gd name="T29" fmla="*/ 179 h 197"/>
                <a:gd name="T30" fmla="*/ 151 w 158"/>
                <a:gd name="T31" fmla="*/ 150 h 197"/>
                <a:gd name="T32" fmla="*/ 155 w 158"/>
                <a:gd name="T33" fmla="*/ 138 h 197"/>
                <a:gd name="T34" fmla="*/ 155 w 158"/>
                <a:gd name="T35" fmla="*/ 132 h 197"/>
                <a:gd name="T36" fmla="*/ 142 w 158"/>
                <a:gd name="T37" fmla="*/ 120 h 197"/>
                <a:gd name="T38" fmla="*/ 136 w 158"/>
                <a:gd name="T39" fmla="*/ 116 h 197"/>
                <a:gd name="T40" fmla="*/ 133 w 158"/>
                <a:gd name="T41" fmla="*/ 107 h 197"/>
                <a:gd name="T42" fmla="*/ 136 w 158"/>
                <a:gd name="T43" fmla="*/ 102 h 197"/>
                <a:gd name="T44" fmla="*/ 146 w 158"/>
                <a:gd name="T45" fmla="*/ 96 h 197"/>
                <a:gd name="T46" fmla="*/ 155 w 158"/>
                <a:gd name="T47" fmla="*/ 87 h 197"/>
                <a:gd name="T48" fmla="*/ 157 w 158"/>
                <a:gd name="T49" fmla="*/ 81 h 197"/>
                <a:gd name="T50" fmla="*/ 157 w 158"/>
                <a:gd name="T51" fmla="*/ 76 h 197"/>
                <a:gd name="T52" fmla="*/ 154 w 158"/>
                <a:gd name="T53" fmla="*/ 79 h 197"/>
                <a:gd name="T54" fmla="*/ 136 w 158"/>
                <a:gd name="T55" fmla="*/ 92 h 197"/>
                <a:gd name="T56" fmla="*/ 132 w 158"/>
                <a:gd name="T57" fmla="*/ 93 h 197"/>
                <a:gd name="T58" fmla="*/ 126 w 158"/>
                <a:gd name="T59" fmla="*/ 87 h 197"/>
                <a:gd name="T60" fmla="*/ 121 w 158"/>
                <a:gd name="T61" fmla="*/ 77 h 197"/>
                <a:gd name="T62" fmla="*/ 115 w 158"/>
                <a:gd name="T63" fmla="*/ 71 h 197"/>
                <a:gd name="T64" fmla="*/ 105 w 158"/>
                <a:gd name="T65" fmla="*/ 65 h 197"/>
                <a:gd name="T66" fmla="*/ 93 w 158"/>
                <a:gd name="T67" fmla="*/ 59 h 197"/>
                <a:gd name="T68" fmla="*/ 84 w 158"/>
                <a:gd name="T69" fmla="*/ 59 h 197"/>
                <a:gd name="T70" fmla="*/ 83 w 158"/>
                <a:gd name="T71" fmla="*/ 61 h 197"/>
                <a:gd name="T72" fmla="*/ 81 w 158"/>
                <a:gd name="T73" fmla="*/ 62 h 197"/>
                <a:gd name="T74" fmla="*/ 74 w 158"/>
                <a:gd name="T75" fmla="*/ 50 h 197"/>
                <a:gd name="T76" fmla="*/ 74 w 158"/>
                <a:gd name="T77" fmla="*/ 46 h 197"/>
                <a:gd name="T78" fmla="*/ 68 w 158"/>
                <a:gd name="T79" fmla="*/ 43 h 197"/>
                <a:gd name="T80" fmla="*/ 59 w 158"/>
                <a:gd name="T81" fmla="*/ 43 h 197"/>
                <a:gd name="T82" fmla="*/ 37 w 158"/>
                <a:gd name="T83" fmla="*/ 46 h 197"/>
                <a:gd name="T84" fmla="*/ 32 w 158"/>
                <a:gd name="T85" fmla="*/ 44 h 197"/>
                <a:gd name="T86" fmla="*/ 22 w 158"/>
                <a:gd name="T87" fmla="*/ 36 h 197"/>
                <a:gd name="T88" fmla="*/ 24 w 158"/>
                <a:gd name="T89" fmla="*/ 31 h 197"/>
                <a:gd name="T90" fmla="*/ 28 w 158"/>
                <a:gd name="T91" fmla="*/ 24 h 197"/>
                <a:gd name="T92" fmla="*/ 26 w 158"/>
                <a:gd name="T93" fmla="*/ 18 h 197"/>
                <a:gd name="T94" fmla="*/ 21 w 158"/>
                <a:gd name="T95" fmla="*/ 10 h 197"/>
                <a:gd name="T96" fmla="*/ 19 w 158"/>
                <a:gd name="T97" fmla="*/ 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" h="197">
                  <a:moveTo>
                    <a:pt x="0" y="159"/>
                  </a:moveTo>
                  <a:lnTo>
                    <a:pt x="0" y="159"/>
                  </a:lnTo>
                  <a:lnTo>
                    <a:pt x="7" y="161"/>
                  </a:lnTo>
                  <a:lnTo>
                    <a:pt x="19" y="166"/>
                  </a:lnTo>
                  <a:lnTo>
                    <a:pt x="19" y="166"/>
                  </a:lnTo>
                  <a:lnTo>
                    <a:pt x="24" y="167"/>
                  </a:lnTo>
                  <a:lnTo>
                    <a:pt x="25" y="169"/>
                  </a:lnTo>
                  <a:lnTo>
                    <a:pt x="29" y="172"/>
                  </a:lnTo>
                  <a:lnTo>
                    <a:pt x="38" y="172"/>
                  </a:lnTo>
                  <a:lnTo>
                    <a:pt x="38" y="172"/>
                  </a:lnTo>
                  <a:lnTo>
                    <a:pt x="75" y="167"/>
                  </a:lnTo>
                  <a:lnTo>
                    <a:pt x="75" y="167"/>
                  </a:lnTo>
                  <a:lnTo>
                    <a:pt x="83" y="167"/>
                  </a:lnTo>
                  <a:lnTo>
                    <a:pt x="92" y="169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8" y="172"/>
                  </a:lnTo>
                  <a:lnTo>
                    <a:pt x="109" y="175"/>
                  </a:lnTo>
                  <a:lnTo>
                    <a:pt x="111" y="184"/>
                  </a:lnTo>
                  <a:lnTo>
                    <a:pt x="111" y="184"/>
                  </a:lnTo>
                  <a:lnTo>
                    <a:pt x="114" y="191"/>
                  </a:lnTo>
                  <a:lnTo>
                    <a:pt x="118" y="196"/>
                  </a:lnTo>
                  <a:lnTo>
                    <a:pt x="123" y="197"/>
                  </a:lnTo>
                  <a:lnTo>
                    <a:pt x="126" y="197"/>
                  </a:lnTo>
                  <a:lnTo>
                    <a:pt x="129" y="196"/>
                  </a:lnTo>
                  <a:lnTo>
                    <a:pt x="129" y="196"/>
                  </a:lnTo>
                  <a:lnTo>
                    <a:pt x="133" y="193"/>
                  </a:lnTo>
                  <a:lnTo>
                    <a:pt x="136" y="190"/>
                  </a:lnTo>
                  <a:lnTo>
                    <a:pt x="139" y="185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1" y="126"/>
                  </a:lnTo>
                  <a:lnTo>
                    <a:pt x="142" y="120"/>
                  </a:lnTo>
                  <a:lnTo>
                    <a:pt x="142" y="120"/>
                  </a:lnTo>
                  <a:lnTo>
                    <a:pt x="136" y="116"/>
                  </a:lnTo>
                  <a:lnTo>
                    <a:pt x="133" y="111"/>
                  </a:lnTo>
                  <a:lnTo>
                    <a:pt x="133" y="107"/>
                  </a:lnTo>
                  <a:lnTo>
                    <a:pt x="136" y="102"/>
                  </a:lnTo>
                  <a:lnTo>
                    <a:pt x="136" y="102"/>
                  </a:lnTo>
                  <a:lnTo>
                    <a:pt x="141" y="99"/>
                  </a:lnTo>
                  <a:lnTo>
                    <a:pt x="146" y="96"/>
                  </a:lnTo>
                  <a:lnTo>
                    <a:pt x="151" y="92"/>
                  </a:lnTo>
                  <a:lnTo>
                    <a:pt x="155" y="87"/>
                  </a:lnTo>
                  <a:lnTo>
                    <a:pt x="155" y="87"/>
                  </a:lnTo>
                  <a:lnTo>
                    <a:pt x="157" y="81"/>
                  </a:lnTo>
                  <a:lnTo>
                    <a:pt x="158" y="77"/>
                  </a:lnTo>
                  <a:lnTo>
                    <a:pt x="157" y="76"/>
                  </a:lnTo>
                  <a:lnTo>
                    <a:pt x="154" y="79"/>
                  </a:lnTo>
                  <a:lnTo>
                    <a:pt x="154" y="79"/>
                  </a:lnTo>
                  <a:lnTo>
                    <a:pt x="142" y="87"/>
                  </a:lnTo>
                  <a:lnTo>
                    <a:pt x="136" y="92"/>
                  </a:lnTo>
                  <a:lnTo>
                    <a:pt x="132" y="93"/>
                  </a:lnTo>
                  <a:lnTo>
                    <a:pt x="132" y="93"/>
                  </a:lnTo>
                  <a:lnTo>
                    <a:pt x="127" y="90"/>
                  </a:lnTo>
                  <a:lnTo>
                    <a:pt x="126" y="8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18" y="73"/>
                  </a:lnTo>
                  <a:lnTo>
                    <a:pt x="115" y="71"/>
                  </a:lnTo>
                  <a:lnTo>
                    <a:pt x="105" y="65"/>
                  </a:lnTo>
                  <a:lnTo>
                    <a:pt x="105" y="65"/>
                  </a:lnTo>
                  <a:lnTo>
                    <a:pt x="99" y="62"/>
                  </a:lnTo>
                  <a:lnTo>
                    <a:pt x="93" y="59"/>
                  </a:lnTo>
                  <a:lnTo>
                    <a:pt x="87" y="59"/>
                  </a:lnTo>
                  <a:lnTo>
                    <a:pt x="84" y="59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78" y="59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46"/>
                  </a:lnTo>
                  <a:lnTo>
                    <a:pt x="71" y="44"/>
                  </a:lnTo>
                  <a:lnTo>
                    <a:pt x="68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43" y="46"/>
                  </a:lnTo>
                  <a:lnTo>
                    <a:pt x="37" y="46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6" y="27"/>
                  </a:lnTo>
                  <a:lnTo>
                    <a:pt x="28" y="24"/>
                  </a:lnTo>
                  <a:lnTo>
                    <a:pt x="28" y="21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1" y="10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7" name="Freeform 156">
              <a:extLst>
                <a:ext uri="{FF2B5EF4-FFF2-40B4-BE49-F238E27FC236}">
                  <a16:creationId xmlns:a16="http://schemas.microsoft.com/office/drawing/2014/main" id="{A311AB8A-D3DB-BC45-8D53-83AA4FF58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0463" y="5272088"/>
              <a:ext cx="274638" cy="252412"/>
            </a:xfrm>
            <a:custGeom>
              <a:avLst/>
              <a:gdLst>
                <a:gd name="T0" fmla="*/ 0 w 173"/>
                <a:gd name="T1" fmla="*/ 117 h 159"/>
                <a:gd name="T2" fmla="*/ 3 w 173"/>
                <a:gd name="T3" fmla="*/ 135 h 159"/>
                <a:gd name="T4" fmla="*/ 8 w 173"/>
                <a:gd name="T5" fmla="*/ 141 h 159"/>
                <a:gd name="T6" fmla="*/ 23 w 173"/>
                <a:gd name="T7" fmla="*/ 154 h 159"/>
                <a:gd name="T8" fmla="*/ 34 w 173"/>
                <a:gd name="T9" fmla="*/ 159 h 159"/>
                <a:gd name="T10" fmla="*/ 35 w 173"/>
                <a:gd name="T11" fmla="*/ 159 h 159"/>
                <a:gd name="T12" fmla="*/ 44 w 173"/>
                <a:gd name="T13" fmla="*/ 147 h 159"/>
                <a:gd name="T14" fmla="*/ 48 w 173"/>
                <a:gd name="T15" fmla="*/ 143 h 159"/>
                <a:gd name="T16" fmla="*/ 56 w 173"/>
                <a:gd name="T17" fmla="*/ 144 h 159"/>
                <a:gd name="T18" fmla="*/ 62 w 173"/>
                <a:gd name="T19" fmla="*/ 148 h 159"/>
                <a:gd name="T20" fmla="*/ 65 w 173"/>
                <a:gd name="T21" fmla="*/ 154 h 159"/>
                <a:gd name="T22" fmla="*/ 69 w 173"/>
                <a:gd name="T23" fmla="*/ 156 h 159"/>
                <a:gd name="T24" fmla="*/ 77 w 173"/>
                <a:gd name="T25" fmla="*/ 154 h 159"/>
                <a:gd name="T26" fmla="*/ 88 w 173"/>
                <a:gd name="T27" fmla="*/ 153 h 159"/>
                <a:gd name="T28" fmla="*/ 96 w 173"/>
                <a:gd name="T29" fmla="*/ 154 h 159"/>
                <a:gd name="T30" fmla="*/ 108 w 173"/>
                <a:gd name="T31" fmla="*/ 157 h 159"/>
                <a:gd name="T32" fmla="*/ 111 w 173"/>
                <a:gd name="T33" fmla="*/ 154 h 159"/>
                <a:gd name="T34" fmla="*/ 112 w 173"/>
                <a:gd name="T35" fmla="*/ 150 h 159"/>
                <a:gd name="T36" fmla="*/ 114 w 173"/>
                <a:gd name="T37" fmla="*/ 144 h 159"/>
                <a:gd name="T38" fmla="*/ 108 w 173"/>
                <a:gd name="T39" fmla="*/ 141 h 159"/>
                <a:gd name="T40" fmla="*/ 94 w 173"/>
                <a:gd name="T41" fmla="*/ 137 h 159"/>
                <a:gd name="T42" fmla="*/ 90 w 173"/>
                <a:gd name="T43" fmla="*/ 134 h 159"/>
                <a:gd name="T44" fmla="*/ 91 w 173"/>
                <a:gd name="T45" fmla="*/ 132 h 159"/>
                <a:gd name="T46" fmla="*/ 99 w 173"/>
                <a:gd name="T47" fmla="*/ 126 h 159"/>
                <a:gd name="T48" fmla="*/ 105 w 173"/>
                <a:gd name="T49" fmla="*/ 125 h 159"/>
                <a:gd name="T50" fmla="*/ 108 w 173"/>
                <a:gd name="T51" fmla="*/ 125 h 159"/>
                <a:gd name="T52" fmla="*/ 112 w 173"/>
                <a:gd name="T53" fmla="*/ 126 h 159"/>
                <a:gd name="T54" fmla="*/ 127 w 173"/>
                <a:gd name="T55" fmla="*/ 120 h 159"/>
                <a:gd name="T56" fmla="*/ 131 w 173"/>
                <a:gd name="T57" fmla="*/ 119 h 159"/>
                <a:gd name="T58" fmla="*/ 140 w 173"/>
                <a:gd name="T59" fmla="*/ 117 h 159"/>
                <a:gd name="T60" fmla="*/ 155 w 173"/>
                <a:gd name="T61" fmla="*/ 117 h 159"/>
                <a:gd name="T62" fmla="*/ 164 w 173"/>
                <a:gd name="T63" fmla="*/ 113 h 159"/>
                <a:gd name="T64" fmla="*/ 171 w 173"/>
                <a:gd name="T65" fmla="*/ 108 h 159"/>
                <a:gd name="T66" fmla="*/ 173 w 173"/>
                <a:gd name="T67" fmla="*/ 103 h 159"/>
                <a:gd name="T68" fmla="*/ 173 w 173"/>
                <a:gd name="T69" fmla="*/ 91 h 159"/>
                <a:gd name="T70" fmla="*/ 168 w 173"/>
                <a:gd name="T71" fmla="*/ 76 h 159"/>
                <a:gd name="T72" fmla="*/ 162 w 173"/>
                <a:gd name="T73" fmla="*/ 61 h 159"/>
                <a:gd name="T74" fmla="*/ 158 w 173"/>
                <a:gd name="T75" fmla="*/ 49 h 159"/>
                <a:gd name="T76" fmla="*/ 155 w 173"/>
                <a:gd name="T77" fmla="*/ 43 h 159"/>
                <a:gd name="T78" fmla="*/ 143 w 173"/>
                <a:gd name="T79" fmla="*/ 31 h 159"/>
                <a:gd name="T80" fmla="*/ 130 w 173"/>
                <a:gd name="T81" fmla="*/ 24 h 159"/>
                <a:gd name="T82" fmla="*/ 117 w 173"/>
                <a:gd name="T83" fmla="*/ 11 h 159"/>
                <a:gd name="T84" fmla="*/ 111 w 173"/>
                <a:gd name="T85" fmla="*/ 6 h 159"/>
                <a:gd name="T86" fmla="*/ 99 w 173"/>
                <a:gd name="T87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" h="159">
                  <a:moveTo>
                    <a:pt x="0" y="117"/>
                  </a:moveTo>
                  <a:lnTo>
                    <a:pt x="0" y="117"/>
                  </a:lnTo>
                  <a:lnTo>
                    <a:pt x="0" y="128"/>
                  </a:lnTo>
                  <a:lnTo>
                    <a:pt x="3" y="135"/>
                  </a:lnTo>
                  <a:lnTo>
                    <a:pt x="4" y="138"/>
                  </a:lnTo>
                  <a:lnTo>
                    <a:pt x="8" y="141"/>
                  </a:lnTo>
                  <a:lnTo>
                    <a:pt x="8" y="141"/>
                  </a:lnTo>
                  <a:lnTo>
                    <a:pt x="23" y="154"/>
                  </a:lnTo>
                  <a:lnTo>
                    <a:pt x="31" y="159"/>
                  </a:lnTo>
                  <a:lnTo>
                    <a:pt x="34" y="159"/>
                  </a:lnTo>
                  <a:lnTo>
                    <a:pt x="35" y="159"/>
                  </a:lnTo>
                  <a:lnTo>
                    <a:pt x="35" y="159"/>
                  </a:lnTo>
                  <a:lnTo>
                    <a:pt x="40" y="153"/>
                  </a:lnTo>
                  <a:lnTo>
                    <a:pt x="44" y="147"/>
                  </a:lnTo>
                  <a:lnTo>
                    <a:pt x="45" y="144"/>
                  </a:lnTo>
                  <a:lnTo>
                    <a:pt x="48" y="143"/>
                  </a:lnTo>
                  <a:lnTo>
                    <a:pt x="51" y="143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62" y="148"/>
                  </a:lnTo>
                  <a:lnTo>
                    <a:pt x="63" y="153"/>
                  </a:lnTo>
                  <a:lnTo>
                    <a:pt x="65" y="154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74" y="156"/>
                  </a:lnTo>
                  <a:lnTo>
                    <a:pt x="77" y="154"/>
                  </a:lnTo>
                  <a:lnTo>
                    <a:pt x="81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6" y="154"/>
                  </a:lnTo>
                  <a:lnTo>
                    <a:pt x="102" y="156"/>
                  </a:lnTo>
                  <a:lnTo>
                    <a:pt x="108" y="157"/>
                  </a:lnTo>
                  <a:lnTo>
                    <a:pt x="109" y="156"/>
                  </a:lnTo>
                  <a:lnTo>
                    <a:pt x="111" y="154"/>
                  </a:lnTo>
                  <a:lnTo>
                    <a:pt x="111" y="154"/>
                  </a:lnTo>
                  <a:lnTo>
                    <a:pt x="112" y="150"/>
                  </a:lnTo>
                  <a:lnTo>
                    <a:pt x="114" y="145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94" y="137"/>
                  </a:lnTo>
                  <a:lnTo>
                    <a:pt x="91" y="135"/>
                  </a:lnTo>
                  <a:lnTo>
                    <a:pt x="90" y="134"/>
                  </a:lnTo>
                  <a:lnTo>
                    <a:pt x="91" y="132"/>
                  </a:lnTo>
                  <a:lnTo>
                    <a:pt x="91" y="132"/>
                  </a:lnTo>
                  <a:lnTo>
                    <a:pt x="94" y="129"/>
                  </a:lnTo>
                  <a:lnTo>
                    <a:pt x="99" y="126"/>
                  </a:lnTo>
                  <a:lnTo>
                    <a:pt x="103" y="125"/>
                  </a:lnTo>
                  <a:lnTo>
                    <a:pt x="105" y="125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9" y="126"/>
                  </a:lnTo>
                  <a:lnTo>
                    <a:pt x="112" y="126"/>
                  </a:lnTo>
                  <a:lnTo>
                    <a:pt x="119" y="123"/>
                  </a:lnTo>
                  <a:lnTo>
                    <a:pt x="127" y="120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4" y="117"/>
                  </a:lnTo>
                  <a:lnTo>
                    <a:pt x="140" y="117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6"/>
                  </a:lnTo>
                  <a:lnTo>
                    <a:pt x="164" y="113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3" y="107"/>
                  </a:lnTo>
                  <a:lnTo>
                    <a:pt x="173" y="103"/>
                  </a:lnTo>
                  <a:lnTo>
                    <a:pt x="173" y="91"/>
                  </a:lnTo>
                  <a:lnTo>
                    <a:pt x="173" y="91"/>
                  </a:lnTo>
                  <a:lnTo>
                    <a:pt x="171" y="85"/>
                  </a:lnTo>
                  <a:lnTo>
                    <a:pt x="168" y="76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59" y="54"/>
                  </a:lnTo>
                  <a:lnTo>
                    <a:pt x="158" y="49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49" y="37"/>
                  </a:lnTo>
                  <a:lnTo>
                    <a:pt x="143" y="31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22" y="17"/>
                  </a:lnTo>
                  <a:lnTo>
                    <a:pt x="117" y="11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03" y="3"/>
                  </a:lnTo>
                  <a:lnTo>
                    <a:pt x="99" y="0"/>
                  </a:lnTo>
                  <a:lnTo>
                    <a:pt x="94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8" name="Freeform 157">
              <a:extLst>
                <a:ext uri="{FF2B5EF4-FFF2-40B4-BE49-F238E27FC236}">
                  <a16:creationId xmlns:a16="http://schemas.microsoft.com/office/drawing/2014/main" id="{2691304D-E250-ED4D-B6C1-D5E0B3C43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13463" y="5378450"/>
              <a:ext cx="147638" cy="141287"/>
            </a:xfrm>
            <a:custGeom>
              <a:avLst/>
              <a:gdLst>
                <a:gd name="T0" fmla="*/ 0 w 93"/>
                <a:gd name="T1" fmla="*/ 78 h 89"/>
                <a:gd name="T2" fmla="*/ 0 w 93"/>
                <a:gd name="T3" fmla="*/ 78 h 89"/>
                <a:gd name="T4" fmla="*/ 7 w 93"/>
                <a:gd name="T5" fmla="*/ 77 h 89"/>
                <a:gd name="T6" fmla="*/ 14 w 93"/>
                <a:gd name="T7" fmla="*/ 78 h 89"/>
                <a:gd name="T8" fmla="*/ 17 w 93"/>
                <a:gd name="T9" fmla="*/ 80 h 89"/>
                <a:gd name="T10" fmla="*/ 20 w 93"/>
                <a:gd name="T11" fmla="*/ 81 h 89"/>
                <a:gd name="T12" fmla="*/ 20 w 93"/>
                <a:gd name="T13" fmla="*/ 81 h 89"/>
                <a:gd name="T14" fmla="*/ 28 w 93"/>
                <a:gd name="T15" fmla="*/ 86 h 89"/>
                <a:gd name="T16" fmla="*/ 38 w 93"/>
                <a:gd name="T17" fmla="*/ 87 h 89"/>
                <a:gd name="T18" fmla="*/ 47 w 93"/>
                <a:gd name="T19" fmla="*/ 89 h 89"/>
                <a:gd name="T20" fmla="*/ 53 w 93"/>
                <a:gd name="T21" fmla="*/ 87 h 89"/>
                <a:gd name="T22" fmla="*/ 53 w 93"/>
                <a:gd name="T23" fmla="*/ 87 h 89"/>
                <a:gd name="T24" fmla="*/ 57 w 93"/>
                <a:gd name="T25" fmla="*/ 83 h 89"/>
                <a:gd name="T26" fmla="*/ 60 w 93"/>
                <a:gd name="T27" fmla="*/ 78 h 89"/>
                <a:gd name="T28" fmla="*/ 65 w 93"/>
                <a:gd name="T29" fmla="*/ 68 h 89"/>
                <a:gd name="T30" fmla="*/ 65 w 93"/>
                <a:gd name="T31" fmla="*/ 68 h 89"/>
                <a:gd name="T32" fmla="*/ 71 w 93"/>
                <a:gd name="T33" fmla="*/ 59 h 89"/>
                <a:gd name="T34" fmla="*/ 80 w 93"/>
                <a:gd name="T35" fmla="*/ 50 h 89"/>
                <a:gd name="T36" fmla="*/ 80 w 93"/>
                <a:gd name="T37" fmla="*/ 50 h 89"/>
                <a:gd name="T38" fmla="*/ 84 w 93"/>
                <a:gd name="T39" fmla="*/ 46 h 89"/>
                <a:gd name="T40" fmla="*/ 85 w 93"/>
                <a:gd name="T41" fmla="*/ 39 h 89"/>
                <a:gd name="T42" fmla="*/ 85 w 93"/>
                <a:gd name="T43" fmla="*/ 27 h 89"/>
                <a:gd name="T44" fmla="*/ 85 w 93"/>
                <a:gd name="T45" fmla="*/ 27 h 89"/>
                <a:gd name="T46" fmla="*/ 88 w 93"/>
                <a:gd name="T47" fmla="*/ 24 h 89"/>
                <a:gd name="T48" fmla="*/ 90 w 93"/>
                <a:gd name="T49" fmla="*/ 21 h 89"/>
                <a:gd name="T50" fmla="*/ 93 w 93"/>
                <a:gd name="T51" fmla="*/ 18 h 89"/>
                <a:gd name="T52" fmla="*/ 91 w 93"/>
                <a:gd name="T53" fmla="*/ 15 h 89"/>
                <a:gd name="T54" fmla="*/ 91 w 93"/>
                <a:gd name="T55" fmla="*/ 15 h 89"/>
                <a:gd name="T56" fmla="*/ 84 w 93"/>
                <a:gd name="T5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89">
                  <a:moveTo>
                    <a:pt x="0" y="78"/>
                  </a:moveTo>
                  <a:lnTo>
                    <a:pt x="0" y="78"/>
                  </a:lnTo>
                  <a:lnTo>
                    <a:pt x="7" y="77"/>
                  </a:lnTo>
                  <a:lnTo>
                    <a:pt x="14" y="78"/>
                  </a:lnTo>
                  <a:lnTo>
                    <a:pt x="17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8" y="86"/>
                  </a:lnTo>
                  <a:lnTo>
                    <a:pt x="38" y="87"/>
                  </a:lnTo>
                  <a:lnTo>
                    <a:pt x="47" y="89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7" y="83"/>
                  </a:lnTo>
                  <a:lnTo>
                    <a:pt x="60" y="7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4" y="46"/>
                  </a:lnTo>
                  <a:lnTo>
                    <a:pt x="85" y="39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8" y="24"/>
                  </a:lnTo>
                  <a:lnTo>
                    <a:pt x="90" y="21"/>
                  </a:lnTo>
                  <a:lnTo>
                    <a:pt x="93" y="18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84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79" name="Freeform 158">
              <a:extLst>
                <a:ext uri="{FF2B5EF4-FFF2-40B4-BE49-F238E27FC236}">
                  <a16:creationId xmlns:a16="http://schemas.microsoft.com/office/drawing/2014/main" id="{DAD1AF6D-F317-4A40-A66F-30A17155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125" y="5240338"/>
              <a:ext cx="425450" cy="495300"/>
            </a:xfrm>
            <a:custGeom>
              <a:avLst/>
              <a:gdLst>
                <a:gd name="T0" fmla="*/ 95 w 268"/>
                <a:gd name="T1" fmla="*/ 1 h 312"/>
                <a:gd name="T2" fmla="*/ 92 w 268"/>
                <a:gd name="T3" fmla="*/ 7 h 312"/>
                <a:gd name="T4" fmla="*/ 96 w 268"/>
                <a:gd name="T5" fmla="*/ 11 h 312"/>
                <a:gd name="T6" fmla="*/ 105 w 268"/>
                <a:gd name="T7" fmla="*/ 25 h 312"/>
                <a:gd name="T8" fmla="*/ 127 w 268"/>
                <a:gd name="T9" fmla="*/ 38 h 312"/>
                <a:gd name="T10" fmla="*/ 135 w 268"/>
                <a:gd name="T11" fmla="*/ 40 h 312"/>
                <a:gd name="T12" fmla="*/ 144 w 268"/>
                <a:gd name="T13" fmla="*/ 37 h 312"/>
                <a:gd name="T14" fmla="*/ 150 w 268"/>
                <a:gd name="T15" fmla="*/ 44 h 312"/>
                <a:gd name="T16" fmla="*/ 163 w 268"/>
                <a:gd name="T17" fmla="*/ 74 h 312"/>
                <a:gd name="T18" fmla="*/ 157 w 268"/>
                <a:gd name="T19" fmla="*/ 87 h 312"/>
                <a:gd name="T20" fmla="*/ 158 w 268"/>
                <a:gd name="T21" fmla="*/ 93 h 312"/>
                <a:gd name="T22" fmla="*/ 164 w 268"/>
                <a:gd name="T23" fmla="*/ 99 h 312"/>
                <a:gd name="T24" fmla="*/ 170 w 268"/>
                <a:gd name="T25" fmla="*/ 114 h 312"/>
                <a:gd name="T26" fmla="*/ 173 w 268"/>
                <a:gd name="T27" fmla="*/ 120 h 312"/>
                <a:gd name="T28" fmla="*/ 185 w 268"/>
                <a:gd name="T29" fmla="*/ 115 h 312"/>
                <a:gd name="T30" fmla="*/ 195 w 268"/>
                <a:gd name="T31" fmla="*/ 111 h 312"/>
                <a:gd name="T32" fmla="*/ 206 w 268"/>
                <a:gd name="T33" fmla="*/ 117 h 312"/>
                <a:gd name="T34" fmla="*/ 222 w 268"/>
                <a:gd name="T35" fmla="*/ 133 h 312"/>
                <a:gd name="T36" fmla="*/ 234 w 268"/>
                <a:gd name="T37" fmla="*/ 145 h 312"/>
                <a:gd name="T38" fmla="*/ 250 w 268"/>
                <a:gd name="T39" fmla="*/ 158 h 312"/>
                <a:gd name="T40" fmla="*/ 265 w 268"/>
                <a:gd name="T41" fmla="*/ 171 h 312"/>
                <a:gd name="T42" fmla="*/ 268 w 268"/>
                <a:gd name="T43" fmla="*/ 176 h 312"/>
                <a:gd name="T44" fmla="*/ 261 w 268"/>
                <a:gd name="T45" fmla="*/ 183 h 312"/>
                <a:gd name="T46" fmla="*/ 255 w 268"/>
                <a:gd name="T47" fmla="*/ 192 h 312"/>
                <a:gd name="T48" fmla="*/ 253 w 268"/>
                <a:gd name="T49" fmla="*/ 207 h 312"/>
                <a:gd name="T50" fmla="*/ 246 w 268"/>
                <a:gd name="T51" fmla="*/ 226 h 312"/>
                <a:gd name="T52" fmla="*/ 247 w 268"/>
                <a:gd name="T53" fmla="*/ 248 h 312"/>
                <a:gd name="T54" fmla="*/ 252 w 268"/>
                <a:gd name="T55" fmla="*/ 259 h 312"/>
                <a:gd name="T56" fmla="*/ 252 w 268"/>
                <a:gd name="T57" fmla="*/ 272 h 312"/>
                <a:gd name="T58" fmla="*/ 247 w 268"/>
                <a:gd name="T59" fmla="*/ 277 h 312"/>
                <a:gd name="T60" fmla="*/ 238 w 268"/>
                <a:gd name="T61" fmla="*/ 290 h 312"/>
                <a:gd name="T62" fmla="*/ 227 w 268"/>
                <a:gd name="T63" fmla="*/ 294 h 312"/>
                <a:gd name="T64" fmla="*/ 218 w 268"/>
                <a:gd name="T65" fmla="*/ 300 h 312"/>
                <a:gd name="T66" fmla="*/ 212 w 268"/>
                <a:gd name="T67" fmla="*/ 311 h 312"/>
                <a:gd name="T68" fmla="*/ 201 w 268"/>
                <a:gd name="T69" fmla="*/ 312 h 312"/>
                <a:gd name="T70" fmla="*/ 194 w 268"/>
                <a:gd name="T71" fmla="*/ 309 h 312"/>
                <a:gd name="T72" fmla="*/ 179 w 268"/>
                <a:gd name="T73" fmla="*/ 293 h 312"/>
                <a:gd name="T74" fmla="*/ 167 w 268"/>
                <a:gd name="T75" fmla="*/ 285 h 312"/>
                <a:gd name="T76" fmla="*/ 157 w 268"/>
                <a:gd name="T77" fmla="*/ 288 h 312"/>
                <a:gd name="T78" fmla="*/ 147 w 268"/>
                <a:gd name="T79" fmla="*/ 291 h 312"/>
                <a:gd name="T80" fmla="*/ 123 w 268"/>
                <a:gd name="T81" fmla="*/ 280 h 312"/>
                <a:gd name="T82" fmla="*/ 123 w 268"/>
                <a:gd name="T83" fmla="*/ 275 h 312"/>
                <a:gd name="T84" fmla="*/ 132 w 268"/>
                <a:gd name="T85" fmla="*/ 269 h 312"/>
                <a:gd name="T86" fmla="*/ 108 w 268"/>
                <a:gd name="T87" fmla="*/ 257 h 312"/>
                <a:gd name="T88" fmla="*/ 96 w 268"/>
                <a:gd name="T89" fmla="*/ 250 h 312"/>
                <a:gd name="T90" fmla="*/ 87 w 268"/>
                <a:gd name="T91" fmla="*/ 243 h 312"/>
                <a:gd name="T92" fmla="*/ 89 w 268"/>
                <a:gd name="T93" fmla="*/ 231 h 312"/>
                <a:gd name="T94" fmla="*/ 86 w 268"/>
                <a:gd name="T95" fmla="*/ 219 h 312"/>
                <a:gd name="T96" fmla="*/ 80 w 268"/>
                <a:gd name="T97" fmla="*/ 217 h 312"/>
                <a:gd name="T98" fmla="*/ 62 w 268"/>
                <a:gd name="T99" fmla="*/ 222 h 312"/>
                <a:gd name="T100" fmla="*/ 59 w 268"/>
                <a:gd name="T101" fmla="*/ 220 h 312"/>
                <a:gd name="T102" fmla="*/ 50 w 268"/>
                <a:gd name="T103" fmla="*/ 205 h 312"/>
                <a:gd name="T104" fmla="*/ 30 w 268"/>
                <a:gd name="T105" fmla="*/ 180 h 312"/>
                <a:gd name="T106" fmla="*/ 15 w 268"/>
                <a:gd name="T107" fmla="*/ 167 h 312"/>
                <a:gd name="T108" fmla="*/ 16 w 268"/>
                <a:gd name="T109" fmla="*/ 154 h 312"/>
                <a:gd name="T110" fmla="*/ 12 w 268"/>
                <a:gd name="T111" fmla="*/ 151 h 312"/>
                <a:gd name="T112" fmla="*/ 1 w 268"/>
                <a:gd name="T113" fmla="*/ 148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" h="312">
                  <a:moveTo>
                    <a:pt x="96" y="0"/>
                  </a:moveTo>
                  <a:lnTo>
                    <a:pt x="96" y="0"/>
                  </a:lnTo>
                  <a:lnTo>
                    <a:pt x="95" y="1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7"/>
                  </a:lnTo>
                  <a:lnTo>
                    <a:pt x="93" y="9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101" y="17"/>
                  </a:lnTo>
                  <a:lnTo>
                    <a:pt x="104" y="20"/>
                  </a:lnTo>
                  <a:lnTo>
                    <a:pt x="105" y="25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27" y="38"/>
                  </a:lnTo>
                  <a:lnTo>
                    <a:pt x="132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9" y="38"/>
                  </a:lnTo>
                  <a:lnTo>
                    <a:pt x="142" y="37"/>
                  </a:lnTo>
                  <a:lnTo>
                    <a:pt x="144" y="37"/>
                  </a:lnTo>
                  <a:lnTo>
                    <a:pt x="145" y="38"/>
                  </a:lnTo>
                  <a:lnTo>
                    <a:pt x="150" y="44"/>
                  </a:lnTo>
                  <a:lnTo>
                    <a:pt x="150" y="44"/>
                  </a:lnTo>
                  <a:lnTo>
                    <a:pt x="158" y="59"/>
                  </a:lnTo>
                  <a:lnTo>
                    <a:pt x="161" y="66"/>
                  </a:lnTo>
                  <a:lnTo>
                    <a:pt x="163" y="74"/>
                  </a:lnTo>
                  <a:lnTo>
                    <a:pt x="163" y="74"/>
                  </a:lnTo>
                  <a:lnTo>
                    <a:pt x="160" y="81"/>
                  </a:lnTo>
                  <a:lnTo>
                    <a:pt x="157" y="87"/>
                  </a:lnTo>
                  <a:lnTo>
                    <a:pt x="157" y="88"/>
                  </a:lnTo>
                  <a:lnTo>
                    <a:pt x="157" y="90"/>
                  </a:lnTo>
                  <a:lnTo>
                    <a:pt x="158" y="93"/>
                  </a:lnTo>
                  <a:lnTo>
                    <a:pt x="161" y="96"/>
                  </a:lnTo>
                  <a:lnTo>
                    <a:pt x="161" y="96"/>
                  </a:lnTo>
                  <a:lnTo>
                    <a:pt x="164" y="99"/>
                  </a:lnTo>
                  <a:lnTo>
                    <a:pt x="166" y="102"/>
                  </a:lnTo>
                  <a:lnTo>
                    <a:pt x="167" y="108"/>
                  </a:lnTo>
                  <a:lnTo>
                    <a:pt x="170" y="114"/>
                  </a:lnTo>
                  <a:lnTo>
                    <a:pt x="172" y="117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8" y="123"/>
                  </a:lnTo>
                  <a:lnTo>
                    <a:pt x="181" y="123"/>
                  </a:lnTo>
                  <a:lnTo>
                    <a:pt x="185" y="115"/>
                  </a:lnTo>
                  <a:lnTo>
                    <a:pt x="185" y="115"/>
                  </a:lnTo>
                  <a:lnTo>
                    <a:pt x="190" y="112"/>
                  </a:lnTo>
                  <a:lnTo>
                    <a:pt x="195" y="111"/>
                  </a:lnTo>
                  <a:lnTo>
                    <a:pt x="200" y="112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12" y="123"/>
                  </a:lnTo>
                  <a:lnTo>
                    <a:pt x="216" y="127"/>
                  </a:lnTo>
                  <a:lnTo>
                    <a:pt x="222" y="133"/>
                  </a:lnTo>
                  <a:lnTo>
                    <a:pt x="228" y="139"/>
                  </a:lnTo>
                  <a:lnTo>
                    <a:pt x="228" y="139"/>
                  </a:lnTo>
                  <a:lnTo>
                    <a:pt x="234" y="145"/>
                  </a:lnTo>
                  <a:lnTo>
                    <a:pt x="240" y="149"/>
                  </a:lnTo>
                  <a:lnTo>
                    <a:pt x="250" y="158"/>
                  </a:lnTo>
                  <a:lnTo>
                    <a:pt x="250" y="158"/>
                  </a:lnTo>
                  <a:lnTo>
                    <a:pt x="261" y="165"/>
                  </a:lnTo>
                  <a:lnTo>
                    <a:pt x="261" y="165"/>
                  </a:lnTo>
                  <a:lnTo>
                    <a:pt x="265" y="171"/>
                  </a:lnTo>
                  <a:lnTo>
                    <a:pt x="267" y="173"/>
                  </a:lnTo>
                  <a:lnTo>
                    <a:pt x="268" y="176"/>
                  </a:lnTo>
                  <a:lnTo>
                    <a:pt x="268" y="176"/>
                  </a:lnTo>
                  <a:lnTo>
                    <a:pt x="267" y="177"/>
                  </a:lnTo>
                  <a:lnTo>
                    <a:pt x="265" y="179"/>
                  </a:lnTo>
                  <a:lnTo>
                    <a:pt x="261" y="183"/>
                  </a:lnTo>
                  <a:lnTo>
                    <a:pt x="256" y="188"/>
                  </a:lnTo>
                  <a:lnTo>
                    <a:pt x="255" y="192"/>
                  </a:lnTo>
                  <a:lnTo>
                    <a:pt x="255" y="192"/>
                  </a:lnTo>
                  <a:lnTo>
                    <a:pt x="256" y="198"/>
                  </a:lnTo>
                  <a:lnTo>
                    <a:pt x="256" y="203"/>
                  </a:lnTo>
                  <a:lnTo>
                    <a:pt x="253" y="207"/>
                  </a:lnTo>
                  <a:lnTo>
                    <a:pt x="253" y="207"/>
                  </a:lnTo>
                  <a:lnTo>
                    <a:pt x="249" y="217"/>
                  </a:lnTo>
                  <a:lnTo>
                    <a:pt x="246" y="226"/>
                  </a:lnTo>
                  <a:lnTo>
                    <a:pt x="246" y="226"/>
                  </a:lnTo>
                  <a:lnTo>
                    <a:pt x="246" y="241"/>
                  </a:lnTo>
                  <a:lnTo>
                    <a:pt x="247" y="248"/>
                  </a:lnTo>
                  <a:lnTo>
                    <a:pt x="249" y="254"/>
                  </a:lnTo>
                  <a:lnTo>
                    <a:pt x="249" y="254"/>
                  </a:lnTo>
                  <a:lnTo>
                    <a:pt x="252" y="259"/>
                  </a:lnTo>
                  <a:lnTo>
                    <a:pt x="253" y="265"/>
                  </a:lnTo>
                  <a:lnTo>
                    <a:pt x="252" y="271"/>
                  </a:lnTo>
                  <a:lnTo>
                    <a:pt x="252" y="272"/>
                  </a:lnTo>
                  <a:lnTo>
                    <a:pt x="250" y="274"/>
                  </a:lnTo>
                  <a:lnTo>
                    <a:pt x="250" y="274"/>
                  </a:lnTo>
                  <a:lnTo>
                    <a:pt x="247" y="277"/>
                  </a:lnTo>
                  <a:lnTo>
                    <a:pt x="244" y="281"/>
                  </a:lnTo>
                  <a:lnTo>
                    <a:pt x="241" y="285"/>
                  </a:lnTo>
                  <a:lnTo>
                    <a:pt x="238" y="290"/>
                  </a:lnTo>
                  <a:lnTo>
                    <a:pt x="238" y="290"/>
                  </a:lnTo>
                  <a:lnTo>
                    <a:pt x="232" y="293"/>
                  </a:lnTo>
                  <a:lnTo>
                    <a:pt x="227" y="294"/>
                  </a:lnTo>
                  <a:lnTo>
                    <a:pt x="221" y="297"/>
                  </a:lnTo>
                  <a:lnTo>
                    <a:pt x="219" y="299"/>
                  </a:lnTo>
                  <a:lnTo>
                    <a:pt x="218" y="300"/>
                  </a:lnTo>
                  <a:lnTo>
                    <a:pt x="218" y="300"/>
                  </a:lnTo>
                  <a:lnTo>
                    <a:pt x="216" y="306"/>
                  </a:lnTo>
                  <a:lnTo>
                    <a:pt x="212" y="311"/>
                  </a:lnTo>
                  <a:lnTo>
                    <a:pt x="209" y="312"/>
                  </a:lnTo>
                  <a:lnTo>
                    <a:pt x="206" y="312"/>
                  </a:lnTo>
                  <a:lnTo>
                    <a:pt x="201" y="312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4" y="309"/>
                  </a:lnTo>
                  <a:lnTo>
                    <a:pt x="194" y="309"/>
                  </a:lnTo>
                  <a:lnTo>
                    <a:pt x="187" y="300"/>
                  </a:lnTo>
                  <a:lnTo>
                    <a:pt x="179" y="293"/>
                  </a:lnTo>
                  <a:lnTo>
                    <a:pt x="173" y="288"/>
                  </a:lnTo>
                  <a:lnTo>
                    <a:pt x="170" y="287"/>
                  </a:lnTo>
                  <a:lnTo>
                    <a:pt x="167" y="285"/>
                  </a:lnTo>
                  <a:lnTo>
                    <a:pt x="167" y="285"/>
                  </a:lnTo>
                  <a:lnTo>
                    <a:pt x="161" y="287"/>
                  </a:lnTo>
                  <a:lnTo>
                    <a:pt x="157" y="288"/>
                  </a:lnTo>
                  <a:lnTo>
                    <a:pt x="152" y="291"/>
                  </a:lnTo>
                  <a:lnTo>
                    <a:pt x="147" y="291"/>
                  </a:lnTo>
                  <a:lnTo>
                    <a:pt x="147" y="291"/>
                  </a:lnTo>
                  <a:lnTo>
                    <a:pt x="139" y="290"/>
                  </a:lnTo>
                  <a:lnTo>
                    <a:pt x="130" y="284"/>
                  </a:lnTo>
                  <a:lnTo>
                    <a:pt x="123" y="280"/>
                  </a:lnTo>
                  <a:lnTo>
                    <a:pt x="123" y="278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32" y="272"/>
                  </a:lnTo>
                  <a:lnTo>
                    <a:pt x="133" y="271"/>
                  </a:lnTo>
                  <a:lnTo>
                    <a:pt x="132" y="269"/>
                  </a:lnTo>
                  <a:lnTo>
                    <a:pt x="127" y="265"/>
                  </a:lnTo>
                  <a:lnTo>
                    <a:pt x="127" y="265"/>
                  </a:lnTo>
                  <a:lnTo>
                    <a:pt x="108" y="257"/>
                  </a:lnTo>
                  <a:lnTo>
                    <a:pt x="102" y="254"/>
                  </a:lnTo>
                  <a:lnTo>
                    <a:pt x="96" y="250"/>
                  </a:lnTo>
                  <a:lnTo>
                    <a:pt x="96" y="250"/>
                  </a:lnTo>
                  <a:lnTo>
                    <a:pt x="92" y="247"/>
                  </a:lnTo>
                  <a:lnTo>
                    <a:pt x="89" y="245"/>
                  </a:lnTo>
                  <a:lnTo>
                    <a:pt x="87" y="243"/>
                  </a:lnTo>
                  <a:lnTo>
                    <a:pt x="87" y="237"/>
                  </a:lnTo>
                  <a:lnTo>
                    <a:pt x="87" y="237"/>
                  </a:lnTo>
                  <a:lnTo>
                    <a:pt x="89" y="231"/>
                  </a:lnTo>
                  <a:lnTo>
                    <a:pt x="89" y="223"/>
                  </a:lnTo>
                  <a:lnTo>
                    <a:pt x="87" y="222"/>
                  </a:lnTo>
                  <a:lnTo>
                    <a:pt x="86" y="219"/>
                  </a:lnTo>
                  <a:lnTo>
                    <a:pt x="84" y="219"/>
                  </a:lnTo>
                  <a:lnTo>
                    <a:pt x="80" y="217"/>
                  </a:lnTo>
                  <a:lnTo>
                    <a:pt x="80" y="217"/>
                  </a:lnTo>
                  <a:lnTo>
                    <a:pt x="73" y="219"/>
                  </a:lnTo>
                  <a:lnTo>
                    <a:pt x="67" y="220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56" y="213"/>
                  </a:lnTo>
                  <a:lnTo>
                    <a:pt x="50" y="205"/>
                  </a:lnTo>
                  <a:lnTo>
                    <a:pt x="50" y="205"/>
                  </a:lnTo>
                  <a:lnTo>
                    <a:pt x="40" y="192"/>
                  </a:lnTo>
                  <a:lnTo>
                    <a:pt x="30" y="180"/>
                  </a:lnTo>
                  <a:lnTo>
                    <a:pt x="30" y="180"/>
                  </a:lnTo>
                  <a:lnTo>
                    <a:pt x="19" y="174"/>
                  </a:lnTo>
                  <a:lnTo>
                    <a:pt x="16" y="171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8" y="158"/>
                  </a:lnTo>
                  <a:lnTo>
                    <a:pt x="16" y="154"/>
                  </a:lnTo>
                  <a:lnTo>
                    <a:pt x="15" y="152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4" y="151"/>
                  </a:lnTo>
                  <a:lnTo>
                    <a:pt x="3" y="149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0" y="14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0" name="Freeform 159">
              <a:extLst>
                <a:ext uri="{FF2B5EF4-FFF2-40B4-BE49-F238E27FC236}">
                  <a16:creationId xmlns:a16="http://schemas.microsoft.com/office/drawing/2014/main" id="{55B04692-0C06-6C4B-90DD-9FAA4FEFF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888" y="5148263"/>
              <a:ext cx="155575" cy="93662"/>
            </a:xfrm>
            <a:custGeom>
              <a:avLst/>
              <a:gdLst>
                <a:gd name="T0" fmla="*/ 98 w 98"/>
                <a:gd name="T1" fmla="*/ 0 h 59"/>
                <a:gd name="T2" fmla="*/ 98 w 98"/>
                <a:gd name="T3" fmla="*/ 0 h 59"/>
                <a:gd name="T4" fmla="*/ 93 w 98"/>
                <a:gd name="T5" fmla="*/ 0 h 59"/>
                <a:gd name="T6" fmla="*/ 90 w 98"/>
                <a:gd name="T7" fmla="*/ 1 h 59"/>
                <a:gd name="T8" fmla="*/ 89 w 98"/>
                <a:gd name="T9" fmla="*/ 6 h 59"/>
                <a:gd name="T10" fmla="*/ 89 w 98"/>
                <a:gd name="T11" fmla="*/ 6 h 59"/>
                <a:gd name="T12" fmla="*/ 89 w 98"/>
                <a:gd name="T13" fmla="*/ 16 h 59"/>
                <a:gd name="T14" fmla="*/ 87 w 98"/>
                <a:gd name="T15" fmla="*/ 22 h 59"/>
                <a:gd name="T16" fmla="*/ 84 w 98"/>
                <a:gd name="T17" fmla="*/ 24 h 59"/>
                <a:gd name="T18" fmla="*/ 84 w 98"/>
                <a:gd name="T19" fmla="*/ 24 h 59"/>
                <a:gd name="T20" fmla="*/ 80 w 98"/>
                <a:gd name="T21" fmla="*/ 27 h 59"/>
                <a:gd name="T22" fmla="*/ 75 w 98"/>
                <a:gd name="T23" fmla="*/ 31 h 59"/>
                <a:gd name="T24" fmla="*/ 71 w 98"/>
                <a:gd name="T25" fmla="*/ 34 h 59"/>
                <a:gd name="T26" fmla="*/ 65 w 98"/>
                <a:gd name="T27" fmla="*/ 35 h 59"/>
                <a:gd name="T28" fmla="*/ 65 w 98"/>
                <a:gd name="T29" fmla="*/ 35 h 59"/>
                <a:gd name="T30" fmla="*/ 55 w 98"/>
                <a:gd name="T31" fmla="*/ 35 h 59"/>
                <a:gd name="T32" fmla="*/ 50 w 98"/>
                <a:gd name="T33" fmla="*/ 35 h 59"/>
                <a:gd name="T34" fmla="*/ 47 w 98"/>
                <a:gd name="T35" fmla="*/ 38 h 59"/>
                <a:gd name="T36" fmla="*/ 47 w 98"/>
                <a:gd name="T37" fmla="*/ 38 h 59"/>
                <a:gd name="T38" fmla="*/ 46 w 98"/>
                <a:gd name="T39" fmla="*/ 44 h 59"/>
                <a:gd name="T40" fmla="*/ 43 w 98"/>
                <a:gd name="T41" fmla="*/ 49 h 59"/>
                <a:gd name="T42" fmla="*/ 40 w 98"/>
                <a:gd name="T43" fmla="*/ 50 h 59"/>
                <a:gd name="T44" fmla="*/ 37 w 98"/>
                <a:gd name="T45" fmla="*/ 52 h 59"/>
                <a:gd name="T46" fmla="*/ 34 w 98"/>
                <a:gd name="T47" fmla="*/ 50 h 59"/>
                <a:gd name="T48" fmla="*/ 34 w 98"/>
                <a:gd name="T49" fmla="*/ 50 h 59"/>
                <a:gd name="T50" fmla="*/ 32 w 98"/>
                <a:gd name="T51" fmla="*/ 49 h 59"/>
                <a:gd name="T52" fmla="*/ 30 w 98"/>
                <a:gd name="T53" fmla="*/ 49 h 59"/>
                <a:gd name="T54" fmla="*/ 25 w 98"/>
                <a:gd name="T55" fmla="*/ 52 h 59"/>
                <a:gd name="T56" fmla="*/ 21 w 98"/>
                <a:gd name="T57" fmla="*/ 56 h 59"/>
                <a:gd name="T58" fmla="*/ 18 w 98"/>
                <a:gd name="T59" fmla="*/ 59 h 59"/>
                <a:gd name="T60" fmla="*/ 18 w 98"/>
                <a:gd name="T61" fmla="*/ 59 h 59"/>
                <a:gd name="T62" fmla="*/ 16 w 98"/>
                <a:gd name="T63" fmla="*/ 59 h 59"/>
                <a:gd name="T64" fmla="*/ 13 w 98"/>
                <a:gd name="T65" fmla="*/ 58 h 59"/>
                <a:gd name="T66" fmla="*/ 13 w 98"/>
                <a:gd name="T67" fmla="*/ 58 h 59"/>
                <a:gd name="T68" fmla="*/ 6 w 98"/>
                <a:gd name="T69" fmla="*/ 53 h 59"/>
                <a:gd name="T70" fmla="*/ 0 w 98"/>
                <a:gd name="T71" fmla="*/ 4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8" h="59">
                  <a:moveTo>
                    <a:pt x="98" y="0"/>
                  </a:moveTo>
                  <a:lnTo>
                    <a:pt x="98" y="0"/>
                  </a:lnTo>
                  <a:lnTo>
                    <a:pt x="93" y="0"/>
                  </a:lnTo>
                  <a:lnTo>
                    <a:pt x="90" y="1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16"/>
                  </a:lnTo>
                  <a:lnTo>
                    <a:pt x="87" y="22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0" y="27"/>
                  </a:lnTo>
                  <a:lnTo>
                    <a:pt x="75" y="31"/>
                  </a:lnTo>
                  <a:lnTo>
                    <a:pt x="71" y="34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55" y="35"/>
                  </a:lnTo>
                  <a:lnTo>
                    <a:pt x="50" y="35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6" y="44"/>
                  </a:lnTo>
                  <a:lnTo>
                    <a:pt x="43" y="49"/>
                  </a:lnTo>
                  <a:lnTo>
                    <a:pt x="40" y="50"/>
                  </a:lnTo>
                  <a:lnTo>
                    <a:pt x="37" y="52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2" y="49"/>
                  </a:lnTo>
                  <a:lnTo>
                    <a:pt x="30" y="49"/>
                  </a:lnTo>
                  <a:lnTo>
                    <a:pt x="25" y="52"/>
                  </a:lnTo>
                  <a:lnTo>
                    <a:pt x="21" y="56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6" y="59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6" y="53"/>
                  </a:lnTo>
                  <a:lnTo>
                    <a:pt x="0" y="49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1" name="Freeform 160">
              <a:extLst>
                <a:ext uri="{FF2B5EF4-FFF2-40B4-BE49-F238E27FC236}">
                  <a16:creationId xmlns:a16="http://schemas.microsoft.com/office/drawing/2014/main" id="{C48ACC9C-FD2F-EB4E-9CF6-8B3EB8D7BB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9000" y="5037138"/>
              <a:ext cx="762000" cy="342900"/>
            </a:xfrm>
            <a:custGeom>
              <a:avLst/>
              <a:gdLst>
                <a:gd name="T0" fmla="*/ 9 w 480"/>
                <a:gd name="T1" fmla="*/ 11 h 216"/>
                <a:gd name="T2" fmla="*/ 0 w 480"/>
                <a:gd name="T3" fmla="*/ 36 h 216"/>
                <a:gd name="T4" fmla="*/ 5 w 480"/>
                <a:gd name="T5" fmla="*/ 57 h 216"/>
                <a:gd name="T6" fmla="*/ 11 w 480"/>
                <a:gd name="T7" fmla="*/ 61 h 216"/>
                <a:gd name="T8" fmla="*/ 14 w 480"/>
                <a:gd name="T9" fmla="*/ 77 h 216"/>
                <a:gd name="T10" fmla="*/ 30 w 480"/>
                <a:gd name="T11" fmla="*/ 92 h 216"/>
                <a:gd name="T12" fmla="*/ 40 w 480"/>
                <a:gd name="T13" fmla="*/ 98 h 216"/>
                <a:gd name="T14" fmla="*/ 52 w 480"/>
                <a:gd name="T15" fmla="*/ 119 h 216"/>
                <a:gd name="T16" fmla="*/ 58 w 480"/>
                <a:gd name="T17" fmla="*/ 138 h 216"/>
                <a:gd name="T18" fmla="*/ 59 w 480"/>
                <a:gd name="T19" fmla="*/ 162 h 216"/>
                <a:gd name="T20" fmla="*/ 67 w 480"/>
                <a:gd name="T21" fmla="*/ 181 h 216"/>
                <a:gd name="T22" fmla="*/ 70 w 480"/>
                <a:gd name="T23" fmla="*/ 187 h 216"/>
                <a:gd name="T24" fmla="*/ 67 w 480"/>
                <a:gd name="T25" fmla="*/ 193 h 216"/>
                <a:gd name="T26" fmla="*/ 71 w 480"/>
                <a:gd name="T27" fmla="*/ 199 h 216"/>
                <a:gd name="T28" fmla="*/ 88 w 480"/>
                <a:gd name="T29" fmla="*/ 212 h 216"/>
                <a:gd name="T30" fmla="*/ 99 w 480"/>
                <a:gd name="T31" fmla="*/ 212 h 216"/>
                <a:gd name="T32" fmla="*/ 108 w 480"/>
                <a:gd name="T33" fmla="*/ 205 h 216"/>
                <a:gd name="T34" fmla="*/ 119 w 480"/>
                <a:gd name="T35" fmla="*/ 200 h 216"/>
                <a:gd name="T36" fmla="*/ 139 w 480"/>
                <a:gd name="T37" fmla="*/ 193 h 216"/>
                <a:gd name="T38" fmla="*/ 147 w 480"/>
                <a:gd name="T39" fmla="*/ 188 h 216"/>
                <a:gd name="T40" fmla="*/ 165 w 480"/>
                <a:gd name="T41" fmla="*/ 188 h 216"/>
                <a:gd name="T42" fmla="*/ 150 w 480"/>
                <a:gd name="T43" fmla="*/ 197 h 216"/>
                <a:gd name="T44" fmla="*/ 148 w 480"/>
                <a:gd name="T45" fmla="*/ 205 h 216"/>
                <a:gd name="T46" fmla="*/ 160 w 480"/>
                <a:gd name="T47" fmla="*/ 215 h 216"/>
                <a:gd name="T48" fmla="*/ 168 w 480"/>
                <a:gd name="T49" fmla="*/ 216 h 216"/>
                <a:gd name="T50" fmla="*/ 185 w 480"/>
                <a:gd name="T51" fmla="*/ 211 h 216"/>
                <a:gd name="T52" fmla="*/ 205 w 480"/>
                <a:gd name="T53" fmla="*/ 208 h 216"/>
                <a:gd name="T54" fmla="*/ 218 w 480"/>
                <a:gd name="T55" fmla="*/ 203 h 216"/>
                <a:gd name="T56" fmla="*/ 218 w 480"/>
                <a:gd name="T57" fmla="*/ 187 h 216"/>
                <a:gd name="T58" fmla="*/ 216 w 480"/>
                <a:gd name="T59" fmla="*/ 172 h 216"/>
                <a:gd name="T60" fmla="*/ 222 w 480"/>
                <a:gd name="T61" fmla="*/ 160 h 216"/>
                <a:gd name="T62" fmla="*/ 231 w 480"/>
                <a:gd name="T63" fmla="*/ 159 h 216"/>
                <a:gd name="T64" fmla="*/ 240 w 480"/>
                <a:gd name="T65" fmla="*/ 157 h 216"/>
                <a:gd name="T66" fmla="*/ 255 w 480"/>
                <a:gd name="T67" fmla="*/ 148 h 216"/>
                <a:gd name="T68" fmla="*/ 265 w 480"/>
                <a:gd name="T69" fmla="*/ 148 h 216"/>
                <a:gd name="T70" fmla="*/ 259 w 480"/>
                <a:gd name="T71" fmla="*/ 123 h 216"/>
                <a:gd name="T72" fmla="*/ 262 w 480"/>
                <a:gd name="T73" fmla="*/ 117 h 216"/>
                <a:gd name="T74" fmla="*/ 276 w 480"/>
                <a:gd name="T75" fmla="*/ 108 h 216"/>
                <a:gd name="T76" fmla="*/ 271 w 480"/>
                <a:gd name="T77" fmla="*/ 99 h 216"/>
                <a:gd name="T78" fmla="*/ 268 w 480"/>
                <a:gd name="T79" fmla="*/ 91 h 216"/>
                <a:gd name="T80" fmla="*/ 279 w 480"/>
                <a:gd name="T81" fmla="*/ 79 h 216"/>
                <a:gd name="T82" fmla="*/ 283 w 480"/>
                <a:gd name="T83" fmla="*/ 79 h 216"/>
                <a:gd name="T84" fmla="*/ 298 w 480"/>
                <a:gd name="T85" fmla="*/ 85 h 216"/>
                <a:gd name="T86" fmla="*/ 310 w 480"/>
                <a:gd name="T87" fmla="*/ 77 h 216"/>
                <a:gd name="T88" fmla="*/ 323 w 480"/>
                <a:gd name="T89" fmla="*/ 77 h 216"/>
                <a:gd name="T90" fmla="*/ 347 w 480"/>
                <a:gd name="T91" fmla="*/ 94 h 216"/>
                <a:gd name="T92" fmla="*/ 360 w 480"/>
                <a:gd name="T93" fmla="*/ 95 h 216"/>
                <a:gd name="T94" fmla="*/ 367 w 480"/>
                <a:gd name="T95" fmla="*/ 94 h 216"/>
                <a:gd name="T96" fmla="*/ 376 w 480"/>
                <a:gd name="T97" fmla="*/ 85 h 216"/>
                <a:gd name="T98" fmla="*/ 388 w 480"/>
                <a:gd name="T99" fmla="*/ 71 h 216"/>
                <a:gd name="T100" fmla="*/ 397 w 480"/>
                <a:gd name="T101" fmla="*/ 61 h 216"/>
                <a:gd name="T102" fmla="*/ 405 w 480"/>
                <a:gd name="T103" fmla="*/ 61 h 216"/>
                <a:gd name="T104" fmla="*/ 409 w 480"/>
                <a:gd name="T105" fmla="*/ 71 h 216"/>
                <a:gd name="T106" fmla="*/ 421 w 480"/>
                <a:gd name="T107" fmla="*/ 76 h 216"/>
                <a:gd name="T108" fmla="*/ 430 w 480"/>
                <a:gd name="T109" fmla="*/ 80 h 216"/>
                <a:gd name="T110" fmla="*/ 442 w 480"/>
                <a:gd name="T111" fmla="*/ 88 h 216"/>
                <a:gd name="T112" fmla="*/ 461 w 480"/>
                <a:gd name="T113" fmla="*/ 79 h 216"/>
                <a:gd name="T114" fmla="*/ 476 w 480"/>
                <a:gd name="T115" fmla="*/ 74 h 216"/>
                <a:gd name="T116" fmla="*/ 477 w 480"/>
                <a:gd name="T117" fmla="*/ 61 h 216"/>
                <a:gd name="T118" fmla="*/ 462 w 480"/>
                <a:gd name="T119" fmla="*/ 42 h 216"/>
                <a:gd name="T120" fmla="*/ 442 w 480"/>
                <a:gd name="T121" fmla="*/ 1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0" h="216">
                  <a:moveTo>
                    <a:pt x="14" y="0"/>
                  </a:moveTo>
                  <a:lnTo>
                    <a:pt x="14" y="0"/>
                  </a:lnTo>
                  <a:lnTo>
                    <a:pt x="9" y="11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lnTo>
                    <a:pt x="3" y="54"/>
                  </a:lnTo>
                  <a:lnTo>
                    <a:pt x="5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11" y="61"/>
                  </a:lnTo>
                  <a:lnTo>
                    <a:pt x="11" y="64"/>
                  </a:lnTo>
                  <a:lnTo>
                    <a:pt x="11" y="68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21" y="86"/>
                  </a:lnTo>
                  <a:lnTo>
                    <a:pt x="30" y="92"/>
                  </a:lnTo>
                  <a:lnTo>
                    <a:pt x="36" y="97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5" y="102"/>
                  </a:lnTo>
                  <a:lnTo>
                    <a:pt x="49" y="110"/>
                  </a:lnTo>
                  <a:lnTo>
                    <a:pt x="52" y="119"/>
                  </a:lnTo>
                  <a:lnTo>
                    <a:pt x="55" y="128"/>
                  </a:lnTo>
                  <a:lnTo>
                    <a:pt x="55" y="128"/>
                  </a:lnTo>
                  <a:lnTo>
                    <a:pt x="58" y="138"/>
                  </a:lnTo>
                  <a:lnTo>
                    <a:pt x="58" y="151"/>
                  </a:lnTo>
                  <a:lnTo>
                    <a:pt x="58" y="151"/>
                  </a:lnTo>
                  <a:lnTo>
                    <a:pt x="59" y="162"/>
                  </a:lnTo>
                  <a:lnTo>
                    <a:pt x="61" y="171"/>
                  </a:lnTo>
                  <a:lnTo>
                    <a:pt x="64" y="176"/>
                  </a:lnTo>
                  <a:lnTo>
                    <a:pt x="67" y="181"/>
                  </a:lnTo>
                  <a:lnTo>
                    <a:pt x="67" y="181"/>
                  </a:lnTo>
                  <a:lnTo>
                    <a:pt x="70" y="184"/>
                  </a:lnTo>
                  <a:lnTo>
                    <a:pt x="70" y="187"/>
                  </a:lnTo>
                  <a:lnTo>
                    <a:pt x="68" y="190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3"/>
                  </a:lnTo>
                  <a:lnTo>
                    <a:pt x="67" y="196"/>
                  </a:lnTo>
                  <a:lnTo>
                    <a:pt x="71" y="199"/>
                  </a:lnTo>
                  <a:lnTo>
                    <a:pt x="82" y="208"/>
                  </a:lnTo>
                  <a:lnTo>
                    <a:pt x="82" y="208"/>
                  </a:lnTo>
                  <a:lnTo>
                    <a:pt x="88" y="212"/>
                  </a:lnTo>
                  <a:lnTo>
                    <a:pt x="92" y="215"/>
                  </a:lnTo>
                  <a:lnTo>
                    <a:pt x="97" y="215"/>
                  </a:lnTo>
                  <a:lnTo>
                    <a:pt x="99" y="212"/>
                  </a:lnTo>
                  <a:lnTo>
                    <a:pt x="99" y="212"/>
                  </a:lnTo>
                  <a:lnTo>
                    <a:pt x="104" y="208"/>
                  </a:lnTo>
                  <a:lnTo>
                    <a:pt x="108" y="205"/>
                  </a:lnTo>
                  <a:lnTo>
                    <a:pt x="113" y="20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26" y="200"/>
                  </a:lnTo>
                  <a:lnTo>
                    <a:pt x="134" y="197"/>
                  </a:lnTo>
                  <a:lnTo>
                    <a:pt x="139" y="193"/>
                  </a:lnTo>
                  <a:lnTo>
                    <a:pt x="144" y="190"/>
                  </a:lnTo>
                  <a:lnTo>
                    <a:pt x="144" y="190"/>
                  </a:lnTo>
                  <a:lnTo>
                    <a:pt x="147" y="188"/>
                  </a:lnTo>
                  <a:lnTo>
                    <a:pt x="154" y="188"/>
                  </a:lnTo>
                  <a:lnTo>
                    <a:pt x="165" y="188"/>
                  </a:lnTo>
                  <a:lnTo>
                    <a:pt x="165" y="188"/>
                  </a:lnTo>
                  <a:lnTo>
                    <a:pt x="157" y="191"/>
                  </a:lnTo>
                  <a:lnTo>
                    <a:pt x="151" y="196"/>
                  </a:lnTo>
                  <a:lnTo>
                    <a:pt x="150" y="197"/>
                  </a:lnTo>
                  <a:lnTo>
                    <a:pt x="148" y="200"/>
                  </a:lnTo>
                  <a:lnTo>
                    <a:pt x="148" y="200"/>
                  </a:lnTo>
                  <a:lnTo>
                    <a:pt x="148" y="205"/>
                  </a:lnTo>
                  <a:lnTo>
                    <a:pt x="151" y="209"/>
                  </a:lnTo>
                  <a:lnTo>
                    <a:pt x="156" y="214"/>
                  </a:lnTo>
                  <a:lnTo>
                    <a:pt x="160" y="215"/>
                  </a:lnTo>
                  <a:lnTo>
                    <a:pt x="160" y="215"/>
                  </a:lnTo>
                  <a:lnTo>
                    <a:pt x="163" y="216"/>
                  </a:lnTo>
                  <a:lnTo>
                    <a:pt x="168" y="216"/>
                  </a:lnTo>
                  <a:lnTo>
                    <a:pt x="175" y="215"/>
                  </a:lnTo>
                  <a:lnTo>
                    <a:pt x="175" y="215"/>
                  </a:lnTo>
                  <a:lnTo>
                    <a:pt x="185" y="211"/>
                  </a:lnTo>
                  <a:lnTo>
                    <a:pt x="185" y="211"/>
                  </a:lnTo>
                  <a:lnTo>
                    <a:pt x="194" y="209"/>
                  </a:lnTo>
                  <a:lnTo>
                    <a:pt x="205" y="208"/>
                  </a:lnTo>
                  <a:lnTo>
                    <a:pt x="213" y="206"/>
                  </a:lnTo>
                  <a:lnTo>
                    <a:pt x="216" y="205"/>
                  </a:lnTo>
                  <a:lnTo>
                    <a:pt x="218" y="203"/>
                  </a:lnTo>
                  <a:lnTo>
                    <a:pt x="218" y="203"/>
                  </a:lnTo>
                  <a:lnTo>
                    <a:pt x="218" y="197"/>
                  </a:lnTo>
                  <a:lnTo>
                    <a:pt x="218" y="187"/>
                  </a:lnTo>
                  <a:lnTo>
                    <a:pt x="218" y="187"/>
                  </a:lnTo>
                  <a:lnTo>
                    <a:pt x="216" y="179"/>
                  </a:lnTo>
                  <a:lnTo>
                    <a:pt x="216" y="172"/>
                  </a:lnTo>
                  <a:lnTo>
                    <a:pt x="218" y="165"/>
                  </a:lnTo>
                  <a:lnTo>
                    <a:pt x="221" y="162"/>
                  </a:lnTo>
                  <a:lnTo>
                    <a:pt x="222" y="160"/>
                  </a:lnTo>
                  <a:lnTo>
                    <a:pt x="222" y="160"/>
                  </a:lnTo>
                  <a:lnTo>
                    <a:pt x="228" y="159"/>
                  </a:lnTo>
                  <a:lnTo>
                    <a:pt x="231" y="159"/>
                  </a:lnTo>
                  <a:lnTo>
                    <a:pt x="236" y="159"/>
                  </a:lnTo>
                  <a:lnTo>
                    <a:pt x="240" y="157"/>
                  </a:lnTo>
                  <a:lnTo>
                    <a:pt x="240" y="157"/>
                  </a:lnTo>
                  <a:lnTo>
                    <a:pt x="246" y="156"/>
                  </a:lnTo>
                  <a:lnTo>
                    <a:pt x="251" y="153"/>
                  </a:lnTo>
                  <a:lnTo>
                    <a:pt x="255" y="148"/>
                  </a:lnTo>
                  <a:lnTo>
                    <a:pt x="255" y="148"/>
                  </a:lnTo>
                  <a:lnTo>
                    <a:pt x="261" y="147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1" y="134"/>
                  </a:lnTo>
                  <a:lnTo>
                    <a:pt x="259" y="123"/>
                  </a:lnTo>
                  <a:lnTo>
                    <a:pt x="261" y="119"/>
                  </a:lnTo>
                  <a:lnTo>
                    <a:pt x="262" y="117"/>
                  </a:lnTo>
                  <a:lnTo>
                    <a:pt x="262" y="117"/>
                  </a:lnTo>
                  <a:lnTo>
                    <a:pt x="273" y="113"/>
                  </a:lnTo>
                  <a:lnTo>
                    <a:pt x="276" y="111"/>
                  </a:lnTo>
                  <a:lnTo>
                    <a:pt x="276" y="108"/>
                  </a:lnTo>
                  <a:lnTo>
                    <a:pt x="276" y="108"/>
                  </a:lnTo>
                  <a:lnTo>
                    <a:pt x="274" y="104"/>
                  </a:lnTo>
                  <a:lnTo>
                    <a:pt x="271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8" y="91"/>
                  </a:lnTo>
                  <a:lnTo>
                    <a:pt x="271" y="86"/>
                  </a:lnTo>
                  <a:lnTo>
                    <a:pt x="274" y="82"/>
                  </a:lnTo>
                  <a:lnTo>
                    <a:pt x="279" y="79"/>
                  </a:lnTo>
                  <a:lnTo>
                    <a:pt x="282" y="79"/>
                  </a:lnTo>
                  <a:lnTo>
                    <a:pt x="283" y="79"/>
                  </a:lnTo>
                  <a:lnTo>
                    <a:pt x="283" y="79"/>
                  </a:lnTo>
                  <a:lnTo>
                    <a:pt x="290" y="85"/>
                  </a:lnTo>
                  <a:lnTo>
                    <a:pt x="293" y="86"/>
                  </a:lnTo>
                  <a:lnTo>
                    <a:pt x="298" y="85"/>
                  </a:lnTo>
                  <a:lnTo>
                    <a:pt x="298" y="85"/>
                  </a:lnTo>
                  <a:lnTo>
                    <a:pt x="304" y="80"/>
                  </a:lnTo>
                  <a:lnTo>
                    <a:pt x="310" y="77"/>
                  </a:lnTo>
                  <a:lnTo>
                    <a:pt x="316" y="76"/>
                  </a:lnTo>
                  <a:lnTo>
                    <a:pt x="323" y="77"/>
                  </a:lnTo>
                  <a:lnTo>
                    <a:pt x="323" y="77"/>
                  </a:lnTo>
                  <a:lnTo>
                    <a:pt x="336" y="85"/>
                  </a:lnTo>
                  <a:lnTo>
                    <a:pt x="347" y="94"/>
                  </a:lnTo>
                  <a:lnTo>
                    <a:pt x="347" y="94"/>
                  </a:lnTo>
                  <a:lnTo>
                    <a:pt x="350" y="95"/>
                  </a:lnTo>
                  <a:lnTo>
                    <a:pt x="353" y="95"/>
                  </a:lnTo>
                  <a:lnTo>
                    <a:pt x="360" y="95"/>
                  </a:lnTo>
                  <a:lnTo>
                    <a:pt x="360" y="95"/>
                  </a:lnTo>
                  <a:lnTo>
                    <a:pt x="367" y="94"/>
                  </a:lnTo>
                  <a:lnTo>
                    <a:pt x="367" y="94"/>
                  </a:lnTo>
                  <a:lnTo>
                    <a:pt x="370" y="92"/>
                  </a:lnTo>
                  <a:lnTo>
                    <a:pt x="373" y="91"/>
                  </a:lnTo>
                  <a:lnTo>
                    <a:pt x="376" y="85"/>
                  </a:lnTo>
                  <a:lnTo>
                    <a:pt x="376" y="85"/>
                  </a:lnTo>
                  <a:lnTo>
                    <a:pt x="381" y="79"/>
                  </a:lnTo>
                  <a:lnTo>
                    <a:pt x="388" y="71"/>
                  </a:lnTo>
                  <a:lnTo>
                    <a:pt x="388" y="71"/>
                  </a:lnTo>
                  <a:lnTo>
                    <a:pt x="394" y="64"/>
                  </a:lnTo>
                  <a:lnTo>
                    <a:pt x="397" y="61"/>
                  </a:lnTo>
                  <a:lnTo>
                    <a:pt x="402" y="59"/>
                  </a:lnTo>
                  <a:lnTo>
                    <a:pt x="402" y="59"/>
                  </a:lnTo>
                  <a:lnTo>
                    <a:pt x="405" y="61"/>
                  </a:lnTo>
                  <a:lnTo>
                    <a:pt x="405" y="64"/>
                  </a:lnTo>
                  <a:lnTo>
                    <a:pt x="405" y="68"/>
                  </a:lnTo>
                  <a:lnTo>
                    <a:pt x="409" y="71"/>
                  </a:lnTo>
                  <a:lnTo>
                    <a:pt x="409" y="71"/>
                  </a:lnTo>
                  <a:lnTo>
                    <a:pt x="415" y="74"/>
                  </a:lnTo>
                  <a:lnTo>
                    <a:pt x="421" y="76"/>
                  </a:lnTo>
                  <a:lnTo>
                    <a:pt x="425" y="77"/>
                  </a:lnTo>
                  <a:lnTo>
                    <a:pt x="430" y="80"/>
                  </a:lnTo>
                  <a:lnTo>
                    <a:pt x="430" y="80"/>
                  </a:lnTo>
                  <a:lnTo>
                    <a:pt x="434" y="85"/>
                  </a:lnTo>
                  <a:lnTo>
                    <a:pt x="437" y="88"/>
                  </a:lnTo>
                  <a:lnTo>
                    <a:pt x="442" y="88"/>
                  </a:lnTo>
                  <a:lnTo>
                    <a:pt x="447" y="86"/>
                  </a:lnTo>
                  <a:lnTo>
                    <a:pt x="447" y="86"/>
                  </a:lnTo>
                  <a:lnTo>
                    <a:pt x="461" y="79"/>
                  </a:lnTo>
                  <a:lnTo>
                    <a:pt x="473" y="77"/>
                  </a:lnTo>
                  <a:lnTo>
                    <a:pt x="473" y="77"/>
                  </a:lnTo>
                  <a:lnTo>
                    <a:pt x="476" y="74"/>
                  </a:lnTo>
                  <a:lnTo>
                    <a:pt x="479" y="71"/>
                  </a:lnTo>
                  <a:lnTo>
                    <a:pt x="480" y="67"/>
                  </a:lnTo>
                  <a:lnTo>
                    <a:pt x="477" y="61"/>
                  </a:lnTo>
                  <a:lnTo>
                    <a:pt x="477" y="61"/>
                  </a:lnTo>
                  <a:lnTo>
                    <a:pt x="471" y="52"/>
                  </a:lnTo>
                  <a:lnTo>
                    <a:pt x="462" y="42"/>
                  </a:lnTo>
                  <a:lnTo>
                    <a:pt x="446" y="22"/>
                  </a:lnTo>
                  <a:lnTo>
                    <a:pt x="446" y="22"/>
                  </a:lnTo>
                  <a:lnTo>
                    <a:pt x="442" y="17"/>
                  </a:lnTo>
                  <a:lnTo>
                    <a:pt x="440" y="11"/>
                  </a:lnTo>
                  <a:lnTo>
                    <a:pt x="437" y="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2" name="Freeform 161">
              <a:extLst>
                <a:ext uri="{FF2B5EF4-FFF2-40B4-BE49-F238E27FC236}">
                  <a16:creationId xmlns:a16="http://schemas.microsoft.com/office/drawing/2014/main" id="{A9B6171E-F068-4547-9A1D-771FEFC5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4879975"/>
              <a:ext cx="296863" cy="160337"/>
            </a:xfrm>
            <a:custGeom>
              <a:avLst/>
              <a:gdLst>
                <a:gd name="T0" fmla="*/ 0 w 187"/>
                <a:gd name="T1" fmla="*/ 0 h 101"/>
                <a:gd name="T2" fmla="*/ 0 w 187"/>
                <a:gd name="T3" fmla="*/ 0 h 101"/>
                <a:gd name="T4" fmla="*/ 11 w 187"/>
                <a:gd name="T5" fmla="*/ 24 h 101"/>
                <a:gd name="T6" fmla="*/ 11 w 187"/>
                <a:gd name="T7" fmla="*/ 24 h 101"/>
                <a:gd name="T8" fmla="*/ 11 w 187"/>
                <a:gd name="T9" fmla="*/ 28 h 101"/>
                <a:gd name="T10" fmla="*/ 11 w 187"/>
                <a:gd name="T11" fmla="*/ 34 h 101"/>
                <a:gd name="T12" fmla="*/ 11 w 187"/>
                <a:gd name="T13" fmla="*/ 40 h 101"/>
                <a:gd name="T14" fmla="*/ 11 w 187"/>
                <a:gd name="T15" fmla="*/ 43 h 101"/>
                <a:gd name="T16" fmla="*/ 12 w 187"/>
                <a:gd name="T17" fmla="*/ 46 h 101"/>
                <a:gd name="T18" fmla="*/ 12 w 187"/>
                <a:gd name="T19" fmla="*/ 46 h 101"/>
                <a:gd name="T20" fmla="*/ 16 w 187"/>
                <a:gd name="T21" fmla="*/ 49 h 101"/>
                <a:gd name="T22" fmla="*/ 19 w 187"/>
                <a:gd name="T23" fmla="*/ 52 h 101"/>
                <a:gd name="T24" fmla="*/ 22 w 187"/>
                <a:gd name="T25" fmla="*/ 53 h 101"/>
                <a:gd name="T26" fmla="*/ 27 w 187"/>
                <a:gd name="T27" fmla="*/ 58 h 101"/>
                <a:gd name="T28" fmla="*/ 27 w 187"/>
                <a:gd name="T29" fmla="*/ 58 h 101"/>
                <a:gd name="T30" fmla="*/ 33 w 187"/>
                <a:gd name="T31" fmla="*/ 68 h 101"/>
                <a:gd name="T32" fmla="*/ 36 w 187"/>
                <a:gd name="T33" fmla="*/ 77 h 101"/>
                <a:gd name="T34" fmla="*/ 36 w 187"/>
                <a:gd name="T35" fmla="*/ 77 h 101"/>
                <a:gd name="T36" fmla="*/ 39 w 187"/>
                <a:gd name="T37" fmla="*/ 89 h 101"/>
                <a:gd name="T38" fmla="*/ 42 w 187"/>
                <a:gd name="T39" fmla="*/ 95 h 101"/>
                <a:gd name="T40" fmla="*/ 45 w 187"/>
                <a:gd name="T41" fmla="*/ 99 h 101"/>
                <a:gd name="T42" fmla="*/ 45 w 187"/>
                <a:gd name="T43" fmla="*/ 99 h 101"/>
                <a:gd name="T44" fmla="*/ 48 w 187"/>
                <a:gd name="T45" fmla="*/ 101 h 101"/>
                <a:gd name="T46" fmla="*/ 53 w 187"/>
                <a:gd name="T47" fmla="*/ 101 h 101"/>
                <a:gd name="T48" fmla="*/ 70 w 187"/>
                <a:gd name="T49" fmla="*/ 99 h 101"/>
                <a:gd name="T50" fmla="*/ 70 w 187"/>
                <a:gd name="T51" fmla="*/ 99 h 101"/>
                <a:gd name="T52" fmla="*/ 77 w 187"/>
                <a:gd name="T53" fmla="*/ 98 h 101"/>
                <a:gd name="T54" fmla="*/ 83 w 187"/>
                <a:gd name="T55" fmla="*/ 96 h 101"/>
                <a:gd name="T56" fmla="*/ 88 w 187"/>
                <a:gd name="T57" fmla="*/ 93 h 101"/>
                <a:gd name="T58" fmla="*/ 90 w 187"/>
                <a:gd name="T59" fmla="*/ 90 h 101"/>
                <a:gd name="T60" fmla="*/ 90 w 187"/>
                <a:gd name="T61" fmla="*/ 90 h 101"/>
                <a:gd name="T62" fmla="*/ 96 w 187"/>
                <a:gd name="T63" fmla="*/ 87 h 101"/>
                <a:gd name="T64" fmla="*/ 104 w 187"/>
                <a:gd name="T65" fmla="*/ 86 h 101"/>
                <a:gd name="T66" fmla="*/ 113 w 187"/>
                <a:gd name="T67" fmla="*/ 86 h 101"/>
                <a:gd name="T68" fmla="*/ 120 w 187"/>
                <a:gd name="T69" fmla="*/ 87 h 101"/>
                <a:gd name="T70" fmla="*/ 120 w 187"/>
                <a:gd name="T71" fmla="*/ 87 h 101"/>
                <a:gd name="T72" fmla="*/ 128 w 187"/>
                <a:gd name="T73" fmla="*/ 89 h 101"/>
                <a:gd name="T74" fmla="*/ 133 w 187"/>
                <a:gd name="T75" fmla="*/ 89 h 101"/>
                <a:gd name="T76" fmla="*/ 139 w 187"/>
                <a:gd name="T77" fmla="*/ 89 h 101"/>
                <a:gd name="T78" fmla="*/ 144 w 187"/>
                <a:gd name="T79" fmla="*/ 86 h 101"/>
                <a:gd name="T80" fmla="*/ 144 w 187"/>
                <a:gd name="T81" fmla="*/ 86 h 101"/>
                <a:gd name="T82" fmla="*/ 150 w 187"/>
                <a:gd name="T83" fmla="*/ 80 h 101"/>
                <a:gd name="T84" fmla="*/ 153 w 187"/>
                <a:gd name="T85" fmla="*/ 77 h 101"/>
                <a:gd name="T86" fmla="*/ 157 w 187"/>
                <a:gd name="T87" fmla="*/ 76 h 101"/>
                <a:gd name="T88" fmla="*/ 157 w 187"/>
                <a:gd name="T89" fmla="*/ 76 h 101"/>
                <a:gd name="T90" fmla="*/ 162 w 187"/>
                <a:gd name="T91" fmla="*/ 76 h 101"/>
                <a:gd name="T92" fmla="*/ 167 w 187"/>
                <a:gd name="T93" fmla="*/ 77 h 101"/>
                <a:gd name="T94" fmla="*/ 173 w 187"/>
                <a:gd name="T95" fmla="*/ 80 h 101"/>
                <a:gd name="T96" fmla="*/ 187 w 187"/>
                <a:gd name="T97" fmla="*/ 5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7" h="101">
                  <a:moveTo>
                    <a:pt x="0" y="0"/>
                  </a:moveTo>
                  <a:lnTo>
                    <a:pt x="0" y="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8"/>
                  </a:lnTo>
                  <a:lnTo>
                    <a:pt x="11" y="34"/>
                  </a:lnTo>
                  <a:lnTo>
                    <a:pt x="11" y="40"/>
                  </a:lnTo>
                  <a:lnTo>
                    <a:pt x="11" y="43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6" y="49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33" y="68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9" y="89"/>
                  </a:lnTo>
                  <a:lnTo>
                    <a:pt x="42" y="95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101"/>
                  </a:lnTo>
                  <a:lnTo>
                    <a:pt x="53" y="101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7" y="98"/>
                  </a:lnTo>
                  <a:lnTo>
                    <a:pt x="83" y="96"/>
                  </a:lnTo>
                  <a:lnTo>
                    <a:pt x="88" y="93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6" y="87"/>
                  </a:lnTo>
                  <a:lnTo>
                    <a:pt x="104" y="86"/>
                  </a:lnTo>
                  <a:lnTo>
                    <a:pt x="113" y="86"/>
                  </a:lnTo>
                  <a:lnTo>
                    <a:pt x="120" y="87"/>
                  </a:lnTo>
                  <a:lnTo>
                    <a:pt x="120" y="87"/>
                  </a:lnTo>
                  <a:lnTo>
                    <a:pt x="128" y="89"/>
                  </a:lnTo>
                  <a:lnTo>
                    <a:pt x="133" y="89"/>
                  </a:lnTo>
                  <a:lnTo>
                    <a:pt x="139" y="89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50" y="80"/>
                  </a:lnTo>
                  <a:lnTo>
                    <a:pt x="153" y="77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62" y="76"/>
                  </a:lnTo>
                  <a:lnTo>
                    <a:pt x="167" y="77"/>
                  </a:lnTo>
                  <a:lnTo>
                    <a:pt x="173" y="80"/>
                  </a:lnTo>
                  <a:lnTo>
                    <a:pt x="187" y="55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3" name="Freeform 162">
              <a:extLst>
                <a:ext uri="{FF2B5EF4-FFF2-40B4-BE49-F238E27FC236}">
                  <a16:creationId xmlns:a16="http://schemas.microsoft.com/office/drawing/2014/main" id="{B45B8198-6A10-EE4F-ABD4-4E881E35F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7425" y="4678363"/>
              <a:ext cx="315913" cy="298450"/>
            </a:xfrm>
            <a:custGeom>
              <a:avLst/>
              <a:gdLst>
                <a:gd name="T0" fmla="*/ 0 w 199"/>
                <a:gd name="T1" fmla="*/ 0 h 188"/>
                <a:gd name="T2" fmla="*/ 14 w 199"/>
                <a:gd name="T3" fmla="*/ 12 h 188"/>
                <a:gd name="T4" fmla="*/ 17 w 199"/>
                <a:gd name="T5" fmla="*/ 16 h 188"/>
                <a:gd name="T6" fmla="*/ 12 w 199"/>
                <a:gd name="T7" fmla="*/ 22 h 188"/>
                <a:gd name="T8" fmla="*/ 8 w 199"/>
                <a:gd name="T9" fmla="*/ 28 h 188"/>
                <a:gd name="T10" fmla="*/ 5 w 199"/>
                <a:gd name="T11" fmla="*/ 35 h 188"/>
                <a:gd name="T12" fmla="*/ 3 w 199"/>
                <a:gd name="T13" fmla="*/ 51 h 188"/>
                <a:gd name="T14" fmla="*/ 5 w 199"/>
                <a:gd name="T15" fmla="*/ 60 h 188"/>
                <a:gd name="T16" fmla="*/ 8 w 199"/>
                <a:gd name="T17" fmla="*/ 63 h 188"/>
                <a:gd name="T18" fmla="*/ 21 w 199"/>
                <a:gd name="T19" fmla="*/ 65 h 188"/>
                <a:gd name="T20" fmla="*/ 26 w 199"/>
                <a:gd name="T21" fmla="*/ 68 h 188"/>
                <a:gd name="T22" fmla="*/ 32 w 199"/>
                <a:gd name="T23" fmla="*/ 77 h 188"/>
                <a:gd name="T24" fmla="*/ 37 w 199"/>
                <a:gd name="T25" fmla="*/ 87 h 188"/>
                <a:gd name="T26" fmla="*/ 52 w 199"/>
                <a:gd name="T27" fmla="*/ 108 h 188"/>
                <a:gd name="T28" fmla="*/ 57 w 199"/>
                <a:gd name="T29" fmla="*/ 115 h 188"/>
                <a:gd name="T30" fmla="*/ 58 w 199"/>
                <a:gd name="T31" fmla="*/ 130 h 188"/>
                <a:gd name="T32" fmla="*/ 60 w 199"/>
                <a:gd name="T33" fmla="*/ 142 h 188"/>
                <a:gd name="T34" fmla="*/ 64 w 199"/>
                <a:gd name="T35" fmla="*/ 148 h 188"/>
                <a:gd name="T36" fmla="*/ 79 w 199"/>
                <a:gd name="T37" fmla="*/ 166 h 188"/>
                <a:gd name="T38" fmla="*/ 82 w 199"/>
                <a:gd name="T39" fmla="*/ 170 h 188"/>
                <a:gd name="T40" fmla="*/ 89 w 199"/>
                <a:gd name="T41" fmla="*/ 179 h 188"/>
                <a:gd name="T42" fmla="*/ 97 w 199"/>
                <a:gd name="T43" fmla="*/ 183 h 188"/>
                <a:gd name="T44" fmla="*/ 110 w 199"/>
                <a:gd name="T45" fmla="*/ 188 h 188"/>
                <a:gd name="T46" fmla="*/ 119 w 199"/>
                <a:gd name="T47" fmla="*/ 183 h 188"/>
                <a:gd name="T48" fmla="*/ 129 w 199"/>
                <a:gd name="T49" fmla="*/ 171 h 188"/>
                <a:gd name="T50" fmla="*/ 140 w 199"/>
                <a:gd name="T51" fmla="*/ 167 h 188"/>
                <a:gd name="T52" fmla="*/ 143 w 199"/>
                <a:gd name="T53" fmla="*/ 167 h 188"/>
                <a:gd name="T54" fmla="*/ 149 w 199"/>
                <a:gd name="T55" fmla="*/ 173 h 188"/>
                <a:gd name="T56" fmla="*/ 151 w 199"/>
                <a:gd name="T57" fmla="*/ 171 h 188"/>
                <a:gd name="T58" fmla="*/ 162 w 199"/>
                <a:gd name="T59" fmla="*/ 155 h 188"/>
                <a:gd name="T60" fmla="*/ 174 w 199"/>
                <a:gd name="T61" fmla="*/ 145 h 188"/>
                <a:gd name="T62" fmla="*/ 177 w 199"/>
                <a:gd name="T63" fmla="*/ 143 h 188"/>
                <a:gd name="T64" fmla="*/ 186 w 199"/>
                <a:gd name="T65" fmla="*/ 134 h 188"/>
                <a:gd name="T66" fmla="*/ 193 w 199"/>
                <a:gd name="T67" fmla="*/ 13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9" h="188">
                  <a:moveTo>
                    <a:pt x="0" y="0"/>
                  </a:moveTo>
                  <a:lnTo>
                    <a:pt x="0" y="0"/>
                  </a:lnTo>
                  <a:lnTo>
                    <a:pt x="9" y="7"/>
                  </a:lnTo>
                  <a:lnTo>
                    <a:pt x="14" y="12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5" y="19"/>
                  </a:lnTo>
                  <a:lnTo>
                    <a:pt x="12" y="22"/>
                  </a:lnTo>
                  <a:lnTo>
                    <a:pt x="9" y="23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5" y="35"/>
                  </a:lnTo>
                  <a:lnTo>
                    <a:pt x="3" y="46"/>
                  </a:lnTo>
                  <a:lnTo>
                    <a:pt x="3" y="51"/>
                  </a:lnTo>
                  <a:lnTo>
                    <a:pt x="3" y="56"/>
                  </a:lnTo>
                  <a:lnTo>
                    <a:pt x="5" y="60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15" y="65"/>
                  </a:lnTo>
                  <a:lnTo>
                    <a:pt x="21" y="65"/>
                  </a:lnTo>
                  <a:lnTo>
                    <a:pt x="24" y="66"/>
                  </a:lnTo>
                  <a:lnTo>
                    <a:pt x="26" y="68"/>
                  </a:lnTo>
                  <a:lnTo>
                    <a:pt x="29" y="71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7" y="87"/>
                  </a:lnTo>
                  <a:lnTo>
                    <a:pt x="45" y="97"/>
                  </a:lnTo>
                  <a:lnTo>
                    <a:pt x="52" y="108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8" y="123"/>
                  </a:lnTo>
                  <a:lnTo>
                    <a:pt x="58" y="130"/>
                  </a:lnTo>
                  <a:lnTo>
                    <a:pt x="58" y="136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4" y="148"/>
                  </a:lnTo>
                  <a:lnTo>
                    <a:pt x="69" y="155"/>
                  </a:lnTo>
                  <a:lnTo>
                    <a:pt x="79" y="166"/>
                  </a:lnTo>
                  <a:lnTo>
                    <a:pt x="79" y="166"/>
                  </a:lnTo>
                  <a:lnTo>
                    <a:pt x="82" y="170"/>
                  </a:lnTo>
                  <a:lnTo>
                    <a:pt x="85" y="174"/>
                  </a:lnTo>
                  <a:lnTo>
                    <a:pt x="89" y="179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104" y="186"/>
                  </a:lnTo>
                  <a:lnTo>
                    <a:pt x="110" y="188"/>
                  </a:lnTo>
                  <a:lnTo>
                    <a:pt x="114" y="186"/>
                  </a:lnTo>
                  <a:lnTo>
                    <a:pt x="119" y="183"/>
                  </a:lnTo>
                  <a:lnTo>
                    <a:pt x="119" y="183"/>
                  </a:lnTo>
                  <a:lnTo>
                    <a:pt x="129" y="171"/>
                  </a:lnTo>
                  <a:lnTo>
                    <a:pt x="137" y="167"/>
                  </a:lnTo>
                  <a:lnTo>
                    <a:pt x="140" y="167"/>
                  </a:lnTo>
                  <a:lnTo>
                    <a:pt x="143" y="167"/>
                  </a:lnTo>
                  <a:lnTo>
                    <a:pt x="143" y="167"/>
                  </a:lnTo>
                  <a:lnTo>
                    <a:pt x="147" y="170"/>
                  </a:lnTo>
                  <a:lnTo>
                    <a:pt x="149" y="173"/>
                  </a:lnTo>
                  <a:lnTo>
                    <a:pt x="150" y="174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62" y="155"/>
                  </a:lnTo>
                  <a:lnTo>
                    <a:pt x="169" y="148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7" y="143"/>
                  </a:lnTo>
                  <a:lnTo>
                    <a:pt x="181" y="140"/>
                  </a:lnTo>
                  <a:lnTo>
                    <a:pt x="186" y="134"/>
                  </a:lnTo>
                  <a:lnTo>
                    <a:pt x="186" y="134"/>
                  </a:lnTo>
                  <a:lnTo>
                    <a:pt x="193" y="130"/>
                  </a:lnTo>
                  <a:lnTo>
                    <a:pt x="199" y="127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4" name="Freeform 163">
              <a:extLst>
                <a:ext uri="{FF2B5EF4-FFF2-40B4-BE49-F238E27FC236}">
                  <a16:creationId xmlns:a16="http://schemas.microsoft.com/office/drawing/2014/main" id="{FDC42A03-E409-104D-9B28-3CA528654B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50" y="4357688"/>
              <a:ext cx="206375" cy="336550"/>
            </a:xfrm>
            <a:custGeom>
              <a:avLst/>
              <a:gdLst>
                <a:gd name="T0" fmla="*/ 130 w 130"/>
                <a:gd name="T1" fmla="*/ 0 h 212"/>
                <a:gd name="T2" fmla="*/ 109 w 130"/>
                <a:gd name="T3" fmla="*/ 3 h 212"/>
                <a:gd name="T4" fmla="*/ 105 w 130"/>
                <a:gd name="T5" fmla="*/ 6 h 212"/>
                <a:gd name="T6" fmla="*/ 99 w 130"/>
                <a:gd name="T7" fmla="*/ 14 h 212"/>
                <a:gd name="T8" fmla="*/ 99 w 130"/>
                <a:gd name="T9" fmla="*/ 21 h 212"/>
                <a:gd name="T10" fmla="*/ 93 w 130"/>
                <a:gd name="T11" fmla="*/ 31 h 212"/>
                <a:gd name="T12" fmla="*/ 88 w 130"/>
                <a:gd name="T13" fmla="*/ 31 h 212"/>
                <a:gd name="T14" fmla="*/ 78 w 130"/>
                <a:gd name="T15" fmla="*/ 24 h 212"/>
                <a:gd name="T16" fmla="*/ 72 w 130"/>
                <a:gd name="T17" fmla="*/ 21 h 212"/>
                <a:gd name="T18" fmla="*/ 71 w 130"/>
                <a:gd name="T19" fmla="*/ 22 h 212"/>
                <a:gd name="T20" fmla="*/ 60 w 130"/>
                <a:gd name="T21" fmla="*/ 33 h 212"/>
                <a:gd name="T22" fmla="*/ 54 w 130"/>
                <a:gd name="T23" fmla="*/ 43 h 212"/>
                <a:gd name="T24" fmla="*/ 54 w 130"/>
                <a:gd name="T25" fmla="*/ 48 h 212"/>
                <a:gd name="T26" fmla="*/ 54 w 130"/>
                <a:gd name="T27" fmla="*/ 67 h 212"/>
                <a:gd name="T28" fmla="*/ 50 w 130"/>
                <a:gd name="T29" fmla="*/ 83 h 212"/>
                <a:gd name="T30" fmla="*/ 48 w 130"/>
                <a:gd name="T31" fmla="*/ 88 h 212"/>
                <a:gd name="T32" fmla="*/ 45 w 130"/>
                <a:gd name="T33" fmla="*/ 110 h 212"/>
                <a:gd name="T34" fmla="*/ 44 w 130"/>
                <a:gd name="T35" fmla="*/ 111 h 212"/>
                <a:gd name="T36" fmla="*/ 38 w 130"/>
                <a:gd name="T37" fmla="*/ 117 h 212"/>
                <a:gd name="T38" fmla="*/ 31 w 130"/>
                <a:gd name="T39" fmla="*/ 125 h 212"/>
                <a:gd name="T40" fmla="*/ 29 w 130"/>
                <a:gd name="T41" fmla="*/ 128 h 212"/>
                <a:gd name="T42" fmla="*/ 23 w 130"/>
                <a:gd name="T43" fmla="*/ 138 h 212"/>
                <a:gd name="T44" fmla="*/ 14 w 130"/>
                <a:gd name="T45" fmla="*/ 144 h 212"/>
                <a:gd name="T46" fmla="*/ 10 w 130"/>
                <a:gd name="T47" fmla="*/ 145 h 212"/>
                <a:gd name="T48" fmla="*/ 0 w 130"/>
                <a:gd name="T49" fmla="*/ 154 h 212"/>
                <a:gd name="T50" fmla="*/ 0 w 130"/>
                <a:gd name="T51" fmla="*/ 159 h 212"/>
                <a:gd name="T52" fmla="*/ 2 w 130"/>
                <a:gd name="T53" fmla="*/ 163 h 212"/>
                <a:gd name="T54" fmla="*/ 10 w 130"/>
                <a:gd name="T55" fmla="*/ 176 h 212"/>
                <a:gd name="T56" fmla="*/ 11 w 130"/>
                <a:gd name="T57" fmla="*/ 181 h 212"/>
                <a:gd name="T58" fmla="*/ 7 w 130"/>
                <a:gd name="T59" fmla="*/ 190 h 212"/>
                <a:gd name="T60" fmla="*/ 4 w 130"/>
                <a:gd name="T61" fmla="*/ 197 h 212"/>
                <a:gd name="T62" fmla="*/ 5 w 130"/>
                <a:gd name="T63" fmla="*/ 199 h 212"/>
                <a:gd name="T64" fmla="*/ 16 w 130"/>
                <a:gd name="T65" fmla="*/ 205 h 212"/>
                <a:gd name="T66" fmla="*/ 23 w 130"/>
                <a:gd name="T67" fmla="*/ 206 h 212"/>
                <a:gd name="T68" fmla="*/ 35 w 130"/>
                <a:gd name="T69" fmla="*/ 206 h 212"/>
                <a:gd name="T70" fmla="*/ 42 w 130"/>
                <a:gd name="T71" fmla="*/ 202 h 212"/>
                <a:gd name="T72" fmla="*/ 54 w 130"/>
                <a:gd name="T73" fmla="*/ 202 h 212"/>
                <a:gd name="T74" fmla="*/ 62 w 130"/>
                <a:gd name="T75" fmla="*/ 200 h 212"/>
                <a:gd name="T76" fmla="*/ 63 w 130"/>
                <a:gd name="T77" fmla="*/ 199 h 212"/>
                <a:gd name="T78" fmla="*/ 71 w 130"/>
                <a:gd name="T79" fmla="*/ 191 h 212"/>
                <a:gd name="T80" fmla="*/ 84 w 130"/>
                <a:gd name="T81" fmla="*/ 193 h 212"/>
                <a:gd name="T82" fmla="*/ 96 w 130"/>
                <a:gd name="T83" fmla="*/ 200 h 212"/>
                <a:gd name="T84" fmla="*/ 108 w 130"/>
                <a:gd name="T85" fmla="*/ 209 h 212"/>
                <a:gd name="T86" fmla="*/ 121 w 130"/>
                <a:gd name="T8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0" h="212">
                  <a:moveTo>
                    <a:pt x="130" y="0"/>
                  </a:moveTo>
                  <a:lnTo>
                    <a:pt x="130" y="0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5"/>
                  </a:lnTo>
                  <a:lnTo>
                    <a:pt x="105" y="6"/>
                  </a:lnTo>
                  <a:lnTo>
                    <a:pt x="100" y="9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21"/>
                  </a:lnTo>
                  <a:lnTo>
                    <a:pt x="96" y="27"/>
                  </a:lnTo>
                  <a:lnTo>
                    <a:pt x="93" y="31"/>
                  </a:lnTo>
                  <a:lnTo>
                    <a:pt x="91" y="33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78" y="24"/>
                  </a:lnTo>
                  <a:lnTo>
                    <a:pt x="74" y="21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5" y="25"/>
                  </a:lnTo>
                  <a:lnTo>
                    <a:pt x="60" y="33"/>
                  </a:lnTo>
                  <a:lnTo>
                    <a:pt x="56" y="40"/>
                  </a:lnTo>
                  <a:lnTo>
                    <a:pt x="54" y="43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57"/>
                  </a:lnTo>
                  <a:lnTo>
                    <a:pt x="54" y="67"/>
                  </a:lnTo>
                  <a:lnTo>
                    <a:pt x="51" y="77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8" y="88"/>
                  </a:lnTo>
                  <a:lnTo>
                    <a:pt x="47" y="95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4" y="111"/>
                  </a:lnTo>
                  <a:lnTo>
                    <a:pt x="42" y="113"/>
                  </a:lnTo>
                  <a:lnTo>
                    <a:pt x="38" y="117"/>
                  </a:lnTo>
                  <a:lnTo>
                    <a:pt x="32" y="122"/>
                  </a:lnTo>
                  <a:lnTo>
                    <a:pt x="31" y="125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6" y="134"/>
                  </a:lnTo>
                  <a:lnTo>
                    <a:pt x="23" y="138"/>
                  </a:lnTo>
                  <a:lnTo>
                    <a:pt x="20" y="141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10" y="145"/>
                  </a:lnTo>
                  <a:lnTo>
                    <a:pt x="4" y="150"/>
                  </a:lnTo>
                  <a:lnTo>
                    <a:pt x="0" y="154"/>
                  </a:lnTo>
                  <a:lnTo>
                    <a:pt x="0" y="156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2" y="163"/>
                  </a:lnTo>
                  <a:lnTo>
                    <a:pt x="5" y="171"/>
                  </a:lnTo>
                  <a:lnTo>
                    <a:pt x="10" y="176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0" y="185"/>
                  </a:lnTo>
                  <a:lnTo>
                    <a:pt x="7" y="190"/>
                  </a:lnTo>
                  <a:lnTo>
                    <a:pt x="4" y="196"/>
                  </a:lnTo>
                  <a:lnTo>
                    <a:pt x="4" y="197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11" y="203"/>
                  </a:lnTo>
                  <a:lnTo>
                    <a:pt x="16" y="205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31" y="206"/>
                  </a:lnTo>
                  <a:lnTo>
                    <a:pt x="35" y="206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7" y="200"/>
                  </a:lnTo>
                  <a:lnTo>
                    <a:pt x="54" y="202"/>
                  </a:lnTo>
                  <a:lnTo>
                    <a:pt x="60" y="202"/>
                  </a:lnTo>
                  <a:lnTo>
                    <a:pt x="62" y="200"/>
                  </a:lnTo>
                  <a:lnTo>
                    <a:pt x="63" y="199"/>
                  </a:lnTo>
                  <a:lnTo>
                    <a:pt x="63" y="199"/>
                  </a:lnTo>
                  <a:lnTo>
                    <a:pt x="66" y="194"/>
                  </a:lnTo>
                  <a:lnTo>
                    <a:pt x="71" y="191"/>
                  </a:lnTo>
                  <a:lnTo>
                    <a:pt x="78" y="191"/>
                  </a:lnTo>
                  <a:lnTo>
                    <a:pt x="84" y="193"/>
                  </a:lnTo>
                  <a:lnTo>
                    <a:pt x="84" y="193"/>
                  </a:lnTo>
                  <a:lnTo>
                    <a:pt x="96" y="200"/>
                  </a:lnTo>
                  <a:lnTo>
                    <a:pt x="108" y="209"/>
                  </a:lnTo>
                  <a:lnTo>
                    <a:pt x="108" y="209"/>
                  </a:lnTo>
                  <a:lnTo>
                    <a:pt x="114" y="211"/>
                  </a:lnTo>
                  <a:lnTo>
                    <a:pt x="121" y="212"/>
                  </a:lnTo>
                  <a:lnTo>
                    <a:pt x="130" y="21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5" name="Freeform 164">
              <a:extLst>
                <a:ext uri="{FF2B5EF4-FFF2-40B4-BE49-F238E27FC236}">
                  <a16:creationId xmlns:a16="http://schemas.microsoft.com/office/drawing/2014/main" id="{40154F51-9713-304C-9404-11E9D1329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25" y="4600575"/>
              <a:ext cx="708025" cy="439737"/>
            </a:xfrm>
            <a:custGeom>
              <a:avLst/>
              <a:gdLst>
                <a:gd name="T0" fmla="*/ 120 w 446"/>
                <a:gd name="T1" fmla="*/ 10 h 277"/>
                <a:gd name="T2" fmla="*/ 109 w 446"/>
                <a:gd name="T3" fmla="*/ 22 h 277"/>
                <a:gd name="T4" fmla="*/ 83 w 446"/>
                <a:gd name="T5" fmla="*/ 34 h 277"/>
                <a:gd name="T6" fmla="*/ 47 w 446"/>
                <a:gd name="T7" fmla="*/ 32 h 277"/>
                <a:gd name="T8" fmla="*/ 25 w 446"/>
                <a:gd name="T9" fmla="*/ 32 h 277"/>
                <a:gd name="T10" fmla="*/ 22 w 446"/>
                <a:gd name="T11" fmla="*/ 43 h 277"/>
                <a:gd name="T12" fmla="*/ 7 w 446"/>
                <a:gd name="T13" fmla="*/ 53 h 277"/>
                <a:gd name="T14" fmla="*/ 7 w 446"/>
                <a:gd name="T15" fmla="*/ 71 h 277"/>
                <a:gd name="T16" fmla="*/ 22 w 446"/>
                <a:gd name="T17" fmla="*/ 89 h 277"/>
                <a:gd name="T18" fmla="*/ 53 w 446"/>
                <a:gd name="T19" fmla="*/ 106 h 277"/>
                <a:gd name="T20" fmla="*/ 61 w 446"/>
                <a:gd name="T21" fmla="*/ 106 h 277"/>
                <a:gd name="T22" fmla="*/ 71 w 446"/>
                <a:gd name="T23" fmla="*/ 95 h 277"/>
                <a:gd name="T24" fmla="*/ 84 w 446"/>
                <a:gd name="T25" fmla="*/ 78 h 277"/>
                <a:gd name="T26" fmla="*/ 87 w 446"/>
                <a:gd name="T27" fmla="*/ 78 h 277"/>
                <a:gd name="T28" fmla="*/ 84 w 446"/>
                <a:gd name="T29" fmla="*/ 117 h 277"/>
                <a:gd name="T30" fmla="*/ 87 w 446"/>
                <a:gd name="T31" fmla="*/ 135 h 277"/>
                <a:gd name="T32" fmla="*/ 115 w 446"/>
                <a:gd name="T33" fmla="*/ 142 h 277"/>
                <a:gd name="T34" fmla="*/ 126 w 446"/>
                <a:gd name="T35" fmla="*/ 148 h 277"/>
                <a:gd name="T36" fmla="*/ 120 w 446"/>
                <a:gd name="T37" fmla="*/ 154 h 277"/>
                <a:gd name="T38" fmla="*/ 103 w 446"/>
                <a:gd name="T39" fmla="*/ 163 h 277"/>
                <a:gd name="T40" fmla="*/ 103 w 446"/>
                <a:gd name="T41" fmla="*/ 166 h 277"/>
                <a:gd name="T42" fmla="*/ 118 w 446"/>
                <a:gd name="T43" fmla="*/ 182 h 277"/>
                <a:gd name="T44" fmla="*/ 133 w 446"/>
                <a:gd name="T45" fmla="*/ 188 h 277"/>
                <a:gd name="T46" fmla="*/ 138 w 446"/>
                <a:gd name="T47" fmla="*/ 192 h 277"/>
                <a:gd name="T48" fmla="*/ 132 w 446"/>
                <a:gd name="T49" fmla="*/ 207 h 277"/>
                <a:gd name="T50" fmla="*/ 138 w 446"/>
                <a:gd name="T51" fmla="*/ 216 h 277"/>
                <a:gd name="T52" fmla="*/ 158 w 446"/>
                <a:gd name="T53" fmla="*/ 223 h 277"/>
                <a:gd name="T54" fmla="*/ 173 w 446"/>
                <a:gd name="T55" fmla="*/ 223 h 277"/>
                <a:gd name="T56" fmla="*/ 188 w 446"/>
                <a:gd name="T57" fmla="*/ 225 h 277"/>
                <a:gd name="T58" fmla="*/ 207 w 446"/>
                <a:gd name="T59" fmla="*/ 220 h 277"/>
                <a:gd name="T60" fmla="*/ 217 w 446"/>
                <a:gd name="T61" fmla="*/ 217 h 277"/>
                <a:gd name="T62" fmla="*/ 238 w 446"/>
                <a:gd name="T63" fmla="*/ 226 h 277"/>
                <a:gd name="T64" fmla="*/ 244 w 446"/>
                <a:gd name="T65" fmla="*/ 238 h 277"/>
                <a:gd name="T66" fmla="*/ 244 w 446"/>
                <a:gd name="T67" fmla="*/ 252 h 277"/>
                <a:gd name="T68" fmla="*/ 255 w 446"/>
                <a:gd name="T69" fmla="*/ 256 h 277"/>
                <a:gd name="T70" fmla="*/ 266 w 446"/>
                <a:gd name="T71" fmla="*/ 259 h 277"/>
                <a:gd name="T72" fmla="*/ 286 w 446"/>
                <a:gd name="T73" fmla="*/ 277 h 277"/>
                <a:gd name="T74" fmla="*/ 289 w 446"/>
                <a:gd name="T75" fmla="*/ 275 h 277"/>
                <a:gd name="T76" fmla="*/ 302 w 446"/>
                <a:gd name="T77" fmla="*/ 262 h 277"/>
                <a:gd name="T78" fmla="*/ 314 w 446"/>
                <a:gd name="T79" fmla="*/ 263 h 277"/>
                <a:gd name="T80" fmla="*/ 323 w 446"/>
                <a:gd name="T81" fmla="*/ 262 h 277"/>
                <a:gd name="T82" fmla="*/ 334 w 446"/>
                <a:gd name="T83" fmla="*/ 250 h 277"/>
                <a:gd name="T84" fmla="*/ 339 w 446"/>
                <a:gd name="T85" fmla="*/ 252 h 277"/>
                <a:gd name="T86" fmla="*/ 361 w 446"/>
                <a:gd name="T87" fmla="*/ 259 h 277"/>
                <a:gd name="T88" fmla="*/ 374 w 446"/>
                <a:gd name="T89" fmla="*/ 268 h 277"/>
                <a:gd name="T90" fmla="*/ 380 w 446"/>
                <a:gd name="T91" fmla="*/ 266 h 277"/>
                <a:gd name="T92" fmla="*/ 386 w 446"/>
                <a:gd name="T93" fmla="*/ 259 h 277"/>
                <a:gd name="T94" fmla="*/ 395 w 446"/>
                <a:gd name="T95" fmla="*/ 260 h 277"/>
                <a:gd name="T96" fmla="*/ 404 w 446"/>
                <a:gd name="T97" fmla="*/ 266 h 277"/>
                <a:gd name="T98" fmla="*/ 410 w 446"/>
                <a:gd name="T99" fmla="*/ 263 h 277"/>
                <a:gd name="T100" fmla="*/ 410 w 446"/>
                <a:gd name="T101" fmla="*/ 234 h 277"/>
                <a:gd name="T102" fmla="*/ 411 w 446"/>
                <a:gd name="T103" fmla="*/ 229 h 277"/>
                <a:gd name="T104" fmla="*/ 417 w 446"/>
                <a:gd name="T105" fmla="*/ 216 h 277"/>
                <a:gd name="T106" fmla="*/ 420 w 446"/>
                <a:gd name="T107" fmla="*/ 207 h 277"/>
                <a:gd name="T108" fmla="*/ 434 w 446"/>
                <a:gd name="T109" fmla="*/ 20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6" h="277">
                  <a:moveTo>
                    <a:pt x="129" y="0"/>
                  </a:moveTo>
                  <a:lnTo>
                    <a:pt x="129" y="0"/>
                  </a:lnTo>
                  <a:lnTo>
                    <a:pt x="120" y="10"/>
                  </a:lnTo>
                  <a:lnTo>
                    <a:pt x="114" y="16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102" y="26"/>
                  </a:lnTo>
                  <a:lnTo>
                    <a:pt x="93" y="31"/>
                  </a:lnTo>
                  <a:lnTo>
                    <a:pt x="83" y="34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47" y="32"/>
                  </a:lnTo>
                  <a:lnTo>
                    <a:pt x="32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4" y="35"/>
                  </a:lnTo>
                  <a:lnTo>
                    <a:pt x="24" y="38"/>
                  </a:lnTo>
                  <a:lnTo>
                    <a:pt x="22" y="43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7" y="5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7" y="71"/>
                  </a:lnTo>
                  <a:lnTo>
                    <a:pt x="13" y="8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37" y="100"/>
                  </a:lnTo>
                  <a:lnTo>
                    <a:pt x="44" y="105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8" y="108"/>
                  </a:lnTo>
                  <a:lnTo>
                    <a:pt x="61" y="106"/>
                  </a:lnTo>
                  <a:lnTo>
                    <a:pt x="63" y="103"/>
                  </a:lnTo>
                  <a:lnTo>
                    <a:pt x="66" y="102"/>
                  </a:lnTo>
                  <a:lnTo>
                    <a:pt x="71" y="95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84" y="78"/>
                  </a:lnTo>
                  <a:lnTo>
                    <a:pt x="86" y="77"/>
                  </a:lnTo>
                  <a:lnTo>
                    <a:pt x="87" y="77"/>
                  </a:lnTo>
                  <a:lnTo>
                    <a:pt x="87" y="78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4" y="117"/>
                  </a:lnTo>
                  <a:lnTo>
                    <a:pt x="84" y="129"/>
                  </a:lnTo>
                  <a:lnTo>
                    <a:pt x="84" y="133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20" y="143"/>
                  </a:lnTo>
                  <a:lnTo>
                    <a:pt x="124" y="146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51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06" y="160"/>
                  </a:lnTo>
                  <a:lnTo>
                    <a:pt x="103" y="163"/>
                  </a:lnTo>
                  <a:lnTo>
                    <a:pt x="102" y="164"/>
                  </a:lnTo>
                  <a:lnTo>
                    <a:pt x="103" y="166"/>
                  </a:lnTo>
                  <a:lnTo>
                    <a:pt x="103" y="166"/>
                  </a:lnTo>
                  <a:lnTo>
                    <a:pt x="111" y="176"/>
                  </a:lnTo>
                  <a:lnTo>
                    <a:pt x="111" y="176"/>
                  </a:lnTo>
                  <a:lnTo>
                    <a:pt x="118" y="182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33" y="188"/>
                  </a:lnTo>
                  <a:lnTo>
                    <a:pt x="136" y="189"/>
                  </a:lnTo>
                  <a:lnTo>
                    <a:pt x="138" y="192"/>
                  </a:lnTo>
                  <a:lnTo>
                    <a:pt x="138" y="192"/>
                  </a:lnTo>
                  <a:lnTo>
                    <a:pt x="136" y="197"/>
                  </a:lnTo>
                  <a:lnTo>
                    <a:pt x="133" y="204"/>
                  </a:lnTo>
                  <a:lnTo>
                    <a:pt x="132" y="207"/>
                  </a:lnTo>
                  <a:lnTo>
                    <a:pt x="133" y="212"/>
                  </a:lnTo>
                  <a:lnTo>
                    <a:pt x="135" y="213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48" y="219"/>
                  </a:lnTo>
                  <a:lnTo>
                    <a:pt x="158" y="223"/>
                  </a:lnTo>
                  <a:lnTo>
                    <a:pt x="158" y="223"/>
                  </a:lnTo>
                  <a:lnTo>
                    <a:pt x="166" y="225"/>
                  </a:lnTo>
                  <a:lnTo>
                    <a:pt x="173" y="223"/>
                  </a:lnTo>
                  <a:lnTo>
                    <a:pt x="180" y="223"/>
                  </a:lnTo>
                  <a:lnTo>
                    <a:pt x="188" y="225"/>
                  </a:lnTo>
                  <a:lnTo>
                    <a:pt x="188" y="225"/>
                  </a:lnTo>
                  <a:lnTo>
                    <a:pt x="195" y="225"/>
                  </a:lnTo>
                  <a:lnTo>
                    <a:pt x="201" y="223"/>
                  </a:lnTo>
                  <a:lnTo>
                    <a:pt x="207" y="220"/>
                  </a:lnTo>
                  <a:lnTo>
                    <a:pt x="215" y="217"/>
                  </a:lnTo>
                  <a:lnTo>
                    <a:pt x="215" y="217"/>
                  </a:lnTo>
                  <a:lnTo>
                    <a:pt x="217" y="217"/>
                  </a:lnTo>
                  <a:lnTo>
                    <a:pt x="222" y="217"/>
                  </a:lnTo>
                  <a:lnTo>
                    <a:pt x="231" y="222"/>
                  </a:lnTo>
                  <a:lnTo>
                    <a:pt x="238" y="226"/>
                  </a:lnTo>
                  <a:lnTo>
                    <a:pt x="244" y="232"/>
                  </a:lnTo>
                  <a:lnTo>
                    <a:pt x="244" y="232"/>
                  </a:lnTo>
                  <a:lnTo>
                    <a:pt x="244" y="238"/>
                  </a:lnTo>
                  <a:lnTo>
                    <a:pt x="243" y="243"/>
                  </a:lnTo>
                  <a:lnTo>
                    <a:pt x="243" y="247"/>
                  </a:lnTo>
                  <a:lnTo>
                    <a:pt x="244" y="252"/>
                  </a:lnTo>
                  <a:lnTo>
                    <a:pt x="244" y="252"/>
                  </a:lnTo>
                  <a:lnTo>
                    <a:pt x="249" y="255"/>
                  </a:lnTo>
                  <a:lnTo>
                    <a:pt x="255" y="256"/>
                  </a:lnTo>
                  <a:lnTo>
                    <a:pt x="260" y="257"/>
                  </a:lnTo>
                  <a:lnTo>
                    <a:pt x="266" y="259"/>
                  </a:lnTo>
                  <a:lnTo>
                    <a:pt x="266" y="259"/>
                  </a:lnTo>
                  <a:lnTo>
                    <a:pt x="272" y="263"/>
                  </a:lnTo>
                  <a:lnTo>
                    <a:pt x="277" y="268"/>
                  </a:lnTo>
                  <a:lnTo>
                    <a:pt x="286" y="277"/>
                  </a:lnTo>
                  <a:lnTo>
                    <a:pt x="286" y="277"/>
                  </a:lnTo>
                  <a:lnTo>
                    <a:pt x="287" y="277"/>
                  </a:lnTo>
                  <a:lnTo>
                    <a:pt x="289" y="275"/>
                  </a:lnTo>
                  <a:lnTo>
                    <a:pt x="294" y="271"/>
                  </a:lnTo>
                  <a:lnTo>
                    <a:pt x="299" y="265"/>
                  </a:lnTo>
                  <a:lnTo>
                    <a:pt x="302" y="262"/>
                  </a:lnTo>
                  <a:lnTo>
                    <a:pt x="302" y="262"/>
                  </a:lnTo>
                  <a:lnTo>
                    <a:pt x="308" y="262"/>
                  </a:lnTo>
                  <a:lnTo>
                    <a:pt x="314" y="263"/>
                  </a:lnTo>
                  <a:lnTo>
                    <a:pt x="320" y="262"/>
                  </a:lnTo>
                  <a:lnTo>
                    <a:pt x="320" y="262"/>
                  </a:lnTo>
                  <a:lnTo>
                    <a:pt x="323" y="262"/>
                  </a:lnTo>
                  <a:lnTo>
                    <a:pt x="326" y="259"/>
                  </a:lnTo>
                  <a:lnTo>
                    <a:pt x="330" y="255"/>
                  </a:lnTo>
                  <a:lnTo>
                    <a:pt x="334" y="250"/>
                  </a:lnTo>
                  <a:lnTo>
                    <a:pt x="337" y="250"/>
                  </a:lnTo>
                  <a:lnTo>
                    <a:pt x="339" y="252"/>
                  </a:lnTo>
                  <a:lnTo>
                    <a:pt x="339" y="252"/>
                  </a:lnTo>
                  <a:lnTo>
                    <a:pt x="345" y="255"/>
                  </a:lnTo>
                  <a:lnTo>
                    <a:pt x="354" y="256"/>
                  </a:lnTo>
                  <a:lnTo>
                    <a:pt x="361" y="259"/>
                  </a:lnTo>
                  <a:lnTo>
                    <a:pt x="367" y="260"/>
                  </a:lnTo>
                  <a:lnTo>
                    <a:pt x="367" y="260"/>
                  </a:lnTo>
                  <a:lnTo>
                    <a:pt x="374" y="268"/>
                  </a:lnTo>
                  <a:lnTo>
                    <a:pt x="377" y="268"/>
                  </a:lnTo>
                  <a:lnTo>
                    <a:pt x="379" y="268"/>
                  </a:lnTo>
                  <a:lnTo>
                    <a:pt x="380" y="266"/>
                  </a:lnTo>
                  <a:lnTo>
                    <a:pt x="380" y="266"/>
                  </a:lnTo>
                  <a:lnTo>
                    <a:pt x="383" y="262"/>
                  </a:lnTo>
                  <a:lnTo>
                    <a:pt x="386" y="259"/>
                  </a:lnTo>
                  <a:lnTo>
                    <a:pt x="391" y="257"/>
                  </a:lnTo>
                  <a:lnTo>
                    <a:pt x="392" y="257"/>
                  </a:lnTo>
                  <a:lnTo>
                    <a:pt x="395" y="260"/>
                  </a:lnTo>
                  <a:lnTo>
                    <a:pt x="395" y="260"/>
                  </a:lnTo>
                  <a:lnTo>
                    <a:pt x="400" y="263"/>
                  </a:lnTo>
                  <a:lnTo>
                    <a:pt x="404" y="266"/>
                  </a:lnTo>
                  <a:lnTo>
                    <a:pt x="409" y="266"/>
                  </a:lnTo>
                  <a:lnTo>
                    <a:pt x="410" y="266"/>
                  </a:lnTo>
                  <a:lnTo>
                    <a:pt x="410" y="263"/>
                  </a:lnTo>
                  <a:lnTo>
                    <a:pt x="410" y="263"/>
                  </a:lnTo>
                  <a:lnTo>
                    <a:pt x="410" y="247"/>
                  </a:lnTo>
                  <a:lnTo>
                    <a:pt x="410" y="234"/>
                  </a:lnTo>
                  <a:lnTo>
                    <a:pt x="410" y="234"/>
                  </a:lnTo>
                  <a:lnTo>
                    <a:pt x="410" y="232"/>
                  </a:lnTo>
                  <a:lnTo>
                    <a:pt x="411" y="229"/>
                  </a:lnTo>
                  <a:lnTo>
                    <a:pt x="416" y="223"/>
                  </a:lnTo>
                  <a:lnTo>
                    <a:pt x="416" y="223"/>
                  </a:lnTo>
                  <a:lnTo>
                    <a:pt x="417" y="216"/>
                  </a:lnTo>
                  <a:lnTo>
                    <a:pt x="419" y="210"/>
                  </a:lnTo>
                  <a:lnTo>
                    <a:pt x="420" y="207"/>
                  </a:lnTo>
                  <a:lnTo>
                    <a:pt x="420" y="207"/>
                  </a:lnTo>
                  <a:lnTo>
                    <a:pt x="426" y="203"/>
                  </a:lnTo>
                  <a:lnTo>
                    <a:pt x="434" y="200"/>
                  </a:lnTo>
                  <a:lnTo>
                    <a:pt x="434" y="200"/>
                  </a:lnTo>
                  <a:lnTo>
                    <a:pt x="441" y="194"/>
                  </a:lnTo>
                  <a:lnTo>
                    <a:pt x="446" y="189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6" name="Freeform 165">
              <a:extLst>
                <a:ext uri="{FF2B5EF4-FFF2-40B4-BE49-F238E27FC236}">
                  <a16:creationId xmlns:a16="http://schemas.microsoft.com/office/drawing/2014/main" id="{2B57D3E7-219E-D843-9B2D-03690A96F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4238625"/>
              <a:ext cx="931863" cy="665162"/>
            </a:xfrm>
            <a:custGeom>
              <a:avLst/>
              <a:gdLst>
                <a:gd name="T0" fmla="*/ 8 w 587"/>
                <a:gd name="T1" fmla="*/ 12 h 419"/>
                <a:gd name="T2" fmla="*/ 20 w 587"/>
                <a:gd name="T3" fmla="*/ 15 h 419"/>
                <a:gd name="T4" fmla="*/ 52 w 587"/>
                <a:gd name="T5" fmla="*/ 29 h 419"/>
                <a:gd name="T6" fmla="*/ 52 w 587"/>
                <a:gd name="T7" fmla="*/ 41 h 419"/>
                <a:gd name="T8" fmla="*/ 43 w 587"/>
                <a:gd name="T9" fmla="*/ 72 h 419"/>
                <a:gd name="T10" fmla="*/ 51 w 587"/>
                <a:gd name="T11" fmla="*/ 78 h 419"/>
                <a:gd name="T12" fmla="*/ 79 w 587"/>
                <a:gd name="T13" fmla="*/ 81 h 419"/>
                <a:gd name="T14" fmla="*/ 91 w 587"/>
                <a:gd name="T15" fmla="*/ 92 h 419"/>
                <a:gd name="T16" fmla="*/ 108 w 587"/>
                <a:gd name="T17" fmla="*/ 120 h 419"/>
                <a:gd name="T18" fmla="*/ 119 w 587"/>
                <a:gd name="T19" fmla="*/ 127 h 419"/>
                <a:gd name="T20" fmla="*/ 129 w 587"/>
                <a:gd name="T21" fmla="*/ 115 h 419"/>
                <a:gd name="T22" fmla="*/ 140 w 587"/>
                <a:gd name="T23" fmla="*/ 127 h 419"/>
                <a:gd name="T24" fmla="*/ 148 w 587"/>
                <a:gd name="T25" fmla="*/ 152 h 419"/>
                <a:gd name="T26" fmla="*/ 153 w 587"/>
                <a:gd name="T27" fmla="*/ 197 h 419"/>
                <a:gd name="T28" fmla="*/ 169 w 587"/>
                <a:gd name="T29" fmla="*/ 225 h 419"/>
                <a:gd name="T30" fmla="*/ 181 w 587"/>
                <a:gd name="T31" fmla="*/ 232 h 419"/>
                <a:gd name="T32" fmla="*/ 196 w 587"/>
                <a:gd name="T33" fmla="*/ 229 h 419"/>
                <a:gd name="T34" fmla="*/ 214 w 587"/>
                <a:gd name="T35" fmla="*/ 217 h 419"/>
                <a:gd name="T36" fmla="*/ 243 w 587"/>
                <a:gd name="T37" fmla="*/ 231 h 419"/>
                <a:gd name="T38" fmla="*/ 267 w 587"/>
                <a:gd name="T39" fmla="*/ 219 h 419"/>
                <a:gd name="T40" fmla="*/ 283 w 587"/>
                <a:gd name="T41" fmla="*/ 217 h 419"/>
                <a:gd name="T42" fmla="*/ 277 w 587"/>
                <a:gd name="T43" fmla="*/ 234 h 419"/>
                <a:gd name="T44" fmla="*/ 283 w 587"/>
                <a:gd name="T45" fmla="*/ 241 h 419"/>
                <a:gd name="T46" fmla="*/ 288 w 587"/>
                <a:gd name="T47" fmla="*/ 253 h 419"/>
                <a:gd name="T48" fmla="*/ 288 w 587"/>
                <a:gd name="T49" fmla="*/ 268 h 419"/>
                <a:gd name="T50" fmla="*/ 304 w 587"/>
                <a:gd name="T51" fmla="*/ 278 h 419"/>
                <a:gd name="T52" fmla="*/ 319 w 587"/>
                <a:gd name="T53" fmla="*/ 280 h 419"/>
                <a:gd name="T54" fmla="*/ 316 w 587"/>
                <a:gd name="T55" fmla="*/ 294 h 419"/>
                <a:gd name="T56" fmla="*/ 319 w 587"/>
                <a:gd name="T57" fmla="*/ 308 h 419"/>
                <a:gd name="T58" fmla="*/ 338 w 587"/>
                <a:gd name="T59" fmla="*/ 339 h 419"/>
                <a:gd name="T60" fmla="*/ 357 w 587"/>
                <a:gd name="T61" fmla="*/ 370 h 419"/>
                <a:gd name="T62" fmla="*/ 377 w 587"/>
                <a:gd name="T63" fmla="*/ 377 h 419"/>
                <a:gd name="T64" fmla="*/ 394 w 587"/>
                <a:gd name="T65" fmla="*/ 386 h 419"/>
                <a:gd name="T66" fmla="*/ 409 w 587"/>
                <a:gd name="T67" fmla="*/ 410 h 419"/>
                <a:gd name="T68" fmla="*/ 434 w 587"/>
                <a:gd name="T69" fmla="*/ 411 h 419"/>
                <a:gd name="T70" fmla="*/ 448 w 587"/>
                <a:gd name="T71" fmla="*/ 397 h 419"/>
                <a:gd name="T72" fmla="*/ 456 w 587"/>
                <a:gd name="T73" fmla="*/ 394 h 419"/>
                <a:gd name="T74" fmla="*/ 474 w 587"/>
                <a:gd name="T75" fmla="*/ 411 h 419"/>
                <a:gd name="T76" fmla="*/ 488 w 587"/>
                <a:gd name="T77" fmla="*/ 419 h 419"/>
                <a:gd name="T78" fmla="*/ 493 w 587"/>
                <a:gd name="T79" fmla="*/ 410 h 419"/>
                <a:gd name="T80" fmla="*/ 501 w 587"/>
                <a:gd name="T81" fmla="*/ 398 h 419"/>
                <a:gd name="T82" fmla="*/ 513 w 587"/>
                <a:gd name="T83" fmla="*/ 389 h 419"/>
                <a:gd name="T84" fmla="*/ 508 w 587"/>
                <a:gd name="T85" fmla="*/ 379 h 419"/>
                <a:gd name="T86" fmla="*/ 502 w 587"/>
                <a:gd name="T87" fmla="*/ 345 h 419"/>
                <a:gd name="T88" fmla="*/ 510 w 587"/>
                <a:gd name="T89" fmla="*/ 343 h 419"/>
                <a:gd name="T90" fmla="*/ 526 w 587"/>
                <a:gd name="T91" fmla="*/ 352 h 419"/>
                <a:gd name="T92" fmla="*/ 542 w 587"/>
                <a:gd name="T93" fmla="*/ 348 h 419"/>
                <a:gd name="T94" fmla="*/ 557 w 587"/>
                <a:gd name="T95" fmla="*/ 342 h 419"/>
                <a:gd name="T96" fmla="*/ 570 w 587"/>
                <a:gd name="T97" fmla="*/ 334 h 419"/>
                <a:gd name="T98" fmla="*/ 587 w 587"/>
                <a:gd name="T99" fmla="*/ 318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7" h="419">
                  <a:moveTo>
                    <a:pt x="0" y="0"/>
                  </a:moveTo>
                  <a:lnTo>
                    <a:pt x="0" y="0"/>
                  </a:lnTo>
                  <a:lnTo>
                    <a:pt x="5" y="7"/>
                  </a:lnTo>
                  <a:lnTo>
                    <a:pt x="8" y="12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5" y="15"/>
                  </a:lnTo>
                  <a:lnTo>
                    <a:pt x="20" y="15"/>
                  </a:lnTo>
                  <a:lnTo>
                    <a:pt x="24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2" y="41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43" y="65"/>
                  </a:lnTo>
                  <a:lnTo>
                    <a:pt x="43" y="72"/>
                  </a:lnTo>
                  <a:lnTo>
                    <a:pt x="43" y="74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51" y="78"/>
                  </a:lnTo>
                  <a:lnTo>
                    <a:pt x="5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9" y="81"/>
                  </a:lnTo>
                  <a:lnTo>
                    <a:pt x="85" y="84"/>
                  </a:lnTo>
                  <a:lnTo>
                    <a:pt x="88" y="87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101" y="106"/>
                  </a:lnTo>
                  <a:lnTo>
                    <a:pt x="106" y="114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11" y="126"/>
                  </a:lnTo>
                  <a:lnTo>
                    <a:pt x="113" y="129"/>
                  </a:lnTo>
                  <a:lnTo>
                    <a:pt x="116" y="129"/>
                  </a:lnTo>
                  <a:lnTo>
                    <a:pt x="119" y="127"/>
                  </a:lnTo>
                  <a:lnTo>
                    <a:pt x="119" y="127"/>
                  </a:lnTo>
                  <a:lnTo>
                    <a:pt x="123" y="120"/>
                  </a:lnTo>
                  <a:lnTo>
                    <a:pt x="126" y="117"/>
                  </a:lnTo>
                  <a:lnTo>
                    <a:pt x="129" y="115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4" y="118"/>
                  </a:lnTo>
                  <a:lnTo>
                    <a:pt x="140" y="127"/>
                  </a:lnTo>
                  <a:lnTo>
                    <a:pt x="146" y="139"/>
                  </a:lnTo>
                  <a:lnTo>
                    <a:pt x="147" y="145"/>
                  </a:lnTo>
                  <a:lnTo>
                    <a:pt x="148" y="152"/>
                  </a:lnTo>
                  <a:lnTo>
                    <a:pt x="148" y="152"/>
                  </a:lnTo>
                  <a:lnTo>
                    <a:pt x="148" y="177"/>
                  </a:lnTo>
                  <a:lnTo>
                    <a:pt x="150" y="188"/>
                  </a:lnTo>
                  <a:lnTo>
                    <a:pt x="153" y="197"/>
                  </a:lnTo>
                  <a:lnTo>
                    <a:pt x="153" y="197"/>
                  </a:lnTo>
                  <a:lnTo>
                    <a:pt x="160" y="210"/>
                  </a:lnTo>
                  <a:lnTo>
                    <a:pt x="166" y="220"/>
                  </a:lnTo>
                  <a:lnTo>
                    <a:pt x="166" y="220"/>
                  </a:lnTo>
                  <a:lnTo>
                    <a:pt x="169" y="225"/>
                  </a:lnTo>
                  <a:lnTo>
                    <a:pt x="174" y="228"/>
                  </a:lnTo>
                  <a:lnTo>
                    <a:pt x="174" y="228"/>
                  </a:lnTo>
                  <a:lnTo>
                    <a:pt x="177" y="231"/>
                  </a:lnTo>
                  <a:lnTo>
                    <a:pt x="181" y="232"/>
                  </a:lnTo>
                  <a:lnTo>
                    <a:pt x="181" y="232"/>
                  </a:lnTo>
                  <a:lnTo>
                    <a:pt x="185" y="232"/>
                  </a:lnTo>
                  <a:lnTo>
                    <a:pt x="190" y="232"/>
                  </a:lnTo>
                  <a:lnTo>
                    <a:pt x="196" y="229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9" y="219"/>
                  </a:lnTo>
                  <a:lnTo>
                    <a:pt x="214" y="217"/>
                  </a:lnTo>
                  <a:lnTo>
                    <a:pt x="220" y="220"/>
                  </a:lnTo>
                  <a:lnTo>
                    <a:pt x="220" y="220"/>
                  </a:lnTo>
                  <a:lnTo>
                    <a:pt x="234" y="226"/>
                  </a:lnTo>
                  <a:lnTo>
                    <a:pt x="243" y="231"/>
                  </a:lnTo>
                  <a:lnTo>
                    <a:pt x="243" y="231"/>
                  </a:lnTo>
                  <a:lnTo>
                    <a:pt x="248" y="229"/>
                  </a:lnTo>
                  <a:lnTo>
                    <a:pt x="254" y="226"/>
                  </a:lnTo>
                  <a:lnTo>
                    <a:pt x="267" y="219"/>
                  </a:lnTo>
                  <a:lnTo>
                    <a:pt x="267" y="219"/>
                  </a:lnTo>
                  <a:lnTo>
                    <a:pt x="274" y="217"/>
                  </a:lnTo>
                  <a:lnTo>
                    <a:pt x="279" y="216"/>
                  </a:lnTo>
                  <a:lnTo>
                    <a:pt x="283" y="217"/>
                  </a:lnTo>
                  <a:lnTo>
                    <a:pt x="283" y="219"/>
                  </a:lnTo>
                  <a:lnTo>
                    <a:pt x="283" y="219"/>
                  </a:lnTo>
                  <a:lnTo>
                    <a:pt x="279" y="228"/>
                  </a:lnTo>
                  <a:lnTo>
                    <a:pt x="277" y="234"/>
                  </a:lnTo>
                  <a:lnTo>
                    <a:pt x="277" y="238"/>
                  </a:lnTo>
                  <a:lnTo>
                    <a:pt x="277" y="238"/>
                  </a:lnTo>
                  <a:lnTo>
                    <a:pt x="280" y="240"/>
                  </a:lnTo>
                  <a:lnTo>
                    <a:pt x="283" y="241"/>
                  </a:lnTo>
                  <a:lnTo>
                    <a:pt x="286" y="243"/>
                  </a:lnTo>
                  <a:lnTo>
                    <a:pt x="288" y="247"/>
                  </a:lnTo>
                  <a:lnTo>
                    <a:pt x="288" y="247"/>
                  </a:lnTo>
                  <a:lnTo>
                    <a:pt x="288" y="253"/>
                  </a:lnTo>
                  <a:lnTo>
                    <a:pt x="286" y="257"/>
                  </a:lnTo>
                  <a:lnTo>
                    <a:pt x="286" y="263"/>
                  </a:lnTo>
                  <a:lnTo>
                    <a:pt x="286" y="266"/>
                  </a:lnTo>
                  <a:lnTo>
                    <a:pt x="288" y="268"/>
                  </a:lnTo>
                  <a:lnTo>
                    <a:pt x="288" y="268"/>
                  </a:lnTo>
                  <a:lnTo>
                    <a:pt x="297" y="275"/>
                  </a:lnTo>
                  <a:lnTo>
                    <a:pt x="300" y="277"/>
                  </a:lnTo>
                  <a:lnTo>
                    <a:pt x="304" y="278"/>
                  </a:lnTo>
                  <a:lnTo>
                    <a:pt x="304" y="278"/>
                  </a:lnTo>
                  <a:lnTo>
                    <a:pt x="310" y="278"/>
                  </a:lnTo>
                  <a:lnTo>
                    <a:pt x="316" y="278"/>
                  </a:lnTo>
                  <a:lnTo>
                    <a:pt x="319" y="280"/>
                  </a:lnTo>
                  <a:lnTo>
                    <a:pt x="320" y="283"/>
                  </a:lnTo>
                  <a:lnTo>
                    <a:pt x="320" y="283"/>
                  </a:lnTo>
                  <a:lnTo>
                    <a:pt x="319" y="287"/>
                  </a:lnTo>
                  <a:lnTo>
                    <a:pt x="316" y="294"/>
                  </a:lnTo>
                  <a:lnTo>
                    <a:pt x="314" y="297"/>
                  </a:lnTo>
                  <a:lnTo>
                    <a:pt x="314" y="300"/>
                  </a:lnTo>
                  <a:lnTo>
                    <a:pt x="316" y="305"/>
                  </a:lnTo>
                  <a:lnTo>
                    <a:pt x="319" y="308"/>
                  </a:lnTo>
                  <a:lnTo>
                    <a:pt x="319" y="308"/>
                  </a:lnTo>
                  <a:lnTo>
                    <a:pt x="326" y="315"/>
                  </a:lnTo>
                  <a:lnTo>
                    <a:pt x="331" y="323"/>
                  </a:lnTo>
                  <a:lnTo>
                    <a:pt x="338" y="339"/>
                  </a:lnTo>
                  <a:lnTo>
                    <a:pt x="338" y="339"/>
                  </a:lnTo>
                  <a:lnTo>
                    <a:pt x="347" y="358"/>
                  </a:lnTo>
                  <a:lnTo>
                    <a:pt x="351" y="364"/>
                  </a:lnTo>
                  <a:lnTo>
                    <a:pt x="357" y="370"/>
                  </a:lnTo>
                  <a:lnTo>
                    <a:pt x="357" y="370"/>
                  </a:lnTo>
                  <a:lnTo>
                    <a:pt x="365" y="374"/>
                  </a:lnTo>
                  <a:lnTo>
                    <a:pt x="377" y="377"/>
                  </a:lnTo>
                  <a:lnTo>
                    <a:pt x="377" y="377"/>
                  </a:lnTo>
                  <a:lnTo>
                    <a:pt x="384" y="379"/>
                  </a:lnTo>
                  <a:lnTo>
                    <a:pt x="388" y="382"/>
                  </a:lnTo>
                  <a:lnTo>
                    <a:pt x="394" y="386"/>
                  </a:lnTo>
                  <a:lnTo>
                    <a:pt x="394" y="386"/>
                  </a:lnTo>
                  <a:lnTo>
                    <a:pt x="402" y="397"/>
                  </a:lnTo>
                  <a:lnTo>
                    <a:pt x="406" y="404"/>
                  </a:lnTo>
                  <a:lnTo>
                    <a:pt x="409" y="410"/>
                  </a:lnTo>
                  <a:lnTo>
                    <a:pt x="409" y="410"/>
                  </a:lnTo>
                  <a:lnTo>
                    <a:pt x="415" y="411"/>
                  </a:lnTo>
                  <a:lnTo>
                    <a:pt x="422" y="413"/>
                  </a:lnTo>
                  <a:lnTo>
                    <a:pt x="431" y="413"/>
                  </a:lnTo>
                  <a:lnTo>
                    <a:pt x="434" y="411"/>
                  </a:lnTo>
                  <a:lnTo>
                    <a:pt x="437" y="410"/>
                  </a:lnTo>
                  <a:lnTo>
                    <a:pt x="437" y="410"/>
                  </a:lnTo>
                  <a:lnTo>
                    <a:pt x="442" y="404"/>
                  </a:lnTo>
                  <a:lnTo>
                    <a:pt x="448" y="397"/>
                  </a:lnTo>
                  <a:lnTo>
                    <a:pt x="452" y="392"/>
                  </a:lnTo>
                  <a:lnTo>
                    <a:pt x="455" y="392"/>
                  </a:lnTo>
                  <a:lnTo>
                    <a:pt x="456" y="394"/>
                  </a:lnTo>
                  <a:lnTo>
                    <a:pt x="456" y="394"/>
                  </a:lnTo>
                  <a:lnTo>
                    <a:pt x="465" y="406"/>
                  </a:lnTo>
                  <a:lnTo>
                    <a:pt x="470" y="410"/>
                  </a:lnTo>
                  <a:lnTo>
                    <a:pt x="474" y="411"/>
                  </a:lnTo>
                  <a:lnTo>
                    <a:pt x="474" y="411"/>
                  </a:lnTo>
                  <a:lnTo>
                    <a:pt x="479" y="414"/>
                  </a:lnTo>
                  <a:lnTo>
                    <a:pt x="482" y="417"/>
                  </a:lnTo>
                  <a:lnTo>
                    <a:pt x="486" y="419"/>
                  </a:lnTo>
                  <a:lnTo>
                    <a:pt x="488" y="419"/>
                  </a:lnTo>
                  <a:lnTo>
                    <a:pt x="491" y="417"/>
                  </a:lnTo>
                  <a:lnTo>
                    <a:pt x="491" y="417"/>
                  </a:lnTo>
                  <a:lnTo>
                    <a:pt x="493" y="414"/>
                  </a:lnTo>
                  <a:lnTo>
                    <a:pt x="493" y="410"/>
                  </a:lnTo>
                  <a:lnTo>
                    <a:pt x="493" y="406"/>
                  </a:lnTo>
                  <a:lnTo>
                    <a:pt x="495" y="403"/>
                  </a:lnTo>
                  <a:lnTo>
                    <a:pt x="495" y="403"/>
                  </a:lnTo>
                  <a:lnTo>
                    <a:pt x="501" y="398"/>
                  </a:lnTo>
                  <a:lnTo>
                    <a:pt x="505" y="395"/>
                  </a:lnTo>
                  <a:lnTo>
                    <a:pt x="511" y="394"/>
                  </a:lnTo>
                  <a:lnTo>
                    <a:pt x="513" y="392"/>
                  </a:lnTo>
                  <a:lnTo>
                    <a:pt x="513" y="389"/>
                  </a:lnTo>
                  <a:lnTo>
                    <a:pt x="513" y="389"/>
                  </a:lnTo>
                  <a:lnTo>
                    <a:pt x="513" y="386"/>
                  </a:lnTo>
                  <a:lnTo>
                    <a:pt x="511" y="383"/>
                  </a:lnTo>
                  <a:lnTo>
                    <a:pt x="508" y="379"/>
                  </a:lnTo>
                  <a:lnTo>
                    <a:pt x="505" y="373"/>
                  </a:lnTo>
                  <a:lnTo>
                    <a:pt x="505" y="373"/>
                  </a:lnTo>
                  <a:lnTo>
                    <a:pt x="502" y="354"/>
                  </a:lnTo>
                  <a:lnTo>
                    <a:pt x="502" y="345"/>
                  </a:lnTo>
                  <a:lnTo>
                    <a:pt x="504" y="342"/>
                  </a:lnTo>
                  <a:lnTo>
                    <a:pt x="505" y="342"/>
                  </a:lnTo>
                  <a:lnTo>
                    <a:pt x="505" y="342"/>
                  </a:lnTo>
                  <a:lnTo>
                    <a:pt x="510" y="343"/>
                  </a:lnTo>
                  <a:lnTo>
                    <a:pt x="514" y="346"/>
                  </a:lnTo>
                  <a:lnTo>
                    <a:pt x="520" y="351"/>
                  </a:lnTo>
                  <a:lnTo>
                    <a:pt x="526" y="352"/>
                  </a:lnTo>
                  <a:lnTo>
                    <a:pt x="526" y="352"/>
                  </a:lnTo>
                  <a:lnTo>
                    <a:pt x="532" y="352"/>
                  </a:lnTo>
                  <a:lnTo>
                    <a:pt x="536" y="352"/>
                  </a:lnTo>
                  <a:lnTo>
                    <a:pt x="541" y="351"/>
                  </a:lnTo>
                  <a:lnTo>
                    <a:pt x="542" y="348"/>
                  </a:lnTo>
                  <a:lnTo>
                    <a:pt x="542" y="348"/>
                  </a:lnTo>
                  <a:lnTo>
                    <a:pt x="544" y="345"/>
                  </a:lnTo>
                  <a:lnTo>
                    <a:pt x="548" y="343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62" y="340"/>
                  </a:lnTo>
                  <a:lnTo>
                    <a:pt x="566" y="337"/>
                  </a:lnTo>
                  <a:lnTo>
                    <a:pt x="570" y="334"/>
                  </a:lnTo>
                  <a:lnTo>
                    <a:pt x="573" y="331"/>
                  </a:lnTo>
                  <a:lnTo>
                    <a:pt x="573" y="331"/>
                  </a:lnTo>
                  <a:lnTo>
                    <a:pt x="581" y="324"/>
                  </a:lnTo>
                  <a:lnTo>
                    <a:pt x="587" y="31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7" name="Freeform 166">
              <a:extLst>
                <a:ext uri="{FF2B5EF4-FFF2-40B4-BE49-F238E27FC236}">
                  <a16:creationId xmlns:a16="http://schemas.microsoft.com/office/drawing/2014/main" id="{11DD27E0-765F-D44B-9C0A-4B626D187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5775" y="5119688"/>
              <a:ext cx="265113" cy="392112"/>
            </a:xfrm>
            <a:custGeom>
              <a:avLst/>
              <a:gdLst>
                <a:gd name="T0" fmla="*/ 0 w 167"/>
                <a:gd name="T1" fmla="*/ 247 h 247"/>
                <a:gd name="T2" fmla="*/ 10 w 167"/>
                <a:gd name="T3" fmla="*/ 233 h 247"/>
                <a:gd name="T4" fmla="*/ 16 w 167"/>
                <a:gd name="T5" fmla="*/ 230 h 247"/>
                <a:gd name="T6" fmla="*/ 29 w 167"/>
                <a:gd name="T7" fmla="*/ 230 h 247"/>
                <a:gd name="T8" fmla="*/ 43 w 167"/>
                <a:gd name="T9" fmla="*/ 227 h 247"/>
                <a:gd name="T10" fmla="*/ 47 w 167"/>
                <a:gd name="T11" fmla="*/ 222 h 247"/>
                <a:gd name="T12" fmla="*/ 57 w 167"/>
                <a:gd name="T13" fmla="*/ 218 h 247"/>
                <a:gd name="T14" fmla="*/ 62 w 167"/>
                <a:gd name="T15" fmla="*/ 219 h 247"/>
                <a:gd name="T16" fmla="*/ 71 w 167"/>
                <a:gd name="T17" fmla="*/ 218 h 247"/>
                <a:gd name="T18" fmla="*/ 84 w 167"/>
                <a:gd name="T19" fmla="*/ 216 h 247"/>
                <a:gd name="T20" fmla="*/ 88 w 167"/>
                <a:gd name="T21" fmla="*/ 216 h 247"/>
                <a:gd name="T22" fmla="*/ 96 w 167"/>
                <a:gd name="T23" fmla="*/ 212 h 247"/>
                <a:gd name="T24" fmla="*/ 102 w 167"/>
                <a:gd name="T25" fmla="*/ 209 h 247"/>
                <a:gd name="T26" fmla="*/ 105 w 167"/>
                <a:gd name="T27" fmla="*/ 209 h 247"/>
                <a:gd name="T28" fmla="*/ 111 w 167"/>
                <a:gd name="T29" fmla="*/ 207 h 247"/>
                <a:gd name="T30" fmla="*/ 120 w 167"/>
                <a:gd name="T31" fmla="*/ 197 h 247"/>
                <a:gd name="T32" fmla="*/ 122 w 167"/>
                <a:gd name="T33" fmla="*/ 190 h 247"/>
                <a:gd name="T34" fmla="*/ 133 w 167"/>
                <a:gd name="T35" fmla="*/ 160 h 247"/>
                <a:gd name="T36" fmla="*/ 137 w 167"/>
                <a:gd name="T37" fmla="*/ 153 h 247"/>
                <a:gd name="T38" fmla="*/ 140 w 167"/>
                <a:gd name="T39" fmla="*/ 145 h 247"/>
                <a:gd name="T40" fmla="*/ 137 w 167"/>
                <a:gd name="T41" fmla="*/ 127 h 247"/>
                <a:gd name="T42" fmla="*/ 134 w 167"/>
                <a:gd name="T43" fmla="*/ 120 h 247"/>
                <a:gd name="T44" fmla="*/ 125 w 167"/>
                <a:gd name="T45" fmla="*/ 108 h 247"/>
                <a:gd name="T46" fmla="*/ 127 w 167"/>
                <a:gd name="T47" fmla="*/ 105 h 247"/>
                <a:gd name="T48" fmla="*/ 136 w 167"/>
                <a:gd name="T49" fmla="*/ 104 h 247"/>
                <a:gd name="T50" fmla="*/ 140 w 167"/>
                <a:gd name="T51" fmla="*/ 99 h 247"/>
                <a:gd name="T52" fmla="*/ 140 w 167"/>
                <a:gd name="T53" fmla="*/ 96 h 247"/>
                <a:gd name="T54" fmla="*/ 143 w 167"/>
                <a:gd name="T55" fmla="*/ 89 h 247"/>
                <a:gd name="T56" fmla="*/ 151 w 167"/>
                <a:gd name="T57" fmla="*/ 85 h 247"/>
                <a:gd name="T58" fmla="*/ 157 w 167"/>
                <a:gd name="T59" fmla="*/ 82 h 247"/>
                <a:gd name="T60" fmla="*/ 167 w 167"/>
                <a:gd name="T61" fmla="*/ 67 h 247"/>
                <a:gd name="T62" fmla="*/ 155 w 167"/>
                <a:gd name="T63" fmla="*/ 49 h 247"/>
                <a:gd name="T64" fmla="*/ 142 w 167"/>
                <a:gd name="T65" fmla="*/ 34 h 247"/>
                <a:gd name="T66" fmla="*/ 139 w 167"/>
                <a:gd name="T67" fmla="*/ 33 h 247"/>
                <a:gd name="T68" fmla="*/ 124 w 167"/>
                <a:gd name="T69" fmla="*/ 45 h 247"/>
                <a:gd name="T70" fmla="*/ 111 w 167"/>
                <a:gd name="T71" fmla="*/ 53 h 247"/>
                <a:gd name="T72" fmla="*/ 108 w 167"/>
                <a:gd name="T73" fmla="*/ 55 h 247"/>
                <a:gd name="T74" fmla="*/ 93 w 167"/>
                <a:gd name="T75" fmla="*/ 52 h 247"/>
                <a:gd name="T76" fmla="*/ 91 w 167"/>
                <a:gd name="T77" fmla="*/ 49 h 247"/>
                <a:gd name="T78" fmla="*/ 91 w 167"/>
                <a:gd name="T79" fmla="*/ 43 h 247"/>
                <a:gd name="T80" fmla="*/ 88 w 167"/>
                <a:gd name="T81" fmla="*/ 33 h 247"/>
                <a:gd name="T82" fmla="*/ 87 w 167"/>
                <a:gd name="T83" fmla="*/ 30 h 247"/>
                <a:gd name="T84" fmla="*/ 88 w 167"/>
                <a:gd name="T85" fmla="*/ 19 h 247"/>
                <a:gd name="T86" fmla="*/ 88 w 167"/>
                <a:gd name="T87" fmla="*/ 15 h 247"/>
                <a:gd name="T88" fmla="*/ 84 w 167"/>
                <a:gd name="T89" fmla="*/ 9 h 247"/>
                <a:gd name="T90" fmla="*/ 81 w 167"/>
                <a:gd name="T91" fmla="*/ 7 h 247"/>
                <a:gd name="T92" fmla="*/ 75 w 167"/>
                <a:gd name="T93" fmla="*/ 5 h 247"/>
                <a:gd name="T94" fmla="*/ 69 w 167"/>
                <a:gd name="T95" fmla="*/ 0 h 247"/>
                <a:gd name="T96" fmla="*/ 65 w 167"/>
                <a:gd name="T97" fmla="*/ 2 h 247"/>
                <a:gd name="T98" fmla="*/ 53 w 167"/>
                <a:gd name="T99" fmla="*/ 5 h 247"/>
                <a:gd name="T100" fmla="*/ 47 w 167"/>
                <a:gd name="T101" fmla="*/ 2 h 247"/>
                <a:gd name="T102" fmla="*/ 43 w 167"/>
                <a:gd name="T103" fmla="*/ 0 h 247"/>
                <a:gd name="T104" fmla="*/ 35 w 167"/>
                <a:gd name="T105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7" h="247">
                  <a:moveTo>
                    <a:pt x="0" y="247"/>
                  </a:moveTo>
                  <a:lnTo>
                    <a:pt x="0" y="247"/>
                  </a:lnTo>
                  <a:lnTo>
                    <a:pt x="4" y="239"/>
                  </a:lnTo>
                  <a:lnTo>
                    <a:pt x="10" y="233"/>
                  </a:lnTo>
                  <a:lnTo>
                    <a:pt x="13" y="231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29" y="230"/>
                  </a:lnTo>
                  <a:lnTo>
                    <a:pt x="37" y="230"/>
                  </a:lnTo>
                  <a:lnTo>
                    <a:pt x="43" y="227"/>
                  </a:lnTo>
                  <a:lnTo>
                    <a:pt x="43" y="227"/>
                  </a:lnTo>
                  <a:lnTo>
                    <a:pt x="47" y="222"/>
                  </a:lnTo>
                  <a:lnTo>
                    <a:pt x="51" y="219"/>
                  </a:lnTo>
                  <a:lnTo>
                    <a:pt x="57" y="218"/>
                  </a:lnTo>
                  <a:lnTo>
                    <a:pt x="62" y="219"/>
                  </a:lnTo>
                  <a:lnTo>
                    <a:pt x="62" y="219"/>
                  </a:lnTo>
                  <a:lnTo>
                    <a:pt x="66" y="219"/>
                  </a:lnTo>
                  <a:lnTo>
                    <a:pt x="71" y="218"/>
                  </a:lnTo>
                  <a:lnTo>
                    <a:pt x="77" y="216"/>
                  </a:lnTo>
                  <a:lnTo>
                    <a:pt x="84" y="216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91" y="215"/>
                  </a:lnTo>
                  <a:lnTo>
                    <a:pt x="96" y="212"/>
                  </a:lnTo>
                  <a:lnTo>
                    <a:pt x="100" y="209"/>
                  </a:lnTo>
                  <a:lnTo>
                    <a:pt x="102" y="20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8" y="209"/>
                  </a:lnTo>
                  <a:lnTo>
                    <a:pt x="111" y="207"/>
                  </a:lnTo>
                  <a:lnTo>
                    <a:pt x="115" y="203"/>
                  </a:lnTo>
                  <a:lnTo>
                    <a:pt x="120" y="197"/>
                  </a:lnTo>
                  <a:lnTo>
                    <a:pt x="122" y="190"/>
                  </a:lnTo>
                  <a:lnTo>
                    <a:pt x="122" y="190"/>
                  </a:lnTo>
                  <a:lnTo>
                    <a:pt x="130" y="170"/>
                  </a:lnTo>
                  <a:lnTo>
                    <a:pt x="133" y="160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9" y="150"/>
                  </a:lnTo>
                  <a:lnTo>
                    <a:pt x="140" y="145"/>
                  </a:lnTo>
                  <a:lnTo>
                    <a:pt x="139" y="136"/>
                  </a:lnTo>
                  <a:lnTo>
                    <a:pt x="137" y="127"/>
                  </a:lnTo>
                  <a:lnTo>
                    <a:pt x="134" y="120"/>
                  </a:lnTo>
                  <a:lnTo>
                    <a:pt x="134" y="120"/>
                  </a:lnTo>
                  <a:lnTo>
                    <a:pt x="127" y="111"/>
                  </a:lnTo>
                  <a:lnTo>
                    <a:pt x="125" y="108"/>
                  </a:lnTo>
                  <a:lnTo>
                    <a:pt x="125" y="107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36" y="104"/>
                  </a:lnTo>
                  <a:lnTo>
                    <a:pt x="139" y="101"/>
                  </a:lnTo>
                  <a:lnTo>
                    <a:pt x="140" y="99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0" y="92"/>
                  </a:lnTo>
                  <a:lnTo>
                    <a:pt x="143" y="89"/>
                  </a:lnTo>
                  <a:lnTo>
                    <a:pt x="146" y="87"/>
                  </a:lnTo>
                  <a:lnTo>
                    <a:pt x="151" y="85"/>
                  </a:lnTo>
                  <a:lnTo>
                    <a:pt x="151" y="85"/>
                  </a:lnTo>
                  <a:lnTo>
                    <a:pt x="157" y="82"/>
                  </a:lnTo>
                  <a:lnTo>
                    <a:pt x="161" y="76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55" y="49"/>
                  </a:lnTo>
                  <a:lnTo>
                    <a:pt x="146" y="37"/>
                  </a:lnTo>
                  <a:lnTo>
                    <a:pt x="142" y="34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1" y="37"/>
                  </a:lnTo>
                  <a:lnTo>
                    <a:pt x="124" y="45"/>
                  </a:lnTo>
                  <a:lnTo>
                    <a:pt x="115" y="52"/>
                  </a:lnTo>
                  <a:lnTo>
                    <a:pt x="111" y="53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96" y="55"/>
                  </a:lnTo>
                  <a:lnTo>
                    <a:pt x="93" y="52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1" y="43"/>
                  </a:lnTo>
                  <a:lnTo>
                    <a:pt x="91" y="39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5"/>
                  </a:lnTo>
                  <a:lnTo>
                    <a:pt x="87" y="10"/>
                  </a:lnTo>
                  <a:lnTo>
                    <a:pt x="84" y="9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77" y="6"/>
                  </a:lnTo>
                  <a:lnTo>
                    <a:pt x="75" y="5"/>
                  </a:lnTo>
                  <a:lnTo>
                    <a:pt x="72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5" y="2"/>
                  </a:lnTo>
                  <a:lnTo>
                    <a:pt x="59" y="3"/>
                  </a:lnTo>
                  <a:lnTo>
                    <a:pt x="53" y="5"/>
                  </a:lnTo>
                  <a:lnTo>
                    <a:pt x="50" y="5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5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8" name="Freeform 167">
              <a:extLst>
                <a:ext uri="{FF2B5EF4-FFF2-40B4-BE49-F238E27FC236}">
                  <a16:creationId xmlns:a16="http://schemas.microsoft.com/office/drawing/2014/main" id="{D20299CC-75A8-0D45-B6FA-55AA6C42E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413" y="5299075"/>
              <a:ext cx="488950" cy="298450"/>
            </a:xfrm>
            <a:custGeom>
              <a:avLst/>
              <a:gdLst>
                <a:gd name="T0" fmla="*/ 0 w 308"/>
                <a:gd name="T1" fmla="*/ 118 h 188"/>
                <a:gd name="T2" fmla="*/ 19 w 308"/>
                <a:gd name="T3" fmla="*/ 133 h 188"/>
                <a:gd name="T4" fmla="*/ 28 w 308"/>
                <a:gd name="T5" fmla="*/ 142 h 188"/>
                <a:gd name="T6" fmla="*/ 40 w 308"/>
                <a:gd name="T7" fmla="*/ 160 h 188"/>
                <a:gd name="T8" fmla="*/ 52 w 308"/>
                <a:gd name="T9" fmla="*/ 174 h 188"/>
                <a:gd name="T10" fmla="*/ 62 w 308"/>
                <a:gd name="T11" fmla="*/ 180 h 188"/>
                <a:gd name="T12" fmla="*/ 81 w 308"/>
                <a:gd name="T13" fmla="*/ 185 h 188"/>
                <a:gd name="T14" fmla="*/ 87 w 308"/>
                <a:gd name="T15" fmla="*/ 183 h 188"/>
                <a:gd name="T16" fmla="*/ 89 w 308"/>
                <a:gd name="T17" fmla="*/ 180 h 188"/>
                <a:gd name="T18" fmla="*/ 93 w 308"/>
                <a:gd name="T19" fmla="*/ 171 h 188"/>
                <a:gd name="T20" fmla="*/ 96 w 308"/>
                <a:gd name="T21" fmla="*/ 170 h 188"/>
                <a:gd name="T22" fmla="*/ 102 w 308"/>
                <a:gd name="T23" fmla="*/ 171 h 188"/>
                <a:gd name="T24" fmla="*/ 113 w 308"/>
                <a:gd name="T25" fmla="*/ 173 h 188"/>
                <a:gd name="T26" fmla="*/ 116 w 308"/>
                <a:gd name="T27" fmla="*/ 173 h 188"/>
                <a:gd name="T28" fmla="*/ 126 w 308"/>
                <a:gd name="T29" fmla="*/ 168 h 188"/>
                <a:gd name="T30" fmla="*/ 130 w 308"/>
                <a:gd name="T31" fmla="*/ 167 h 188"/>
                <a:gd name="T32" fmla="*/ 136 w 308"/>
                <a:gd name="T33" fmla="*/ 167 h 188"/>
                <a:gd name="T34" fmla="*/ 151 w 308"/>
                <a:gd name="T35" fmla="*/ 161 h 188"/>
                <a:gd name="T36" fmla="*/ 156 w 308"/>
                <a:gd name="T37" fmla="*/ 155 h 188"/>
                <a:gd name="T38" fmla="*/ 157 w 308"/>
                <a:gd name="T39" fmla="*/ 152 h 188"/>
                <a:gd name="T40" fmla="*/ 166 w 308"/>
                <a:gd name="T41" fmla="*/ 148 h 188"/>
                <a:gd name="T42" fmla="*/ 167 w 308"/>
                <a:gd name="T43" fmla="*/ 145 h 188"/>
                <a:gd name="T44" fmla="*/ 169 w 308"/>
                <a:gd name="T45" fmla="*/ 127 h 188"/>
                <a:gd name="T46" fmla="*/ 169 w 308"/>
                <a:gd name="T47" fmla="*/ 126 h 188"/>
                <a:gd name="T48" fmla="*/ 175 w 308"/>
                <a:gd name="T49" fmla="*/ 124 h 188"/>
                <a:gd name="T50" fmla="*/ 185 w 308"/>
                <a:gd name="T51" fmla="*/ 124 h 188"/>
                <a:gd name="T52" fmla="*/ 204 w 308"/>
                <a:gd name="T53" fmla="*/ 127 h 188"/>
                <a:gd name="T54" fmla="*/ 212 w 308"/>
                <a:gd name="T55" fmla="*/ 130 h 188"/>
                <a:gd name="T56" fmla="*/ 227 w 308"/>
                <a:gd name="T57" fmla="*/ 133 h 188"/>
                <a:gd name="T58" fmla="*/ 237 w 308"/>
                <a:gd name="T59" fmla="*/ 134 h 188"/>
                <a:gd name="T60" fmla="*/ 252 w 308"/>
                <a:gd name="T61" fmla="*/ 151 h 188"/>
                <a:gd name="T62" fmla="*/ 256 w 308"/>
                <a:gd name="T63" fmla="*/ 157 h 188"/>
                <a:gd name="T64" fmla="*/ 264 w 308"/>
                <a:gd name="T65" fmla="*/ 167 h 188"/>
                <a:gd name="T66" fmla="*/ 271 w 308"/>
                <a:gd name="T67" fmla="*/ 171 h 188"/>
                <a:gd name="T68" fmla="*/ 289 w 308"/>
                <a:gd name="T69" fmla="*/ 186 h 188"/>
                <a:gd name="T70" fmla="*/ 295 w 308"/>
                <a:gd name="T71" fmla="*/ 188 h 188"/>
                <a:gd name="T72" fmla="*/ 298 w 308"/>
                <a:gd name="T73" fmla="*/ 186 h 188"/>
                <a:gd name="T74" fmla="*/ 307 w 308"/>
                <a:gd name="T75" fmla="*/ 173 h 188"/>
                <a:gd name="T76" fmla="*/ 308 w 308"/>
                <a:gd name="T77" fmla="*/ 157 h 188"/>
                <a:gd name="T78" fmla="*/ 307 w 308"/>
                <a:gd name="T79" fmla="*/ 151 h 188"/>
                <a:gd name="T80" fmla="*/ 308 w 308"/>
                <a:gd name="T81" fmla="*/ 140 h 188"/>
                <a:gd name="T82" fmla="*/ 307 w 308"/>
                <a:gd name="T83" fmla="*/ 134 h 188"/>
                <a:gd name="T84" fmla="*/ 301 w 308"/>
                <a:gd name="T85" fmla="*/ 126 h 188"/>
                <a:gd name="T86" fmla="*/ 295 w 308"/>
                <a:gd name="T87" fmla="*/ 120 h 188"/>
                <a:gd name="T88" fmla="*/ 295 w 308"/>
                <a:gd name="T89" fmla="*/ 117 h 188"/>
                <a:gd name="T90" fmla="*/ 296 w 308"/>
                <a:gd name="T91" fmla="*/ 114 h 188"/>
                <a:gd name="T92" fmla="*/ 295 w 308"/>
                <a:gd name="T93" fmla="*/ 108 h 188"/>
                <a:gd name="T94" fmla="*/ 289 w 308"/>
                <a:gd name="T95" fmla="*/ 103 h 188"/>
                <a:gd name="T96" fmla="*/ 278 w 308"/>
                <a:gd name="T97" fmla="*/ 89 h 188"/>
                <a:gd name="T98" fmla="*/ 277 w 308"/>
                <a:gd name="T99" fmla="*/ 84 h 188"/>
                <a:gd name="T100" fmla="*/ 274 w 308"/>
                <a:gd name="T101" fmla="*/ 71 h 188"/>
                <a:gd name="T102" fmla="*/ 271 w 308"/>
                <a:gd name="T103" fmla="*/ 66 h 188"/>
                <a:gd name="T104" fmla="*/ 270 w 308"/>
                <a:gd name="T105" fmla="*/ 59 h 188"/>
                <a:gd name="T106" fmla="*/ 265 w 308"/>
                <a:gd name="T107" fmla="*/ 53 h 188"/>
                <a:gd name="T108" fmla="*/ 253 w 308"/>
                <a:gd name="T109" fmla="*/ 44 h 188"/>
                <a:gd name="T110" fmla="*/ 247 w 308"/>
                <a:gd name="T111" fmla="*/ 37 h 188"/>
                <a:gd name="T112" fmla="*/ 249 w 308"/>
                <a:gd name="T113" fmla="*/ 34 h 188"/>
                <a:gd name="T114" fmla="*/ 256 w 308"/>
                <a:gd name="T115" fmla="*/ 28 h 188"/>
                <a:gd name="T116" fmla="*/ 258 w 308"/>
                <a:gd name="T117" fmla="*/ 25 h 188"/>
                <a:gd name="T118" fmla="*/ 261 w 308"/>
                <a:gd name="T119" fmla="*/ 11 h 188"/>
                <a:gd name="T120" fmla="*/ 259 w 308"/>
                <a:gd name="T121" fmla="*/ 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8" h="188">
                  <a:moveTo>
                    <a:pt x="0" y="118"/>
                  </a:moveTo>
                  <a:lnTo>
                    <a:pt x="0" y="118"/>
                  </a:lnTo>
                  <a:lnTo>
                    <a:pt x="10" y="126"/>
                  </a:lnTo>
                  <a:lnTo>
                    <a:pt x="19" y="133"/>
                  </a:lnTo>
                  <a:lnTo>
                    <a:pt x="28" y="142"/>
                  </a:lnTo>
                  <a:lnTo>
                    <a:pt x="28" y="142"/>
                  </a:lnTo>
                  <a:lnTo>
                    <a:pt x="34" y="151"/>
                  </a:lnTo>
                  <a:lnTo>
                    <a:pt x="40" y="160"/>
                  </a:lnTo>
                  <a:lnTo>
                    <a:pt x="46" y="168"/>
                  </a:lnTo>
                  <a:lnTo>
                    <a:pt x="52" y="174"/>
                  </a:lnTo>
                  <a:lnTo>
                    <a:pt x="52" y="174"/>
                  </a:lnTo>
                  <a:lnTo>
                    <a:pt x="62" y="180"/>
                  </a:lnTo>
                  <a:lnTo>
                    <a:pt x="73" y="183"/>
                  </a:lnTo>
                  <a:lnTo>
                    <a:pt x="81" y="185"/>
                  </a:lnTo>
                  <a:lnTo>
                    <a:pt x="84" y="185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9" y="180"/>
                  </a:lnTo>
                  <a:lnTo>
                    <a:pt x="90" y="176"/>
                  </a:lnTo>
                  <a:lnTo>
                    <a:pt x="93" y="171"/>
                  </a:lnTo>
                  <a:lnTo>
                    <a:pt x="95" y="171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102" y="171"/>
                  </a:lnTo>
                  <a:lnTo>
                    <a:pt x="107" y="173"/>
                  </a:lnTo>
                  <a:lnTo>
                    <a:pt x="113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21" y="170"/>
                  </a:lnTo>
                  <a:lnTo>
                    <a:pt x="126" y="168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45" y="166"/>
                  </a:lnTo>
                  <a:lnTo>
                    <a:pt x="151" y="161"/>
                  </a:lnTo>
                  <a:lnTo>
                    <a:pt x="154" y="158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7" y="152"/>
                  </a:lnTo>
                  <a:lnTo>
                    <a:pt x="160" y="151"/>
                  </a:lnTo>
                  <a:lnTo>
                    <a:pt x="166" y="148"/>
                  </a:lnTo>
                  <a:lnTo>
                    <a:pt x="166" y="148"/>
                  </a:lnTo>
                  <a:lnTo>
                    <a:pt x="167" y="145"/>
                  </a:lnTo>
                  <a:lnTo>
                    <a:pt x="169" y="139"/>
                  </a:lnTo>
                  <a:lnTo>
                    <a:pt x="169" y="127"/>
                  </a:lnTo>
                  <a:lnTo>
                    <a:pt x="169" y="127"/>
                  </a:lnTo>
                  <a:lnTo>
                    <a:pt x="169" y="126"/>
                  </a:lnTo>
                  <a:lnTo>
                    <a:pt x="170" y="124"/>
                  </a:lnTo>
                  <a:lnTo>
                    <a:pt x="175" y="124"/>
                  </a:lnTo>
                  <a:lnTo>
                    <a:pt x="185" y="124"/>
                  </a:lnTo>
                  <a:lnTo>
                    <a:pt x="185" y="124"/>
                  </a:lnTo>
                  <a:lnTo>
                    <a:pt x="197" y="126"/>
                  </a:lnTo>
                  <a:lnTo>
                    <a:pt x="204" y="127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9" y="131"/>
                  </a:lnTo>
                  <a:lnTo>
                    <a:pt x="227" y="133"/>
                  </a:lnTo>
                  <a:lnTo>
                    <a:pt x="237" y="134"/>
                  </a:lnTo>
                  <a:lnTo>
                    <a:pt x="237" y="134"/>
                  </a:lnTo>
                  <a:lnTo>
                    <a:pt x="241" y="139"/>
                  </a:lnTo>
                  <a:lnTo>
                    <a:pt x="252" y="151"/>
                  </a:lnTo>
                  <a:lnTo>
                    <a:pt x="252" y="151"/>
                  </a:lnTo>
                  <a:lnTo>
                    <a:pt x="256" y="157"/>
                  </a:lnTo>
                  <a:lnTo>
                    <a:pt x="261" y="161"/>
                  </a:lnTo>
                  <a:lnTo>
                    <a:pt x="264" y="167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80" y="180"/>
                  </a:lnTo>
                  <a:lnTo>
                    <a:pt x="289" y="186"/>
                  </a:lnTo>
                  <a:lnTo>
                    <a:pt x="289" y="186"/>
                  </a:lnTo>
                  <a:lnTo>
                    <a:pt x="295" y="188"/>
                  </a:lnTo>
                  <a:lnTo>
                    <a:pt x="298" y="186"/>
                  </a:lnTo>
                  <a:lnTo>
                    <a:pt x="298" y="186"/>
                  </a:lnTo>
                  <a:lnTo>
                    <a:pt x="302" y="180"/>
                  </a:lnTo>
                  <a:lnTo>
                    <a:pt x="307" y="173"/>
                  </a:lnTo>
                  <a:lnTo>
                    <a:pt x="308" y="164"/>
                  </a:lnTo>
                  <a:lnTo>
                    <a:pt x="308" y="157"/>
                  </a:lnTo>
                  <a:lnTo>
                    <a:pt x="308" y="157"/>
                  </a:lnTo>
                  <a:lnTo>
                    <a:pt x="307" y="151"/>
                  </a:lnTo>
                  <a:lnTo>
                    <a:pt x="308" y="146"/>
                  </a:lnTo>
                  <a:lnTo>
                    <a:pt x="308" y="140"/>
                  </a:lnTo>
                  <a:lnTo>
                    <a:pt x="307" y="134"/>
                  </a:lnTo>
                  <a:lnTo>
                    <a:pt x="307" y="134"/>
                  </a:lnTo>
                  <a:lnTo>
                    <a:pt x="304" y="130"/>
                  </a:lnTo>
                  <a:lnTo>
                    <a:pt x="301" y="126"/>
                  </a:lnTo>
                  <a:lnTo>
                    <a:pt x="298" y="123"/>
                  </a:lnTo>
                  <a:lnTo>
                    <a:pt x="295" y="120"/>
                  </a:lnTo>
                  <a:lnTo>
                    <a:pt x="295" y="120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296" y="114"/>
                  </a:lnTo>
                  <a:lnTo>
                    <a:pt x="298" y="111"/>
                  </a:lnTo>
                  <a:lnTo>
                    <a:pt x="295" y="108"/>
                  </a:lnTo>
                  <a:lnTo>
                    <a:pt x="295" y="108"/>
                  </a:lnTo>
                  <a:lnTo>
                    <a:pt x="289" y="103"/>
                  </a:lnTo>
                  <a:lnTo>
                    <a:pt x="283" y="96"/>
                  </a:lnTo>
                  <a:lnTo>
                    <a:pt x="278" y="89"/>
                  </a:lnTo>
                  <a:lnTo>
                    <a:pt x="277" y="84"/>
                  </a:lnTo>
                  <a:lnTo>
                    <a:pt x="277" y="84"/>
                  </a:lnTo>
                  <a:lnTo>
                    <a:pt x="275" y="77"/>
                  </a:lnTo>
                  <a:lnTo>
                    <a:pt x="274" y="71"/>
                  </a:lnTo>
                  <a:lnTo>
                    <a:pt x="271" y="66"/>
                  </a:lnTo>
                  <a:lnTo>
                    <a:pt x="271" y="66"/>
                  </a:lnTo>
                  <a:lnTo>
                    <a:pt x="270" y="63"/>
                  </a:lnTo>
                  <a:lnTo>
                    <a:pt x="270" y="59"/>
                  </a:lnTo>
                  <a:lnTo>
                    <a:pt x="270" y="56"/>
                  </a:lnTo>
                  <a:lnTo>
                    <a:pt x="265" y="53"/>
                  </a:lnTo>
                  <a:lnTo>
                    <a:pt x="265" y="53"/>
                  </a:lnTo>
                  <a:lnTo>
                    <a:pt x="253" y="44"/>
                  </a:lnTo>
                  <a:lnTo>
                    <a:pt x="249" y="40"/>
                  </a:lnTo>
                  <a:lnTo>
                    <a:pt x="247" y="37"/>
                  </a:lnTo>
                  <a:lnTo>
                    <a:pt x="247" y="37"/>
                  </a:lnTo>
                  <a:lnTo>
                    <a:pt x="249" y="34"/>
                  </a:lnTo>
                  <a:lnTo>
                    <a:pt x="252" y="32"/>
                  </a:lnTo>
                  <a:lnTo>
                    <a:pt x="256" y="28"/>
                  </a:lnTo>
                  <a:lnTo>
                    <a:pt x="258" y="25"/>
                  </a:lnTo>
                  <a:lnTo>
                    <a:pt x="258" y="25"/>
                  </a:lnTo>
                  <a:lnTo>
                    <a:pt x="261" y="14"/>
                  </a:lnTo>
                  <a:lnTo>
                    <a:pt x="261" y="11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5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89" name="Freeform 168">
              <a:extLst>
                <a:ext uri="{FF2B5EF4-FFF2-40B4-BE49-F238E27FC236}">
                  <a16:creationId xmlns:a16="http://schemas.microsoft.com/office/drawing/2014/main" id="{99A266D0-83C5-8948-90CC-933EFAEF2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75" y="4978400"/>
              <a:ext cx="338138" cy="320675"/>
            </a:xfrm>
            <a:custGeom>
              <a:avLst/>
              <a:gdLst>
                <a:gd name="T0" fmla="*/ 0 w 213"/>
                <a:gd name="T1" fmla="*/ 88 h 202"/>
                <a:gd name="T2" fmla="*/ 17 w 213"/>
                <a:gd name="T3" fmla="*/ 79 h 202"/>
                <a:gd name="T4" fmla="*/ 23 w 213"/>
                <a:gd name="T5" fmla="*/ 77 h 202"/>
                <a:gd name="T6" fmla="*/ 32 w 213"/>
                <a:gd name="T7" fmla="*/ 82 h 202"/>
                <a:gd name="T8" fmla="*/ 35 w 213"/>
                <a:gd name="T9" fmla="*/ 94 h 202"/>
                <a:gd name="T10" fmla="*/ 34 w 213"/>
                <a:gd name="T11" fmla="*/ 110 h 202"/>
                <a:gd name="T12" fmla="*/ 35 w 213"/>
                <a:gd name="T13" fmla="*/ 119 h 202"/>
                <a:gd name="T14" fmla="*/ 38 w 213"/>
                <a:gd name="T15" fmla="*/ 120 h 202"/>
                <a:gd name="T16" fmla="*/ 49 w 213"/>
                <a:gd name="T17" fmla="*/ 120 h 202"/>
                <a:gd name="T18" fmla="*/ 54 w 213"/>
                <a:gd name="T19" fmla="*/ 117 h 202"/>
                <a:gd name="T20" fmla="*/ 59 w 213"/>
                <a:gd name="T21" fmla="*/ 120 h 202"/>
                <a:gd name="T22" fmla="*/ 63 w 213"/>
                <a:gd name="T23" fmla="*/ 129 h 202"/>
                <a:gd name="T24" fmla="*/ 63 w 213"/>
                <a:gd name="T25" fmla="*/ 134 h 202"/>
                <a:gd name="T26" fmla="*/ 57 w 213"/>
                <a:gd name="T27" fmla="*/ 141 h 202"/>
                <a:gd name="T28" fmla="*/ 59 w 213"/>
                <a:gd name="T29" fmla="*/ 150 h 202"/>
                <a:gd name="T30" fmla="*/ 62 w 213"/>
                <a:gd name="T31" fmla="*/ 156 h 202"/>
                <a:gd name="T32" fmla="*/ 72 w 213"/>
                <a:gd name="T33" fmla="*/ 163 h 202"/>
                <a:gd name="T34" fmla="*/ 75 w 213"/>
                <a:gd name="T35" fmla="*/ 166 h 202"/>
                <a:gd name="T36" fmla="*/ 83 w 213"/>
                <a:gd name="T37" fmla="*/ 178 h 202"/>
                <a:gd name="T38" fmla="*/ 84 w 213"/>
                <a:gd name="T39" fmla="*/ 184 h 202"/>
                <a:gd name="T40" fmla="*/ 90 w 213"/>
                <a:gd name="T41" fmla="*/ 194 h 202"/>
                <a:gd name="T42" fmla="*/ 99 w 213"/>
                <a:gd name="T43" fmla="*/ 200 h 202"/>
                <a:gd name="T44" fmla="*/ 105 w 213"/>
                <a:gd name="T45" fmla="*/ 202 h 202"/>
                <a:gd name="T46" fmla="*/ 118 w 213"/>
                <a:gd name="T47" fmla="*/ 200 h 202"/>
                <a:gd name="T48" fmla="*/ 123 w 213"/>
                <a:gd name="T49" fmla="*/ 199 h 202"/>
                <a:gd name="T50" fmla="*/ 130 w 213"/>
                <a:gd name="T51" fmla="*/ 194 h 202"/>
                <a:gd name="T52" fmla="*/ 136 w 213"/>
                <a:gd name="T53" fmla="*/ 191 h 202"/>
                <a:gd name="T54" fmla="*/ 143 w 213"/>
                <a:gd name="T55" fmla="*/ 185 h 202"/>
                <a:gd name="T56" fmla="*/ 140 w 213"/>
                <a:gd name="T57" fmla="*/ 184 h 202"/>
                <a:gd name="T58" fmla="*/ 136 w 213"/>
                <a:gd name="T59" fmla="*/ 181 h 202"/>
                <a:gd name="T60" fmla="*/ 131 w 213"/>
                <a:gd name="T61" fmla="*/ 174 h 202"/>
                <a:gd name="T62" fmla="*/ 131 w 213"/>
                <a:gd name="T63" fmla="*/ 168 h 202"/>
                <a:gd name="T64" fmla="*/ 127 w 213"/>
                <a:gd name="T65" fmla="*/ 141 h 202"/>
                <a:gd name="T66" fmla="*/ 127 w 213"/>
                <a:gd name="T67" fmla="*/ 136 h 202"/>
                <a:gd name="T68" fmla="*/ 136 w 213"/>
                <a:gd name="T69" fmla="*/ 132 h 202"/>
                <a:gd name="T70" fmla="*/ 148 w 213"/>
                <a:gd name="T71" fmla="*/ 126 h 202"/>
                <a:gd name="T72" fmla="*/ 171 w 213"/>
                <a:gd name="T73" fmla="*/ 110 h 202"/>
                <a:gd name="T74" fmla="*/ 183 w 213"/>
                <a:gd name="T75" fmla="*/ 98 h 202"/>
                <a:gd name="T76" fmla="*/ 195 w 213"/>
                <a:gd name="T77" fmla="*/ 89 h 202"/>
                <a:gd name="T78" fmla="*/ 198 w 213"/>
                <a:gd name="T79" fmla="*/ 88 h 202"/>
                <a:gd name="T80" fmla="*/ 207 w 213"/>
                <a:gd name="T81" fmla="*/ 74 h 202"/>
                <a:gd name="T82" fmla="*/ 213 w 213"/>
                <a:gd name="T83" fmla="*/ 55 h 202"/>
                <a:gd name="T84" fmla="*/ 211 w 213"/>
                <a:gd name="T85" fmla="*/ 49 h 202"/>
                <a:gd name="T86" fmla="*/ 207 w 213"/>
                <a:gd name="T87" fmla="*/ 39 h 202"/>
                <a:gd name="T88" fmla="*/ 204 w 213"/>
                <a:gd name="T89" fmla="*/ 37 h 202"/>
                <a:gd name="T90" fmla="*/ 188 w 213"/>
                <a:gd name="T91" fmla="*/ 39 h 202"/>
                <a:gd name="T92" fmla="*/ 183 w 213"/>
                <a:gd name="T93" fmla="*/ 39 h 202"/>
                <a:gd name="T94" fmla="*/ 174 w 213"/>
                <a:gd name="T95" fmla="*/ 34 h 202"/>
                <a:gd name="T96" fmla="*/ 173 w 213"/>
                <a:gd name="T97" fmla="*/ 31 h 202"/>
                <a:gd name="T98" fmla="*/ 171 w 213"/>
                <a:gd name="T99" fmla="*/ 27 h 202"/>
                <a:gd name="T100" fmla="*/ 174 w 213"/>
                <a:gd name="T101" fmla="*/ 22 h 202"/>
                <a:gd name="T102" fmla="*/ 180 w 213"/>
                <a:gd name="T103" fmla="*/ 12 h 202"/>
                <a:gd name="T104" fmla="*/ 177 w 213"/>
                <a:gd name="T105" fmla="*/ 6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3" h="202">
                  <a:moveTo>
                    <a:pt x="0" y="88"/>
                  </a:moveTo>
                  <a:lnTo>
                    <a:pt x="0" y="88"/>
                  </a:lnTo>
                  <a:lnTo>
                    <a:pt x="10" y="82"/>
                  </a:lnTo>
                  <a:lnTo>
                    <a:pt x="17" y="79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8" y="79"/>
                  </a:lnTo>
                  <a:lnTo>
                    <a:pt x="32" y="82"/>
                  </a:lnTo>
                  <a:lnTo>
                    <a:pt x="34" y="86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4" y="110"/>
                  </a:lnTo>
                  <a:lnTo>
                    <a:pt x="34" y="116"/>
                  </a:lnTo>
                  <a:lnTo>
                    <a:pt x="35" y="119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43" y="122"/>
                  </a:lnTo>
                  <a:lnTo>
                    <a:pt x="49" y="120"/>
                  </a:lnTo>
                  <a:lnTo>
                    <a:pt x="51" y="119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9" y="120"/>
                  </a:lnTo>
                  <a:lnTo>
                    <a:pt x="62" y="123"/>
                  </a:lnTo>
                  <a:lnTo>
                    <a:pt x="63" y="129"/>
                  </a:lnTo>
                  <a:lnTo>
                    <a:pt x="63" y="131"/>
                  </a:lnTo>
                  <a:lnTo>
                    <a:pt x="63" y="134"/>
                  </a:lnTo>
                  <a:lnTo>
                    <a:pt x="63" y="134"/>
                  </a:lnTo>
                  <a:lnTo>
                    <a:pt x="57" y="141"/>
                  </a:lnTo>
                  <a:lnTo>
                    <a:pt x="57" y="145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62" y="156"/>
                  </a:lnTo>
                  <a:lnTo>
                    <a:pt x="68" y="160"/>
                  </a:lnTo>
                  <a:lnTo>
                    <a:pt x="72" y="163"/>
                  </a:lnTo>
                  <a:lnTo>
                    <a:pt x="75" y="166"/>
                  </a:lnTo>
                  <a:lnTo>
                    <a:pt x="75" y="166"/>
                  </a:lnTo>
                  <a:lnTo>
                    <a:pt x="80" y="174"/>
                  </a:lnTo>
                  <a:lnTo>
                    <a:pt x="83" y="178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6" y="188"/>
                  </a:lnTo>
                  <a:lnTo>
                    <a:pt x="90" y="194"/>
                  </a:lnTo>
                  <a:lnTo>
                    <a:pt x="94" y="197"/>
                  </a:lnTo>
                  <a:lnTo>
                    <a:pt x="99" y="200"/>
                  </a:lnTo>
                  <a:lnTo>
                    <a:pt x="99" y="200"/>
                  </a:lnTo>
                  <a:lnTo>
                    <a:pt x="105" y="202"/>
                  </a:lnTo>
                  <a:lnTo>
                    <a:pt x="112" y="202"/>
                  </a:lnTo>
                  <a:lnTo>
                    <a:pt x="118" y="200"/>
                  </a:lnTo>
                  <a:lnTo>
                    <a:pt x="123" y="199"/>
                  </a:lnTo>
                  <a:lnTo>
                    <a:pt x="123" y="199"/>
                  </a:lnTo>
                  <a:lnTo>
                    <a:pt x="126" y="196"/>
                  </a:lnTo>
                  <a:lnTo>
                    <a:pt x="130" y="194"/>
                  </a:lnTo>
                  <a:lnTo>
                    <a:pt x="136" y="191"/>
                  </a:lnTo>
                  <a:lnTo>
                    <a:pt x="136" y="191"/>
                  </a:lnTo>
                  <a:lnTo>
                    <a:pt x="142" y="188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0" y="184"/>
                  </a:lnTo>
                  <a:lnTo>
                    <a:pt x="140" y="184"/>
                  </a:lnTo>
                  <a:lnTo>
                    <a:pt x="136" y="181"/>
                  </a:lnTo>
                  <a:lnTo>
                    <a:pt x="134" y="178"/>
                  </a:lnTo>
                  <a:lnTo>
                    <a:pt x="131" y="174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28" y="150"/>
                  </a:lnTo>
                  <a:lnTo>
                    <a:pt x="127" y="141"/>
                  </a:lnTo>
                  <a:lnTo>
                    <a:pt x="127" y="138"/>
                  </a:lnTo>
                  <a:lnTo>
                    <a:pt x="127" y="136"/>
                  </a:lnTo>
                  <a:lnTo>
                    <a:pt x="127" y="136"/>
                  </a:lnTo>
                  <a:lnTo>
                    <a:pt x="136" y="132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60" y="119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83" y="98"/>
                  </a:lnTo>
                  <a:lnTo>
                    <a:pt x="191" y="94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8" y="88"/>
                  </a:lnTo>
                  <a:lnTo>
                    <a:pt x="201" y="85"/>
                  </a:lnTo>
                  <a:lnTo>
                    <a:pt x="207" y="74"/>
                  </a:lnTo>
                  <a:lnTo>
                    <a:pt x="211" y="62"/>
                  </a:lnTo>
                  <a:lnTo>
                    <a:pt x="213" y="55"/>
                  </a:lnTo>
                  <a:lnTo>
                    <a:pt x="213" y="55"/>
                  </a:lnTo>
                  <a:lnTo>
                    <a:pt x="211" y="49"/>
                  </a:lnTo>
                  <a:lnTo>
                    <a:pt x="210" y="45"/>
                  </a:lnTo>
                  <a:lnTo>
                    <a:pt x="207" y="39"/>
                  </a:lnTo>
                  <a:lnTo>
                    <a:pt x="204" y="37"/>
                  </a:lnTo>
                  <a:lnTo>
                    <a:pt x="204" y="37"/>
                  </a:lnTo>
                  <a:lnTo>
                    <a:pt x="195" y="37"/>
                  </a:lnTo>
                  <a:lnTo>
                    <a:pt x="188" y="39"/>
                  </a:lnTo>
                  <a:lnTo>
                    <a:pt x="188" y="39"/>
                  </a:lnTo>
                  <a:lnTo>
                    <a:pt x="183" y="39"/>
                  </a:lnTo>
                  <a:lnTo>
                    <a:pt x="179" y="37"/>
                  </a:lnTo>
                  <a:lnTo>
                    <a:pt x="174" y="34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1" y="28"/>
                  </a:lnTo>
                  <a:lnTo>
                    <a:pt x="171" y="27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9" y="18"/>
                  </a:lnTo>
                  <a:lnTo>
                    <a:pt x="180" y="12"/>
                  </a:lnTo>
                  <a:lnTo>
                    <a:pt x="180" y="12"/>
                  </a:lnTo>
                  <a:lnTo>
                    <a:pt x="177" y="6"/>
                  </a:lnTo>
                  <a:lnTo>
                    <a:pt x="174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0" name="Freeform 169">
              <a:extLst>
                <a:ext uri="{FF2B5EF4-FFF2-40B4-BE49-F238E27FC236}">
                  <a16:creationId xmlns:a16="http://schemas.microsoft.com/office/drawing/2014/main" id="{79774DB4-D258-0549-B0DF-13053EC3B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7300" y="5129213"/>
              <a:ext cx="173038" cy="306387"/>
            </a:xfrm>
            <a:custGeom>
              <a:avLst/>
              <a:gdLst>
                <a:gd name="T0" fmla="*/ 108 w 109"/>
                <a:gd name="T1" fmla="*/ 0 h 193"/>
                <a:gd name="T2" fmla="*/ 108 w 109"/>
                <a:gd name="T3" fmla="*/ 0 h 193"/>
                <a:gd name="T4" fmla="*/ 109 w 109"/>
                <a:gd name="T5" fmla="*/ 10 h 193"/>
                <a:gd name="T6" fmla="*/ 109 w 109"/>
                <a:gd name="T7" fmla="*/ 18 h 193"/>
                <a:gd name="T8" fmla="*/ 108 w 109"/>
                <a:gd name="T9" fmla="*/ 24 h 193"/>
                <a:gd name="T10" fmla="*/ 108 w 109"/>
                <a:gd name="T11" fmla="*/ 24 h 193"/>
                <a:gd name="T12" fmla="*/ 105 w 109"/>
                <a:gd name="T13" fmla="*/ 34 h 193"/>
                <a:gd name="T14" fmla="*/ 102 w 109"/>
                <a:gd name="T15" fmla="*/ 40 h 193"/>
                <a:gd name="T16" fmla="*/ 97 w 109"/>
                <a:gd name="T17" fmla="*/ 43 h 193"/>
                <a:gd name="T18" fmla="*/ 97 w 109"/>
                <a:gd name="T19" fmla="*/ 43 h 193"/>
                <a:gd name="T20" fmla="*/ 93 w 109"/>
                <a:gd name="T21" fmla="*/ 44 h 193"/>
                <a:gd name="T22" fmla="*/ 87 w 109"/>
                <a:gd name="T23" fmla="*/ 46 h 193"/>
                <a:gd name="T24" fmla="*/ 84 w 109"/>
                <a:gd name="T25" fmla="*/ 46 h 193"/>
                <a:gd name="T26" fmla="*/ 84 w 109"/>
                <a:gd name="T27" fmla="*/ 47 h 193"/>
                <a:gd name="T28" fmla="*/ 84 w 109"/>
                <a:gd name="T29" fmla="*/ 49 h 193"/>
                <a:gd name="T30" fmla="*/ 84 w 109"/>
                <a:gd name="T31" fmla="*/ 49 h 193"/>
                <a:gd name="T32" fmla="*/ 86 w 109"/>
                <a:gd name="T33" fmla="*/ 53 h 193"/>
                <a:gd name="T34" fmla="*/ 90 w 109"/>
                <a:gd name="T35" fmla="*/ 58 h 193"/>
                <a:gd name="T36" fmla="*/ 99 w 109"/>
                <a:gd name="T37" fmla="*/ 68 h 193"/>
                <a:gd name="T38" fmla="*/ 99 w 109"/>
                <a:gd name="T39" fmla="*/ 68 h 193"/>
                <a:gd name="T40" fmla="*/ 100 w 109"/>
                <a:gd name="T41" fmla="*/ 70 h 193"/>
                <a:gd name="T42" fmla="*/ 99 w 109"/>
                <a:gd name="T43" fmla="*/ 73 h 193"/>
                <a:gd name="T44" fmla="*/ 94 w 109"/>
                <a:gd name="T45" fmla="*/ 79 h 193"/>
                <a:gd name="T46" fmla="*/ 88 w 109"/>
                <a:gd name="T47" fmla="*/ 81 h 193"/>
                <a:gd name="T48" fmla="*/ 84 w 109"/>
                <a:gd name="T49" fmla="*/ 83 h 193"/>
                <a:gd name="T50" fmla="*/ 84 w 109"/>
                <a:gd name="T51" fmla="*/ 83 h 193"/>
                <a:gd name="T52" fmla="*/ 81 w 109"/>
                <a:gd name="T53" fmla="*/ 81 h 193"/>
                <a:gd name="T54" fmla="*/ 80 w 109"/>
                <a:gd name="T55" fmla="*/ 80 h 193"/>
                <a:gd name="T56" fmla="*/ 80 w 109"/>
                <a:gd name="T57" fmla="*/ 79 h 193"/>
                <a:gd name="T58" fmla="*/ 77 w 109"/>
                <a:gd name="T59" fmla="*/ 79 h 193"/>
                <a:gd name="T60" fmla="*/ 77 w 109"/>
                <a:gd name="T61" fmla="*/ 79 h 193"/>
                <a:gd name="T62" fmla="*/ 74 w 109"/>
                <a:gd name="T63" fmla="*/ 81 h 193"/>
                <a:gd name="T64" fmla="*/ 71 w 109"/>
                <a:gd name="T65" fmla="*/ 84 h 193"/>
                <a:gd name="T66" fmla="*/ 68 w 109"/>
                <a:gd name="T67" fmla="*/ 90 h 193"/>
                <a:gd name="T68" fmla="*/ 66 w 109"/>
                <a:gd name="T69" fmla="*/ 98 h 193"/>
                <a:gd name="T70" fmla="*/ 66 w 109"/>
                <a:gd name="T71" fmla="*/ 98 h 193"/>
                <a:gd name="T72" fmla="*/ 65 w 109"/>
                <a:gd name="T73" fmla="*/ 107 h 193"/>
                <a:gd name="T74" fmla="*/ 62 w 109"/>
                <a:gd name="T75" fmla="*/ 113 h 193"/>
                <a:gd name="T76" fmla="*/ 59 w 109"/>
                <a:gd name="T77" fmla="*/ 117 h 193"/>
                <a:gd name="T78" fmla="*/ 54 w 109"/>
                <a:gd name="T79" fmla="*/ 121 h 193"/>
                <a:gd name="T80" fmla="*/ 54 w 109"/>
                <a:gd name="T81" fmla="*/ 121 h 193"/>
                <a:gd name="T82" fmla="*/ 51 w 109"/>
                <a:gd name="T83" fmla="*/ 123 h 193"/>
                <a:gd name="T84" fmla="*/ 49 w 109"/>
                <a:gd name="T85" fmla="*/ 123 h 193"/>
                <a:gd name="T86" fmla="*/ 47 w 109"/>
                <a:gd name="T87" fmla="*/ 124 h 193"/>
                <a:gd name="T88" fmla="*/ 46 w 109"/>
                <a:gd name="T89" fmla="*/ 130 h 193"/>
                <a:gd name="T90" fmla="*/ 46 w 109"/>
                <a:gd name="T91" fmla="*/ 130 h 193"/>
                <a:gd name="T92" fmla="*/ 46 w 109"/>
                <a:gd name="T93" fmla="*/ 136 h 193"/>
                <a:gd name="T94" fmla="*/ 46 w 109"/>
                <a:gd name="T95" fmla="*/ 141 h 193"/>
                <a:gd name="T96" fmla="*/ 44 w 109"/>
                <a:gd name="T97" fmla="*/ 144 h 193"/>
                <a:gd name="T98" fmla="*/ 41 w 109"/>
                <a:gd name="T99" fmla="*/ 145 h 193"/>
                <a:gd name="T100" fmla="*/ 41 w 109"/>
                <a:gd name="T101" fmla="*/ 145 h 193"/>
                <a:gd name="T102" fmla="*/ 35 w 109"/>
                <a:gd name="T103" fmla="*/ 147 h 193"/>
                <a:gd name="T104" fmla="*/ 31 w 109"/>
                <a:gd name="T105" fmla="*/ 148 h 193"/>
                <a:gd name="T106" fmla="*/ 28 w 109"/>
                <a:gd name="T107" fmla="*/ 151 h 193"/>
                <a:gd name="T108" fmla="*/ 26 w 109"/>
                <a:gd name="T109" fmla="*/ 156 h 193"/>
                <a:gd name="T110" fmla="*/ 26 w 109"/>
                <a:gd name="T111" fmla="*/ 156 h 193"/>
                <a:gd name="T112" fmla="*/ 26 w 109"/>
                <a:gd name="T113" fmla="*/ 161 h 193"/>
                <a:gd name="T114" fmla="*/ 25 w 109"/>
                <a:gd name="T115" fmla="*/ 166 h 193"/>
                <a:gd name="T116" fmla="*/ 19 w 109"/>
                <a:gd name="T117" fmla="*/ 173 h 193"/>
                <a:gd name="T118" fmla="*/ 19 w 109"/>
                <a:gd name="T119" fmla="*/ 173 h 193"/>
                <a:gd name="T120" fmla="*/ 0 w 109"/>
                <a:gd name="T12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9" h="193">
                  <a:moveTo>
                    <a:pt x="108" y="0"/>
                  </a:moveTo>
                  <a:lnTo>
                    <a:pt x="108" y="0"/>
                  </a:lnTo>
                  <a:lnTo>
                    <a:pt x="109" y="10"/>
                  </a:lnTo>
                  <a:lnTo>
                    <a:pt x="109" y="18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5" y="34"/>
                  </a:lnTo>
                  <a:lnTo>
                    <a:pt x="102" y="40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3" y="44"/>
                  </a:lnTo>
                  <a:lnTo>
                    <a:pt x="87" y="46"/>
                  </a:lnTo>
                  <a:lnTo>
                    <a:pt x="84" y="46"/>
                  </a:lnTo>
                  <a:lnTo>
                    <a:pt x="84" y="47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6" y="53"/>
                  </a:lnTo>
                  <a:lnTo>
                    <a:pt x="90" y="5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100" y="70"/>
                  </a:lnTo>
                  <a:lnTo>
                    <a:pt x="99" y="73"/>
                  </a:lnTo>
                  <a:lnTo>
                    <a:pt x="94" y="79"/>
                  </a:lnTo>
                  <a:lnTo>
                    <a:pt x="88" y="81"/>
                  </a:lnTo>
                  <a:lnTo>
                    <a:pt x="84" y="83"/>
                  </a:lnTo>
                  <a:lnTo>
                    <a:pt x="84" y="83"/>
                  </a:lnTo>
                  <a:lnTo>
                    <a:pt x="81" y="81"/>
                  </a:lnTo>
                  <a:lnTo>
                    <a:pt x="80" y="80"/>
                  </a:lnTo>
                  <a:lnTo>
                    <a:pt x="80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4" y="81"/>
                  </a:lnTo>
                  <a:lnTo>
                    <a:pt x="71" y="84"/>
                  </a:lnTo>
                  <a:lnTo>
                    <a:pt x="68" y="90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5" y="107"/>
                  </a:lnTo>
                  <a:lnTo>
                    <a:pt x="62" y="113"/>
                  </a:lnTo>
                  <a:lnTo>
                    <a:pt x="59" y="117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1" y="123"/>
                  </a:lnTo>
                  <a:lnTo>
                    <a:pt x="49" y="123"/>
                  </a:lnTo>
                  <a:lnTo>
                    <a:pt x="47" y="124"/>
                  </a:lnTo>
                  <a:lnTo>
                    <a:pt x="46" y="130"/>
                  </a:lnTo>
                  <a:lnTo>
                    <a:pt x="46" y="130"/>
                  </a:lnTo>
                  <a:lnTo>
                    <a:pt x="46" y="136"/>
                  </a:lnTo>
                  <a:lnTo>
                    <a:pt x="46" y="141"/>
                  </a:lnTo>
                  <a:lnTo>
                    <a:pt x="44" y="144"/>
                  </a:lnTo>
                  <a:lnTo>
                    <a:pt x="41" y="145"/>
                  </a:lnTo>
                  <a:lnTo>
                    <a:pt x="41" y="145"/>
                  </a:lnTo>
                  <a:lnTo>
                    <a:pt x="35" y="147"/>
                  </a:lnTo>
                  <a:lnTo>
                    <a:pt x="31" y="148"/>
                  </a:lnTo>
                  <a:lnTo>
                    <a:pt x="28" y="151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61"/>
                  </a:lnTo>
                  <a:lnTo>
                    <a:pt x="25" y="166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0" y="19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1" name="Freeform 170">
              <a:extLst>
                <a:ext uri="{FF2B5EF4-FFF2-40B4-BE49-F238E27FC236}">
                  <a16:creationId xmlns:a16="http://schemas.microsoft.com/office/drawing/2014/main" id="{F2131C41-EB2C-2B4C-BA26-A77798BEB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38" y="4908550"/>
              <a:ext cx="325438" cy="227012"/>
            </a:xfrm>
            <a:custGeom>
              <a:avLst/>
              <a:gdLst>
                <a:gd name="T0" fmla="*/ 0 w 205"/>
                <a:gd name="T1" fmla="*/ 0 h 143"/>
                <a:gd name="T2" fmla="*/ 0 w 205"/>
                <a:gd name="T3" fmla="*/ 0 h 143"/>
                <a:gd name="T4" fmla="*/ 5 w 205"/>
                <a:gd name="T5" fmla="*/ 1 h 143"/>
                <a:gd name="T6" fmla="*/ 11 w 205"/>
                <a:gd name="T7" fmla="*/ 4 h 143"/>
                <a:gd name="T8" fmla="*/ 17 w 205"/>
                <a:gd name="T9" fmla="*/ 9 h 143"/>
                <a:gd name="T10" fmla="*/ 20 w 205"/>
                <a:gd name="T11" fmla="*/ 16 h 143"/>
                <a:gd name="T12" fmla="*/ 20 w 205"/>
                <a:gd name="T13" fmla="*/ 16 h 143"/>
                <a:gd name="T14" fmla="*/ 24 w 205"/>
                <a:gd name="T15" fmla="*/ 34 h 143"/>
                <a:gd name="T16" fmla="*/ 28 w 205"/>
                <a:gd name="T17" fmla="*/ 41 h 143"/>
                <a:gd name="T18" fmla="*/ 31 w 205"/>
                <a:gd name="T19" fmla="*/ 46 h 143"/>
                <a:gd name="T20" fmla="*/ 34 w 205"/>
                <a:gd name="T21" fmla="*/ 49 h 143"/>
                <a:gd name="T22" fmla="*/ 34 w 205"/>
                <a:gd name="T23" fmla="*/ 49 h 143"/>
                <a:gd name="T24" fmla="*/ 42 w 205"/>
                <a:gd name="T25" fmla="*/ 53 h 143"/>
                <a:gd name="T26" fmla="*/ 48 w 205"/>
                <a:gd name="T27" fmla="*/ 59 h 143"/>
                <a:gd name="T28" fmla="*/ 54 w 205"/>
                <a:gd name="T29" fmla="*/ 66 h 143"/>
                <a:gd name="T30" fmla="*/ 57 w 205"/>
                <a:gd name="T31" fmla="*/ 75 h 143"/>
                <a:gd name="T32" fmla="*/ 57 w 205"/>
                <a:gd name="T33" fmla="*/ 75 h 143"/>
                <a:gd name="T34" fmla="*/ 60 w 205"/>
                <a:gd name="T35" fmla="*/ 84 h 143"/>
                <a:gd name="T36" fmla="*/ 62 w 205"/>
                <a:gd name="T37" fmla="*/ 90 h 143"/>
                <a:gd name="T38" fmla="*/ 65 w 205"/>
                <a:gd name="T39" fmla="*/ 95 h 143"/>
                <a:gd name="T40" fmla="*/ 71 w 205"/>
                <a:gd name="T41" fmla="*/ 98 h 143"/>
                <a:gd name="T42" fmla="*/ 71 w 205"/>
                <a:gd name="T43" fmla="*/ 98 h 143"/>
                <a:gd name="T44" fmla="*/ 85 w 205"/>
                <a:gd name="T45" fmla="*/ 103 h 143"/>
                <a:gd name="T46" fmla="*/ 98 w 205"/>
                <a:gd name="T47" fmla="*/ 111 h 143"/>
                <a:gd name="T48" fmla="*/ 98 w 205"/>
                <a:gd name="T49" fmla="*/ 111 h 143"/>
                <a:gd name="T50" fmla="*/ 104 w 205"/>
                <a:gd name="T51" fmla="*/ 114 h 143"/>
                <a:gd name="T52" fmla="*/ 111 w 205"/>
                <a:gd name="T53" fmla="*/ 115 h 143"/>
                <a:gd name="T54" fmla="*/ 117 w 205"/>
                <a:gd name="T55" fmla="*/ 117 h 143"/>
                <a:gd name="T56" fmla="*/ 122 w 205"/>
                <a:gd name="T57" fmla="*/ 118 h 143"/>
                <a:gd name="T58" fmla="*/ 122 w 205"/>
                <a:gd name="T59" fmla="*/ 118 h 143"/>
                <a:gd name="T60" fmla="*/ 131 w 205"/>
                <a:gd name="T61" fmla="*/ 124 h 143"/>
                <a:gd name="T62" fmla="*/ 139 w 205"/>
                <a:gd name="T63" fmla="*/ 133 h 143"/>
                <a:gd name="T64" fmla="*/ 139 w 205"/>
                <a:gd name="T65" fmla="*/ 133 h 143"/>
                <a:gd name="T66" fmla="*/ 142 w 205"/>
                <a:gd name="T67" fmla="*/ 135 h 143"/>
                <a:gd name="T68" fmla="*/ 147 w 205"/>
                <a:gd name="T69" fmla="*/ 136 h 143"/>
                <a:gd name="T70" fmla="*/ 159 w 205"/>
                <a:gd name="T71" fmla="*/ 139 h 143"/>
                <a:gd name="T72" fmla="*/ 159 w 205"/>
                <a:gd name="T73" fmla="*/ 139 h 143"/>
                <a:gd name="T74" fmla="*/ 175 w 205"/>
                <a:gd name="T75" fmla="*/ 143 h 143"/>
                <a:gd name="T76" fmla="*/ 175 w 205"/>
                <a:gd name="T77" fmla="*/ 143 h 143"/>
                <a:gd name="T78" fmla="*/ 182 w 205"/>
                <a:gd name="T79" fmla="*/ 142 h 143"/>
                <a:gd name="T80" fmla="*/ 191 w 205"/>
                <a:gd name="T81" fmla="*/ 139 h 143"/>
                <a:gd name="T82" fmla="*/ 200 w 205"/>
                <a:gd name="T83" fmla="*/ 135 h 143"/>
                <a:gd name="T84" fmla="*/ 205 w 205"/>
                <a:gd name="T85" fmla="*/ 132 h 143"/>
                <a:gd name="T86" fmla="*/ 205 w 205"/>
                <a:gd name="T87" fmla="*/ 132 h 143"/>
                <a:gd name="T88" fmla="*/ 205 w 205"/>
                <a:gd name="T89" fmla="*/ 129 h 143"/>
                <a:gd name="T90" fmla="*/ 202 w 205"/>
                <a:gd name="T91" fmla="*/ 123 h 143"/>
                <a:gd name="T92" fmla="*/ 199 w 205"/>
                <a:gd name="T93" fmla="*/ 115 h 143"/>
                <a:gd name="T94" fmla="*/ 194 w 205"/>
                <a:gd name="T95" fmla="*/ 111 h 143"/>
                <a:gd name="T96" fmla="*/ 194 w 205"/>
                <a:gd name="T97" fmla="*/ 111 h 143"/>
                <a:gd name="T98" fmla="*/ 193 w 205"/>
                <a:gd name="T99" fmla="*/ 108 h 143"/>
                <a:gd name="T100" fmla="*/ 191 w 205"/>
                <a:gd name="T101" fmla="*/ 105 h 143"/>
                <a:gd name="T102" fmla="*/ 191 w 205"/>
                <a:gd name="T103" fmla="*/ 99 h 143"/>
                <a:gd name="T104" fmla="*/ 193 w 205"/>
                <a:gd name="T105" fmla="*/ 9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5" h="143">
                  <a:moveTo>
                    <a:pt x="0" y="0"/>
                  </a:moveTo>
                  <a:lnTo>
                    <a:pt x="0" y="0"/>
                  </a:lnTo>
                  <a:lnTo>
                    <a:pt x="5" y="1"/>
                  </a:lnTo>
                  <a:lnTo>
                    <a:pt x="11" y="4"/>
                  </a:lnTo>
                  <a:lnTo>
                    <a:pt x="17" y="9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34"/>
                  </a:lnTo>
                  <a:lnTo>
                    <a:pt x="28" y="41"/>
                  </a:lnTo>
                  <a:lnTo>
                    <a:pt x="31" y="46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42" y="53"/>
                  </a:lnTo>
                  <a:lnTo>
                    <a:pt x="48" y="59"/>
                  </a:lnTo>
                  <a:lnTo>
                    <a:pt x="54" y="66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60" y="84"/>
                  </a:lnTo>
                  <a:lnTo>
                    <a:pt x="62" y="90"/>
                  </a:lnTo>
                  <a:lnTo>
                    <a:pt x="65" y="95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85" y="103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104" y="114"/>
                  </a:lnTo>
                  <a:lnTo>
                    <a:pt x="111" y="115"/>
                  </a:lnTo>
                  <a:lnTo>
                    <a:pt x="117" y="117"/>
                  </a:lnTo>
                  <a:lnTo>
                    <a:pt x="122" y="118"/>
                  </a:lnTo>
                  <a:lnTo>
                    <a:pt x="122" y="118"/>
                  </a:lnTo>
                  <a:lnTo>
                    <a:pt x="131" y="124"/>
                  </a:lnTo>
                  <a:lnTo>
                    <a:pt x="139" y="133"/>
                  </a:lnTo>
                  <a:lnTo>
                    <a:pt x="139" y="133"/>
                  </a:lnTo>
                  <a:lnTo>
                    <a:pt x="142" y="135"/>
                  </a:lnTo>
                  <a:lnTo>
                    <a:pt x="147" y="136"/>
                  </a:lnTo>
                  <a:lnTo>
                    <a:pt x="159" y="139"/>
                  </a:lnTo>
                  <a:lnTo>
                    <a:pt x="159" y="139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82" y="142"/>
                  </a:lnTo>
                  <a:lnTo>
                    <a:pt x="191" y="139"/>
                  </a:lnTo>
                  <a:lnTo>
                    <a:pt x="200" y="135"/>
                  </a:lnTo>
                  <a:lnTo>
                    <a:pt x="205" y="132"/>
                  </a:lnTo>
                  <a:lnTo>
                    <a:pt x="205" y="132"/>
                  </a:lnTo>
                  <a:lnTo>
                    <a:pt x="205" y="129"/>
                  </a:lnTo>
                  <a:lnTo>
                    <a:pt x="202" y="123"/>
                  </a:lnTo>
                  <a:lnTo>
                    <a:pt x="199" y="115"/>
                  </a:lnTo>
                  <a:lnTo>
                    <a:pt x="194" y="111"/>
                  </a:lnTo>
                  <a:lnTo>
                    <a:pt x="194" y="111"/>
                  </a:lnTo>
                  <a:lnTo>
                    <a:pt x="193" y="108"/>
                  </a:lnTo>
                  <a:lnTo>
                    <a:pt x="191" y="105"/>
                  </a:lnTo>
                  <a:lnTo>
                    <a:pt x="191" y="99"/>
                  </a:lnTo>
                  <a:lnTo>
                    <a:pt x="193" y="9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2" name="Freeform 171">
              <a:extLst>
                <a:ext uri="{FF2B5EF4-FFF2-40B4-BE49-F238E27FC236}">
                  <a16:creationId xmlns:a16="http://schemas.microsoft.com/office/drawing/2014/main" id="{C57784C5-7261-A449-922A-15B52DD50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8775" y="4873625"/>
              <a:ext cx="231775" cy="138112"/>
            </a:xfrm>
            <a:custGeom>
              <a:avLst/>
              <a:gdLst>
                <a:gd name="T0" fmla="*/ 0 w 146"/>
                <a:gd name="T1" fmla="*/ 50 h 87"/>
                <a:gd name="T2" fmla="*/ 0 w 146"/>
                <a:gd name="T3" fmla="*/ 50 h 87"/>
                <a:gd name="T4" fmla="*/ 7 w 146"/>
                <a:gd name="T5" fmla="*/ 51 h 87"/>
                <a:gd name="T6" fmla="*/ 11 w 146"/>
                <a:gd name="T7" fmla="*/ 54 h 87"/>
                <a:gd name="T8" fmla="*/ 14 w 146"/>
                <a:gd name="T9" fmla="*/ 59 h 87"/>
                <a:gd name="T10" fmla="*/ 14 w 146"/>
                <a:gd name="T11" fmla="*/ 59 h 87"/>
                <a:gd name="T12" fmla="*/ 17 w 146"/>
                <a:gd name="T13" fmla="*/ 69 h 87"/>
                <a:gd name="T14" fmla="*/ 20 w 146"/>
                <a:gd name="T15" fmla="*/ 75 h 87"/>
                <a:gd name="T16" fmla="*/ 23 w 146"/>
                <a:gd name="T17" fmla="*/ 78 h 87"/>
                <a:gd name="T18" fmla="*/ 23 w 146"/>
                <a:gd name="T19" fmla="*/ 78 h 87"/>
                <a:gd name="T20" fmla="*/ 28 w 146"/>
                <a:gd name="T21" fmla="*/ 83 h 87"/>
                <a:gd name="T22" fmla="*/ 29 w 146"/>
                <a:gd name="T23" fmla="*/ 85 h 87"/>
                <a:gd name="T24" fmla="*/ 32 w 146"/>
                <a:gd name="T25" fmla="*/ 87 h 87"/>
                <a:gd name="T26" fmla="*/ 37 w 146"/>
                <a:gd name="T27" fmla="*/ 87 h 87"/>
                <a:gd name="T28" fmla="*/ 37 w 146"/>
                <a:gd name="T29" fmla="*/ 87 h 87"/>
                <a:gd name="T30" fmla="*/ 40 w 146"/>
                <a:gd name="T31" fmla="*/ 87 h 87"/>
                <a:gd name="T32" fmla="*/ 43 w 146"/>
                <a:gd name="T33" fmla="*/ 84 h 87"/>
                <a:gd name="T34" fmla="*/ 48 w 146"/>
                <a:gd name="T35" fmla="*/ 78 h 87"/>
                <a:gd name="T36" fmla="*/ 56 w 146"/>
                <a:gd name="T37" fmla="*/ 68 h 87"/>
                <a:gd name="T38" fmla="*/ 56 w 146"/>
                <a:gd name="T39" fmla="*/ 68 h 87"/>
                <a:gd name="T40" fmla="*/ 62 w 146"/>
                <a:gd name="T41" fmla="*/ 63 h 87"/>
                <a:gd name="T42" fmla="*/ 65 w 146"/>
                <a:gd name="T43" fmla="*/ 62 h 87"/>
                <a:gd name="T44" fmla="*/ 69 w 146"/>
                <a:gd name="T45" fmla="*/ 60 h 87"/>
                <a:gd name="T46" fmla="*/ 69 w 146"/>
                <a:gd name="T47" fmla="*/ 60 h 87"/>
                <a:gd name="T48" fmla="*/ 80 w 146"/>
                <a:gd name="T49" fmla="*/ 60 h 87"/>
                <a:gd name="T50" fmla="*/ 84 w 146"/>
                <a:gd name="T51" fmla="*/ 60 h 87"/>
                <a:gd name="T52" fmla="*/ 88 w 146"/>
                <a:gd name="T53" fmla="*/ 63 h 87"/>
                <a:gd name="T54" fmla="*/ 88 w 146"/>
                <a:gd name="T55" fmla="*/ 63 h 87"/>
                <a:gd name="T56" fmla="*/ 93 w 146"/>
                <a:gd name="T57" fmla="*/ 66 h 87"/>
                <a:gd name="T58" fmla="*/ 97 w 146"/>
                <a:gd name="T59" fmla="*/ 66 h 87"/>
                <a:gd name="T60" fmla="*/ 102 w 146"/>
                <a:gd name="T61" fmla="*/ 66 h 87"/>
                <a:gd name="T62" fmla="*/ 105 w 146"/>
                <a:gd name="T63" fmla="*/ 63 h 87"/>
                <a:gd name="T64" fmla="*/ 105 w 146"/>
                <a:gd name="T65" fmla="*/ 63 h 87"/>
                <a:gd name="T66" fmla="*/ 128 w 146"/>
                <a:gd name="T67" fmla="*/ 32 h 87"/>
                <a:gd name="T68" fmla="*/ 128 w 146"/>
                <a:gd name="T69" fmla="*/ 32 h 87"/>
                <a:gd name="T70" fmla="*/ 133 w 146"/>
                <a:gd name="T71" fmla="*/ 28 h 87"/>
                <a:gd name="T72" fmla="*/ 139 w 146"/>
                <a:gd name="T73" fmla="*/ 23 h 87"/>
                <a:gd name="T74" fmla="*/ 143 w 146"/>
                <a:gd name="T75" fmla="*/ 20 h 87"/>
                <a:gd name="T76" fmla="*/ 145 w 146"/>
                <a:gd name="T77" fmla="*/ 17 h 87"/>
                <a:gd name="T78" fmla="*/ 146 w 146"/>
                <a:gd name="T79" fmla="*/ 14 h 87"/>
                <a:gd name="T80" fmla="*/ 146 w 146"/>
                <a:gd name="T81" fmla="*/ 14 h 87"/>
                <a:gd name="T82" fmla="*/ 145 w 146"/>
                <a:gd name="T83" fmla="*/ 6 h 87"/>
                <a:gd name="T84" fmla="*/ 146 w 146"/>
                <a:gd name="T8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6" h="87">
                  <a:moveTo>
                    <a:pt x="0" y="50"/>
                  </a:moveTo>
                  <a:lnTo>
                    <a:pt x="0" y="50"/>
                  </a:lnTo>
                  <a:lnTo>
                    <a:pt x="7" y="51"/>
                  </a:lnTo>
                  <a:lnTo>
                    <a:pt x="11" y="54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7" y="69"/>
                  </a:lnTo>
                  <a:lnTo>
                    <a:pt x="20" y="75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8" y="83"/>
                  </a:lnTo>
                  <a:lnTo>
                    <a:pt x="29" y="85"/>
                  </a:lnTo>
                  <a:lnTo>
                    <a:pt x="32" y="87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40" y="87"/>
                  </a:lnTo>
                  <a:lnTo>
                    <a:pt x="43" y="84"/>
                  </a:lnTo>
                  <a:lnTo>
                    <a:pt x="48" y="7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62" y="63"/>
                  </a:lnTo>
                  <a:lnTo>
                    <a:pt x="65" y="62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80" y="60"/>
                  </a:lnTo>
                  <a:lnTo>
                    <a:pt x="84" y="60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93" y="66"/>
                  </a:lnTo>
                  <a:lnTo>
                    <a:pt x="97" y="66"/>
                  </a:lnTo>
                  <a:lnTo>
                    <a:pt x="102" y="66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33" y="28"/>
                  </a:lnTo>
                  <a:lnTo>
                    <a:pt x="139" y="23"/>
                  </a:lnTo>
                  <a:lnTo>
                    <a:pt x="143" y="20"/>
                  </a:lnTo>
                  <a:lnTo>
                    <a:pt x="145" y="17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5" y="6"/>
                  </a:lnTo>
                  <a:lnTo>
                    <a:pt x="146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3" name="Freeform 172">
              <a:extLst>
                <a:ext uri="{FF2B5EF4-FFF2-40B4-BE49-F238E27FC236}">
                  <a16:creationId xmlns:a16="http://schemas.microsoft.com/office/drawing/2014/main" id="{78A53AC9-5B79-8145-811B-4C272A153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4738688"/>
              <a:ext cx="288925" cy="315912"/>
            </a:xfrm>
            <a:custGeom>
              <a:avLst/>
              <a:gdLst>
                <a:gd name="T0" fmla="*/ 0 w 182"/>
                <a:gd name="T1" fmla="*/ 16 h 199"/>
                <a:gd name="T2" fmla="*/ 4 w 182"/>
                <a:gd name="T3" fmla="*/ 27 h 199"/>
                <a:gd name="T4" fmla="*/ 9 w 182"/>
                <a:gd name="T5" fmla="*/ 31 h 199"/>
                <a:gd name="T6" fmla="*/ 19 w 182"/>
                <a:gd name="T7" fmla="*/ 36 h 199"/>
                <a:gd name="T8" fmla="*/ 25 w 182"/>
                <a:gd name="T9" fmla="*/ 43 h 199"/>
                <a:gd name="T10" fmla="*/ 26 w 182"/>
                <a:gd name="T11" fmla="*/ 48 h 199"/>
                <a:gd name="T12" fmla="*/ 22 w 182"/>
                <a:gd name="T13" fmla="*/ 62 h 199"/>
                <a:gd name="T14" fmla="*/ 22 w 182"/>
                <a:gd name="T15" fmla="*/ 65 h 199"/>
                <a:gd name="T16" fmla="*/ 25 w 182"/>
                <a:gd name="T17" fmla="*/ 71 h 199"/>
                <a:gd name="T18" fmla="*/ 32 w 182"/>
                <a:gd name="T19" fmla="*/ 82 h 199"/>
                <a:gd name="T20" fmla="*/ 37 w 182"/>
                <a:gd name="T21" fmla="*/ 93 h 199"/>
                <a:gd name="T22" fmla="*/ 43 w 182"/>
                <a:gd name="T23" fmla="*/ 96 h 199"/>
                <a:gd name="T24" fmla="*/ 47 w 182"/>
                <a:gd name="T25" fmla="*/ 98 h 199"/>
                <a:gd name="T26" fmla="*/ 53 w 182"/>
                <a:gd name="T27" fmla="*/ 104 h 199"/>
                <a:gd name="T28" fmla="*/ 55 w 182"/>
                <a:gd name="T29" fmla="*/ 111 h 199"/>
                <a:gd name="T30" fmla="*/ 56 w 182"/>
                <a:gd name="T31" fmla="*/ 130 h 199"/>
                <a:gd name="T32" fmla="*/ 55 w 182"/>
                <a:gd name="T33" fmla="*/ 144 h 199"/>
                <a:gd name="T34" fmla="*/ 58 w 182"/>
                <a:gd name="T35" fmla="*/ 159 h 199"/>
                <a:gd name="T36" fmla="*/ 59 w 182"/>
                <a:gd name="T37" fmla="*/ 165 h 199"/>
                <a:gd name="T38" fmla="*/ 62 w 182"/>
                <a:gd name="T39" fmla="*/ 175 h 199"/>
                <a:gd name="T40" fmla="*/ 65 w 182"/>
                <a:gd name="T41" fmla="*/ 178 h 199"/>
                <a:gd name="T42" fmla="*/ 72 w 182"/>
                <a:gd name="T43" fmla="*/ 194 h 199"/>
                <a:gd name="T44" fmla="*/ 75 w 182"/>
                <a:gd name="T45" fmla="*/ 197 h 199"/>
                <a:gd name="T46" fmla="*/ 77 w 182"/>
                <a:gd name="T47" fmla="*/ 199 h 199"/>
                <a:gd name="T48" fmla="*/ 93 w 182"/>
                <a:gd name="T49" fmla="*/ 190 h 199"/>
                <a:gd name="T50" fmla="*/ 100 w 182"/>
                <a:gd name="T51" fmla="*/ 188 h 199"/>
                <a:gd name="T52" fmla="*/ 106 w 182"/>
                <a:gd name="T53" fmla="*/ 191 h 199"/>
                <a:gd name="T54" fmla="*/ 111 w 182"/>
                <a:gd name="T55" fmla="*/ 194 h 199"/>
                <a:gd name="T56" fmla="*/ 114 w 182"/>
                <a:gd name="T57" fmla="*/ 191 h 199"/>
                <a:gd name="T58" fmla="*/ 121 w 182"/>
                <a:gd name="T59" fmla="*/ 176 h 199"/>
                <a:gd name="T60" fmla="*/ 124 w 182"/>
                <a:gd name="T61" fmla="*/ 172 h 199"/>
                <a:gd name="T62" fmla="*/ 126 w 182"/>
                <a:gd name="T63" fmla="*/ 162 h 199"/>
                <a:gd name="T64" fmla="*/ 127 w 182"/>
                <a:gd name="T65" fmla="*/ 159 h 199"/>
                <a:gd name="T66" fmla="*/ 130 w 182"/>
                <a:gd name="T67" fmla="*/ 160 h 199"/>
                <a:gd name="T68" fmla="*/ 138 w 182"/>
                <a:gd name="T69" fmla="*/ 157 h 199"/>
                <a:gd name="T70" fmla="*/ 155 w 182"/>
                <a:gd name="T71" fmla="*/ 145 h 199"/>
                <a:gd name="T72" fmla="*/ 169 w 182"/>
                <a:gd name="T73" fmla="*/ 135 h 199"/>
                <a:gd name="T74" fmla="*/ 170 w 182"/>
                <a:gd name="T75" fmla="*/ 126 h 199"/>
                <a:gd name="T76" fmla="*/ 169 w 182"/>
                <a:gd name="T77" fmla="*/ 119 h 199"/>
                <a:gd name="T78" fmla="*/ 166 w 182"/>
                <a:gd name="T79" fmla="*/ 113 h 199"/>
                <a:gd name="T80" fmla="*/ 170 w 182"/>
                <a:gd name="T81" fmla="*/ 110 h 199"/>
                <a:gd name="T82" fmla="*/ 176 w 182"/>
                <a:gd name="T83" fmla="*/ 108 h 199"/>
                <a:gd name="T84" fmla="*/ 180 w 182"/>
                <a:gd name="T85" fmla="*/ 107 h 199"/>
                <a:gd name="T86" fmla="*/ 180 w 182"/>
                <a:gd name="T87" fmla="*/ 102 h 199"/>
                <a:gd name="T88" fmla="*/ 173 w 182"/>
                <a:gd name="T89" fmla="*/ 95 h 199"/>
                <a:gd name="T90" fmla="*/ 164 w 182"/>
                <a:gd name="T91" fmla="*/ 86 h 199"/>
                <a:gd name="T92" fmla="*/ 152 w 182"/>
                <a:gd name="T93" fmla="*/ 74 h 199"/>
                <a:gd name="T94" fmla="*/ 152 w 182"/>
                <a:gd name="T95" fmla="*/ 68 h 199"/>
                <a:gd name="T96" fmla="*/ 154 w 182"/>
                <a:gd name="T97" fmla="*/ 56 h 199"/>
                <a:gd name="T98" fmla="*/ 152 w 182"/>
                <a:gd name="T99" fmla="*/ 49 h 199"/>
                <a:gd name="T100" fmla="*/ 148 w 182"/>
                <a:gd name="T101" fmla="*/ 45 h 199"/>
                <a:gd name="T102" fmla="*/ 146 w 182"/>
                <a:gd name="T103" fmla="*/ 39 h 199"/>
                <a:gd name="T104" fmla="*/ 149 w 182"/>
                <a:gd name="T105" fmla="*/ 30 h 199"/>
                <a:gd name="T106" fmla="*/ 152 w 182"/>
                <a:gd name="T107" fmla="*/ 19 h 199"/>
                <a:gd name="T108" fmla="*/ 160 w 182"/>
                <a:gd name="T109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2" h="199">
                  <a:moveTo>
                    <a:pt x="0" y="16"/>
                  </a:moveTo>
                  <a:lnTo>
                    <a:pt x="0" y="16"/>
                  </a:lnTo>
                  <a:lnTo>
                    <a:pt x="1" y="22"/>
                  </a:lnTo>
                  <a:lnTo>
                    <a:pt x="4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5" y="34"/>
                  </a:lnTo>
                  <a:lnTo>
                    <a:pt x="19" y="36"/>
                  </a:lnTo>
                  <a:lnTo>
                    <a:pt x="23" y="39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6" y="48"/>
                  </a:lnTo>
                  <a:lnTo>
                    <a:pt x="25" y="5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5"/>
                  </a:lnTo>
                  <a:lnTo>
                    <a:pt x="22" y="68"/>
                  </a:lnTo>
                  <a:lnTo>
                    <a:pt x="25" y="71"/>
                  </a:lnTo>
                  <a:lnTo>
                    <a:pt x="29" y="76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7" y="93"/>
                  </a:lnTo>
                  <a:lnTo>
                    <a:pt x="38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7" y="98"/>
                  </a:lnTo>
                  <a:lnTo>
                    <a:pt x="50" y="99"/>
                  </a:lnTo>
                  <a:lnTo>
                    <a:pt x="53" y="104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6" y="122"/>
                  </a:lnTo>
                  <a:lnTo>
                    <a:pt x="56" y="130"/>
                  </a:lnTo>
                  <a:lnTo>
                    <a:pt x="55" y="144"/>
                  </a:lnTo>
                  <a:lnTo>
                    <a:pt x="55" y="144"/>
                  </a:lnTo>
                  <a:lnTo>
                    <a:pt x="58" y="148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9" y="165"/>
                  </a:lnTo>
                  <a:lnTo>
                    <a:pt x="59" y="170"/>
                  </a:lnTo>
                  <a:lnTo>
                    <a:pt x="62" y="175"/>
                  </a:lnTo>
                  <a:lnTo>
                    <a:pt x="65" y="178"/>
                  </a:lnTo>
                  <a:lnTo>
                    <a:pt x="65" y="178"/>
                  </a:lnTo>
                  <a:lnTo>
                    <a:pt x="69" y="187"/>
                  </a:lnTo>
                  <a:lnTo>
                    <a:pt x="72" y="194"/>
                  </a:lnTo>
                  <a:lnTo>
                    <a:pt x="72" y="194"/>
                  </a:lnTo>
                  <a:lnTo>
                    <a:pt x="75" y="197"/>
                  </a:lnTo>
                  <a:lnTo>
                    <a:pt x="77" y="199"/>
                  </a:lnTo>
                  <a:lnTo>
                    <a:pt x="77" y="199"/>
                  </a:lnTo>
                  <a:lnTo>
                    <a:pt x="86" y="194"/>
                  </a:lnTo>
                  <a:lnTo>
                    <a:pt x="93" y="190"/>
                  </a:lnTo>
                  <a:lnTo>
                    <a:pt x="100" y="188"/>
                  </a:lnTo>
                  <a:lnTo>
                    <a:pt x="100" y="188"/>
                  </a:lnTo>
                  <a:lnTo>
                    <a:pt x="103" y="190"/>
                  </a:lnTo>
                  <a:lnTo>
                    <a:pt x="106" y="191"/>
                  </a:lnTo>
                  <a:lnTo>
                    <a:pt x="108" y="194"/>
                  </a:lnTo>
                  <a:lnTo>
                    <a:pt x="111" y="194"/>
                  </a:lnTo>
                  <a:lnTo>
                    <a:pt x="111" y="194"/>
                  </a:lnTo>
                  <a:lnTo>
                    <a:pt x="114" y="191"/>
                  </a:lnTo>
                  <a:lnTo>
                    <a:pt x="117" y="187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4" y="172"/>
                  </a:lnTo>
                  <a:lnTo>
                    <a:pt x="124" y="168"/>
                  </a:lnTo>
                  <a:lnTo>
                    <a:pt x="126" y="162"/>
                  </a:lnTo>
                  <a:lnTo>
                    <a:pt x="127" y="159"/>
                  </a:lnTo>
                  <a:lnTo>
                    <a:pt x="127" y="159"/>
                  </a:lnTo>
                  <a:lnTo>
                    <a:pt x="129" y="159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55" y="14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70" y="132"/>
                  </a:lnTo>
                  <a:lnTo>
                    <a:pt x="170" y="126"/>
                  </a:lnTo>
                  <a:lnTo>
                    <a:pt x="170" y="122"/>
                  </a:lnTo>
                  <a:lnTo>
                    <a:pt x="169" y="119"/>
                  </a:lnTo>
                  <a:lnTo>
                    <a:pt x="169" y="119"/>
                  </a:lnTo>
                  <a:lnTo>
                    <a:pt x="166" y="113"/>
                  </a:lnTo>
                  <a:lnTo>
                    <a:pt x="166" y="110"/>
                  </a:lnTo>
                  <a:lnTo>
                    <a:pt x="170" y="110"/>
                  </a:lnTo>
                  <a:lnTo>
                    <a:pt x="170" y="110"/>
                  </a:lnTo>
                  <a:lnTo>
                    <a:pt x="176" y="108"/>
                  </a:lnTo>
                  <a:lnTo>
                    <a:pt x="179" y="108"/>
                  </a:lnTo>
                  <a:lnTo>
                    <a:pt x="180" y="107"/>
                  </a:lnTo>
                  <a:lnTo>
                    <a:pt x="182" y="104"/>
                  </a:lnTo>
                  <a:lnTo>
                    <a:pt x="180" y="102"/>
                  </a:lnTo>
                  <a:lnTo>
                    <a:pt x="179" y="98"/>
                  </a:lnTo>
                  <a:lnTo>
                    <a:pt x="173" y="95"/>
                  </a:lnTo>
                  <a:lnTo>
                    <a:pt x="173" y="95"/>
                  </a:lnTo>
                  <a:lnTo>
                    <a:pt x="164" y="86"/>
                  </a:lnTo>
                  <a:lnTo>
                    <a:pt x="157" y="80"/>
                  </a:lnTo>
                  <a:lnTo>
                    <a:pt x="152" y="74"/>
                  </a:lnTo>
                  <a:lnTo>
                    <a:pt x="152" y="71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54" y="56"/>
                  </a:lnTo>
                  <a:lnTo>
                    <a:pt x="154" y="52"/>
                  </a:lnTo>
                  <a:lnTo>
                    <a:pt x="152" y="49"/>
                  </a:lnTo>
                  <a:lnTo>
                    <a:pt x="152" y="49"/>
                  </a:lnTo>
                  <a:lnTo>
                    <a:pt x="148" y="45"/>
                  </a:lnTo>
                  <a:lnTo>
                    <a:pt x="146" y="42"/>
                  </a:lnTo>
                  <a:lnTo>
                    <a:pt x="146" y="39"/>
                  </a:lnTo>
                  <a:lnTo>
                    <a:pt x="146" y="39"/>
                  </a:lnTo>
                  <a:lnTo>
                    <a:pt x="149" y="30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4" y="3"/>
                  </a:lnTo>
                  <a:lnTo>
                    <a:pt x="160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4" name="Freeform 173">
              <a:extLst>
                <a:ext uri="{FF2B5EF4-FFF2-40B4-BE49-F238E27FC236}">
                  <a16:creationId xmlns:a16="http://schemas.microsoft.com/office/drawing/2014/main" id="{096521C1-B55D-4748-8790-B5C243526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8600" y="4699000"/>
              <a:ext cx="361950" cy="44450"/>
            </a:xfrm>
            <a:custGeom>
              <a:avLst/>
              <a:gdLst>
                <a:gd name="T0" fmla="*/ 0 w 228"/>
                <a:gd name="T1" fmla="*/ 0 h 28"/>
                <a:gd name="T2" fmla="*/ 19 w 228"/>
                <a:gd name="T3" fmla="*/ 9 h 28"/>
                <a:gd name="T4" fmla="*/ 28 w 228"/>
                <a:gd name="T5" fmla="*/ 12 h 28"/>
                <a:gd name="T6" fmla="*/ 39 w 228"/>
                <a:gd name="T7" fmla="*/ 9 h 28"/>
                <a:gd name="T8" fmla="*/ 48 w 228"/>
                <a:gd name="T9" fmla="*/ 9 h 28"/>
                <a:gd name="T10" fmla="*/ 56 w 228"/>
                <a:gd name="T11" fmla="*/ 15 h 28"/>
                <a:gd name="T12" fmla="*/ 64 w 228"/>
                <a:gd name="T13" fmla="*/ 21 h 28"/>
                <a:gd name="T14" fmla="*/ 73 w 228"/>
                <a:gd name="T15" fmla="*/ 25 h 28"/>
                <a:gd name="T16" fmla="*/ 77 w 228"/>
                <a:gd name="T17" fmla="*/ 24 h 28"/>
                <a:gd name="T18" fmla="*/ 79 w 228"/>
                <a:gd name="T19" fmla="*/ 19 h 28"/>
                <a:gd name="T20" fmla="*/ 80 w 228"/>
                <a:gd name="T21" fmla="*/ 9 h 28"/>
                <a:gd name="T22" fmla="*/ 83 w 228"/>
                <a:gd name="T23" fmla="*/ 4 h 28"/>
                <a:gd name="T24" fmla="*/ 86 w 228"/>
                <a:gd name="T25" fmla="*/ 6 h 28"/>
                <a:gd name="T26" fmla="*/ 98 w 228"/>
                <a:gd name="T27" fmla="*/ 7 h 28"/>
                <a:gd name="T28" fmla="*/ 107 w 228"/>
                <a:gd name="T29" fmla="*/ 6 h 28"/>
                <a:gd name="T30" fmla="*/ 110 w 228"/>
                <a:gd name="T31" fmla="*/ 4 h 28"/>
                <a:gd name="T32" fmla="*/ 120 w 228"/>
                <a:gd name="T33" fmla="*/ 1 h 28"/>
                <a:gd name="T34" fmla="*/ 126 w 228"/>
                <a:gd name="T35" fmla="*/ 3 h 28"/>
                <a:gd name="T36" fmla="*/ 141 w 228"/>
                <a:gd name="T37" fmla="*/ 6 h 28"/>
                <a:gd name="T38" fmla="*/ 150 w 228"/>
                <a:gd name="T39" fmla="*/ 9 h 28"/>
                <a:gd name="T40" fmla="*/ 151 w 228"/>
                <a:gd name="T41" fmla="*/ 12 h 28"/>
                <a:gd name="T42" fmla="*/ 157 w 228"/>
                <a:gd name="T43" fmla="*/ 25 h 28"/>
                <a:gd name="T44" fmla="*/ 165 w 228"/>
                <a:gd name="T45" fmla="*/ 28 h 28"/>
                <a:gd name="T46" fmla="*/ 166 w 228"/>
                <a:gd name="T47" fmla="*/ 28 h 28"/>
                <a:gd name="T48" fmla="*/ 172 w 228"/>
                <a:gd name="T49" fmla="*/ 18 h 28"/>
                <a:gd name="T50" fmla="*/ 176 w 228"/>
                <a:gd name="T51" fmla="*/ 13 h 28"/>
                <a:gd name="T52" fmla="*/ 179 w 228"/>
                <a:gd name="T53" fmla="*/ 13 h 28"/>
                <a:gd name="T54" fmla="*/ 185 w 228"/>
                <a:gd name="T55" fmla="*/ 18 h 28"/>
                <a:gd name="T56" fmla="*/ 193 w 228"/>
                <a:gd name="T57" fmla="*/ 21 h 28"/>
                <a:gd name="T58" fmla="*/ 199 w 228"/>
                <a:gd name="T59" fmla="*/ 19 h 28"/>
                <a:gd name="T60" fmla="*/ 215 w 228"/>
                <a:gd name="T61" fmla="*/ 15 h 28"/>
                <a:gd name="T62" fmla="*/ 224 w 228"/>
                <a:gd name="T63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8" h="28">
                  <a:moveTo>
                    <a:pt x="0" y="0"/>
                  </a:moveTo>
                  <a:lnTo>
                    <a:pt x="0" y="0"/>
                  </a:lnTo>
                  <a:lnTo>
                    <a:pt x="11" y="6"/>
                  </a:lnTo>
                  <a:lnTo>
                    <a:pt x="1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4" y="10"/>
                  </a:lnTo>
                  <a:lnTo>
                    <a:pt x="39" y="9"/>
                  </a:lnTo>
                  <a:lnTo>
                    <a:pt x="43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56" y="15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8" y="24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7" y="24"/>
                  </a:lnTo>
                  <a:lnTo>
                    <a:pt x="79" y="22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9"/>
                  </a:lnTo>
                  <a:lnTo>
                    <a:pt x="82" y="6"/>
                  </a:lnTo>
                  <a:lnTo>
                    <a:pt x="83" y="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92" y="7"/>
                  </a:lnTo>
                  <a:lnTo>
                    <a:pt x="98" y="7"/>
                  </a:lnTo>
                  <a:lnTo>
                    <a:pt x="104" y="7"/>
                  </a:lnTo>
                  <a:lnTo>
                    <a:pt x="107" y="6"/>
                  </a:lnTo>
                  <a:lnTo>
                    <a:pt x="107" y="6"/>
                  </a:lnTo>
                  <a:lnTo>
                    <a:pt x="110" y="4"/>
                  </a:lnTo>
                  <a:lnTo>
                    <a:pt x="114" y="3"/>
                  </a:lnTo>
                  <a:lnTo>
                    <a:pt x="120" y="1"/>
                  </a:lnTo>
                  <a:lnTo>
                    <a:pt x="126" y="3"/>
                  </a:lnTo>
                  <a:lnTo>
                    <a:pt x="126" y="3"/>
                  </a:lnTo>
                  <a:lnTo>
                    <a:pt x="133" y="4"/>
                  </a:lnTo>
                  <a:lnTo>
                    <a:pt x="141" y="6"/>
                  </a:lnTo>
                  <a:lnTo>
                    <a:pt x="147" y="7"/>
                  </a:lnTo>
                  <a:lnTo>
                    <a:pt x="150" y="9"/>
                  </a:lnTo>
                  <a:lnTo>
                    <a:pt x="151" y="12"/>
                  </a:lnTo>
                  <a:lnTo>
                    <a:pt x="151" y="12"/>
                  </a:lnTo>
                  <a:lnTo>
                    <a:pt x="153" y="18"/>
                  </a:lnTo>
                  <a:lnTo>
                    <a:pt x="157" y="25"/>
                  </a:lnTo>
                  <a:lnTo>
                    <a:pt x="162" y="28"/>
                  </a:lnTo>
                  <a:lnTo>
                    <a:pt x="165" y="28"/>
                  </a:lnTo>
                  <a:lnTo>
                    <a:pt x="166" y="28"/>
                  </a:lnTo>
                  <a:lnTo>
                    <a:pt x="166" y="28"/>
                  </a:lnTo>
                  <a:lnTo>
                    <a:pt x="169" y="24"/>
                  </a:lnTo>
                  <a:lnTo>
                    <a:pt x="172" y="18"/>
                  </a:lnTo>
                  <a:lnTo>
                    <a:pt x="173" y="15"/>
                  </a:lnTo>
                  <a:lnTo>
                    <a:pt x="176" y="13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82" y="15"/>
                  </a:lnTo>
                  <a:lnTo>
                    <a:pt x="185" y="18"/>
                  </a:lnTo>
                  <a:lnTo>
                    <a:pt x="188" y="19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9" y="19"/>
                  </a:lnTo>
                  <a:lnTo>
                    <a:pt x="206" y="18"/>
                  </a:lnTo>
                  <a:lnTo>
                    <a:pt x="215" y="15"/>
                  </a:lnTo>
                  <a:lnTo>
                    <a:pt x="215" y="15"/>
                  </a:lnTo>
                  <a:lnTo>
                    <a:pt x="224" y="13"/>
                  </a:lnTo>
                  <a:lnTo>
                    <a:pt x="228" y="15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5" name="Freeform 174">
              <a:extLst>
                <a:ext uri="{FF2B5EF4-FFF2-40B4-BE49-F238E27FC236}">
                  <a16:creationId xmlns:a16="http://schemas.microsoft.com/office/drawing/2014/main" id="{AE451F15-D279-6842-B9ED-BC45FF0BAF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0" y="4483100"/>
              <a:ext cx="311150" cy="295275"/>
            </a:xfrm>
            <a:custGeom>
              <a:avLst/>
              <a:gdLst>
                <a:gd name="T0" fmla="*/ 196 w 196"/>
                <a:gd name="T1" fmla="*/ 0 h 186"/>
                <a:gd name="T2" fmla="*/ 184 w 196"/>
                <a:gd name="T3" fmla="*/ 23 h 186"/>
                <a:gd name="T4" fmla="*/ 188 w 196"/>
                <a:gd name="T5" fmla="*/ 29 h 186"/>
                <a:gd name="T6" fmla="*/ 193 w 196"/>
                <a:gd name="T7" fmla="*/ 38 h 186"/>
                <a:gd name="T8" fmla="*/ 193 w 196"/>
                <a:gd name="T9" fmla="*/ 49 h 186"/>
                <a:gd name="T10" fmla="*/ 190 w 196"/>
                <a:gd name="T11" fmla="*/ 62 h 186"/>
                <a:gd name="T12" fmla="*/ 178 w 196"/>
                <a:gd name="T13" fmla="*/ 74 h 186"/>
                <a:gd name="T14" fmla="*/ 168 w 196"/>
                <a:gd name="T15" fmla="*/ 86 h 186"/>
                <a:gd name="T16" fmla="*/ 166 w 196"/>
                <a:gd name="T17" fmla="*/ 90 h 186"/>
                <a:gd name="T18" fmla="*/ 166 w 196"/>
                <a:gd name="T19" fmla="*/ 103 h 186"/>
                <a:gd name="T20" fmla="*/ 171 w 196"/>
                <a:gd name="T21" fmla="*/ 109 h 186"/>
                <a:gd name="T22" fmla="*/ 175 w 196"/>
                <a:gd name="T23" fmla="*/ 115 h 186"/>
                <a:gd name="T24" fmla="*/ 178 w 196"/>
                <a:gd name="T25" fmla="*/ 126 h 186"/>
                <a:gd name="T26" fmla="*/ 178 w 196"/>
                <a:gd name="T27" fmla="*/ 130 h 186"/>
                <a:gd name="T28" fmla="*/ 172 w 196"/>
                <a:gd name="T29" fmla="*/ 136 h 186"/>
                <a:gd name="T30" fmla="*/ 165 w 196"/>
                <a:gd name="T31" fmla="*/ 142 h 186"/>
                <a:gd name="T32" fmla="*/ 160 w 196"/>
                <a:gd name="T33" fmla="*/ 148 h 186"/>
                <a:gd name="T34" fmla="*/ 160 w 196"/>
                <a:gd name="T35" fmla="*/ 158 h 186"/>
                <a:gd name="T36" fmla="*/ 157 w 196"/>
                <a:gd name="T37" fmla="*/ 163 h 186"/>
                <a:gd name="T38" fmla="*/ 156 w 196"/>
                <a:gd name="T39" fmla="*/ 161 h 186"/>
                <a:gd name="T40" fmla="*/ 141 w 196"/>
                <a:gd name="T41" fmla="*/ 149 h 186"/>
                <a:gd name="T42" fmla="*/ 137 w 196"/>
                <a:gd name="T43" fmla="*/ 149 h 186"/>
                <a:gd name="T44" fmla="*/ 134 w 196"/>
                <a:gd name="T45" fmla="*/ 151 h 186"/>
                <a:gd name="T46" fmla="*/ 131 w 196"/>
                <a:gd name="T47" fmla="*/ 158 h 186"/>
                <a:gd name="T48" fmla="*/ 125 w 196"/>
                <a:gd name="T49" fmla="*/ 164 h 186"/>
                <a:gd name="T50" fmla="*/ 120 w 196"/>
                <a:gd name="T51" fmla="*/ 166 h 186"/>
                <a:gd name="T52" fmla="*/ 97 w 196"/>
                <a:gd name="T53" fmla="*/ 167 h 186"/>
                <a:gd name="T54" fmla="*/ 91 w 196"/>
                <a:gd name="T55" fmla="*/ 170 h 186"/>
                <a:gd name="T56" fmla="*/ 85 w 196"/>
                <a:gd name="T57" fmla="*/ 177 h 186"/>
                <a:gd name="T58" fmla="*/ 74 w 196"/>
                <a:gd name="T59" fmla="*/ 186 h 186"/>
                <a:gd name="T60" fmla="*/ 73 w 196"/>
                <a:gd name="T61" fmla="*/ 186 h 186"/>
                <a:gd name="T62" fmla="*/ 61 w 196"/>
                <a:gd name="T63" fmla="*/ 183 h 186"/>
                <a:gd name="T64" fmla="*/ 60 w 196"/>
                <a:gd name="T65" fmla="*/ 180 h 186"/>
                <a:gd name="T66" fmla="*/ 52 w 196"/>
                <a:gd name="T67" fmla="*/ 176 h 186"/>
                <a:gd name="T68" fmla="*/ 42 w 196"/>
                <a:gd name="T69" fmla="*/ 174 h 186"/>
                <a:gd name="T70" fmla="*/ 31 w 196"/>
                <a:gd name="T71" fmla="*/ 179 h 186"/>
                <a:gd name="T72" fmla="*/ 23 w 196"/>
                <a:gd name="T73" fmla="*/ 179 h 186"/>
                <a:gd name="T74" fmla="*/ 15 w 196"/>
                <a:gd name="T75" fmla="*/ 176 h 186"/>
                <a:gd name="T76" fmla="*/ 9 w 196"/>
                <a:gd name="T77" fmla="*/ 17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6" h="186">
                  <a:moveTo>
                    <a:pt x="196" y="0"/>
                  </a:moveTo>
                  <a:lnTo>
                    <a:pt x="196" y="0"/>
                  </a:lnTo>
                  <a:lnTo>
                    <a:pt x="190" y="10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8" y="29"/>
                  </a:lnTo>
                  <a:lnTo>
                    <a:pt x="191" y="34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49"/>
                  </a:lnTo>
                  <a:lnTo>
                    <a:pt x="193" y="56"/>
                  </a:lnTo>
                  <a:lnTo>
                    <a:pt x="190" y="62"/>
                  </a:lnTo>
                  <a:lnTo>
                    <a:pt x="190" y="62"/>
                  </a:lnTo>
                  <a:lnTo>
                    <a:pt x="178" y="74"/>
                  </a:lnTo>
                  <a:lnTo>
                    <a:pt x="172" y="80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6" y="90"/>
                  </a:lnTo>
                  <a:lnTo>
                    <a:pt x="166" y="97"/>
                  </a:lnTo>
                  <a:lnTo>
                    <a:pt x="166" y="103"/>
                  </a:lnTo>
                  <a:lnTo>
                    <a:pt x="168" y="106"/>
                  </a:lnTo>
                  <a:lnTo>
                    <a:pt x="171" y="109"/>
                  </a:lnTo>
                  <a:lnTo>
                    <a:pt x="171" y="109"/>
                  </a:lnTo>
                  <a:lnTo>
                    <a:pt x="175" y="115"/>
                  </a:lnTo>
                  <a:lnTo>
                    <a:pt x="178" y="120"/>
                  </a:lnTo>
                  <a:lnTo>
                    <a:pt x="178" y="126"/>
                  </a:lnTo>
                  <a:lnTo>
                    <a:pt x="178" y="130"/>
                  </a:lnTo>
                  <a:lnTo>
                    <a:pt x="178" y="130"/>
                  </a:lnTo>
                  <a:lnTo>
                    <a:pt x="175" y="133"/>
                  </a:lnTo>
                  <a:lnTo>
                    <a:pt x="172" y="136"/>
                  </a:lnTo>
                  <a:lnTo>
                    <a:pt x="172" y="136"/>
                  </a:lnTo>
                  <a:lnTo>
                    <a:pt x="165" y="142"/>
                  </a:lnTo>
                  <a:lnTo>
                    <a:pt x="162" y="145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58"/>
                  </a:lnTo>
                  <a:lnTo>
                    <a:pt x="159" y="161"/>
                  </a:lnTo>
                  <a:lnTo>
                    <a:pt x="157" y="163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47" y="152"/>
                  </a:lnTo>
                  <a:lnTo>
                    <a:pt x="141" y="149"/>
                  </a:lnTo>
                  <a:lnTo>
                    <a:pt x="138" y="148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4" y="151"/>
                  </a:lnTo>
                  <a:lnTo>
                    <a:pt x="132" y="152"/>
                  </a:lnTo>
                  <a:lnTo>
                    <a:pt x="131" y="158"/>
                  </a:lnTo>
                  <a:lnTo>
                    <a:pt x="128" y="163"/>
                  </a:lnTo>
                  <a:lnTo>
                    <a:pt x="125" y="164"/>
                  </a:lnTo>
                  <a:lnTo>
                    <a:pt x="120" y="166"/>
                  </a:lnTo>
                  <a:lnTo>
                    <a:pt x="120" y="166"/>
                  </a:lnTo>
                  <a:lnTo>
                    <a:pt x="103" y="167"/>
                  </a:lnTo>
                  <a:lnTo>
                    <a:pt x="97" y="167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77" y="185"/>
                  </a:lnTo>
                  <a:lnTo>
                    <a:pt x="74" y="186"/>
                  </a:lnTo>
                  <a:lnTo>
                    <a:pt x="73" y="186"/>
                  </a:lnTo>
                  <a:lnTo>
                    <a:pt x="73" y="186"/>
                  </a:lnTo>
                  <a:lnTo>
                    <a:pt x="66" y="185"/>
                  </a:lnTo>
                  <a:lnTo>
                    <a:pt x="61" y="183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57" y="177"/>
                  </a:lnTo>
                  <a:lnTo>
                    <a:pt x="52" y="176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37" y="176"/>
                  </a:lnTo>
                  <a:lnTo>
                    <a:pt x="31" y="179"/>
                  </a:lnTo>
                  <a:lnTo>
                    <a:pt x="27" y="180"/>
                  </a:lnTo>
                  <a:lnTo>
                    <a:pt x="23" y="179"/>
                  </a:lnTo>
                  <a:lnTo>
                    <a:pt x="23" y="179"/>
                  </a:lnTo>
                  <a:lnTo>
                    <a:pt x="15" y="176"/>
                  </a:lnTo>
                  <a:lnTo>
                    <a:pt x="9" y="172"/>
                  </a:lnTo>
                  <a:lnTo>
                    <a:pt x="9" y="172"/>
                  </a:lnTo>
                  <a:lnTo>
                    <a:pt x="0" y="166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6" name="Freeform 175">
              <a:extLst>
                <a:ext uri="{FF2B5EF4-FFF2-40B4-BE49-F238E27FC236}">
                  <a16:creationId xmlns:a16="http://schemas.microsoft.com/office/drawing/2014/main" id="{B174177A-811D-D648-AF3D-3EBD956DF6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6838" y="4443413"/>
              <a:ext cx="439738" cy="90487"/>
            </a:xfrm>
            <a:custGeom>
              <a:avLst/>
              <a:gdLst>
                <a:gd name="T0" fmla="*/ 0 w 277"/>
                <a:gd name="T1" fmla="*/ 0 h 57"/>
                <a:gd name="T2" fmla="*/ 9 w 277"/>
                <a:gd name="T3" fmla="*/ 17 h 57"/>
                <a:gd name="T4" fmla="*/ 15 w 277"/>
                <a:gd name="T5" fmla="*/ 22 h 57"/>
                <a:gd name="T6" fmla="*/ 19 w 277"/>
                <a:gd name="T7" fmla="*/ 22 h 57"/>
                <a:gd name="T8" fmla="*/ 30 w 277"/>
                <a:gd name="T9" fmla="*/ 16 h 57"/>
                <a:gd name="T10" fmla="*/ 36 w 277"/>
                <a:gd name="T11" fmla="*/ 14 h 57"/>
                <a:gd name="T12" fmla="*/ 46 w 277"/>
                <a:gd name="T13" fmla="*/ 16 h 57"/>
                <a:gd name="T14" fmla="*/ 48 w 277"/>
                <a:gd name="T15" fmla="*/ 19 h 57"/>
                <a:gd name="T16" fmla="*/ 54 w 277"/>
                <a:gd name="T17" fmla="*/ 26 h 57"/>
                <a:gd name="T18" fmla="*/ 61 w 277"/>
                <a:gd name="T19" fmla="*/ 26 h 57"/>
                <a:gd name="T20" fmla="*/ 64 w 277"/>
                <a:gd name="T21" fmla="*/ 22 h 57"/>
                <a:gd name="T22" fmla="*/ 77 w 277"/>
                <a:gd name="T23" fmla="*/ 14 h 57"/>
                <a:gd name="T24" fmla="*/ 85 w 277"/>
                <a:gd name="T25" fmla="*/ 16 h 57"/>
                <a:gd name="T26" fmla="*/ 101 w 277"/>
                <a:gd name="T27" fmla="*/ 22 h 57"/>
                <a:gd name="T28" fmla="*/ 111 w 277"/>
                <a:gd name="T29" fmla="*/ 25 h 57"/>
                <a:gd name="T30" fmla="*/ 113 w 277"/>
                <a:gd name="T31" fmla="*/ 23 h 57"/>
                <a:gd name="T32" fmla="*/ 132 w 277"/>
                <a:gd name="T33" fmla="*/ 5 h 57"/>
                <a:gd name="T34" fmla="*/ 138 w 277"/>
                <a:gd name="T35" fmla="*/ 1 h 57"/>
                <a:gd name="T36" fmla="*/ 148 w 277"/>
                <a:gd name="T37" fmla="*/ 1 h 57"/>
                <a:gd name="T38" fmla="*/ 156 w 277"/>
                <a:gd name="T39" fmla="*/ 7 h 57"/>
                <a:gd name="T40" fmla="*/ 163 w 277"/>
                <a:gd name="T41" fmla="*/ 13 h 57"/>
                <a:gd name="T42" fmla="*/ 162 w 277"/>
                <a:gd name="T43" fmla="*/ 23 h 57"/>
                <a:gd name="T44" fmla="*/ 159 w 277"/>
                <a:gd name="T45" fmla="*/ 35 h 57"/>
                <a:gd name="T46" fmla="*/ 160 w 277"/>
                <a:gd name="T47" fmla="*/ 50 h 57"/>
                <a:gd name="T48" fmla="*/ 163 w 277"/>
                <a:gd name="T49" fmla="*/ 54 h 57"/>
                <a:gd name="T50" fmla="*/ 166 w 277"/>
                <a:gd name="T51" fmla="*/ 53 h 57"/>
                <a:gd name="T52" fmla="*/ 187 w 277"/>
                <a:gd name="T53" fmla="*/ 41 h 57"/>
                <a:gd name="T54" fmla="*/ 190 w 277"/>
                <a:gd name="T55" fmla="*/ 44 h 57"/>
                <a:gd name="T56" fmla="*/ 193 w 277"/>
                <a:gd name="T57" fmla="*/ 53 h 57"/>
                <a:gd name="T58" fmla="*/ 199 w 277"/>
                <a:gd name="T59" fmla="*/ 57 h 57"/>
                <a:gd name="T60" fmla="*/ 203 w 277"/>
                <a:gd name="T61" fmla="*/ 56 h 57"/>
                <a:gd name="T62" fmla="*/ 215 w 277"/>
                <a:gd name="T63" fmla="*/ 50 h 57"/>
                <a:gd name="T64" fmla="*/ 218 w 277"/>
                <a:gd name="T65" fmla="*/ 48 h 57"/>
                <a:gd name="T66" fmla="*/ 248 w 277"/>
                <a:gd name="T67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57">
                  <a:moveTo>
                    <a:pt x="0" y="0"/>
                  </a:moveTo>
                  <a:lnTo>
                    <a:pt x="0" y="0"/>
                  </a:lnTo>
                  <a:lnTo>
                    <a:pt x="5" y="10"/>
                  </a:lnTo>
                  <a:lnTo>
                    <a:pt x="9" y="17"/>
                  </a:lnTo>
                  <a:lnTo>
                    <a:pt x="12" y="20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9" y="22"/>
                  </a:lnTo>
                  <a:lnTo>
                    <a:pt x="24" y="19"/>
                  </a:lnTo>
                  <a:lnTo>
                    <a:pt x="30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45" y="14"/>
                  </a:lnTo>
                  <a:lnTo>
                    <a:pt x="46" y="16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7" y="28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4" y="22"/>
                  </a:lnTo>
                  <a:lnTo>
                    <a:pt x="70" y="17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101" y="22"/>
                  </a:lnTo>
                  <a:lnTo>
                    <a:pt x="108" y="25"/>
                  </a:lnTo>
                  <a:lnTo>
                    <a:pt x="111" y="25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25" y="11"/>
                  </a:lnTo>
                  <a:lnTo>
                    <a:pt x="132" y="5"/>
                  </a:lnTo>
                  <a:lnTo>
                    <a:pt x="138" y="1"/>
                  </a:lnTo>
                  <a:lnTo>
                    <a:pt x="138" y="1"/>
                  </a:lnTo>
                  <a:lnTo>
                    <a:pt x="142" y="0"/>
                  </a:lnTo>
                  <a:lnTo>
                    <a:pt x="148" y="1"/>
                  </a:lnTo>
                  <a:lnTo>
                    <a:pt x="153" y="4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63" y="13"/>
                  </a:lnTo>
                  <a:lnTo>
                    <a:pt x="163" y="16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59" y="35"/>
                  </a:lnTo>
                  <a:lnTo>
                    <a:pt x="159" y="45"/>
                  </a:lnTo>
                  <a:lnTo>
                    <a:pt x="160" y="50"/>
                  </a:lnTo>
                  <a:lnTo>
                    <a:pt x="162" y="53"/>
                  </a:lnTo>
                  <a:lnTo>
                    <a:pt x="163" y="54"/>
                  </a:lnTo>
                  <a:lnTo>
                    <a:pt x="166" y="53"/>
                  </a:lnTo>
                  <a:lnTo>
                    <a:pt x="166" y="53"/>
                  </a:lnTo>
                  <a:lnTo>
                    <a:pt x="181" y="44"/>
                  </a:lnTo>
                  <a:lnTo>
                    <a:pt x="187" y="41"/>
                  </a:lnTo>
                  <a:lnTo>
                    <a:pt x="190" y="43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3" y="53"/>
                  </a:lnTo>
                  <a:lnTo>
                    <a:pt x="194" y="56"/>
                  </a:lnTo>
                  <a:lnTo>
                    <a:pt x="199" y="57"/>
                  </a:lnTo>
                  <a:lnTo>
                    <a:pt x="199" y="57"/>
                  </a:lnTo>
                  <a:lnTo>
                    <a:pt x="203" y="56"/>
                  </a:lnTo>
                  <a:lnTo>
                    <a:pt x="208" y="54"/>
                  </a:lnTo>
                  <a:lnTo>
                    <a:pt x="215" y="50"/>
                  </a:lnTo>
                  <a:lnTo>
                    <a:pt x="215" y="50"/>
                  </a:lnTo>
                  <a:lnTo>
                    <a:pt x="218" y="48"/>
                  </a:lnTo>
                  <a:lnTo>
                    <a:pt x="227" y="48"/>
                  </a:lnTo>
                  <a:lnTo>
                    <a:pt x="248" y="48"/>
                  </a:lnTo>
                  <a:lnTo>
                    <a:pt x="277" y="5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7" name="Freeform 176">
              <a:extLst>
                <a:ext uri="{FF2B5EF4-FFF2-40B4-BE49-F238E27FC236}">
                  <a16:creationId xmlns:a16="http://schemas.microsoft.com/office/drawing/2014/main" id="{E80D4AC9-3FC6-C540-977F-014081F23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75" y="4406900"/>
              <a:ext cx="387350" cy="479425"/>
            </a:xfrm>
            <a:custGeom>
              <a:avLst/>
              <a:gdLst>
                <a:gd name="T0" fmla="*/ 3 w 244"/>
                <a:gd name="T1" fmla="*/ 63 h 302"/>
                <a:gd name="T2" fmla="*/ 13 w 244"/>
                <a:gd name="T3" fmla="*/ 58 h 302"/>
                <a:gd name="T4" fmla="*/ 37 w 244"/>
                <a:gd name="T5" fmla="*/ 46 h 302"/>
                <a:gd name="T6" fmla="*/ 48 w 244"/>
                <a:gd name="T7" fmla="*/ 30 h 302"/>
                <a:gd name="T8" fmla="*/ 62 w 244"/>
                <a:gd name="T9" fmla="*/ 15 h 302"/>
                <a:gd name="T10" fmla="*/ 90 w 244"/>
                <a:gd name="T11" fmla="*/ 12 h 302"/>
                <a:gd name="T12" fmla="*/ 119 w 244"/>
                <a:gd name="T13" fmla="*/ 0 h 302"/>
                <a:gd name="T14" fmla="*/ 117 w 244"/>
                <a:gd name="T15" fmla="*/ 6 h 302"/>
                <a:gd name="T16" fmla="*/ 113 w 244"/>
                <a:gd name="T17" fmla="*/ 17 h 302"/>
                <a:gd name="T18" fmla="*/ 145 w 244"/>
                <a:gd name="T19" fmla="*/ 43 h 302"/>
                <a:gd name="T20" fmla="*/ 165 w 244"/>
                <a:gd name="T21" fmla="*/ 55 h 302"/>
                <a:gd name="T22" fmla="*/ 172 w 244"/>
                <a:gd name="T23" fmla="*/ 73 h 302"/>
                <a:gd name="T24" fmla="*/ 185 w 244"/>
                <a:gd name="T25" fmla="*/ 71 h 302"/>
                <a:gd name="T26" fmla="*/ 202 w 244"/>
                <a:gd name="T27" fmla="*/ 67 h 302"/>
                <a:gd name="T28" fmla="*/ 213 w 244"/>
                <a:gd name="T29" fmla="*/ 77 h 302"/>
                <a:gd name="T30" fmla="*/ 225 w 244"/>
                <a:gd name="T31" fmla="*/ 74 h 302"/>
                <a:gd name="T32" fmla="*/ 237 w 244"/>
                <a:gd name="T33" fmla="*/ 74 h 302"/>
                <a:gd name="T34" fmla="*/ 240 w 244"/>
                <a:gd name="T35" fmla="*/ 92 h 302"/>
                <a:gd name="T36" fmla="*/ 234 w 244"/>
                <a:gd name="T37" fmla="*/ 103 h 302"/>
                <a:gd name="T38" fmla="*/ 243 w 244"/>
                <a:gd name="T39" fmla="*/ 116 h 302"/>
                <a:gd name="T40" fmla="*/ 242 w 244"/>
                <a:gd name="T41" fmla="*/ 123 h 302"/>
                <a:gd name="T42" fmla="*/ 219 w 244"/>
                <a:gd name="T43" fmla="*/ 129 h 302"/>
                <a:gd name="T44" fmla="*/ 216 w 244"/>
                <a:gd name="T45" fmla="*/ 138 h 302"/>
                <a:gd name="T46" fmla="*/ 204 w 244"/>
                <a:gd name="T47" fmla="*/ 151 h 302"/>
                <a:gd name="T48" fmla="*/ 196 w 244"/>
                <a:gd name="T49" fmla="*/ 160 h 302"/>
                <a:gd name="T50" fmla="*/ 190 w 244"/>
                <a:gd name="T51" fmla="*/ 178 h 302"/>
                <a:gd name="T52" fmla="*/ 182 w 244"/>
                <a:gd name="T53" fmla="*/ 188 h 302"/>
                <a:gd name="T54" fmla="*/ 194 w 244"/>
                <a:gd name="T55" fmla="*/ 197 h 302"/>
                <a:gd name="T56" fmla="*/ 196 w 244"/>
                <a:gd name="T57" fmla="*/ 209 h 302"/>
                <a:gd name="T58" fmla="*/ 185 w 244"/>
                <a:gd name="T59" fmla="*/ 220 h 302"/>
                <a:gd name="T60" fmla="*/ 188 w 244"/>
                <a:gd name="T61" fmla="*/ 227 h 302"/>
                <a:gd name="T62" fmla="*/ 200 w 244"/>
                <a:gd name="T63" fmla="*/ 245 h 302"/>
                <a:gd name="T64" fmla="*/ 216 w 244"/>
                <a:gd name="T65" fmla="*/ 251 h 302"/>
                <a:gd name="T66" fmla="*/ 212 w 244"/>
                <a:gd name="T67" fmla="*/ 268 h 302"/>
                <a:gd name="T68" fmla="*/ 200 w 244"/>
                <a:gd name="T69" fmla="*/ 295 h 302"/>
                <a:gd name="T70" fmla="*/ 191 w 244"/>
                <a:gd name="T71" fmla="*/ 298 h 302"/>
                <a:gd name="T72" fmla="*/ 169 w 244"/>
                <a:gd name="T73" fmla="*/ 300 h 302"/>
                <a:gd name="T74" fmla="*/ 147 w 244"/>
                <a:gd name="T75" fmla="*/ 301 h 302"/>
                <a:gd name="T76" fmla="*/ 114 w 244"/>
                <a:gd name="T77" fmla="*/ 300 h 302"/>
                <a:gd name="T78" fmla="*/ 88 w 244"/>
                <a:gd name="T79" fmla="*/ 302 h 302"/>
                <a:gd name="T80" fmla="*/ 62 w 244"/>
                <a:gd name="T81" fmla="*/ 289 h 302"/>
                <a:gd name="T82" fmla="*/ 53 w 244"/>
                <a:gd name="T83" fmla="*/ 300 h 302"/>
                <a:gd name="T84" fmla="*/ 45 w 244"/>
                <a:gd name="T85" fmla="*/ 302 h 302"/>
                <a:gd name="T86" fmla="*/ 34 w 244"/>
                <a:gd name="T87" fmla="*/ 294 h 302"/>
                <a:gd name="T88" fmla="*/ 36 w 244"/>
                <a:gd name="T89" fmla="*/ 271 h 302"/>
                <a:gd name="T90" fmla="*/ 48 w 244"/>
                <a:gd name="T91" fmla="*/ 255 h 302"/>
                <a:gd name="T92" fmla="*/ 48 w 244"/>
                <a:gd name="T93" fmla="*/ 231 h 302"/>
                <a:gd name="T94" fmla="*/ 34 w 244"/>
                <a:gd name="T95" fmla="*/ 212 h 302"/>
                <a:gd name="T96" fmla="*/ 34 w 244"/>
                <a:gd name="T97" fmla="*/ 197 h 302"/>
                <a:gd name="T98" fmla="*/ 48 w 244"/>
                <a:gd name="T99" fmla="*/ 165 h 302"/>
                <a:gd name="T100" fmla="*/ 49 w 244"/>
                <a:gd name="T101" fmla="*/ 138 h 302"/>
                <a:gd name="T102" fmla="*/ 39 w 244"/>
                <a:gd name="T103" fmla="*/ 123 h 302"/>
                <a:gd name="T104" fmla="*/ 25 w 244"/>
                <a:gd name="T105" fmla="*/ 113 h 302"/>
                <a:gd name="T106" fmla="*/ 12 w 244"/>
                <a:gd name="T107" fmla="*/ 108 h 302"/>
                <a:gd name="T108" fmla="*/ 13 w 244"/>
                <a:gd name="T109" fmla="*/ 91 h 302"/>
                <a:gd name="T110" fmla="*/ 6 w 244"/>
                <a:gd name="T111" fmla="*/ 77 h 302"/>
                <a:gd name="T112" fmla="*/ 2 w 244"/>
                <a:gd name="T113" fmla="*/ 68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44" h="302">
                  <a:moveTo>
                    <a:pt x="2" y="68"/>
                  </a:moveTo>
                  <a:lnTo>
                    <a:pt x="2" y="68"/>
                  </a:lnTo>
                  <a:lnTo>
                    <a:pt x="2" y="67"/>
                  </a:lnTo>
                  <a:lnTo>
                    <a:pt x="3" y="63"/>
                  </a:lnTo>
                  <a:lnTo>
                    <a:pt x="6" y="60"/>
                  </a:lnTo>
                  <a:lnTo>
                    <a:pt x="9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22" y="57"/>
                  </a:lnTo>
                  <a:lnTo>
                    <a:pt x="28" y="54"/>
                  </a:lnTo>
                  <a:lnTo>
                    <a:pt x="33" y="51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43" y="37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8" y="15"/>
                  </a:lnTo>
                  <a:lnTo>
                    <a:pt x="62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85" y="14"/>
                  </a:lnTo>
                  <a:lnTo>
                    <a:pt x="90" y="12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14" y="2"/>
                  </a:lnTo>
                  <a:lnTo>
                    <a:pt x="119" y="0"/>
                  </a:lnTo>
                  <a:lnTo>
                    <a:pt x="120" y="2"/>
                  </a:lnTo>
                  <a:lnTo>
                    <a:pt x="120" y="3"/>
                  </a:lnTo>
                  <a:lnTo>
                    <a:pt x="120" y="3"/>
                  </a:lnTo>
                  <a:lnTo>
                    <a:pt x="117" y="6"/>
                  </a:lnTo>
                  <a:lnTo>
                    <a:pt x="114" y="11"/>
                  </a:lnTo>
                  <a:lnTo>
                    <a:pt x="113" y="12"/>
                  </a:lnTo>
                  <a:lnTo>
                    <a:pt x="111" y="14"/>
                  </a:lnTo>
                  <a:lnTo>
                    <a:pt x="113" y="17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29" y="31"/>
                  </a:lnTo>
                  <a:lnTo>
                    <a:pt x="145" y="43"/>
                  </a:lnTo>
                  <a:lnTo>
                    <a:pt x="145" y="43"/>
                  </a:lnTo>
                  <a:lnTo>
                    <a:pt x="151" y="48"/>
                  </a:lnTo>
                  <a:lnTo>
                    <a:pt x="159" y="51"/>
                  </a:lnTo>
                  <a:lnTo>
                    <a:pt x="165" y="55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70" y="70"/>
                  </a:lnTo>
                  <a:lnTo>
                    <a:pt x="172" y="73"/>
                  </a:lnTo>
                  <a:lnTo>
                    <a:pt x="176" y="74"/>
                  </a:lnTo>
                  <a:lnTo>
                    <a:pt x="176" y="74"/>
                  </a:lnTo>
                  <a:lnTo>
                    <a:pt x="182" y="73"/>
                  </a:lnTo>
                  <a:lnTo>
                    <a:pt x="185" y="71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9" y="66"/>
                  </a:lnTo>
                  <a:lnTo>
                    <a:pt x="202" y="67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10" y="76"/>
                  </a:lnTo>
                  <a:lnTo>
                    <a:pt x="213" y="77"/>
                  </a:lnTo>
                  <a:lnTo>
                    <a:pt x="216" y="79"/>
                  </a:lnTo>
                  <a:lnTo>
                    <a:pt x="216" y="79"/>
                  </a:lnTo>
                  <a:lnTo>
                    <a:pt x="219" y="77"/>
                  </a:lnTo>
                  <a:lnTo>
                    <a:pt x="225" y="74"/>
                  </a:lnTo>
                  <a:lnTo>
                    <a:pt x="230" y="73"/>
                  </a:lnTo>
                  <a:lnTo>
                    <a:pt x="234" y="73"/>
                  </a:lnTo>
                  <a:lnTo>
                    <a:pt x="234" y="73"/>
                  </a:lnTo>
                  <a:lnTo>
                    <a:pt x="237" y="74"/>
                  </a:lnTo>
                  <a:lnTo>
                    <a:pt x="240" y="80"/>
                  </a:lnTo>
                  <a:lnTo>
                    <a:pt x="242" y="88"/>
                  </a:lnTo>
                  <a:lnTo>
                    <a:pt x="242" y="91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37" y="97"/>
                  </a:lnTo>
                  <a:lnTo>
                    <a:pt x="234" y="100"/>
                  </a:lnTo>
                  <a:lnTo>
                    <a:pt x="234" y="103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40" y="110"/>
                  </a:lnTo>
                  <a:lnTo>
                    <a:pt x="243" y="116"/>
                  </a:lnTo>
                  <a:lnTo>
                    <a:pt x="244" y="119"/>
                  </a:lnTo>
                  <a:lnTo>
                    <a:pt x="243" y="122"/>
                  </a:lnTo>
                  <a:lnTo>
                    <a:pt x="242" y="123"/>
                  </a:lnTo>
                  <a:lnTo>
                    <a:pt x="242" y="123"/>
                  </a:lnTo>
                  <a:lnTo>
                    <a:pt x="236" y="125"/>
                  </a:lnTo>
                  <a:lnTo>
                    <a:pt x="228" y="126"/>
                  </a:lnTo>
                  <a:lnTo>
                    <a:pt x="222" y="128"/>
                  </a:lnTo>
                  <a:lnTo>
                    <a:pt x="219" y="129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6" y="134"/>
                  </a:lnTo>
                  <a:lnTo>
                    <a:pt x="216" y="138"/>
                  </a:lnTo>
                  <a:lnTo>
                    <a:pt x="215" y="144"/>
                  </a:lnTo>
                  <a:lnTo>
                    <a:pt x="210" y="148"/>
                  </a:lnTo>
                  <a:lnTo>
                    <a:pt x="210" y="148"/>
                  </a:lnTo>
                  <a:lnTo>
                    <a:pt x="204" y="151"/>
                  </a:lnTo>
                  <a:lnTo>
                    <a:pt x="200" y="153"/>
                  </a:lnTo>
                  <a:lnTo>
                    <a:pt x="197" y="15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4" y="172"/>
                  </a:lnTo>
                  <a:lnTo>
                    <a:pt x="193" y="175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85" y="181"/>
                  </a:lnTo>
                  <a:lnTo>
                    <a:pt x="182" y="184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4" y="190"/>
                  </a:lnTo>
                  <a:lnTo>
                    <a:pt x="184" y="190"/>
                  </a:lnTo>
                  <a:lnTo>
                    <a:pt x="188" y="193"/>
                  </a:lnTo>
                  <a:lnTo>
                    <a:pt x="194" y="197"/>
                  </a:lnTo>
                  <a:lnTo>
                    <a:pt x="197" y="199"/>
                  </a:lnTo>
                  <a:lnTo>
                    <a:pt x="197" y="202"/>
                  </a:lnTo>
                  <a:lnTo>
                    <a:pt x="197" y="205"/>
                  </a:lnTo>
                  <a:lnTo>
                    <a:pt x="196" y="209"/>
                  </a:lnTo>
                  <a:lnTo>
                    <a:pt x="196" y="209"/>
                  </a:lnTo>
                  <a:lnTo>
                    <a:pt x="191" y="214"/>
                  </a:lnTo>
                  <a:lnTo>
                    <a:pt x="187" y="218"/>
                  </a:lnTo>
                  <a:lnTo>
                    <a:pt x="185" y="220"/>
                  </a:lnTo>
                  <a:lnTo>
                    <a:pt x="184" y="221"/>
                  </a:lnTo>
                  <a:lnTo>
                    <a:pt x="185" y="224"/>
                  </a:lnTo>
                  <a:lnTo>
                    <a:pt x="188" y="227"/>
                  </a:lnTo>
                  <a:lnTo>
                    <a:pt x="188" y="227"/>
                  </a:lnTo>
                  <a:lnTo>
                    <a:pt x="194" y="233"/>
                  </a:lnTo>
                  <a:lnTo>
                    <a:pt x="197" y="237"/>
                  </a:lnTo>
                  <a:lnTo>
                    <a:pt x="200" y="245"/>
                  </a:lnTo>
                  <a:lnTo>
                    <a:pt x="200" y="245"/>
                  </a:lnTo>
                  <a:lnTo>
                    <a:pt x="203" y="246"/>
                  </a:lnTo>
                  <a:lnTo>
                    <a:pt x="209" y="249"/>
                  </a:lnTo>
                  <a:lnTo>
                    <a:pt x="216" y="251"/>
                  </a:lnTo>
                  <a:lnTo>
                    <a:pt x="216" y="251"/>
                  </a:lnTo>
                  <a:lnTo>
                    <a:pt x="218" y="254"/>
                  </a:lnTo>
                  <a:lnTo>
                    <a:pt x="218" y="257"/>
                  </a:lnTo>
                  <a:lnTo>
                    <a:pt x="216" y="262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07" y="276"/>
                  </a:lnTo>
                  <a:lnTo>
                    <a:pt x="204" y="286"/>
                  </a:lnTo>
                  <a:lnTo>
                    <a:pt x="200" y="295"/>
                  </a:lnTo>
                  <a:lnTo>
                    <a:pt x="197" y="297"/>
                  </a:lnTo>
                  <a:lnTo>
                    <a:pt x="194" y="298"/>
                  </a:lnTo>
                  <a:lnTo>
                    <a:pt x="194" y="298"/>
                  </a:lnTo>
                  <a:lnTo>
                    <a:pt x="191" y="298"/>
                  </a:lnTo>
                  <a:lnTo>
                    <a:pt x="191" y="298"/>
                  </a:lnTo>
                  <a:lnTo>
                    <a:pt x="181" y="301"/>
                  </a:lnTo>
                  <a:lnTo>
                    <a:pt x="175" y="301"/>
                  </a:lnTo>
                  <a:lnTo>
                    <a:pt x="169" y="300"/>
                  </a:lnTo>
                  <a:lnTo>
                    <a:pt x="169" y="300"/>
                  </a:lnTo>
                  <a:lnTo>
                    <a:pt x="162" y="298"/>
                  </a:lnTo>
                  <a:lnTo>
                    <a:pt x="156" y="298"/>
                  </a:lnTo>
                  <a:lnTo>
                    <a:pt x="147" y="301"/>
                  </a:lnTo>
                  <a:lnTo>
                    <a:pt x="147" y="301"/>
                  </a:lnTo>
                  <a:lnTo>
                    <a:pt x="132" y="301"/>
                  </a:lnTo>
                  <a:lnTo>
                    <a:pt x="114" y="300"/>
                  </a:lnTo>
                  <a:lnTo>
                    <a:pt x="114" y="300"/>
                  </a:lnTo>
                  <a:lnTo>
                    <a:pt x="102" y="301"/>
                  </a:lnTo>
                  <a:lnTo>
                    <a:pt x="95" y="302"/>
                  </a:lnTo>
                  <a:lnTo>
                    <a:pt x="88" y="302"/>
                  </a:lnTo>
                  <a:lnTo>
                    <a:pt x="88" y="302"/>
                  </a:lnTo>
                  <a:lnTo>
                    <a:pt x="80" y="300"/>
                  </a:lnTo>
                  <a:lnTo>
                    <a:pt x="73" y="294"/>
                  </a:lnTo>
                  <a:lnTo>
                    <a:pt x="65" y="291"/>
                  </a:lnTo>
                  <a:lnTo>
                    <a:pt x="62" y="289"/>
                  </a:lnTo>
                  <a:lnTo>
                    <a:pt x="59" y="289"/>
                  </a:lnTo>
                  <a:lnTo>
                    <a:pt x="59" y="289"/>
                  </a:lnTo>
                  <a:lnTo>
                    <a:pt x="56" y="294"/>
                  </a:lnTo>
                  <a:lnTo>
                    <a:pt x="53" y="300"/>
                  </a:lnTo>
                  <a:lnTo>
                    <a:pt x="49" y="302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0" y="301"/>
                  </a:lnTo>
                  <a:lnTo>
                    <a:pt x="37" y="301"/>
                  </a:lnTo>
                  <a:lnTo>
                    <a:pt x="34" y="300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33" y="280"/>
                  </a:lnTo>
                  <a:lnTo>
                    <a:pt x="33" y="276"/>
                  </a:lnTo>
                  <a:lnTo>
                    <a:pt x="36" y="271"/>
                  </a:lnTo>
                  <a:lnTo>
                    <a:pt x="36" y="271"/>
                  </a:lnTo>
                  <a:lnTo>
                    <a:pt x="45" y="267"/>
                  </a:lnTo>
                  <a:lnTo>
                    <a:pt x="48" y="264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9" y="240"/>
                  </a:lnTo>
                  <a:lnTo>
                    <a:pt x="49" y="237"/>
                  </a:lnTo>
                  <a:lnTo>
                    <a:pt x="48" y="231"/>
                  </a:lnTo>
                  <a:lnTo>
                    <a:pt x="48" y="231"/>
                  </a:lnTo>
                  <a:lnTo>
                    <a:pt x="43" y="225"/>
                  </a:lnTo>
                  <a:lnTo>
                    <a:pt x="37" y="217"/>
                  </a:lnTo>
                  <a:lnTo>
                    <a:pt x="34" y="212"/>
                  </a:lnTo>
                  <a:lnTo>
                    <a:pt x="33" y="208"/>
                  </a:lnTo>
                  <a:lnTo>
                    <a:pt x="33" y="203"/>
                  </a:lnTo>
                  <a:lnTo>
                    <a:pt x="34" y="197"/>
                  </a:lnTo>
                  <a:lnTo>
                    <a:pt x="34" y="197"/>
                  </a:lnTo>
                  <a:lnTo>
                    <a:pt x="39" y="188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8" y="165"/>
                  </a:lnTo>
                  <a:lnTo>
                    <a:pt x="49" y="154"/>
                  </a:lnTo>
                  <a:lnTo>
                    <a:pt x="50" y="145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2"/>
                  </a:lnTo>
                  <a:lnTo>
                    <a:pt x="48" y="129"/>
                  </a:lnTo>
                  <a:lnTo>
                    <a:pt x="45" y="126"/>
                  </a:lnTo>
                  <a:lnTo>
                    <a:pt x="39" y="123"/>
                  </a:lnTo>
                  <a:lnTo>
                    <a:pt x="39" y="123"/>
                  </a:lnTo>
                  <a:lnTo>
                    <a:pt x="30" y="117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1" y="111"/>
                  </a:lnTo>
                  <a:lnTo>
                    <a:pt x="16" y="111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3" y="98"/>
                  </a:lnTo>
                  <a:lnTo>
                    <a:pt x="13" y="91"/>
                  </a:lnTo>
                  <a:lnTo>
                    <a:pt x="13" y="85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6" y="77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8"/>
                  </a:lnTo>
                  <a:close/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8" name="Freeform 177">
              <a:extLst>
                <a:ext uri="{FF2B5EF4-FFF2-40B4-BE49-F238E27FC236}">
                  <a16:creationId xmlns:a16="http://schemas.microsoft.com/office/drawing/2014/main" id="{821C04D7-CD0E-624C-8E0E-F60062151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3700" y="4143375"/>
              <a:ext cx="230188" cy="287337"/>
            </a:xfrm>
            <a:custGeom>
              <a:avLst/>
              <a:gdLst>
                <a:gd name="T0" fmla="*/ 0 w 145"/>
                <a:gd name="T1" fmla="*/ 0 h 181"/>
                <a:gd name="T2" fmla="*/ 0 w 145"/>
                <a:gd name="T3" fmla="*/ 0 h 181"/>
                <a:gd name="T4" fmla="*/ 0 w 145"/>
                <a:gd name="T5" fmla="*/ 3 h 181"/>
                <a:gd name="T6" fmla="*/ 0 w 145"/>
                <a:gd name="T7" fmla="*/ 6 h 181"/>
                <a:gd name="T8" fmla="*/ 3 w 145"/>
                <a:gd name="T9" fmla="*/ 11 h 181"/>
                <a:gd name="T10" fmla="*/ 3 w 145"/>
                <a:gd name="T11" fmla="*/ 11 h 181"/>
                <a:gd name="T12" fmla="*/ 7 w 145"/>
                <a:gd name="T13" fmla="*/ 15 h 181"/>
                <a:gd name="T14" fmla="*/ 12 w 145"/>
                <a:gd name="T15" fmla="*/ 18 h 181"/>
                <a:gd name="T16" fmla="*/ 15 w 145"/>
                <a:gd name="T17" fmla="*/ 21 h 181"/>
                <a:gd name="T18" fmla="*/ 18 w 145"/>
                <a:gd name="T19" fmla="*/ 26 h 181"/>
                <a:gd name="T20" fmla="*/ 18 w 145"/>
                <a:gd name="T21" fmla="*/ 26 h 181"/>
                <a:gd name="T22" fmla="*/ 18 w 145"/>
                <a:gd name="T23" fmla="*/ 29 h 181"/>
                <a:gd name="T24" fmla="*/ 18 w 145"/>
                <a:gd name="T25" fmla="*/ 32 h 181"/>
                <a:gd name="T26" fmla="*/ 15 w 145"/>
                <a:gd name="T27" fmla="*/ 36 h 181"/>
                <a:gd name="T28" fmla="*/ 12 w 145"/>
                <a:gd name="T29" fmla="*/ 39 h 181"/>
                <a:gd name="T30" fmla="*/ 10 w 145"/>
                <a:gd name="T31" fmla="*/ 40 h 181"/>
                <a:gd name="T32" fmla="*/ 10 w 145"/>
                <a:gd name="T33" fmla="*/ 43 h 181"/>
                <a:gd name="T34" fmla="*/ 10 w 145"/>
                <a:gd name="T35" fmla="*/ 43 h 181"/>
                <a:gd name="T36" fmla="*/ 13 w 145"/>
                <a:gd name="T37" fmla="*/ 48 h 181"/>
                <a:gd name="T38" fmla="*/ 16 w 145"/>
                <a:gd name="T39" fmla="*/ 51 h 181"/>
                <a:gd name="T40" fmla="*/ 21 w 145"/>
                <a:gd name="T41" fmla="*/ 54 h 181"/>
                <a:gd name="T42" fmla="*/ 24 w 145"/>
                <a:gd name="T43" fmla="*/ 54 h 181"/>
                <a:gd name="T44" fmla="*/ 24 w 145"/>
                <a:gd name="T45" fmla="*/ 54 h 181"/>
                <a:gd name="T46" fmla="*/ 28 w 145"/>
                <a:gd name="T47" fmla="*/ 55 h 181"/>
                <a:gd name="T48" fmla="*/ 29 w 145"/>
                <a:gd name="T49" fmla="*/ 57 h 181"/>
                <a:gd name="T50" fmla="*/ 31 w 145"/>
                <a:gd name="T51" fmla="*/ 63 h 181"/>
                <a:gd name="T52" fmla="*/ 31 w 145"/>
                <a:gd name="T53" fmla="*/ 63 h 181"/>
                <a:gd name="T54" fmla="*/ 34 w 145"/>
                <a:gd name="T55" fmla="*/ 72 h 181"/>
                <a:gd name="T56" fmla="*/ 40 w 145"/>
                <a:gd name="T57" fmla="*/ 79 h 181"/>
                <a:gd name="T58" fmla="*/ 47 w 145"/>
                <a:gd name="T59" fmla="*/ 88 h 181"/>
                <a:gd name="T60" fmla="*/ 56 w 145"/>
                <a:gd name="T61" fmla="*/ 94 h 181"/>
                <a:gd name="T62" fmla="*/ 56 w 145"/>
                <a:gd name="T63" fmla="*/ 94 h 181"/>
                <a:gd name="T64" fmla="*/ 68 w 145"/>
                <a:gd name="T65" fmla="*/ 98 h 181"/>
                <a:gd name="T66" fmla="*/ 77 w 145"/>
                <a:gd name="T67" fmla="*/ 100 h 181"/>
                <a:gd name="T68" fmla="*/ 92 w 145"/>
                <a:gd name="T69" fmla="*/ 101 h 181"/>
                <a:gd name="T70" fmla="*/ 92 w 145"/>
                <a:gd name="T71" fmla="*/ 101 h 181"/>
                <a:gd name="T72" fmla="*/ 101 w 145"/>
                <a:gd name="T73" fmla="*/ 103 h 181"/>
                <a:gd name="T74" fmla="*/ 108 w 145"/>
                <a:gd name="T75" fmla="*/ 106 h 181"/>
                <a:gd name="T76" fmla="*/ 108 w 145"/>
                <a:gd name="T77" fmla="*/ 106 h 181"/>
                <a:gd name="T78" fmla="*/ 112 w 145"/>
                <a:gd name="T79" fmla="*/ 109 h 181"/>
                <a:gd name="T80" fmla="*/ 117 w 145"/>
                <a:gd name="T81" fmla="*/ 113 h 181"/>
                <a:gd name="T82" fmla="*/ 120 w 145"/>
                <a:gd name="T83" fmla="*/ 120 h 181"/>
                <a:gd name="T84" fmla="*/ 123 w 145"/>
                <a:gd name="T85" fmla="*/ 131 h 181"/>
                <a:gd name="T86" fmla="*/ 123 w 145"/>
                <a:gd name="T87" fmla="*/ 131 h 181"/>
                <a:gd name="T88" fmla="*/ 123 w 145"/>
                <a:gd name="T89" fmla="*/ 141 h 181"/>
                <a:gd name="T90" fmla="*/ 121 w 145"/>
                <a:gd name="T91" fmla="*/ 150 h 181"/>
                <a:gd name="T92" fmla="*/ 123 w 145"/>
                <a:gd name="T93" fmla="*/ 156 h 181"/>
                <a:gd name="T94" fmla="*/ 124 w 145"/>
                <a:gd name="T95" fmla="*/ 157 h 181"/>
                <a:gd name="T96" fmla="*/ 127 w 145"/>
                <a:gd name="T97" fmla="*/ 159 h 181"/>
                <a:gd name="T98" fmla="*/ 127 w 145"/>
                <a:gd name="T99" fmla="*/ 159 h 181"/>
                <a:gd name="T100" fmla="*/ 133 w 145"/>
                <a:gd name="T101" fmla="*/ 162 h 181"/>
                <a:gd name="T102" fmla="*/ 138 w 145"/>
                <a:gd name="T103" fmla="*/ 165 h 181"/>
                <a:gd name="T104" fmla="*/ 142 w 145"/>
                <a:gd name="T105" fmla="*/ 168 h 181"/>
                <a:gd name="T106" fmla="*/ 143 w 145"/>
                <a:gd name="T107" fmla="*/ 174 h 181"/>
                <a:gd name="T108" fmla="*/ 143 w 145"/>
                <a:gd name="T109" fmla="*/ 174 h 181"/>
                <a:gd name="T110" fmla="*/ 145 w 145"/>
                <a:gd name="T111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81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7" y="15"/>
                  </a:lnTo>
                  <a:lnTo>
                    <a:pt x="12" y="18"/>
                  </a:lnTo>
                  <a:lnTo>
                    <a:pt x="15" y="21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9"/>
                  </a:lnTo>
                  <a:lnTo>
                    <a:pt x="18" y="32"/>
                  </a:lnTo>
                  <a:lnTo>
                    <a:pt x="15" y="36"/>
                  </a:lnTo>
                  <a:lnTo>
                    <a:pt x="12" y="39"/>
                  </a:lnTo>
                  <a:lnTo>
                    <a:pt x="10" y="40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3" y="48"/>
                  </a:lnTo>
                  <a:lnTo>
                    <a:pt x="16" y="51"/>
                  </a:lnTo>
                  <a:lnTo>
                    <a:pt x="21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8" y="55"/>
                  </a:lnTo>
                  <a:lnTo>
                    <a:pt x="29" y="57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4" y="72"/>
                  </a:lnTo>
                  <a:lnTo>
                    <a:pt x="40" y="79"/>
                  </a:lnTo>
                  <a:lnTo>
                    <a:pt x="47" y="88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68" y="98"/>
                  </a:lnTo>
                  <a:lnTo>
                    <a:pt x="77" y="100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101" y="103"/>
                  </a:lnTo>
                  <a:lnTo>
                    <a:pt x="108" y="106"/>
                  </a:lnTo>
                  <a:lnTo>
                    <a:pt x="108" y="106"/>
                  </a:lnTo>
                  <a:lnTo>
                    <a:pt x="112" y="109"/>
                  </a:lnTo>
                  <a:lnTo>
                    <a:pt x="117" y="113"/>
                  </a:lnTo>
                  <a:lnTo>
                    <a:pt x="120" y="120"/>
                  </a:lnTo>
                  <a:lnTo>
                    <a:pt x="123" y="131"/>
                  </a:lnTo>
                  <a:lnTo>
                    <a:pt x="123" y="131"/>
                  </a:lnTo>
                  <a:lnTo>
                    <a:pt x="123" y="141"/>
                  </a:lnTo>
                  <a:lnTo>
                    <a:pt x="121" y="150"/>
                  </a:lnTo>
                  <a:lnTo>
                    <a:pt x="123" y="156"/>
                  </a:lnTo>
                  <a:lnTo>
                    <a:pt x="124" y="157"/>
                  </a:lnTo>
                  <a:lnTo>
                    <a:pt x="127" y="159"/>
                  </a:lnTo>
                  <a:lnTo>
                    <a:pt x="127" y="159"/>
                  </a:lnTo>
                  <a:lnTo>
                    <a:pt x="133" y="162"/>
                  </a:lnTo>
                  <a:lnTo>
                    <a:pt x="138" y="165"/>
                  </a:lnTo>
                  <a:lnTo>
                    <a:pt x="142" y="168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5" y="18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299" name="Freeform 178">
              <a:extLst>
                <a:ext uri="{FF2B5EF4-FFF2-40B4-BE49-F238E27FC236}">
                  <a16:creationId xmlns:a16="http://schemas.microsoft.com/office/drawing/2014/main" id="{4C2A108E-4917-4745-A4E9-99C99CC66F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4963" y="3998913"/>
              <a:ext cx="231775" cy="144462"/>
            </a:xfrm>
            <a:custGeom>
              <a:avLst/>
              <a:gdLst>
                <a:gd name="T0" fmla="*/ 146 w 146"/>
                <a:gd name="T1" fmla="*/ 4 h 91"/>
                <a:gd name="T2" fmla="*/ 146 w 146"/>
                <a:gd name="T3" fmla="*/ 4 h 91"/>
                <a:gd name="T4" fmla="*/ 132 w 146"/>
                <a:gd name="T5" fmla="*/ 1 h 91"/>
                <a:gd name="T6" fmla="*/ 120 w 146"/>
                <a:gd name="T7" fmla="*/ 0 h 91"/>
                <a:gd name="T8" fmla="*/ 117 w 146"/>
                <a:gd name="T9" fmla="*/ 1 h 91"/>
                <a:gd name="T10" fmla="*/ 114 w 146"/>
                <a:gd name="T11" fmla="*/ 3 h 91"/>
                <a:gd name="T12" fmla="*/ 114 w 146"/>
                <a:gd name="T13" fmla="*/ 3 h 91"/>
                <a:gd name="T14" fmla="*/ 103 w 146"/>
                <a:gd name="T15" fmla="*/ 16 h 91"/>
                <a:gd name="T16" fmla="*/ 99 w 146"/>
                <a:gd name="T17" fmla="*/ 23 h 91"/>
                <a:gd name="T18" fmla="*/ 96 w 146"/>
                <a:gd name="T19" fmla="*/ 29 h 91"/>
                <a:gd name="T20" fmla="*/ 96 w 146"/>
                <a:gd name="T21" fmla="*/ 29 h 91"/>
                <a:gd name="T22" fmla="*/ 96 w 146"/>
                <a:gd name="T23" fmla="*/ 35 h 91"/>
                <a:gd name="T24" fmla="*/ 98 w 146"/>
                <a:gd name="T25" fmla="*/ 43 h 91"/>
                <a:gd name="T26" fmla="*/ 100 w 146"/>
                <a:gd name="T27" fmla="*/ 49 h 91"/>
                <a:gd name="T28" fmla="*/ 100 w 146"/>
                <a:gd name="T29" fmla="*/ 54 h 91"/>
                <a:gd name="T30" fmla="*/ 100 w 146"/>
                <a:gd name="T31" fmla="*/ 54 h 91"/>
                <a:gd name="T32" fmla="*/ 98 w 146"/>
                <a:gd name="T33" fmla="*/ 57 h 91"/>
                <a:gd name="T34" fmla="*/ 93 w 146"/>
                <a:gd name="T35" fmla="*/ 62 h 91"/>
                <a:gd name="T36" fmla="*/ 78 w 146"/>
                <a:gd name="T37" fmla="*/ 71 h 91"/>
                <a:gd name="T38" fmla="*/ 78 w 146"/>
                <a:gd name="T39" fmla="*/ 71 h 91"/>
                <a:gd name="T40" fmla="*/ 69 w 146"/>
                <a:gd name="T41" fmla="*/ 72 h 91"/>
                <a:gd name="T42" fmla="*/ 62 w 146"/>
                <a:gd name="T43" fmla="*/ 74 h 91"/>
                <a:gd name="T44" fmla="*/ 53 w 146"/>
                <a:gd name="T45" fmla="*/ 77 h 91"/>
                <a:gd name="T46" fmla="*/ 49 w 146"/>
                <a:gd name="T47" fmla="*/ 80 h 91"/>
                <a:gd name="T48" fmla="*/ 49 w 146"/>
                <a:gd name="T49" fmla="*/ 80 h 91"/>
                <a:gd name="T50" fmla="*/ 37 w 146"/>
                <a:gd name="T51" fmla="*/ 91 h 91"/>
                <a:gd name="T52" fmla="*/ 37 w 146"/>
                <a:gd name="T53" fmla="*/ 91 h 91"/>
                <a:gd name="T54" fmla="*/ 34 w 146"/>
                <a:gd name="T55" fmla="*/ 84 h 91"/>
                <a:gd name="T56" fmla="*/ 31 w 146"/>
                <a:gd name="T57" fmla="*/ 80 h 91"/>
                <a:gd name="T58" fmla="*/ 26 w 146"/>
                <a:gd name="T59" fmla="*/ 75 h 91"/>
                <a:gd name="T60" fmla="*/ 26 w 146"/>
                <a:gd name="T61" fmla="*/ 75 h 91"/>
                <a:gd name="T62" fmla="*/ 16 w 146"/>
                <a:gd name="T63" fmla="*/ 71 h 91"/>
                <a:gd name="T64" fmla="*/ 13 w 146"/>
                <a:gd name="T65" fmla="*/ 68 h 91"/>
                <a:gd name="T66" fmla="*/ 10 w 146"/>
                <a:gd name="T67" fmla="*/ 65 h 91"/>
                <a:gd name="T68" fmla="*/ 10 w 146"/>
                <a:gd name="T69" fmla="*/ 65 h 91"/>
                <a:gd name="T70" fmla="*/ 7 w 146"/>
                <a:gd name="T71" fmla="*/ 62 h 91"/>
                <a:gd name="T72" fmla="*/ 4 w 146"/>
                <a:gd name="T73" fmla="*/ 57 h 91"/>
                <a:gd name="T74" fmla="*/ 0 w 146"/>
                <a:gd name="T75" fmla="*/ 5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6" h="91">
                  <a:moveTo>
                    <a:pt x="146" y="4"/>
                  </a:moveTo>
                  <a:lnTo>
                    <a:pt x="146" y="4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17" y="1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03" y="16"/>
                  </a:lnTo>
                  <a:lnTo>
                    <a:pt x="99" y="23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35"/>
                  </a:lnTo>
                  <a:lnTo>
                    <a:pt x="98" y="43"/>
                  </a:lnTo>
                  <a:lnTo>
                    <a:pt x="100" y="49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98" y="57"/>
                  </a:lnTo>
                  <a:lnTo>
                    <a:pt x="93" y="62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69" y="72"/>
                  </a:lnTo>
                  <a:lnTo>
                    <a:pt x="62" y="74"/>
                  </a:lnTo>
                  <a:lnTo>
                    <a:pt x="53" y="77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4" y="84"/>
                  </a:lnTo>
                  <a:lnTo>
                    <a:pt x="31" y="80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16" y="71"/>
                  </a:lnTo>
                  <a:lnTo>
                    <a:pt x="13" y="68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7" y="62"/>
                  </a:lnTo>
                  <a:lnTo>
                    <a:pt x="4" y="57"/>
                  </a:lnTo>
                  <a:lnTo>
                    <a:pt x="0" y="5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0" name="Freeform 179">
              <a:extLst>
                <a:ext uri="{FF2B5EF4-FFF2-40B4-BE49-F238E27FC236}">
                  <a16:creationId xmlns:a16="http://schemas.microsoft.com/office/drawing/2014/main" id="{99144138-C04A-1E47-A8F2-63C923473D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3765550"/>
              <a:ext cx="527050" cy="473075"/>
            </a:xfrm>
            <a:custGeom>
              <a:avLst/>
              <a:gdLst>
                <a:gd name="T0" fmla="*/ 106 w 332"/>
                <a:gd name="T1" fmla="*/ 15 h 298"/>
                <a:gd name="T2" fmla="*/ 95 w 332"/>
                <a:gd name="T3" fmla="*/ 15 h 298"/>
                <a:gd name="T4" fmla="*/ 85 w 332"/>
                <a:gd name="T5" fmla="*/ 2 h 298"/>
                <a:gd name="T6" fmla="*/ 80 w 332"/>
                <a:gd name="T7" fmla="*/ 0 h 298"/>
                <a:gd name="T8" fmla="*/ 69 w 332"/>
                <a:gd name="T9" fmla="*/ 7 h 298"/>
                <a:gd name="T10" fmla="*/ 69 w 332"/>
                <a:gd name="T11" fmla="*/ 15 h 298"/>
                <a:gd name="T12" fmla="*/ 70 w 332"/>
                <a:gd name="T13" fmla="*/ 33 h 298"/>
                <a:gd name="T14" fmla="*/ 73 w 332"/>
                <a:gd name="T15" fmla="*/ 59 h 298"/>
                <a:gd name="T16" fmla="*/ 70 w 332"/>
                <a:gd name="T17" fmla="*/ 67 h 298"/>
                <a:gd name="T18" fmla="*/ 43 w 332"/>
                <a:gd name="T19" fmla="*/ 83 h 298"/>
                <a:gd name="T20" fmla="*/ 30 w 332"/>
                <a:gd name="T21" fmla="*/ 90 h 298"/>
                <a:gd name="T22" fmla="*/ 12 w 332"/>
                <a:gd name="T23" fmla="*/ 105 h 298"/>
                <a:gd name="T24" fmla="*/ 0 w 332"/>
                <a:gd name="T25" fmla="*/ 126 h 298"/>
                <a:gd name="T26" fmla="*/ 3 w 332"/>
                <a:gd name="T27" fmla="*/ 135 h 298"/>
                <a:gd name="T28" fmla="*/ 6 w 332"/>
                <a:gd name="T29" fmla="*/ 151 h 298"/>
                <a:gd name="T30" fmla="*/ 15 w 332"/>
                <a:gd name="T31" fmla="*/ 169 h 298"/>
                <a:gd name="T32" fmla="*/ 35 w 332"/>
                <a:gd name="T33" fmla="*/ 178 h 298"/>
                <a:gd name="T34" fmla="*/ 42 w 332"/>
                <a:gd name="T35" fmla="*/ 182 h 298"/>
                <a:gd name="T36" fmla="*/ 46 w 332"/>
                <a:gd name="T37" fmla="*/ 187 h 298"/>
                <a:gd name="T38" fmla="*/ 69 w 332"/>
                <a:gd name="T39" fmla="*/ 188 h 298"/>
                <a:gd name="T40" fmla="*/ 79 w 332"/>
                <a:gd name="T41" fmla="*/ 193 h 298"/>
                <a:gd name="T42" fmla="*/ 88 w 332"/>
                <a:gd name="T43" fmla="*/ 201 h 298"/>
                <a:gd name="T44" fmla="*/ 100 w 332"/>
                <a:gd name="T45" fmla="*/ 201 h 298"/>
                <a:gd name="T46" fmla="*/ 106 w 332"/>
                <a:gd name="T47" fmla="*/ 210 h 298"/>
                <a:gd name="T48" fmla="*/ 110 w 332"/>
                <a:gd name="T49" fmla="*/ 216 h 298"/>
                <a:gd name="T50" fmla="*/ 112 w 332"/>
                <a:gd name="T51" fmla="*/ 222 h 298"/>
                <a:gd name="T52" fmla="*/ 116 w 332"/>
                <a:gd name="T53" fmla="*/ 225 h 298"/>
                <a:gd name="T54" fmla="*/ 125 w 332"/>
                <a:gd name="T55" fmla="*/ 219 h 298"/>
                <a:gd name="T56" fmla="*/ 132 w 332"/>
                <a:gd name="T57" fmla="*/ 218 h 298"/>
                <a:gd name="T58" fmla="*/ 150 w 332"/>
                <a:gd name="T59" fmla="*/ 222 h 298"/>
                <a:gd name="T60" fmla="*/ 165 w 332"/>
                <a:gd name="T61" fmla="*/ 224 h 298"/>
                <a:gd name="T62" fmla="*/ 183 w 332"/>
                <a:gd name="T63" fmla="*/ 213 h 298"/>
                <a:gd name="T64" fmla="*/ 187 w 332"/>
                <a:gd name="T65" fmla="*/ 206 h 298"/>
                <a:gd name="T66" fmla="*/ 199 w 332"/>
                <a:gd name="T67" fmla="*/ 206 h 298"/>
                <a:gd name="T68" fmla="*/ 214 w 332"/>
                <a:gd name="T69" fmla="*/ 212 h 298"/>
                <a:gd name="T70" fmla="*/ 218 w 332"/>
                <a:gd name="T71" fmla="*/ 224 h 298"/>
                <a:gd name="T72" fmla="*/ 224 w 332"/>
                <a:gd name="T73" fmla="*/ 252 h 298"/>
                <a:gd name="T74" fmla="*/ 240 w 332"/>
                <a:gd name="T75" fmla="*/ 255 h 298"/>
                <a:gd name="T76" fmla="*/ 248 w 332"/>
                <a:gd name="T77" fmla="*/ 259 h 298"/>
                <a:gd name="T78" fmla="*/ 251 w 332"/>
                <a:gd name="T79" fmla="*/ 274 h 298"/>
                <a:gd name="T80" fmla="*/ 257 w 332"/>
                <a:gd name="T81" fmla="*/ 275 h 298"/>
                <a:gd name="T82" fmla="*/ 279 w 332"/>
                <a:gd name="T83" fmla="*/ 274 h 298"/>
                <a:gd name="T84" fmla="*/ 285 w 332"/>
                <a:gd name="T85" fmla="*/ 277 h 298"/>
                <a:gd name="T86" fmla="*/ 298 w 332"/>
                <a:gd name="T87" fmla="*/ 293 h 298"/>
                <a:gd name="T88" fmla="*/ 301 w 332"/>
                <a:gd name="T89" fmla="*/ 296 h 298"/>
                <a:gd name="T90" fmla="*/ 314 w 332"/>
                <a:gd name="T91" fmla="*/ 298 h 298"/>
                <a:gd name="T92" fmla="*/ 320 w 332"/>
                <a:gd name="T93" fmla="*/ 295 h 298"/>
                <a:gd name="T94" fmla="*/ 325 w 332"/>
                <a:gd name="T95" fmla="*/ 289 h 298"/>
                <a:gd name="T96" fmla="*/ 328 w 332"/>
                <a:gd name="T97" fmla="*/ 249 h 298"/>
                <a:gd name="T98" fmla="*/ 322 w 332"/>
                <a:gd name="T99" fmla="*/ 236 h 298"/>
                <a:gd name="T100" fmla="*/ 322 w 332"/>
                <a:gd name="T101" fmla="*/ 219 h 298"/>
                <a:gd name="T102" fmla="*/ 332 w 332"/>
                <a:gd name="T103" fmla="*/ 201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2" h="298">
                  <a:moveTo>
                    <a:pt x="114" y="12"/>
                  </a:moveTo>
                  <a:lnTo>
                    <a:pt x="114" y="12"/>
                  </a:lnTo>
                  <a:lnTo>
                    <a:pt x="106" y="15"/>
                  </a:lnTo>
                  <a:lnTo>
                    <a:pt x="100" y="16"/>
                  </a:lnTo>
                  <a:lnTo>
                    <a:pt x="97" y="16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88" y="4"/>
                  </a:lnTo>
                  <a:lnTo>
                    <a:pt x="85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2" y="3"/>
                  </a:lnTo>
                  <a:lnTo>
                    <a:pt x="69" y="6"/>
                  </a:lnTo>
                  <a:lnTo>
                    <a:pt x="69" y="7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5"/>
                  </a:lnTo>
                  <a:lnTo>
                    <a:pt x="69" y="19"/>
                  </a:lnTo>
                  <a:lnTo>
                    <a:pt x="69" y="25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3" y="50"/>
                  </a:lnTo>
                  <a:lnTo>
                    <a:pt x="73" y="59"/>
                  </a:lnTo>
                  <a:lnTo>
                    <a:pt x="73" y="64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58" y="76"/>
                  </a:lnTo>
                  <a:lnTo>
                    <a:pt x="51" y="80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36" y="86"/>
                  </a:lnTo>
                  <a:lnTo>
                    <a:pt x="30" y="90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12" y="105"/>
                  </a:lnTo>
                  <a:lnTo>
                    <a:pt x="5" y="114"/>
                  </a:lnTo>
                  <a:lnTo>
                    <a:pt x="0" y="121"/>
                  </a:lnTo>
                  <a:lnTo>
                    <a:pt x="0" y="126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3" y="135"/>
                  </a:lnTo>
                  <a:lnTo>
                    <a:pt x="5" y="139"/>
                  </a:lnTo>
                  <a:lnTo>
                    <a:pt x="6" y="151"/>
                  </a:lnTo>
                  <a:lnTo>
                    <a:pt x="6" y="151"/>
                  </a:lnTo>
                  <a:lnTo>
                    <a:pt x="9" y="160"/>
                  </a:lnTo>
                  <a:lnTo>
                    <a:pt x="12" y="164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26" y="175"/>
                  </a:lnTo>
                  <a:lnTo>
                    <a:pt x="35" y="178"/>
                  </a:lnTo>
                  <a:lnTo>
                    <a:pt x="35" y="178"/>
                  </a:lnTo>
                  <a:lnTo>
                    <a:pt x="39" y="179"/>
                  </a:lnTo>
                  <a:lnTo>
                    <a:pt x="42" y="182"/>
                  </a:lnTo>
                  <a:lnTo>
                    <a:pt x="43" y="184"/>
                  </a:lnTo>
                  <a:lnTo>
                    <a:pt x="46" y="187"/>
                  </a:lnTo>
                  <a:lnTo>
                    <a:pt x="46" y="187"/>
                  </a:lnTo>
                  <a:lnTo>
                    <a:pt x="52" y="188"/>
                  </a:lnTo>
                  <a:lnTo>
                    <a:pt x="61" y="188"/>
                  </a:lnTo>
                  <a:lnTo>
                    <a:pt x="69" y="188"/>
                  </a:lnTo>
                  <a:lnTo>
                    <a:pt x="75" y="190"/>
                  </a:lnTo>
                  <a:lnTo>
                    <a:pt x="75" y="190"/>
                  </a:lnTo>
                  <a:lnTo>
                    <a:pt x="79" y="193"/>
                  </a:lnTo>
                  <a:lnTo>
                    <a:pt x="82" y="197"/>
                  </a:lnTo>
                  <a:lnTo>
                    <a:pt x="85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95" y="201"/>
                  </a:lnTo>
                  <a:lnTo>
                    <a:pt x="100" y="201"/>
                  </a:lnTo>
                  <a:lnTo>
                    <a:pt x="103" y="204"/>
                  </a:lnTo>
                  <a:lnTo>
                    <a:pt x="103" y="204"/>
                  </a:lnTo>
                  <a:lnTo>
                    <a:pt x="106" y="210"/>
                  </a:lnTo>
                  <a:lnTo>
                    <a:pt x="107" y="213"/>
                  </a:lnTo>
                  <a:lnTo>
                    <a:pt x="110" y="216"/>
                  </a:lnTo>
                  <a:lnTo>
                    <a:pt x="110" y="216"/>
                  </a:lnTo>
                  <a:lnTo>
                    <a:pt x="112" y="218"/>
                  </a:lnTo>
                  <a:lnTo>
                    <a:pt x="112" y="219"/>
                  </a:lnTo>
                  <a:lnTo>
                    <a:pt x="112" y="222"/>
                  </a:lnTo>
                  <a:lnTo>
                    <a:pt x="114" y="224"/>
                  </a:lnTo>
                  <a:lnTo>
                    <a:pt x="114" y="224"/>
                  </a:lnTo>
                  <a:lnTo>
                    <a:pt x="116" y="225"/>
                  </a:lnTo>
                  <a:lnTo>
                    <a:pt x="117" y="224"/>
                  </a:lnTo>
                  <a:lnTo>
                    <a:pt x="120" y="222"/>
                  </a:lnTo>
                  <a:lnTo>
                    <a:pt x="125" y="219"/>
                  </a:lnTo>
                  <a:lnTo>
                    <a:pt x="128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40" y="219"/>
                  </a:lnTo>
                  <a:lnTo>
                    <a:pt x="146" y="221"/>
                  </a:lnTo>
                  <a:lnTo>
                    <a:pt x="150" y="222"/>
                  </a:lnTo>
                  <a:lnTo>
                    <a:pt x="156" y="224"/>
                  </a:lnTo>
                  <a:lnTo>
                    <a:pt x="156" y="224"/>
                  </a:lnTo>
                  <a:lnTo>
                    <a:pt x="165" y="224"/>
                  </a:lnTo>
                  <a:lnTo>
                    <a:pt x="174" y="221"/>
                  </a:lnTo>
                  <a:lnTo>
                    <a:pt x="180" y="216"/>
                  </a:lnTo>
                  <a:lnTo>
                    <a:pt x="183" y="213"/>
                  </a:lnTo>
                  <a:lnTo>
                    <a:pt x="183" y="213"/>
                  </a:lnTo>
                  <a:lnTo>
                    <a:pt x="184" y="209"/>
                  </a:lnTo>
                  <a:lnTo>
                    <a:pt x="187" y="206"/>
                  </a:lnTo>
                  <a:lnTo>
                    <a:pt x="191" y="204"/>
                  </a:lnTo>
                  <a:lnTo>
                    <a:pt x="199" y="206"/>
                  </a:lnTo>
                  <a:lnTo>
                    <a:pt x="199" y="206"/>
                  </a:lnTo>
                  <a:lnTo>
                    <a:pt x="206" y="209"/>
                  </a:lnTo>
                  <a:lnTo>
                    <a:pt x="212" y="210"/>
                  </a:lnTo>
                  <a:lnTo>
                    <a:pt x="214" y="212"/>
                  </a:lnTo>
                  <a:lnTo>
                    <a:pt x="215" y="213"/>
                  </a:lnTo>
                  <a:lnTo>
                    <a:pt x="218" y="224"/>
                  </a:lnTo>
                  <a:lnTo>
                    <a:pt x="218" y="224"/>
                  </a:lnTo>
                  <a:lnTo>
                    <a:pt x="220" y="244"/>
                  </a:lnTo>
                  <a:lnTo>
                    <a:pt x="223" y="250"/>
                  </a:lnTo>
                  <a:lnTo>
                    <a:pt x="224" y="252"/>
                  </a:lnTo>
                  <a:lnTo>
                    <a:pt x="227" y="253"/>
                  </a:lnTo>
                  <a:lnTo>
                    <a:pt x="227" y="253"/>
                  </a:lnTo>
                  <a:lnTo>
                    <a:pt x="240" y="255"/>
                  </a:lnTo>
                  <a:lnTo>
                    <a:pt x="245" y="256"/>
                  </a:lnTo>
                  <a:lnTo>
                    <a:pt x="246" y="258"/>
                  </a:lnTo>
                  <a:lnTo>
                    <a:pt x="248" y="259"/>
                  </a:lnTo>
                  <a:lnTo>
                    <a:pt x="248" y="259"/>
                  </a:lnTo>
                  <a:lnTo>
                    <a:pt x="248" y="270"/>
                  </a:lnTo>
                  <a:lnTo>
                    <a:pt x="251" y="274"/>
                  </a:lnTo>
                  <a:lnTo>
                    <a:pt x="252" y="275"/>
                  </a:lnTo>
                  <a:lnTo>
                    <a:pt x="257" y="275"/>
                  </a:lnTo>
                  <a:lnTo>
                    <a:pt x="257" y="275"/>
                  </a:lnTo>
                  <a:lnTo>
                    <a:pt x="264" y="274"/>
                  </a:lnTo>
                  <a:lnTo>
                    <a:pt x="271" y="274"/>
                  </a:lnTo>
                  <a:lnTo>
                    <a:pt x="279" y="274"/>
                  </a:lnTo>
                  <a:lnTo>
                    <a:pt x="282" y="275"/>
                  </a:lnTo>
                  <a:lnTo>
                    <a:pt x="285" y="277"/>
                  </a:lnTo>
                  <a:lnTo>
                    <a:pt x="285" y="277"/>
                  </a:lnTo>
                  <a:lnTo>
                    <a:pt x="291" y="281"/>
                  </a:lnTo>
                  <a:lnTo>
                    <a:pt x="294" y="286"/>
                  </a:lnTo>
                  <a:lnTo>
                    <a:pt x="298" y="293"/>
                  </a:lnTo>
                  <a:lnTo>
                    <a:pt x="298" y="293"/>
                  </a:lnTo>
                  <a:lnTo>
                    <a:pt x="298" y="295"/>
                  </a:lnTo>
                  <a:lnTo>
                    <a:pt x="301" y="296"/>
                  </a:lnTo>
                  <a:lnTo>
                    <a:pt x="308" y="298"/>
                  </a:lnTo>
                  <a:lnTo>
                    <a:pt x="308" y="298"/>
                  </a:lnTo>
                  <a:lnTo>
                    <a:pt x="314" y="298"/>
                  </a:lnTo>
                  <a:lnTo>
                    <a:pt x="314" y="298"/>
                  </a:lnTo>
                  <a:lnTo>
                    <a:pt x="319" y="296"/>
                  </a:lnTo>
                  <a:lnTo>
                    <a:pt x="320" y="295"/>
                  </a:lnTo>
                  <a:lnTo>
                    <a:pt x="323" y="293"/>
                  </a:lnTo>
                  <a:lnTo>
                    <a:pt x="325" y="289"/>
                  </a:lnTo>
                  <a:lnTo>
                    <a:pt x="325" y="289"/>
                  </a:lnTo>
                  <a:lnTo>
                    <a:pt x="328" y="267"/>
                  </a:lnTo>
                  <a:lnTo>
                    <a:pt x="328" y="256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3" y="240"/>
                  </a:lnTo>
                  <a:lnTo>
                    <a:pt x="322" y="236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2" y="219"/>
                  </a:lnTo>
                  <a:lnTo>
                    <a:pt x="325" y="210"/>
                  </a:lnTo>
                  <a:lnTo>
                    <a:pt x="325" y="210"/>
                  </a:lnTo>
                  <a:lnTo>
                    <a:pt x="332" y="20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1" name="Freeform 180">
              <a:extLst>
                <a:ext uri="{FF2B5EF4-FFF2-40B4-BE49-F238E27FC236}">
                  <a16:creationId xmlns:a16="http://schemas.microsoft.com/office/drawing/2014/main" id="{E79624DC-392D-4442-AE5A-8CF58E5B1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88" y="3541713"/>
              <a:ext cx="706438" cy="565150"/>
            </a:xfrm>
            <a:custGeom>
              <a:avLst/>
              <a:gdLst>
                <a:gd name="T0" fmla="*/ 3 w 445"/>
                <a:gd name="T1" fmla="*/ 14 h 356"/>
                <a:gd name="T2" fmla="*/ 7 w 445"/>
                <a:gd name="T3" fmla="*/ 43 h 356"/>
                <a:gd name="T4" fmla="*/ 11 w 445"/>
                <a:gd name="T5" fmla="*/ 57 h 356"/>
                <a:gd name="T6" fmla="*/ 16 w 445"/>
                <a:gd name="T7" fmla="*/ 64 h 356"/>
                <a:gd name="T8" fmla="*/ 16 w 445"/>
                <a:gd name="T9" fmla="*/ 91 h 356"/>
                <a:gd name="T10" fmla="*/ 7 w 445"/>
                <a:gd name="T11" fmla="*/ 100 h 356"/>
                <a:gd name="T12" fmla="*/ 1 w 445"/>
                <a:gd name="T13" fmla="*/ 104 h 356"/>
                <a:gd name="T14" fmla="*/ 7 w 445"/>
                <a:gd name="T15" fmla="*/ 111 h 356"/>
                <a:gd name="T16" fmla="*/ 6 w 445"/>
                <a:gd name="T17" fmla="*/ 117 h 356"/>
                <a:gd name="T18" fmla="*/ 0 w 445"/>
                <a:gd name="T19" fmla="*/ 128 h 356"/>
                <a:gd name="T20" fmla="*/ 4 w 445"/>
                <a:gd name="T21" fmla="*/ 150 h 356"/>
                <a:gd name="T22" fmla="*/ 8 w 445"/>
                <a:gd name="T23" fmla="*/ 153 h 356"/>
                <a:gd name="T24" fmla="*/ 20 w 445"/>
                <a:gd name="T25" fmla="*/ 145 h 356"/>
                <a:gd name="T26" fmla="*/ 34 w 445"/>
                <a:gd name="T27" fmla="*/ 140 h 356"/>
                <a:gd name="T28" fmla="*/ 47 w 445"/>
                <a:gd name="T29" fmla="*/ 144 h 356"/>
                <a:gd name="T30" fmla="*/ 57 w 445"/>
                <a:gd name="T31" fmla="*/ 159 h 356"/>
                <a:gd name="T32" fmla="*/ 81 w 445"/>
                <a:gd name="T33" fmla="*/ 168 h 356"/>
                <a:gd name="T34" fmla="*/ 96 w 445"/>
                <a:gd name="T35" fmla="*/ 169 h 356"/>
                <a:gd name="T36" fmla="*/ 100 w 445"/>
                <a:gd name="T37" fmla="*/ 175 h 356"/>
                <a:gd name="T38" fmla="*/ 117 w 445"/>
                <a:gd name="T39" fmla="*/ 178 h 356"/>
                <a:gd name="T40" fmla="*/ 136 w 445"/>
                <a:gd name="T41" fmla="*/ 169 h 356"/>
                <a:gd name="T42" fmla="*/ 151 w 445"/>
                <a:gd name="T43" fmla="*/ 168 h 356"/>
                <a:gd name="T44" fmla="*/ 152 w 445"/>
                <a:gd name="T45" fmla="*/ 178 h 356"/>
                <a:gd name="T46" fmla="*/ 155 w 445"/>
                <a:gd name="T47" fmla="*/ 184 h 356"/>
                <a:gd name="T48" fmla="*/ 162 w 445"/>
                <a:gd name="T49" fmla="*/ 199 h 356"/>
                <a:gd name="T50" fmla="*/ 158 w 445"/>
                <a:gd name="T51" fmla="*/ 215 h 356"/>
                <a:gd name="T52" fmla="*/ 149 w 445"/>
                <a:gd name="T53" fmla="*/ 233 h 356"/>
                <a:gd name="T54" fmla="*/ 152 w 445"/>
                <a:gd name="T55" fmla="*/ 237 h 356"/>
                <a:gd name="T56" fmla="*/ 168 w 445"/>
                <a:gd name="T57" fmla="*/ 239 h 356"/>
                <a:gd name="T58" fmla="*/ 183 w 445"/>
                <a:gd name="T59" fmla="*/ 237 h 356"/>
                <a:gd name="T60" fmla="*/ 188 w 445"/>
                <a:gd name="T61" fmla="*/ 243 h 356"/>
                <a:gd name="T62" fmla="*/ 197 w 445"/>
                <a:gd name="T63" fmla="*/ 262 h 356"/>
                <a:gd name="T64" fmla="*/ 204 w 445"/>
                <a:gd name="T65" fmla="*/ 265 h 356"/>
                <a:gd name="T66" fmla="*/ 208 w 445"/>
                <a:gd name="T67" fmla="*/ 270 h 356"/>
                <a:gd name="T68" fmla="*/ 205 w 445"/>
                <a:gd name="T69" fmla="*/ 298 h 356"/>
                <a:gd name="T70" fmla="*/ 210 w 445"/>
                <a:gd name="T71" fmla="*/ 308 h 356"/>
                <a:gd name="T72" fmla="*/ 217 w 445"/>
                <a:gd name="T73" fmla="*/ 319 h 356"/>
                <a:gd name="T74" fmla="*/ 220 w 445"/>
                <a:gd name="T75" fmla="*/ 341 h 356"/>
                <a:gd name="T76" fmla="*/ 223 w 445"/>
                <a:gd name="T77" fmla="*/ 342 h 356"/>
                <a:gd name="T78" fmla="*/ 239 w 445"/>
                <a:gd name="T79" fmla="*/ 344 h 356"/>
                <a:gd name="T80" fmla="*/ 253 w 445"/>
                <a:gd name="T81" fmla="*/ 351 h 356"/>
                <a:gd name="T82" fmla="*/ 266 w 445"/>
                <a:gd name="T83" fmla="*/ 356 h 356"/>
                <a:gd name="T84" fmla="*/ 278 w 445"/>
                <a:gd name="T85" fmla="*/ 350 h 356"/>
                <a:gd name="T86" fmla="*/ 287 w 445"/>
                <a:gd name="T87" fmla="*/ 341 h 356"/>
                <a:gd name="T88" fmla="*/ 302 w 445"/>
                <a:gd name="T89" fmla="*/ 334 h 356"/>
                <a:gd name="T90" fmla="*/ 314 w 445"/>
                <a:gd name="T91" fmla="*/ 322 h 356"/>
                <a:gd name="T92" fmla="*/ 319 w 445"/>
                <a:gd name="T93" fmla="*/ 305 h 356"/>
                <a:gd name="T94" fmla="*/ 328 w 445"/>
                <a:gd name="T95" fmla="*/ 298 h 356"/>
                <a:gd name="T96" fmla="*/ 359 w 445"/>
                <a:gd name="T97" fmla="*/ 282 h 356"/>
                <a:gd name="T98" fmla="*/ 373 w 445"/>
                <a:gd name="T99" fmla="*/ 268 h 356"/>
                <a:gd name="T100" fmla="*/ 383 w 445"/>
                <a:gd name="T101" fmla="*/ 262 h 356"/>
                <a:gd name="T102" fmla="*/ 395 w 445"/>
                <a:gd name="T103" fmla="*/ 265 h 356"/>
                <a:gd name="T104" fmla="*/ 402 w 445"/>
                <a:gd name="T105" fmla="*/ 267 h 356"/>
                <a:gd name="T106" fmla="*/ 411 w 445"/>
                <a:gd name="T107" fmla="*/ 261 h 356"/>
                <a:gd name="T108" fmla="*/ 419 w 445"/>
                <a:gd name="T109" fmla="*/ 261 h 356"/>
                <a:gd name="T110" fmla="*/ 426 w 445"/>
                <a:gd name="T111" fmla="*/ 265 h 356"/>
                <a:gd name="T112" fmla="*/ 436 w 445"/>
                <a:gd name="T113" fmla="*/ 262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5" h="356">
                  <a:moveTo>
                    <a:pt x="3" y="0"/>
                  </a:moveTo>
                  <a:lnTo>
                    <a:pt x="3" y="0"/>
                  </a:lnTo>
                  <a:lnTo>
                    <a:pt x="3" y="14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7" y="43"/>
                  </a:lnTo>
                  <a:lnTo>
                    <a:pt x="8" y="51"/>
                  </a:lnTo>
                  <a:lnTo>
                    <a:pt x="10" y="54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4" y="60"/>
                  </a:lnTo>
                  <a:lnTo>
                    <a:pt x="16" y="64"/>
                  </a:lnTo>
                  <a:lnTo>
                    <a:pt x="17" y="76"/>
                  </a:lnTo>
                  <a:lnTo>
                    <a:pt x="17" y="88"/>
                  </a:lnTo>
                  <a:lnTo>
                    <a:pt x="16" y="91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7" y="100"/>
                  </a:lnTo>
                  <a:lnTo>
                    <a:pt x="3" y="101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3" y="105"/>
                  </a:lnTo>
                  <a:lnTo>
                    <a:pt x="4" y="108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4"/>
                  </a:lnTo>
                  <a:lnTo>
                    <a:pt x="6" y="117"/>
                  </a:lnTo>
                  <a:lnTo>
                    <a:pt x="3" y="123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1" y="143"/>
                  </a:lnTo>
                  <a:lnTo>
                    <a:pt x="4" y="150"/>
                  </a:lnTo>
                  <a:lnTo>
                    <a:pt x="7" y="151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11" y="151"/>
                  </a:lnTo>
                  <a:lnTo>
                    <a:pt x="14" y="150"/>
                  </a:lnTo>
                  <a:lnTo>
                    <a:pt x="20" y="145"/>
                  </a:lnTo>
                  <a:lnTo>
                    <a:pt x="28" y="141"/>
                  </a:lnTo>
                  <a:lnTo>
                    <a:pt x="31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43" y="141"/>
                  </a:lnTo>
                  <a:lnTo>
                    <a:pt x="47" y="144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7" y="159"/>
                  </a:lnTo>
                  <a:lnTo>
                    <a:pt x="66" y="163"/>
                  </a:lnTo>
                  <a:lnTo>
                    <a:pt x="74" y="166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93" y="168"/>
                  </a:lnTo>
                  <a:lnTo>
                    <a:pt x="96" y="169"/>
                  </a:lnTo>
                  <a:lnTo>
                    <a:pt x="99" y="172"/>
                  </a:lnTo>
                  <a:lnTo>
                    <a:pt x="99" y="172"/>
                  </a:lnTo>
                  <a:lnTo>
                    <a:pt x="100" y="175"/>
                  </a:lnTo>
                  <a:lnTo>
                    <a:pt x="105" y="178"/>
                  </a:lnTo>
                  <a:lnTo>
                    <a:pt x="111" y="180"/>
                  </a:lnTo>
                  <a:lnTo>
                    <a:pt x="117" y="178"/>
                  </a:lnTo>
                  <a:lnTo>
                    <a:pt x="117" y="178"/>
                  </a:lnTo>
                  <a:lnTo>
                    <a:pt x="125" y="175"/>
                  </a:lnTo>
                  <a:lnTo>
                    <a:pt x="136" y="169"/>
                  </a:lnTo>
                  <a:lnTo>
                    <a:pt x="145" y="165"/>
                  </a:lnTo>
                  <a:lnTo>
                    <a:pt x="148" y="165"/>
                  </a:lnTo>
                  <a:lnTo>
                    <a:pt x="151" y="168"/>
                  </a:lnTo>
                  <a:lnTo>
                    <a:pt x="151" y="168"/>
                  </a:lnTo>
                  <a:lnTo>
                    <a:pt x="152" y="174"/>
                  </a:lnTo>
                  <a:lnTo>
                    <a:pt x="152" y="178"/>
                  </a:lnTo>
                  <a:lnTo>
                    <a:pt x="154" y="181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8" y="188"/>
                  </a:lnTo>
                  <a:lnTo>
                    <a:pt x="161" y="193"/>
                  </a:lnTo>
                  <a:lnTo>
                    <a:pt x="162" y="199"/>
                  </a:lnTo>
                  <a:lnTo>
                    <a:pt x="162" y="206"/>
                  </a:lnTo>
                  <a:lnTo>
                    <a:pt x="162" y="206"/>
                  </a:lnTo>
                  <a:lnTo>
                    <a:pt x="158" y="215"/>
                  </a:lnTo>
                  <a:lnTo>
                    <a:pt x="152" y="224"/>
                  </a:lnTo>
                  <a:lnTo>
                    <a:pt x="151" y="228"/>
                  </a:lnTo>
                  <a:lnTo>
                    <a:pt x="149" y="233"/>
                  </a:lnTo>
                  <a:lnTo>
                    <a:pt x="149" y="236"/>
                  </a:lnTo>
                  <a:lnTo>
                    <a:pt x="152" y="237"/>
                  </a:lnTo>
                  <a:lnTo>
                    <a:pt x="152" y="237"/>
                  </a:lnTo>
                  <a:lnTo>
                    <a:pt x="157" y="239"/>
                  </a:lnTo>
                  <a:lnTo>
                    <a:pt x="160" y="240"/>
                  </a:lnTo>
                  <a:lnTo>
                    <a:pt x="168" y="239"/>
                  </a:lnTo>
                  <a:lnTo>
                    <a:pt x="176" y="237"/>
                  </a:lnTo>
                  <a:lnTo>
                    <a:pt x="180" y="237"/>
                  </a:lnTo>
                  <a:lnTo>
                    <a:pt x="183" y="237"/>
                  </a:lnTo>
                  <a:lnTo>
                    <a:pt x="183" y="237"/>
                  </a:lnTo>
                  <a:lnTo>
                    <a:pt x="185" y="240"/>
                  </a:lnTo>
                  <a:lnTo>
                    <a:pt x="188" y="243"/>
                  </a:lnTo>
                  <a:lnTo>
                    <a:pt x="191" y="251"/>
                  </a:lnTo>
                  <a:lnTo>
                    <a:pt x="194" y="257"/>
                  </a:lnTo>
                  <a:lnTo>
                    <a:pt x="197" y="262"/>
                  </a:lnTo>
                  <a:lnTo>
                    <a:pt x="197" y="262"/>
                  </a:lnTo>
                  <a:lnTo>
                    <a:pt x="200" y="264"/>
                  </a:lnTo>
                  <a:lnTo>
                    <a:pt x="204" y="265"/>
                  </a:lnTo>
                  <a:lnTo>
                    <a:pt x="207" y="267"/>
                  </a:lnTo>
                  <a:lnTo>
                    <a:pt x="208" y="270"/>
                  </a:lnTo>
                  <a:lnTo>
                    <a:pt x="208" y="270"/>
                  </a:lnTo>
                  <a:lnTo>
                    <a:pt x="205" y="282"/>
                  </a:lnTo>
                  <a:lnTo>
                    <a:pt x="205" y="291"/>
                  </a:lnTo>
                  <a:lnTo>
                    <a:pt x="205" y="298"/>
                  </a:lnTo>
                  <a:lnTo>
                    <a:pt x="205" y="298"/>
                  </a:lnTo>
                  <a:lnTo>
                    <a:pt x="208" y="305"/>
                  </a:lnTo>
                  <a:lnTo>
                    <a:pt x="210" y="308"/>
                  </a:lnTo>
                  <a:lnTo>
                    <a:pt x="216" y="313"/>
                  </a:lnTo>
                  <a:lnTo>
                    <a:pt x="216" y="313"/>
                  </a:lnTo>
                  <a:lnTo>
                    <a:pt x="217" y="319"/>
                  </a:lnTo>
                  <a:lnTo>
                    <a:pt x="219" y="328"/>
                  </a:lnTo>
                  <a:lnTo>
                    <a:pt x="219" y="335"/>
                  </a:lnTo>
                  <a:lnTo>
                    <a:pt x="220" y="341"/>
                  </a:lnTo>
                  <a:lnTo>
                    <a:pt x="220" y="341"/>
                  </a:lnTo>
                  <a:lnTo>
                    <a:pt x="222" y="342"/>
                  </a:lnTo>
                  <a:lnTo>
                    <a:pt x="223" y="342"/>
                  </a:lnTo>
                  <a:lnTo>
                    <a:pt x="226" y="341"/>
                  </a:lnTo>
                  <a:lnTo>
                    <a:pt x="232" y="341"/>
                  </a:lnTo>
                  <a:lnTo>
                    <a:pt x="239" y="344"/>
                  </a:lnTo>
                  <a:lnTo>
                    <a:pt x="239" y="344"/>
                  </a:lnTo>
                  <a:lnTo>
                    <a:pt x="247" y="348"/>
                  </a:lnTo>
                  <a:lnTo>
                    <a:pt x="253" y="351"/>
                  </a:lnTo>
                  <a:lnTo>
                    <a:pt x="257" y="354"/>
                  </a:lnTo>
                  <a:lnTo>
                    <a:pt x="266" y="356"/>
                  </a:lnTo>
                  <a:lnTo>
                    <a:pt x="266" y="356"/>
                  </a:lnTo>
                  <a:lnTo>
                    <a:pt x="271" y="356"/>
                  </a:lnTo>
                  <a:lnTo>
                    <a:pt x="274" y="354"/>
                  </a:lnTo>
                  <a:lnTo>
                    <a:pt x="278" y="350"/>
                  </a:lnTo>
                  <a:lnTo>
                    <a:pt x="282" y="344"/>
                  </a:lnTo>
                  <a:lnTo>
                    <a:pt x="284" y="342"/>
                  </a:lnTo>
                  <a:lnTo>
                    <a:pt x="287" y="341"/>
                  </a:lnTo>
                  <a:lnTo>
                    <a:pt x="287" y="341"/>
                  </a:lnTo>
                  <a:lnTo>
                    <a:pt x="294" y="338"/>
                  </a:lnTo>
                  <a:lnTo>
                    <a:pt x="302" y="334"/>
                  </a:lnTo>
                  <a:lnTo>
                    <a:pt x="309" y="329"/>
                  </a:lnTo>
                  <a:lnTo>
                    <a:pt x="314" y="322"/>
                  </a:lnTo>
                  <a:lnTo>
                    <a:pt x="314" y="322"/>
                  </a:lnTo>
                  <a:lnTo>
                    <a:pt x="315" y="316"/>
                  </a:lnTo>
                  <a:lnTo>
                    <a:pt x="316" y="310"/>
                  </a:lnTo>
                  <a:lnTo>
                    <a:pt x="319" y="305"/>
                  </a:lnTo>
                  <a:lnTo>
                    <a:pt x="322" y="301"/>
                  </a:lnTo>
                  <a:lnTo>
                    <a:pt x="322" y="301"/>
                  </a:lnTo>
                  <a:lnTo>
                    <a:pt x="328" y="298"/>
                  </a:lnTo>
                  <a:lnTo>
                    <a:pt x="339" y="294"/>
                  </a:lnTo>
                  <a:lnTo>
                    <a:pt x="351" y="289"/>
                  </a:lnTo>
                  <a:lnTo>
                    <a:pt x="359" y="282"/>
                  </a:lnTo>
                  <a:lnTo>
                    <a:pt x="359" y="282"/>
                  </a:lnTo>
                  <a:lnTo>
                    <a:pt x="367" y="274"/>
                  </a:lnTo>
                  <a:lnTo>
                    <a:pt x="373" y="268"/>
                  </a:lnTo>
                  <a:lnTo>
                    <a:pt x="377" y="264"/>
                  </a:lnTo>
                  <a:lnTo>
                    <a:pt x="380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91" y="264"/>
                  </a:lnTo>
                  <a:lnTo>
                    <a:pt x="395" y="265"/>
                  </a:lnTo>
                  <a:lnTo>
                    <a:pt x="399" y="267"/>
                  </a:lnTo>
                  <a:lnTo>
                    <a:pt x="402" y="267"/>
                  </a:lnTo>
                  <a:lnTo>
                    <a:pt x="402" y="267"/>
                  </a:lnTo>
                  <a:lnTo>
                    <a:pt x="407" y="265"/>
                  </a:lnTo>
                  <a:lnTo>
                    <a:pt x="410" y="262"/>
                  </a:lnTo>
                  <a:lnTo>
                    <a:pt x="411" y="261"/>
                  </a:lnTo>
                  <a:lnTo>
                    <a:pt x="414" y="260"/>
                  </a:lnTo>
                  <a:lnTo>
                    <a:pt x="414" y="260"/>
                  </a:lnTo>
                  <a:lnTo>
                    <a:pt x="419" y="261"/>
                  </a:lnTo>
                  <a:lnTo>
                    <a:pt x="422" y="261"/>
                  </a:lnTo>
                  <a:lnTo>
                    <a:pt x="426" y="265"/>
                  </a:lnTo>
                  <a:lnTo>
                    <a:pt x="426" y="265"/>
                  </a:lnTo>
                  <a:lnTo>
                    <a:pt x="429" y="265"/>
                  </a:lnTo>
                  <a:lnTo>
                    <a:pt x="431" y="265"/>
                  </a:lnTo>
                  <a:lnTo>
                    <a:pt x="436" y="262"/>
                  </a:lnTo>
                  <a:lnTo>
                    <a:pt x="445" y="25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2" name="Freeform 181">
              <a:extLst>
                <a:ext uri="{FF2B5EF4-FFF2-40B4-BE49-F238E27FC236}">
                  <a16:creationId xmlns:a16="http://schemas.microsoft.com/office/drawing/2014/main" id="{AD1E254A-433D-9E4A-976A-F205B72D8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8600" y="4064000"/>
              <a:ext cx="2455863" cy="787400"/>
            </a:xfrm>
            <a:custGeom>
              <a:avLst/>
              <a:gdLst>
                <a:gd name="T0" fmla="*/ 22 w 1547"/>
                <a:gd name="T1" fmla="*/ 42 h 496"/>
                <a:gd name="T2" fmla="*/ 4 w 1547"/>
                <a:gd name="T3" fmla="*/ 65 h 496"/>
                <a:gd name="T4" fmla="*/ 0 w 1547"/>
                <a:gd name="T5" fmla="*/ 105 h 496"/>
                <a:gd name="T6" fmla="*/ 35 w 1547"/>
                <a:gd name="T7" fmla="*/ 125 h 496"/>
                <a:gd name="T8" fmla="*/ 60 w 1547"/>
                <a:gd name="T9" fmla="*/ 166 h 496"/>
                <a:gd name="T10" fmla="*/ 74 w 1547"/>
                <a:gd name="T11" fmla="*/ 197 h 496"/>
                <a:gd name="T12" fmla="*/ 102 w 1547"/>
                <a:gd name="T13" fmla="*/ 202 h 496"/>
                <a:gd name="T14" fmla="*/ 121 w 1547"/>
                <a:gd name="T15" fmla="*/ 221 h 496"/>
                <a:gd name="T16" fmla="*/ 120 w 1547"/>
                <a:gd name="T17" fmla="*/ 247 h 496"/>
                <a:gd name="T18" fmla="*/ 143 w 1547"/>
                <a:gd name="T19" fmla="*/ 256 h 496"/>
                <a:gd name="T20" fmla="*/ 164 w 1547"/>
                <a:gd name="T21" fmla="*/ 292 h 496"/>
                <a:gd name="T22" fmla="*/ 200 w 1547"/>
                <a:gd name="T23" fmla="*/ 296 h 496"/>
                <a:gd name="T24" fmla="*/ 212 w 1547"/>
                <a:gd name="T25" fmla="*/ 324 h 496"/>
                <a:gd name="T26" fmla="*/ 252 w 1547"/>
                <a:gd name="T27" fmla="*/ 354 h 496"/>
                <a:gd name="T28" fmla="*/ 274 w 1547"/>
                <a:gd name="T29" fmla="*/ 351 h 496"/>
                <a:gd name="T30" fmla="*/ 271 w 1547"/>
                <a:gd name="T31" fmla="*/ 372 h 496"/>
                <a:gd name="T32" fmla="*/ 290 w 1547"/>
                <a:gd name="T33" fmla="*/ 394 h 496"/>
                <a:gd name="T34" fmla="*/ 294 w 1547"/>
                <a:gd name="T35" fmla="*/ 424 h 496"/>
                <a:gd name="T36" fmla="*/ 308 w 1547"/>
                <a:gd name="T37" fmla="*/ 428 h 496"/>
                <a:gd name="T38" fmla="*/ 334 w 1547"/>
                <a:gd name="T39" fmla="*/ 449 h 496"/>
                <a:gd name="T40" fmla="*/ 354 w 1547"/>
                <a:gd name="T41" fmla="*/ 481 h 496"/>
                <a:gd name="T42" fmla="*/ 394 w 1547"/>
                <a:gd name="T43" fmla="*/ 486 h 496"/>
                <a:gd name="T44" fmla="*/ 420 w 1547"/>
                <a:gd name="T45" fmla="*/ 490 h 496"/>
                <a:gd name="T46" fmla="*/ 448 w 1547"/>
                <a:gd name="T47" fmla="*/ 455 h 496"/>
                <a:gd name="T48" fmla="*/ 543 w 1547"/>
                <a:gd name="T49" fmla="*/ 379 h 496"/>
                <a:gd name="T50" fmla="*/ 502 w 1547"/>
                <a:gd name="T51" fmla="*/ 345 h 496"/>
                <a:gd name="T52" fmla="*/ 468 w 1547"/>
                <a:gd name="T53" fmla="*/ 366 h 496"/>
                <a:gd name="T54" fmla="*/ 444 w 1547"/>
                <a:gd name="T55" fmla="*/ 344 h 496"/>
                <a:gd name="T56" fmla="*/ 426 w 1547"/>
                <a:gd name="T57" fmla="*/ 353 h 496"/>
                <a:gd name="T58" fmla="*/ 457 w 1547"/>
                <a:gd name="T59" fmla="*/ 295 h 496"/>
                <a:gd name="T60" fmla="*/ 502 w 1547"/>
                <a:gd name="T61" fmla="*/ 279 h 496"/>
                <a:gd name="T62" fmla="*/ 502 w 1547"/>
                <a:gd name="T63" fmla="*/ 240 h 496"/>
                <a:gd name="T64" fmla="*/ 527 w 1547"/>
                <a:gd name="T65" fmla="*/ 225 h 496"/>
                <a:gd name="T66" fmla="*/ 528 w 1547"/>
                <a:gd name="T67" fmla="*/ 173 h 496"/>
                <a:gd name="T68" fmla="*/ 537 w 1547"/>
                <a:gd name="T69" fmla="*/ 119 h 496"/>
                <a:gd name="T70" fmla="*/ 568 w 1547"/>
                <a:gd name="T71" fmla="*/ 153 h 496"/>
                <a:gd name="T72" fmla="*/ 616 w 1547"/>
                <a:gd name="T73" fmla="*/ 203 h 496"/>
                <a:gd name="T74" fmla="*/ 619 w 1547"/>
                <a:gd name="T75" fmla="*/ 224 h 496"/>
                <a:gd name="T76" fmla="*/ 642 w 1547"/>
                <a:gd name="T77" fmla="*/ 233 h 496"/>
                <a:gd name="T78" fmla="*/ 656 w 1547"/>
                <a:gd name="T79" fmla="*/ 227 h 496"/>
                <a:gd name="T80" fmla="*/ 679 w 1547"/>
                <a:gd name="T81" fmla="*/ 243 h 496"/>
                <a:gd name="T82" fmla="*/ 706 w 1547"/>
                <a:gd name="T83" fmla="*/ 258 h 496"/>
                <a:gd name="T84" fmla="*/ 731 w 1547"/>
                <a:gd name="T85" fmla="*/ 253 h 496"/>
                <a:gd name="T86" fmla="*/ 742 w 1547"/>
                <a:gd name="T87" fmla="*/ 190 h 496"/>
                <a:gd name="T88" fmla="*/ 728 w 1547"/>
                <a:gd name="T89" fmla="*/ 170 h 496"/>
                <a:gd name="T90" fmla="*/ 765 w 1547"/>
                <a:gd name="T91" fmla="*/ 123 h 496"/>
                <a:gd name="T92" fmla="*/ 838 w 1547"/>
                <a:gd name="T93" fmla="*/ 104 h 496"/>
                <a:gd name="T94" fmla="*/ 930 w 1547"/>
                <a:gd name="T95" fmla="*/ 119 h 496"/>
                <a:gd name="T96" fmla="*/ 970 w 1547"/>
                <a:gd name="T97" fmla="*/ 117 h 496"/>
                <a:gd name="T98" fmla="*/ 1103 w 1547"/>
                <a:gd name="T99" fmla="*/ 243 h 496"/>
                <a:gd name="T100" fmla="*/ 1241 w 1547"/>
                <a:gd name="T101" fmla="*/ 345 h 496"/>
                <a:gd name="T102" fmla="*/ 1341 w 1547"/>
                <a:gd name="T103" fmla="*/ 376 h 496"/>
                <a:gd name="T104" fmla="*/ 1365 w 1547"/>
                <a:gd name="T105" fmla="*/ 357 h 496"/>
                <a:gd name="T106" fmla="*/ 1412 w 1547"/>
                <a:gd name="T107" fmla="*/ 351 h 496"/>
                <a:gd name="T108" fmla="*/ 1444 w 1547"/>
                <a:gd name="T109" fmla="*/ 336 h 496"/>
                <a:gd name="T110" fmla="*/ 1482 w 1547"/>
                <a:gd name="T111" fmla="*/ 321 h 496"/>
                <a:gd name="T112" fmla="*/ 1519 w 1547"/>
                <a:gd name="T113" fmla="*/ 333 h 496"/>
                <a:gd name="T114" fmla="*/ 1518 w 1547"/>
                <a:gd name="T115" fmla="*/ 304 h 496"/>
                <a:gd name="T116" fmla="*/ 1501 w 1547"/>
                <a:gd name="T117" fmla="*/ 277 h 496"/>
                <a:gd name="T118" fmla="*/ 1532 w 1547"/>
                <a:gd name="T119" fmla="*/ 25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7" h="496">
                  <a:moveTo>
                    <a:pt x="35" y="0"/>
                  </a:moveTo>
                  <a:lnTo>
                    <a:pt x="35" y="0"/>
                  </a:lnTo>
                  <a:lnTo>
                    <a:pt x="32" y="3"/>
                  </a:lnTo>
                  <a:lnTo>
                    <a:pt x="29" y="9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3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3"/>
                  </a:lnTo>
                  <a:lnTo>
                    <a:pt x="22" y="45"/>
                  </a:lnTo>
                  <a:lnTo>
                    <a:pt x="18" y="49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7" y="58"/>
                  </a:lnTo>
                  <a:lnTo>
                    <a:pt x="4" y="65"/>
                  </a:lnTo>
                  <a:lnTo>
                    <a:pt x="1" y="74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7"/>
                  </a:lnTo>
                  <a:lnTo>
                    <a:pt x="0" y="96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4" y="111"/>
                  </a:lnTo>
                  <a:lnTo>
                    <a:pt x="9" y="116"/>
                  </a:lnTo>
                  <a:lnTo>
                    <a:pt x="12" y="117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25" y="120"/>
                  </a:lnTo>
                  <a:lnTo>
                    <a:pt x="32" y="122"/>
                  </a:lnTo>
                  <a:lnTo>
                    <a:pt x="35" y="125"/>
                  </a:lnTo>
                  <a:lnTo>
                    <a:pt x="37" y="127"/>
                  </a:lnTo>
                  <a:lnTo>
                    <a:pt x="37" y="127"/>
                  </a:lnTo>
                  <a:lnTo>
                    <a:pt x="40" y="145"/>
                  </a:lnTo>
                  <a:lnTo>
                    <a:pt x="44" y="157"/>
                  </a:lnTo>
                  <a:lnTo>
                    <a:pt x="46" y="160"/>
                  </a:lnTo>
                  <a:lnTo>
                    <a:pt x="47" y="163"/>
                  </a:lnTo>
                  <a:lnTo>
                    <a:pt x="47" y="163"/>
                  </a:lnTo>
                  <a:lnTo>
                    <a:pt x="60" y="166"/>
                  </a:lnTo>
                  <a:lnTo>
                    <a:pt x="68" y="169"/>
                  </a:lnTo>
                  <a:lnTo>
                    <a:pt x="69" y="172"/>
                  </a:lnTo>
                  <a:lnTo>
                    <a:pt x="71" y="175"/>
                  </a:lnTo>
                  <a:lnTo>
                    <a:pt x="71" y="175"/>
                  </a:lnTo>
                  <a:lnTo>
                    <a:pt x="72" y="181"/>
                  </a:lnTo>
                  <a:lnTo>
                    <a:pt x="72" y="188"/>
                  </a:lnTo>
                  <a:lnTo>
                    <a:pt x="74" y="196"/>
                  </a:lnTo>
                  <a:lnTo>
                    <a:pt x="74" y="197"/>
                  </a:lnTo>
                  <a:lnTo>
                    <a:pt x="77" y="200"/>
                  </a:lnTo>
                  <a:lnTo>
                    <a:pt x="77" y="200"/>
                  </a:lnTo>
                  <a:lnTo>
                    <a:pt x="81" y="202"/>
                  </a:lnTo>
                  <a:lnTo>
                    <a:pt x="87" y="202"/>
                  </a:lnTo>
                  <a:lnTo>
                    <a:pt x="93" y="200"/>
                  </a:lnTo>
                  <a:lnTo>
                    <a:pt x="99" y="200"/>
                  </a:lnTo>
                  <a:lnTo>
                    <a:pt x="99" y="200"/>
                  </a:lnTo>
                  <a:lnTo>
                    <a:pt x="102" y="202"/>
                  </a:lnTo>
                  <a:lnTo>
                    <a:pt x="103" y="203"/>
                  </a:lnTo>
                  <a:lnTo>
                    <a:pt x="108" y="206"/>
                  </a:lnTo>
                  <a:lnTo>
                    <a:pt x="111" y="210"/>
                  </a:lnTo>
                  <a:lnTo>
                    <a:pt x="114" y="215"/>
                  </a:lnTo>
                  <a:lnTo>
                    <a:pt x="114" y="215"/>
                  </a:lnTo>
                  <a:lnTo>
                    <a:pt x="120" y="218"/>
                  </a:lnTo>
                  <a:lnTo>
                    <a:pt x="121" y="219"/>
                  </a:lnTo>
                  <a:lnTo>
                    <a:pt x="121" y="221"/>
                  </a:lnTo>
                  <a:lnTo>
                    <a:pt x="121" y="221"/>
                  </a:lnTo>
                  <a:lnTo>
                    <a:pt x="117" y="227"/>
                  </a:lnTo>
                  <a:lnTo>
                    <a:pt x="115" y="230"/>
                  </a:lnTo>
                  <a:lnTo>
                    <a:pt x="115" y="233"/>
                  </a:lnTo>
                  <a:lnTo>
                    <a:pt x="115" y="233"/>
                  </a:lnTo>
                  <a:lnTo>
                    <a:pt x="117" y="237"/>
                  </a:lnTo>
                  <a:lnTo>
                    <a:pt x="117" y="243"/>
                  </a:lnTo>
                  <a:lnTo>
                    <a:pt x="120" y="247"/>
                  </a:lnTo>
                  <a:lnTo>
                    <a:pt x="121" y="249"/>
                  </a:lnTo>
                  <a:lnTo>
                    <a:pt x="124" y="250"/>
                  </a:lnTo>
                  <a:lnTo>
                    <a:pt x="124" y="250"/>
                  </a:lnTo>
                  <a:lnTo>
                    <a:pt x="132" y="252"/>
                  </a:lnTo>
                  <a:lnTo>
                    <a:pt x="137" y="252"/>
                  </a:lnTo>
                  <a:lnTo>
                    <a:pt x="142" y="253"/>
                  </a:lnTo>
                  <a:lnTo>
                    <a:pt x="143" y="255"/>
                  </a:lnTo>
                  <a:lnTo>
                    <a:pt x="143" y="256"/>
                  </a:lnTo>
                  <a:lnTo>
                    <a:pt x="143" y="256"/>
                  </a:lnTo>
                  <a:lnTo>
                    <a:pt x="145" y="271"/>
                  </a:lnTo>
                  <a:lnTo>
                    <a:pt x="146" y="277"/>
                  </a:lnTo>
                  <a:lnTo>
                    <a:pt x="148" y="280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60" y="290"/>
                  </a:lnTo>
                  <a:lnTo>
                    <a:pt x="164" y="292"/>
                  </a:lnTo>
                  <a:lnTo>
                    <a:pt x="170" y="293"/>
                  </a:lnTo>
                  <a:lnTo>
                    <a:pt x="170" y="293"/>
                  </a:lnTo>
                  <a:lnTo>
                    <a:pt x="180" y="295"/>
                  </a:lnTo>
                  <a:lnTo>
                    <a:pt x="188" y="295"/>
                  </a:lnTo>
                  <a:lnTo>
                    <a:pt x="188" y="295"/>
                  </a:lnTo>
                  <a:lnTo>
                    <a:pt x="192" y="292"/>
                  </a:lnTo>
                  <a:lnTo>
                    <a:pt x="197" y="293"/>
                  </a:lnTo>
                  <a:lnTo>
                    <a:pt x="200" y="296"/>
                  </a:lnTo>
                  <a:lnTo>
                    <a:pt x="200" y="296"/>
                  </a:lnTo>
                  <a:lnTo>
                    <a:pt x="204" y="301"/>
                  </a:lnTo>
                  <a:lnTo>
                    <a:pt x="207" y="302"/>
                  </a:lnTo>
                  <a:lnTo>
                    <a:pt x="210" y="304"/>
                  </a:lnTo>
                  <a:lnTo>
                    <a:pt x="212" y="308"/>
                  </a:lnTo>
                  <a:lnTo>
                    <a:pt x="212" y="308"/>
                  </a:lnTo>
                  <a:lnTo>
                    <a:pt x="212" y="319"/>
                  </a:lnTo>
                  <a:lnTo>
                    <a:pt x="212" y="324"/>
                  </a:lnTo>
                  <a:lnTo>
                    <a:pt x="216" y="330"/>
                  </a:lnTo>
                  <a:lnTo>
                    <a:pt x="216" y="330"/>
                  </a:lnTo>
                  <a:lnTo>
                    <a:pt x="226" y="345"/>
                  </a:lnTo>
                  <a:lnTo>
                    <a:pt x="232" y="351"/>
                  </a:lnTo>
                  <a:lnTo>
                    <a:pt x="235" y="353"/>
                  </a:lnTo>
                  <a:lnTo>
                    <a:pt x="238" y="354"/>
                  </a:lnTo>
                  <a:lnTo>
                    <a:pt x="238" y="354"/>
                  </a:lnTo>
                  <a:lnTo>
                    <a:pt x="252" y="354"/>
                  </a:lnTo>
                  <a:lnTo>
                    <a:pt x="256" y="354"/>
                  </a:lnTo>
                  <a:lnTo>
                    <a:pt x="259" y="353"/>
                  </a:lnTo>
                  <a:lnTo>
                    <a:pt x="259" y="353"/>
                  </a:lnTo>
                  <a:lnTo>
                    <a:pt x="262" y="350"/>
                  </a:lnTo>
                  <a:lnTo>
                    <a:pt x="265" y="348"/>
                  </a:lnTo>
                  <a:lnTo>
                    <a:pt x="269" y="348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84" y="359"/>
                  </a:lnTo>
                  <a:lnTo>
                    <a:pt x="286" y="361"/>
                  </a:lnTo>
                  <a:lnTo>
                    <a:pt x="284" y="363"/>
                  </a:lnTo>
                  <a:lnTo>
                    <a:pt x="283" y="364"/>
                  </a:lnTo>
                  <a:lnTo>
                    <a:pt x="283" y="364"/>
                  </a:lnTo>
                  <a:lnTo>
                    <a:pt x="274" y="369"/>
                  </a:lnTo>
                  <a:lnTo>
                    <a:pt x="271" y="370"/>
                  </a:lnTo>
                  <a:lnTo>
                    <a:pt x="271" y="372"/>
                  </a:lnTo>
                  <a:lnTo>
                    <a:pt x="271" y="372"/>
                  </a:lnTo>
                  <a:lnTo>
                    <a:pt x="269" y="378"/>
                  </a:lnTo>
                  <a:lnTo>
                    <a:pt x="271" y="381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81" y="388"/>
                  </a:lnTo>
                  <a:lnTo>
                    <a:pt x="290" y="394"/>
                  </a:lnTo>
                  <a:lnTo>
                    <a:pt x="290" y="394"/>
                  </a:lnTo>
                  <a:lnTo>
                    <a:pt x="296" y="397"/>
                  </a:lnTo>
                  <a:lnTo>
                    <a:pt x="300" y="403"/>
                  </a:lnTo>
                  <a:lnTo>
                    <a:pt x="303" y="409"/>
                  </a:lnTo>
                  <a:lnTo>
                    <a:pt x="303" y="412"/>
                  </a:lnTo>
                  <a:lnTo>
                    <a:pt x="302" y="415"/>
                  </a:lnTo>
                  <a:lnTo>
                    <a:pt x="302" y="415"/>
                  </a:lnTo>
                  <a:lnTo>
                    <a:pt x="299" y="419"/>
                  </a:lnTo>
                  <a:lnTo>
                    <a:pt x="294" y="424"/>
                  </a:lnTo>
                  <a:lnTo>
                    <a:pt x="293" y="427"/>
                  </a:lnTo>
                  <a:lnTo>
                    <a:pt x="293" y="428"/>
                  </a:lnTo>
                  <a:lnTo>
                    <a:pt x="294" y="430"/>
                  </a:lnTo>
                  <a:lnTo>
                    <a:pt x="294" y="430"/>
                  </a:lnTo>
                  <a:lnTo>
                    <a:pt x="299" y="431"/>
                  </a:lnTo>
                  <a:lnTo>
                    <a:pt x="302" y="431"/>
                  </a:lnTo>
                  <a:lnTo>
                    <a:pt x="303" y="430"/>
                  </a:lnTo>
                  <a:lnTo>
                    <a:pt x="308" y="428"/>
                  </a:lnTo>
                  <a:lnTo>
                    <a:pt x="308" y="428"/>
                  </a:lnTo>
                  <a:lnTo>
                    <a:pt x="312" y="430"/>
                  </a:lnTo>
                  <a:lnTo>
                    <a:pt x="318" y="431"/>
                  </a:lnTo>
                  <a:lnTo>
                    <a:pt x="326" y="436"/>
                  </a:lnTo>
                  <a:lnTo>
                    <a:pt x="330" y="440"/>
                  </a:lnTo>
                  <a:lnTo>
                    <a:pt x="330" y="440"/>
                  </a:lnTo>
                  <a:lnTo>
                    <a:pt x="333" y="444"/>
                  </a:lnTo>
                  <a:lnTo>
                    <a:pt x="334" y="449"/>
                  </a:lnTo>
                  <a:lnTo>
                    <a:pt x="336" y="461"/>
                  </a:lnTo>
                  <a:lnTo>
                    <a:pt x="336" y="461"/>
                  </a:lnTo>
                  <a:lnTo>
                    <a:pt x="337" y="470"/>
                  </a:lnTo>
                  <a:lnTo>
                    <a:pt x="339" y="474"/>
                  </a:lnTo>
                  <a:lnTo>
                    <a:pt x="345" y="477"/>
                  </a:lnTo>
                  <a:lnTo>
                    <a:pt x="345" y="477"/>
                  </a:lnTo>
                  <a:lnTo>
                    <a:pt x="354" y="481"/>
                  </a:lnTo>
                  <a:lnTo>
                    <a:pt x="354" y="481"/>
                  </a:lnTo>
                  <a:lnTo>
                    <a:pt x="357" y="481"/>
                  </a:lnTo>
                  <a:lnTo>
                    <a:pt x="360" y="480"/>
                  </a:lnTo>
                  <a:lnTo>
                    <a:pt x="360" y="480"/>
                  </a:lnTo>
                  <a:lnTo>
                    <a:pt x="364" y="480"/>
                  </a:lnTo>
                  <a:lnTo>
                    <a:pt x="371" y="480"/>
                  </a:lnTo>
                  <a:lnTo>
                    <a:pt x="385" y="483"/>
                  </a:lnTo>
                  <a:lnTo>
                    <a:pt x="385" y="483"/>
                  </a:lnTo>
                  <a:lnTo>
                    <a:pt x="394" y="486"/>
                  </a:lnTo>
                  <a:lnTo>
                    <a:pt x="403" y="490"/>
                  </a:lnTo>
                  <a:lnTo>
                    <a:pt x="403" y="490"/>
                  </a:lnTo>
                  <a:lnTo>
                    <a:pt x="406" y="492"/>
                  </a:lnTo>
                  <a:lnTo>
                    <a:pt x="407" y="495"/>
                  </a:lnTo>
                  <a:lnTo>
                    <a:pt x="410" y="496"/>
                  </a:lnTo>
                  <a:lnTo>
                    <a:pt x="414" y="495"/>
                  </a:lnTo>
                  <a:lnTo>
                    <a:pt x="414" y="495"/>
                  </a:lnTo>
                  <a:lnTo>
                    <a:pt x="420" y="490"/>
                  </a:lnTo>
                  <a:lnTo>
                    <a:pt x="428" y="484"/>
                  </a:lnTo>
                  <a:lnTo>
                    <a:pt x="443" y="471"/>
                  </a:lnTo>
                  <a:lnTo>
                    <a:pt x="443" y="471"/>
                  </a:lnTo>
                  <a:lnTo>
                    <a:pt x="451" y="464"/>
                  </a:lnTo>
                  <a:lnTo>
                    <a:pt x="454" y="462"/>
                  </a:lnTo>
                  <a:lnTo>
                    <a:pt x="454" y="462"/>
                  </a:lnTo>
                  <a:lnTo>
                    <a:pt x="451" y="459"/>
                  </a:lnTo>
                  <a:lnTo>
                    <a:pt x="448" y="455"/>
                  </a:lnTo>
                  <a:lnTo>
                    <a:pt x="447" y="452"/>
                  </a:lnTo>
                  <a:lnTo>
                    <a:pt x="445" y="449"/>
                  </a:lnTo>
                  <a:lnTo>
                    <a:pt x="447" y="446"/>
                  </a:lnTo>
                  <a:lnTo>
                    <a:pt x="450" y="443"/>
                  </a:lnTo>
                  <a:lnTo>
                    <a:pt x="450" y="443"/>
                  </a:lnTo>
                  <a:lnTo>
                    <a:pt x="545" y="385"/>
                  </a:lnTo>
                  <a:lnTo>
                    <a:pt x="545" y="385"/>
                  </a:lnTo>
                  <a:lnTo>
                    <a:pt x="543" y="379"/>
                  </a:lnTo>
                  <a:lnTo>
                    <a:pt x="542" y="373"/>
                  </a:lnTo>
                  <a:lnTo>
                    <a:pt x="539" y="369"/>
                  </a:lnTo>
                  <a:lnTo>
                    <a:pt x="539" y="369"/>
                  </a:lnTo>
                  <a:lnTo>
                    <a:pt x="522" y="356"/>
                  </a:lnTo>
                  <a:lnTo>
                    <a:pt x="514" y="350"/>
                  </a:lnTo>
                  <a:lnTo>
                    <a:pt x="508" y="345"/>
                  </a:lnTo>
                  <a:lnTo>
                    <a:pt x="508" y="345"/>
                  </a:lnTo>
                  <a:lnTo>
                    <a:pt x="502" y="345"/>
                  </a:lnTo>
                  <a:lnTo>
                    <a:pt x="497" y="347"/>
                  </a:lnTo>
                  <a:lnTo>
                    <a:pt x="493" y="350"/>
                  </a:lnTo>
                  <a:lnTo>
                    <a:pt x="493" y="350"/>
                  </a:lnTo>
                  <a:lnTo>
                    <a:pt x="481" y="363"/>
                  </a:lnTo>
                  <a:lnTo>
                    <a:pt x="478" y="366"/>
                  </a:lnTo>
                  <a:lnTo>
                    <a:pt x="474" y="367"/>
                  </a:lnTo>
                  <a:lnTo>
                    <a:pt x="471" y="367"/>
                  </a:lnTo>
                  <a:lnTo>
                    <a:pt x="468" y="366"/>
                  </a:lnTo>
                  <a:lnTo>
                    <a:pt x="468" y="366"/>
                  </a:lnTo>
                  <a:lnTo>
                    <a:pt x="462" y="359"/>
                  </a:lnTo>
                  <a:lnTo>
                    <a:pt x="459" y="354"/>
                  </a:lnTo>
                  <a:lnTo>
                    <a:pt x="456" y="351"/>
                  </a:lnTo>
                  <a:lnTo>
                    <a:pt x="451" y="348"/>
                  </a:lnTo>
                  <a:lnTo>
                    <a:pt x="451" y="348"/>
                  </a:lnTo>
                  <a:lnTo>
                    <a:pt x="447" y="347"/>
                  </a:lnTo>
                  <a:lnTo>
                    <a:pt x="444" y="344"/>
                  </a:lnTo>
                  <a:lnTo>
                    <a:pt x="443" y="344"/>
                  </a:lnTo>
                  <a:lnTo>
                    <a:pt x="441" y="345"/>
                  </a:lnTo>
                  <a:lnTo>
                    <a:pt x="441" y="345"/>
                  </a:lnTo>
                  <a:lnTo>
                    <a:pt x="435" y="353"/>
                  </a:lnTo>
                  <a:lnTo>
                    <a:pt x="431" y="354"/>
                  </a:lnTo>
                  <a:lnTo>
                    <a:pt x="429" y="354"/>
                  </a:lnTo>
                  <a:lnTo>
                    <a:pt x="426" y="353"/>
                  </a:lnTo>
                  <a:lnTo>
                    <a:pt x="426" y="353"/>
                  </a:lnTo>
                  <a:lnTo>
                    <a:pt x="422" y="350"/>
                  </a:lnTo>
                  <a:lnTo>
                    <a:pt x="422" y="347"/>
                  </a:lnTo>
                  <a:lnTo>
                    <a:pt x="422" y="344"/>
                  </a:lnTo>
                  <a:lnTo>
                    <a:pt x="428" y="336"/>
                  </a:lnTo>
                  <a:lnTo>
                    <a:pt x="437" y="323"/>
                  </a:lnTo>
                  <a:lnTo>
                    <a:pt x="437" y="323"/>
                  </a:lnTo>
                  <a:lnTo>
                    <a:pt x="454" y="301"/>
                  </a:lnTo>
                  <a:lnTo>
                    <a:pt x="457" y="295"/>
                  </a:lnTo>
                  <a:lnTo>
                    <a:pt x="459" y="290"/>
                  </a:lnTo>
                  <a:lnTo>
                    <a:pt x="459" y="290"/>
                  </a:lnTo>
                  <a:lnTo>
                    <a:pt x="462" y="287"/>
                  </a:lnTo>
                  <a:lnTo>
                    <a:pt x="466" y="284"/>
                  </a:lnTo>
                  <a:lnTo>
                    <a:pt x="474" y="283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502" y="279"/>
                  </a:lnTo>
                  <a:lnTo>
                    <a:pt x="505" y="277"/>
                  </a:lnTo>
                  <a:lnTo>
                    <a:pt x="503" y="273"/>
                  </a:lnTo>
                  <a:lnTo>
                    <a:pt x="503" y="273"/>
                  </a:lnTo>
                  <a:lnTo>
                    <a:pt x="500" y="267"/>
                  </a:lnTo>
                  <a:lnTo>
                    <a:pt x="499" y="256"/>
                  </a:lnTo>
                  <a:lnTo>
                    <a:pt x="499" y="247"/>
                  </a:lnTo>
                  <a:lnTo>
                    <a:pt x="500" y="243"/>
                  </a:lnTo>
                  <a:lnTo>
                    <a:pt x="502" y="240"/>
                  </a:lnTo>
                  <a:lnTo>
                    <a:pt x="502" y="240"/>
                  </a:lnTo>
                  <a:lnTo>
                    <a:pt x="506" y="237"/>
                  </a:lnTo>
                  <a:lnTo>
                    <a:pt x="511" y="236"/>
                  </a:lnTo>
                  <a:lnTo>
                    <a:pt x="515" y="234"/>
                  </a:lnTo>
                  <a:lnTo>
                    <a:pt x="521" y="231"/>
                  </a:lnTo>
                  <a:lnTo>
                    <a:pt x="521" y="231"/>
                  </a:lnTo>
                  <a:lnTo>
                    <a:pt x="524" y="230"/>
                  </a:lnTo>
                  <a:lnTo>
                    <a:pt x="527" y="225"/>
                  </a:lnTo>
                  <a:lnTo>
                    <a:pt x="531" y="218"/>
                  </a:lnTo>
                  <a:lnTo>
                    <a:pt x="534" y="209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3" y="191"/>
                  </a:lnTo>
                  <a:lnTo>
                    <a:pt x="531" y="182"/>
                  </a:lnTo>
                  <a:lnTo>
                    <a:pt x="528" y="173"/>
                  </a:lnTo>
                  <a:lnTo>
                    <a:pt x="528" y="173"/>
                  </a:lnTo>
                  <a:lnTo>
                    <a:pt x="525" y="162"/>
                  </a:lnTo>
                  <a:lnTo>
                    <a:pt x="521" y="147"/>
                  </a:lnTo>
                  <a:lnTo>
                    <a:pt x="520" y="126"/>
                  </a:lnTo>
                  <a:lnTo>
                    <a:pt x="520" y="126"/>
                  </a:lnTo>
                  <a:lnTo>
                    <a:pt x="521" y="123"/>
                  </a:lnTo>
                  <a:lnTo>
                    <a:pt x="527" y="120"/>
                  </a:lnTo>
                  <a:lnTo>
                    <a:pt x="533" y="119"/>
                  </a:lnTo>
                  <a:lnTo>
                    <a:pt x="537" y="119"/>
                  </a:lnTo>
                  <a:lnTo>
                    <a:pt x="537" y="119"/>
                  </a:lnTo>
                  <a:lnTo>
                    <a:pt x="540" y="123"/>
                  </a:lnTo>
                  <a:lnTo>
                    <a:pt x="543" y="127"/>
                  </a:lnTo>
                  <a:lnTo>
                    <a:pt x="548" y="133"/>
                  </a:lnTo>
                  <a:lnTo>
                    <a:pt x="554" y="141"/>
                  </a:lnTo>
                  <a:lnTo>
                    <a:pt x="554" y="141"/>
                  </a:lnTo>
                  <a:lnTo>
                    <a:pt x="561" y="147"/>
                  </a:lnTo>
                  <a:lnTo>
                    <a:pt x="568" y="153"/>
                  </a:lnTo>
                  <a:lnTo>
                    <a:pt x="580" y="163"/>
                  </a:lnTo>
                  <a:lnTo>
                    <a:pt x="580" y="163"/>
                  </a:lnTo>
                  <a:lnTo>
                    <a:pt x="589" y="170"/>
                  </a:lnTo>
                  <a:lnTo>
                    <a:pt x="598" y="181"/>
                  </a:lnTo>
                  <a:lnTo>
                    <a:pt x="611" y="197"/>
                  </a:lnTo>
                  <a:lnTo>
                    <a:pt x="611" y="197"/>
                  </a:lnTo>
                  <a:lnTo>
                    <a:pt x="614" y="202"/>
                  </a:lnTo>
                  <a:lnTo>
                    <a:pt x="616" y="203"/>
                  </a:lnTo>
                  <a:lnTo>
                    <a:pt x="616" y="206"/>
                  </a:lnTo>
                  <a:lnTo>
                    <a:pt x="614" y="210"/>
                  </a:lnTo>
                  <a:lnTo>
                    <a:pt x="614" y="210"/>
                  </a:lnTo>
                  <a:lnTo>
                    <a:pt x="611" y="215"/>
                  </a:lnTo>
                  <a:lnTo>
                    <a:pt x="613" y="218"/>
                  </a:lnTo>
                  <a:lnTo>
                    <a:pt x="614" y="221"/>
                  </a:lnTo>
                  <a:lnTo>
                    <a:pt x="619" y="224"/>
                  </a:lnTo>
                  <a:lnTo>
                    <a:pt x="619" y="224"/>
                  </a:lnTo>
                  <a:lnTo>
                    <a:pt x="622" y="224"/>
                  </a:lnTo>
                  <a:lnTo>
                    <a:pt x="625" y="224"/>
                  </a:lnTo>
                  <a:lnTo>
                    <a:pt x="628" y="222"/>
                  </a:lnTo>
                  <a:lnTo>
                    <a:pt x="632" y="224"/>
                  </a:lnTo>
                  <a:lnTo>
                    <a:pt x="632" y="224"/>
                  </a:lnTo>
                  <a:lnTo>
                    <a:pt x="637" y="227"/>
                  </a:lnTo>
                  <a:lnTo>
                    <a:pt x="641" y="230"/>
                  </a:lnTo>
                  <a:lnTo>
                    <a:pt x="642" y="233"/>
                  </a:lnTo>
                  <a:lnTo>
                    <a:pt x="647" y="234"/>
                  </a:lnTo>
                  <a:lnTo>
                    <a:pt x="647" y="234"/>
                  </a:lnTo>
                  <a:lnTo>
                    <a:pt x="648" y="234"/>
                  </a:lnTo>
                  <a:lnTo>
                    <a:pt x="650" y="234"/>
                  </a:lnTo>
                  <a:lnTo>
                    <a:pt x="651" y="231"/>
                  </a:lnTo>
                  <a:lnTo>
                    <a:pt x="653" y="228"/>
                  </a:lnTo>
                  <a:lnTo>
                    <a:pt x="656" y="227"/>
                  </a:lnTo>
                  <a:lnTo>
                    <a:pt x="656" y="227"/>
                  </a:lnTo>
                  <a:lnTo>
                    <a:pt x="659" y="227"/>
                  </a:lnTo>
                  <a:lnTo>
                    <a:pt x="663" y="227"/>
                  </a:lnTo>
                  <a:lnTo>
                    <a:pt x="669" y="233"/>
                  </a:lnTo>
                  <a:lnTo>
                    <a:pt x="669" y="233"/>
                  </a:lnTo>
                  <a:lnTo>
                    <a:pt x="674" y="239"/>
                  </a:lnTo>
                  <a:lnTo>
                    <a:pt x="676" y="242"/>
                  </a:lnTo>
                  <a:lnTo>
                    <a:pt x="679" y="243"/>
                  </a:lnTo>
                  <a:lnTo>
                    <a:pt x="679" y="243"/>
                  </a:lnTo>
                  <a:lnTo>
                    <a:pt x="682" y="242"/>
                  </a:lnTo>
                  <a:lnTo>
                    <a:pt x="687" y="240"/>
                  </a:lnTo>
                  <a:lnTo>
                    <a:pt x="690" y="239"/>
                  </a:lnTo>
                  <a:lnTo>
                    <a:pt x="693" y="240"/>
                  </a:lnTo>
                  <a:lnTo>
                    <a:pt x="693" y="240"/>
                  </a:lnTo>
                  <a:lnTo>
                    <a:pt x="699" y="249"/>
                  </a:lnTo>
                  <a:lnTo>
                    <a:pt x="702" y="253"/>
                  </a:lnTo>
                  <a:lnTo>
                    <a:pt x="706" y="258"/>
                  </a:lnTo>
                  <a:lnTo>
                    <a:pt x="706" y="258"/>
                  </a:lnTo>
                  <a:lnTo>
                    <a:pt x="712" y="261"/>
                  </a:lnTo>
                  <a:lnTo>
                    <a:pt x="718" y="262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7" y="261"/>
                  </a:lnTo>
                  <a:lnTo>
                    <a:pt x="730" y="256"/>
                  </a:lnTo>
                  <a:lnTo>
                    <a:pt x="731" y="253"/>
                  </a:lnTo>
                  <a:lnTo>
                    <a:pt x="731" y="253"/>
                  </a:lnTo>
                  <a:lnTo>
                    <a:pt x="730" y="228"/>
                  </a:lnTo>
                  <a:lnTo>
                    <a:pt x="730" y="228"/>
                  </a:lnTo>
                  <a:lnTo>
                    <a:pt x="730" y="221"/>
                  </a:lnTo>
                  <a:lnTo>
                    <a:pt x="733" y="213"/>
                  </a:lnTo>
                  <a:lnTo>
                    <a:pt x="737" y="200"/>
                  </a:lnTo>
                  <a:lnTo>
                    <a:pt x="737" y="200"/>
                  </a:lnTo>
                  <a:lnTo>
                    <a:pt x="742" y="190"/>
                  </a:lnTo>
                  <a:lnTo>
                    <a:pt x="743" y="182"/>
                  </a:lnTo>
                  <a:lnTo>
                    <a:pt x="743" y="179"/>
                  </a:lnTo>
                  <a:lnTo>
                    <a:pt x="742" y="176"/>
                  </a:lnTo>
                  <a:lnTo>
                    <a:pt x="742" y="176"/>
                  </a:lnTo>
                  <a:lnTo>
                    <a:pt x="739" y="173"/>
                  </a:lnTo>
                  <a:lnTo>
                    <a:pt x="734" y="173"/>
                  </a:lnTo>
                  <a:lnTo>
                    <a:pt x="731" y="172"/>
                  </a:lnTo>
                  <a:lnTo>
                    <a:pt x="728" y="170"/>
                  </a:lnTo>
                  <a:lnTo>
                    <a:pt x="728" y="170"/>
                  </a:lnTo>
                  <a:lnTo>
                    <a:pt x="728" y="166"/>
                  </a:lnTo>
                  <a:lnTo>
                    <a:pt x="728" y="160"/>
                  </a:lnTo>
                  <a:lnTo>
                    <a:pt x="731" y="156"/>
                  </a:lnTo>
                  <a:lnTo>
                    <a:pt x="734" y="153"/>
                  </a:lnTo>
                  <a:lnTo>
                    <a:pt x="734" y="153"/>
                  </a:lnTo>
                  <a:lnTo>
                    <a:pt x="745" y="142"/>
                  </a:lnTo>
                  <a:lnTo>
                    <a:pt x="765" y="123"/>
                  </a:lnTo>
                  <a:lnTo>
                    <a:pt x="793" y="96"/>
                  </a:lnTo>
                  <a:lnTo>
                    <a:pt x="793" y="96"/>
                  </a:lnTo>
                  <a:lnTo>
                    <a:pt x="801" y="95"/>
                  </a:lnTo>
                  <a:lnTo>
                    <a:pt x="808" y="95"/>
                  </a:lnTo>
                  <a:lnTo>
                    <a:pt x="819" y="98"/>
                  </a:lnTo>
                  <a:lnTo>
                    <a:pt x="819" y="98"/>
                  </a:lnTo>
                  <a:lnTo>
                    <a:pt x="829" y="101"/>
                  </a:lnTo>
                  <a:lnTo>
                    <a:pt x="838" y="104"/>
                  </a:lnTo>
                  <a:lnTo>
                    <a:pt x="848" y="108"/>
                  </a:lnTo>
                  <a:lnTo>
                    <a:pt x="860" y="110"/>
                  </a:lnTo>
                  <a:lnTo>
                    <a:pt x="860" y="110"/>
                  </a:lnTo>
                  <a:lnTo>
                    <a:pt x="887" y="114"/>
                  </a:lnTo>
                  <a:lnTo>
                    <a:pt x="907" y="116"/>
                  </a:lnTo>
                  <a:lnTo>
                    <a:pt x="907" y="116"/>
                  </a:lnTo>
                  <a:lnTo>
                    <a:pt x="924" y="119"/>
                  </a:lnTo>
                  <a:lnTo>
                    <a:pt x="930" y="119"/>
                  </a:lnTo>
                  <a:lnTo>
                    <a:pt x="936" y="117"/>
                  </a:lnTo>
                  <a:lnTo>
                    <a:pt x="936" y="117"/>
                  </a:lnTo>
                  <a:lnTo>
                    <a:pt x="942" y="116"/>
                  </a:lnTo>
                  <a:lnTo>
                    <a:pt x="947" y="116"/>
                  </a:lnTo>
                  <a:lnTo>
                    <a:pt x="958" y="116"/>
                  </a:lnTo>
                  <a:lnTo>
                    <a:pt x="958" y="116"/>
                  </a:lnTo>
                  <a:lnTo>
                    <a:pt x="965" y="116"/>
                  </a:lnTo>
                  <a:lnTo>
                    <a:pt x="970" y="117"/>
                  </a:lnTo>
                  <a:lnTo>
                    <a:pt x="973" y="119"/>
                  </a:lnTo>
                  <a:lnTo>
                    <a:pt x="973" y="119"/>
                  </a:lnTo>
                  <a:lnTo>
                    <a:pt x="989" y="141"/>
                  </a:lnTo>
                  <a:lnTo>
                    <a:pt x="1001" y="157"/>
                  </a:lnTo>
                  <a:lnTo>
                    <a:pt x="1013" y="170"/>
                  </a:lnTo>
                  <a:lnTo>
                    <a:pt x="1013" y="170"/>
                  </a:lnTo>
                  <a:lnTo>
                    <a:pt x="1054" y="204"/>
                  </a:lnTo>
                  <a:lnTo>
                    <a:pt x="1103" y="243"/>
                  </a:lnTo>
                  <a:lnTo>
                    <a:pt x="1103" y="243"/>
                  </a:lnTo>
                  <a:lnTo>
                    <a:pt x="1137" y="270"/>
                  </a:lnTo>
                  <a:lnTo>
                    <a:pt x="1170" y="296"/>
                  </a:lnTo>
                  <a:lnTo>
                    <a:pt x="1170" y="296"/>
                  </a:lnTo>
                  <a:lnTo>
                    <a:pt x="1187" y="308"/>
                  </a:lnTo>
                  <a:lnTo>
                    <a:pt x="1207" y="321"/>
                  </a:lnTo>
                  <a:lnTo>
                    <a:pt x="1241" y="345"/>
                  </a:lnTo>
                  <a:lnTo>
                    <a:pt x="1241" y="345"/>
                  </a:lnTo>
                  <a:lnTo>
                    <a:pt x="1263" y="361"/>
                  </a:lnTo>
                  <a:lnTo>
                    <a:pt x="1276" y="370"/>
                  </a:lnTo>
                  <a:lnTo>
                    <a:pt x="1276" y="370"/>
                  </a:lnTo>
                  <a:lnTo>
                    <a:pt x="1285" y="373"/>
                  </a:lnTo>
                  <a:lnTo>
                    <a:pt x="1298" y="375"/>
                  </a:lnTo>
                  <a:lnTo>
                    <a:pt x="1322" y="376"/>
                  </a:lnTo>
                  <a:lnTo>
                    <a:pt x="1322" y="376"/>
                  </a:lnTo>
                  <a:lnTo>
                    <a:pt x="1341" y="376"/>
                  </a:lnTo>
                  <a:lnTo>
                    <a:pt x="1349" y="376"/>
                  </a:lnTo>
                  <a:lnTo>
                    <a:pt x="1352" y="375"/>
                  </a:lnTo>
                  <a:lnTo>
                    <a:pt x="1353" y="373"/>
                  </a:lnTo>
                  <a:lnTo>
                    <a:pt x="1353" y="373"/>
                  </a:lnTo>
                  <a:lnTo>
                    <a:pt x="1358" y="364"/>
                  </a:lnTo>
                  <a:lnTo>
                    <a:pt x="1361" y="360"/>
                  </a:lnTo>
                  <a:lnTo>
                    <a:pt x="1365" y="357"/>
                  </a:lnTo>
                  <a:lnTo>
                    <a:pt x="1365" y="357"/>
                  </a:lnTo>
                  <a:lnTo>
                    <a:pt x="1371" y="354"/>
                  </a:lnTo>
                  <a:lnTo>
                    <a:pt x="1377" y="353"/>
                  </a:lnTo>
                  <a:lnTo>
                    <a:pt x="1383" y="351"/>
                  </a:lnTo>
                  <a:lnTo>
                    <a:pt x="1390" y="351"/>
                  </a:lnTo>
                  <a:lnTo>
                    <a:pt x="1390" y="351"/>
                  </a:lnTo>
                  <a:lnTo>
                    <a:pt x="1402" y="354"/>
                  </a:lnTo>
                  <a:lnTo>
                    <a:pt x="1408" y="354"/>
                  </a:lnTo>
                  <a:lnTo>
                    <a:pt x="1412" y="351"/>
                  </a:lnTo>
                  <a:lnTo>
                    <a:pt x="1412" y="351"/>
                  </a:lnTo>
                  <a:lnTo>
                    <a:pt x="1415" y="348"/>
                  </a:lnTo>
                  <a:lnTo>
                    <a:pt x="1415" y="345"/>
                  </a:lnTo>
                  <a:lnTo>
                    <a:pt x="1415" y="342"/>
                  </a:lnTo>
                  <a:lnTo>
                    <a:pt x="1417" y="339"/>
                  </a:lnTo>
                  <a:lnTo>
                    <a:pt x="1421" y="338"/>
                  </a:lnTo>
                  <a:lnTo>
                    <a:pt x="1421" y="338"/>
                  </a:lnTo>
                  <a:lnTo>
                    <a:pt x="1444" y="336"/>
                  </a:lnTo>
                  <a:lnTo>
                    <a:pt x="1458" y="335"/>
                  </a:lnTo>
                  <a:lnTo>
                    <a:pt x="1458" y="335"/>
                  </a:lnTo>
                  <a:lnTo>
                    <a:pt x="1463" y="332"/>
                  </a:lnTo>
                  <a:lnTo>
                    <a:pt x="1467" y="326"/>
                  </a:lnTo>
                  <a:lnTo>
                    <a:pt x="1467" y="326"/>
                  </a:lnTo>
                  <a:lnTo>
                    <a:pt x="1470" y="323"/>
                  </a:lnTo>
                  <a:lnTo>
                    <a:pt x="1476" y="321"/>
                  </a:lnTo>
                  <a:lnTo>
                    <a:pt x="1482" y="321"/>
                  </a:lnTo>
                  <a:lnTo>
                    <a:pt x="1488" y="323"/>
                  </a:lnTo>
                  <a:lnTo>
                    <a:pt x="1488" y="323"/>
                  </a:lnTo>
                  <a:lnTo>
                    <a:pt x="1504" y="333"/>
                  </a:lnTo>
                  <a:lnTo>
                    <a:pt x="1504" y="333"/>
                  </a:lnTo>
                  <a:lnTo>
                    <a:pt x="1510" y="336"/>
                  </a:lnTo>
                  <a:lnTo>
                    <a:pt x="1510" y="336"/>
                  </a:lnTo>
                  <a:lnTo>
                    <a:pt x="1516" y="336"/>
                  </a:lnTo>
                  <a:lnTo>
                    <a:pt x="1519" y="333"/>
                  </a:lnTo>
                  <a:lnTo>
                    <a:pt x="1519" y="333"/>
                  </a:lnTo>
                  <a:lnTo>
                    <a:pt x="1522" y="329"/>
                  </a:lnTo>
                  <a:lnTo>
                    <a:pt x="1523" y="326"/>
                  </a:lnTo>
                  <a:lnTo>
                    <a:pt x="1521" y="323"/>
                  </a:lnTo>
                  <a:lnTo>
                    <a:pt x="1521" y="323"/>
                  </a:lnTo>
                  <a:lnTo>
                    <a:pt x="1518" y="319"/>
                  </a:lnTo>
                  <a:lnTo>
                    <a:pt x="1518" y="314"/>
                  </a:lnTo>
                  <a:lnTo>
                    <a:pt x="1518" y="304"/>
                  </a:lnTo>
                  <a:lnTo>
                    <a:pt x="1518" y="304"/>
                  </a:lnTo>
                  <a:lnTo>
                    <a:pt x="1518" y="301"/>
                  </a:lnTo>
                  <a:lnTo>
                    <a:pt x="1516" y="296"/>
                  </a:lnTo>
                  <a:lnTo>
                    <a:pt x="1515" y="292"/>
                  </a:lnTo>
                  <a:lnTo>
                    <a:pt x="1510" y="287"/>
                  </a:lnTo>
                  <a:lnTo>
                    <a:pt x="1510" y="287"/>
                  </a:lnTo>
                  <a:lnTo>
                    <a:pt x="1506" y="282"/>
                  </a:lnTo>
                  <a:lnTo>
                    <a:pt x="1501" y="277"/>
                  </a:lnTo>
                  <a:lnTo>
                    <a:pt x="1500" y="274"/>
                  </a:lnTo>
                  <a:lnTo>
                    <a:pt x="1500" y="271"/>
                  </a:lnTo>
                  <a:lnTo>
                    <a:pt x="1501" y="268"/>
                  </a:lnTo>
                  <a:lnTo>
                    <a:pt x="1504" y="267"/>
                  </a:lnTo>
                  <a:lnTo>
                    <a:pt x="1504" y="267"/>
                  </a:lnTo>
                  <a:lnTo>
                    <a:pt x="1513" y="261"/>
                  </a:lnTo>
                  <a:lnTo>
                    <a:pt x="1523" y="258"/>
                  </a:lnTo>
                  <a:lnTo>
                    <a:pt x="1532" y="255"/>
                  </a:lnTo>
                  <a:lnTo>
                    <a:pt x="1538" y="255"/>
                  </a:lnTo>
                  <a:lnTo>
                    <a:pt x="1538" y="255"/>
                  </a:lnTo>
                  <a:lnTo>
                    <a:pt x="1547" y="25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3" name="Freeform 182">
              <a:extLst>
                <a:ext uri="{FF2B5EF4-FFF2-40B4-BE49-F238E27FC236}">
                  <a16:creationId xmlns:a16="http://schemas.microsoft.com/office/drawing/2014/main" id="{798C276D-D2B9-494E-90C1-F18038BC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3457575"/>
              <a:ext cx="28575" cy="133350"/>
            </a:xfrm>
            <a:custGeom>
              <a:avLst/>
              <a:gdLst>
                <a:gd name="T0" fmla="*/ 18 w 18"/>
                <a:gd name="T1" fmla="*/ 84 h 84"/>
                <a:gd name="T2" fmla="*/ 18 w 18"/>
                <a:gd name="T3" fmla="*/ 84 h 84"/>
                <a:gd name="T4" fmla="*/ 11 w 18"/>
                <a:gd name="T5" fmla="*/ 49 h 84"/>
                <a:gd name="T6" fmla="*/ 11 w 18"/>
                <a:gd name="T7" fmla="*/ 49 h 84"/>
                <a:gd name="T8" fmla="*/ 9 w 18"/>
                <a:gd name="T9" fmla="*/ 49 h 84"/>
                <a:gd name="T10" fmla="*/ 8 w 18"/>
                <a:gd name="T11" fmla="*/ 47 h 84"/>
                <a:gd name="T12" fmla="*/ 5 w 18"/>
                <a:gd name="T13" fmla="*/ 44 h 84"/>
                <a:gd name="T14" fmla="*/ 2 w 18"/>
                <a:gd name="T15" fmla="*/ 41 h 84"/>
                <a:gd name="T16" fmla="*/ 2 w 18"/>
                <a:gd name="T17" fmla="*/ 41 h 84"/>
                <a:gd name="T18" fmla="*/ 0 w 18"/>
                <a:gd name="T19" fmla="*/ 37 h 84"/>
                <a:gd name="T20" fmla="*/ 2 w 18"/>
                <a:gd name="T21" fmla="*/ 34 h 84"/>
                <a:gd name="T22" fmla="*/ 8 w 18"/>
                <a:gd name="T23" fmla="*/ 24 h 84"/>
                <a:gd name="T24" fmla="*/ 8 w 18"/>
                <a:gd name="T25" fmla="*/ 24 h 84"/>
                <a:gd name="T26" fmla="*/ 11 w 18"/>
                <a:gd name="T27" fmla="*/ 16 h 84"/>
                <a:gd name="T28" fmla="*/ 11 w 18"/>
                <a:gd name="T29" fmla="*/ 10 h 84"/>
                <a:gd name="T30" fmla="*/ 11 w 18"/>
                <a:gd name="T3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84">
                  <a:moveTo>
                    <a:pt x="18" y="84"/>
                  </a:moveTo>
                  <a:lnTo>
                    <a:pt x="18" y="84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9" y="49"/>
                  </a:lnTo>
                  <a:lnTo>
                    <a:pt x="8" y="47"/>
                  </a:lnTo>
                  <a:lnTo>
                    <a:pt x="5" y="44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0" y="37"/>
                  </a:lnTo>
                  <a:lnTo>
                    <a:pt x="2" y="3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1" y="16"/>
                  </a:lnTo>
                  <a:lnTo>
                    <a:pt x="11" y="10"/>
                  </a:lnTo>
                  <a:lnTo>
                    <a:pt x="11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4" name="Freeform 183">
              <a:extLst>
                <a:ext uri="{FF2B5EF4-FFF2-40B4-BE49-F238E27FC236}">
                  <a16:creationId xmlns:a16="http://schemas.microsoft.com/office/drawing/2014/main" id="{6E7C5FFD-D2F2-A847-A473-E03CBBCB1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963" y="3732213"/>
              <a:ext cx="652463" cy="331787"/>
            </a:xfrm>
            <a:custGeom>
              <a:avLst/>
              <a:gdLst>
                <a:gd name="T0" fmla="*/ 405 w 411"/>
                <a:gd name="T1" fmla="*/ 3 h 209"/>
                <a:gd name="T2" fmla="*/ 395 w 411"/>
                <a:gd name="T3" fmla="*/ 11 h 209"/>
                <a:gd name="T4" fmla="*/ 379 w 411"/>
                <a:gd name="T5" fmla="*/ 21 h 209"/>
                <a:gd name="T6" fmla="*/ 376 w 411"/>
                <a:gd name="T7" fmla="*/ 21 h 209"/>
                <a:gd name="T8" fmla="*/ 365 w 411"/>
                <a:gd name="T9" fmla="*/ 14 h 209"/>
                <a:gd name="T10" fmla="*/ 355 w 411"/>
                <a:gd name="T11" fmla="*/ 2 h 209"/>
                <a:gd name="T12" fmla="*/ 353 w 411"/>
                <a:gd name="T13" fmla="*/ 0 h 209"/>
                <a:gd name="T14" fmla="*/ 349 w 411"/>
                <a:gd name="T15" fmla="*/ 12 h 209"/>
                <a:gd name="T16" fmla="*/ 345 w 411"/>
                <a:gd name="T17" fmla="*/ 20 h 209"/>
                <a:gd name="T18" fmla="*/ 330 w 411"/>
                <a:gd name="T19" fmla="*/ 34 h 209"/>
                <a:gd name="T20" fmla="*/ 321 w 411"/>
                <a:gd name="T21" fmla="*/ 40 h 209"/>
                <a:gd name="T22" fmla="*/ 306 w 411"/>
                <a:gd name="T23" fmla="*/ 46 h 209"/>
                <a:gd name="T24" fmla="*/ 297 w 411"/>
                <a:gd name="T25" fmla="*/ 55 h 209"/>
                <a:gd name="T26" fmla="*/ 294 w 411"/>
                <a:gd name="T27" fmla="*/ 65 h 209"/>
                <a:gd name="T28" fmla="*/ 294 w 411"/>
                <a:gd name="T29" fmla="*/ 95 h 209"/>
                <a:gd name="T30" fmla="*/ 294 w 411"/>
                <a:gd name="T31" fmla="*/ 104 h 209"/>
                <a:gd name="T32" fmla="*/ 300 w 411"/>
                <a:gd name="T33" fmla="*/ 110 h 209"/>
                <a:gd name="T34" fmla="*/ 308 w 411"/>
                <a:gd name="T35" fmla="*/ 120 h 209"/>
                <a:gd name="T36" fmla="*/ 309 w 411"/>
                <a:gd name="T37" fmla="*/ 123 h 209"/>
                <a:gd name="T38" fmla="*/ 305 w 411"/>
                <a:gd name="T39" fmla="*/ 134 h 209"/>
                <a:gd name="T40" fmla="*/ 291 w 411"/>
                <a:gd name="T41" fmla="*/ 145 h 209"/>
                <a:gd name="T42" fmla="*/ 285 w 411"/>
                <a:gd name="T43" fmla="*/ 147 h 209"/>
                <a:gd name="T44" fmla="*/ 282 w 411"/>
                <a:gd name="T45" fmla="*/ 145 h 209"/>
                <a:gd name="T46" fmla="*/ 275 w 411"/>
                <a:gd name="T47" fmla="*/ 150 h 209"/>
                <a:gd name="T48" fmla="*/ 271 w 411"/>
                <a:gd name="T49" fmla="*/ 153 h 209"/>
                <a:gd name="T50" fmla="*/ 269 w 411"/>
                <a:gd name="T51" fmla="*/ 160 h 209"/>
                <a:gd name="T52" fmla="*/ 271 w 411"/>
                <a:gd name="T53" fmla="*/ 169 h 209"/>
                <a:gd name="T54" fmla="*/ 269 w 411"/>
                <a:gd name="T55" fmla="*/ 174 h 209"/>
                <a:gd name="T56" fmla="*/ 254 w 411"/>
                <a:gd name="T57" fmla="*/ 188 h 209"/>
                <a:gd name="T58" fmla="*/ 250 w 411"/>
                <a:gd name="T59" fmla="*/ 191 h 209"/>
                <a:gd name="T60" fmla="*/ 229 w 411"/>
                <a:gd name="T61" fmla="*/ 199 h 209"/>
                <a:gd name="T62" fmla="*/ 216 w 411"/>
                <a:gd name="T63" fmla="*/ 205 h 209"/>
                <a:gd name="T64" fmla="*/ 208 w 411"/>
                <a:gd name="T65" fmla="*/ 209 h 209"/>
                <a:gd name="T66" fmla="*/ 202 w 411"/>
                <a:gd name="T67" fmla="*/ 187 h 209"/>
                <a:gd name="T68" fmla="*/ 201 w 411"/>
                <a:gd name="T69" fmla="*/ 177 h 209"/>
                <a:gd name="T70" fmla="*/ 198 w 411"/>
                <a:gd name="T71" fmla="*/ 169 h 209"/>
                <a:gd name="T72" fmla="*/ 183 w 411"/>
                <a:gd name="T73" fmla="*/ 153 h 209"/>
                <a:gd name="T74" fmla="*/ 131 w 411"/>
                <a:gd name="T75" fmla="*/ 138 h 209"/>
                <a:gd name="T76" fmla="*/ 121 w 411"/>
                <a:gd name="T77" fmla="*/ 129 h 209"/>
                <a:gd name="T78" fmla="*/ 118 w 411"/>
                <a:gd name="T79" fmla="*/ 123 h 209"/>
                <a:gd name="T80" fmla="*/ 117 w 411"/>
                <a:gd name="T81" fmla="*/ 113 h 209"/>
                <a:gd name="T82" fmla="*/ 118 w 411"/>
                <a:gd name="T83" fmla="*/ 102 h 209"/>
                <a:gd name="T84" fmla="*/ 118 w 411"/>
                <a:gd name="T85" fmla="*/ 92 h 209"/>
                <a:gd name="T86" fmla="*/ 112 w 411"/>
                <a:gd name="T87" fmla="*/ 85 h 209"/>
                <a:gd name="T88" fmla="*/ 106 w 411"/>
                <a:gd name="T89" fmla="*/ 83 h 209"/>
                <a:gd name="T90" fmla="*/ 90 w 411"/>
                <a:gd name="T91" fmla="*/ 88 h 209"/>
                <a:gd name="T92" fmla="*/ 88 w 411"/>
                <a:gd name="T93" fmla="*/ 88 h 209"/>
                <a:gd name="T94" fmla="*/ 84 w 411"/>
                <a:gd name="T95" fmla="*/ 83 h 209"/>
                <a:gd name="T96" fmla="*/ 81 w 411"/>
                <a:gd name="T97" fmla="*/ 70 h 209"/>
                <a:gd name="T98" fmla="*/ 79 w 411"/>
                <a:gd name="T99" fmla="*/ 61 h 209"/>
                <a:gd name="T100" fmla="*/ 71 w 411"/>
                <a:gd name="T101" fmla="*/ 52 h 209"/>
                <a:gd name="T102" fmla="*/ 63 w 411"/>
                <a:gd name="T103" fmla="*/ 49 h 209"/>
                <a:gd name="T104" fmla="*/ 54 w 411"/>
                <a:gd name="T105" fmla="*/ 51 h 209"/>
                <a:gd name="T106" fmla="*/ 51 w 411"/>
                <a:gd name="T107" fmla="*/ 58 h 209"/>
                <a:gd name="T108" fmla="*/ 51 w 411"/>
                <a:gd name="T109" fmla="*/ 60 h 209"/>
                <a:gd name="T110" fmla="*/ 47 w 411"/>
                <a:gd name="T111" fmla="*/ 58 h 209"/>
                <a:gd name="T112" fmla="*/ 38 w 411"/>
                <a:gd name="T113" fmla="*/ 51 h 209"/>
                <a:gd name="T114" fmla="*/ 32 w 411"/>
                <a:gd name="T115" fmla="*/ 49 h 209"/>
                <a:gd name="T116" fmla="*/ 25 w 411"/>
                <a:gd name="T117" fmla="*/ 51 h 209"/>
                <a:gd name="T118" fmla="*/ 17 w 411"/>
                <a:gd name="T119" fmla="*/ 49 h 209"/>
                <a:gd name="T120" fmla="*/ 0 w 411"/>
                <a:gd name="T121" fmla="*/ 4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1" h="209">
                  <a:moveTo>
                    <a:pt x="411" y="3"/>
                  </a:moveTo>
                  <a:lnTo>
                    <a:pt x="405" y="3"/>
                  </a:lnTo>
                  <a:lnTo>
                    <a:pt x="405" y="3"/>
                  </a:lnTo>
                  <a:lnTo>
                    <a:pt x="395" y="11"/>
                  </a:lnTo>
                  <a:lnTo>
                    <a:pt x="387" y="17"/>
                  </a:lnTo>
                  <a:lnTo>
                    <a:pt x="379" y="21"/>
                  </a:lnTo>
                  <a:lnTo>
                    <a:pt x="379" y="21"/>
                  </a:lnTo>
                  <a:lnTo>
                    <a:pt x="376" y="21"/>
                  </a:lnTo>
                  <a:lnTo>
                    <a:pt x="373" y="20"/>
                  </a:lnTo>
                  <a:lnTo>
                    <a:pt x="365" y="14"/>
                  </a:lnTo>
                  <a:lnTo>
                    <a:pt x="359" y="6"/>
                  </a:lnTo>
                  <a:lnTo>
                    <a:pt x="355" y="2"/>
                  </a:lnTo>
                  <a:lnTo>
                    <a:pt x="355" y="2"/>
                  </a:lnTo>
                  <a:lnTo>
                    <a:pt x="353" y="0"/>
                  </a:lnTo>
                  <a:lnTo>
                    <a:pt x="352" y="2"/>
                  </a:lnTo>
                  <a:lnTo>
                    <a:pt x="349" y="12"/>
                  </a:lnTo>
                  <a:lnTo>
                    <a:pt x="349" y="12"/>
                  </a:lnTo>
                  <a:lnTo>
                    <a:pt x="345" y="20"/>
                  </a:lnTo>
                  <a:lnTo>
                    <a:pt x="337" y="27"/>
                  </a:lnTo>
                  <a:lnTo>
                    <a:pt x="330" y="34"/>
                  </a:lnTo>
                  <a:lnTo>
                    <a:pt x="321" y="40"/>
                  </a:lnTo>
                  <a:lnTo>
                    <a:pt x="321" y="40"/>
                  </a:lnTo>
                  <a:lnTo>
                    <a:pt x="313" y="45"/>
                  </a:lnTo>
                  <a:lnTo>
                    <a:pt x="306" y="46"/>
                  </a:lnTo>
                  <a:lnTo>
                    <a:pt x="302" y="51"/>
                  </a:lnTo>
                  <a:lnTo>
                    <a:pt x="297" y="55"/>
                  </a:lnTo>
                  <a:lnTo>
                    <a:pt x="297" y="55"/>
                  </a:lnTo>
                  <a:lnTo>
                    <a:pt x="294" y="65"/>
                  </a:lnTo>
                  <a:lnTo>
                    <a:pt x="294" y="80"/>
                  </a:lnTo>
                  <a:lnTo>
                    <a:pt x="294" y="95"/>
                  </a:lnTo>
                  <a:lnTo>
                    <a:pt x="294" y="104"/>
                  </a:lnTo>
                  <a:lnTo>
                    <a:pt x="294" y="104"/>
                  </a:lnTo>
                  <a:lnTo>
                    <a:pt x="297" y="107"/>
                  </a:lnTo>
                  <a:lnTo>
                    <a:pt x="300" y="110"/>
                  </a:lnTo>
                  <a:lnTo>
                    <a:pt x="305" y="114"/>
                  </a:lnTo>
                  <a:lnTo>
                    <a:pt x="308" y="120"/>
                  </a:lnTo>
                  <a:lnTo>
                    <a:pt x="308" y="120"/>
                  </a:lnTo>
                  <a:lnTo>
                    <a:pt x="309" y="123"/>
                  </a:lnTo>
                  <a:lnTo>
                    <a:pt x="308" y="128"/>
                  </a:lnTo>
                  <a:lnTo>
                    <a:pt x="305" y="134"/>
                  </a:lnTo>
                  <a:lnTo>
                    <a:pt x="300" y="138"/>
                  </a:lnTo>
                  <a:lnTo>
                    <a:pt x="291" y="145"/>
                  </a:lnTo>
                  <a:lnTo>
                    <a:pt x="287" y="147"/>
                  </a:lnTo>
                  <a:lnTo>
                    <a:pt x="285" y="147"/>
                  </a:lnTo>
                  <a:lnTo>
                    <a:pt x="285" y="147"/>
                  </a:lnTo>
                  <a:lnTo>
                    <a:pt x="282" y="145"/>
                  </a:lnTo>
                  <a:lnTo>
                    <a:pt x="278" y="147"/>
                  </a:lnTo>
                  <a:lnTo>
                    <a:pt x="275" y="150"/>
                  </a:lnTo>
                  <a:lnTo>
                    <a:pt x="271" y="153"/>
                  </a:lnTo>
                  <a:lnTo>
                    <a:pt x="271" y="153"/>
                  </a:lnTo>
                  <a:lnTo>
                    <a:pt x="269" y="157"/>
                  </a:lnTo>
                  <a:lnTo>
                    <a:pt x="269" y="160"/>
                  </a:lnTo>
                  <a:lnTo>
                    <a:pt x="271" y="169"/>
                  </a:lnTo>
                  <a:lnTo>
                    <a:pt x="271" y="169"/>
                  </a:lnTo>
                  <a:lnTo>
                    <a:pt x="271" y="172"/>
                  </a:lnTo>
                  <a:lnTo>
                    <a:pt x="269" y="174"/>
                  </a:lnTo>
                  <a:lnTo>
                    <a:pt x="265" y="179"/>
                  </a:lnTo>
                  <a:lnTo>
                    <a:pt x="254" y="188"/>
                  </a:lnTo>
                  <a:lnTo>
                    <a:pt x="254" y="188"/>
                  </a:lnTo>
                  <a:lnTo>
                    <a:pt x="250" y="191"/>
                  </a:lnTo>
                  <a:lnTo>
                    <a:pt x="242" y="194"/>
                  </a:lnTo>
                  <a:lnTo>
                    <a:pt x="229" y="199"/>
                  </a:lnTo>
                  <a:lnTo>
                    <a:pt x="229" y="199"/>
                  </a:lnTo>
                  <a:lnTo>
                    <a:pt x="216" y="205"/>
                  </a:lnTo>
                  <a:lnTo>
                    <a:pt x="208" y="209"/>
                  </a:lnTo>
                  <a:lnTo>
                    <a:pt x="208" y="209"/>
                  </a:lnTo>
                  <a:lnTo>
                    <a:pt x="205" y="202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1" y="177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1" y="160"/>
                  </a:lnTo>
                  <a:lnTo>
                    <a:pt x="183" y="153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25" y="135"/>
                  </a:lnTo>
                  <a:lnTo>
                    <a:pt x="121" y="129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7" y="117"/>
                  </a:lnTo>
                  <a:lnTo>
                    <a:pt x="117" y="113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97"/>
                  </a:lnTo>
                  <a:lnTo>
                    <a:pt x="118" y="92"/>
                  </a:lnTo>
                  <a:lnTo>
                    <a:pt x="117" y="88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06" y="83"/>
                  </a:lnTo>
                  <a:lnTo>
                    <a:pt x="102" y="83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88"/>
                  </a:lnTo>
                  <a:lnTo>
                    <a:pt x="85" y="88"/>
                  </a:lnTo>
                  <a:lnTo>
                    <a:pt x="84" y="83"/>
                  </a:lnTo>
                  <a:lnTo>
                    <a:pt x="82" y="77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79" y="61"/>
                  </a:lnTo>
                  <a:lnTo>
                    <a:pt x="75" y="57"/>
                  </a:lnTo>
                  <a:lnTo>
                    <a:pt x="71" y="52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57" y="49"/>
                  </a:lnTo>
                  <a:lnTo>
                    <a:pt x="54" y="51"/>
                  </a:lnTo>
                  <a:lnTo>
                    <a:pt x="53" y="54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60"/>
                  </a:lnTo>
                  <a:lnTo>
                    <a:pt x="50" y="60"/>
                  </a:lnTo>
                  <a:lnTo>
                    <a:pt x="47" y="58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5" y="49"/>
                  </a:lnTo>
                  <a:lnTo>
                    <a:pt x="32" y="49"/>
                  </a:lnTo>
                  <a:lnTo>
                    <a:pt x="29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17" y="49"/>
                  </a:lnTo>
                  <a:lnTo>
                    <a:pt x="10" y="46"/>
                  </a:lnTo>
                  <a:lnTo>
                    <a:pt x="0" y="4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5" name="Freeform 184">
              <a:extLst>
                <a:ext uri="{FF2B5EF4-FFF2-40B4-BE49-F238E27FC236}">
                  <a16:creationId xmlns:a16="http://schemas.microsoft.com/office/drawing/2014/main" id="{38D5959F-600A-1741-878B-EFD3C336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4463" y="6732588"/>
              <a:ext cx="565150" cy="731837"/>
            </a:xfrm>
            <a:custGeom>
              <a:avLst/>
              <a:gdLst>
                <a:gd name="T0" fmla="*/ 9 w 356"/>
                <a:gd name="T1" fmla="*/ 18 h 461"/>
                <a:gd name="T2" fmla="*/ 12 w 356"/>
                <a:gd name="T3" fmla="*/ 42 h 461"/>
                <a:gd name="T4" fmla="*/ 29 w 356"/>
                <a:gd name="T5" fmla="*/ 73 h 461"/>
                <a:gd name="T6" fmla="*/ 32 w 356"/>
                <a:gd name="T7" fmla="*/ 68 h 461"/>
                <a:gd name="T8" fmla="*/ 36 w 356"/>
                <a:gd name="T9" fmla="*/ 61 h 461"/>
                <a:gd name="T10" fmla="*/ 42 w 356"/>
                <a:gd name="T11" fmla="*/ 71 h 461"/>
                <a:gd name="T12" fmla="*/ 58 w 356"/>
                <a:gd name="T13" fmla="*/ 98 h 461"/>
                <a:gd name="T14" fmla="*/ 69 w 356"/>
                <a:gd name="T15" fmla="*/ 114 h 461"/>
                <a:gd name="T16" fmla="*/ 77 w 356"/>
                <a:gd name="T17" fmla="*/ 122 h 461"/>
                <a:gd name="T18" fmla="*/ 83 w 356"/>
                <a:gd name="T19" fmla="*/ 127 h 461"/>
                <a:gd name="T20" fmla="*/ 79 w 356"/>
                <a:gd name="T21" fmla="*/ 138 h 461"/>
                <a:gd name="T22" fmla="*/ 80 w 356"/>
                <a:gd name="T23" fmla="*/ 148 h 461"/>
                <a:gd name="T24" fmla="*/ 91 w 356"/>
                <a:gd name="T25" fmla="*/ 157 h 461"/>
                <a:gd name="T26" fmla="*/ 101 w 356"/>
                <a:gd name="T27" fmla="*/ 169 h 461"/>
                <a:gd name="T28" fmla="*/ 107 w 356"/>
                <a:gd name="T29" fmla="*/ 164 h 461"/>
                <a:gd name="T30" fmla="*/ 134 w 356"/>
                <a:gd name="T31" fmla="*/ 173 h 461"/>
                <a:gd name="T32" fmla="*/ 146 w 356"/>
                <a:gd name="T33" fmla="*/ 179 h 461"/>
                <a:gd name="T34" fmla="*/ 140 w 356"/>
                <a:gd name="T35" fmla="*/ 188 h 461"/>
                <a:gd name="T36" fmla="*/ 122 w 356"/>
                <a:gd name="T37" fmla="*/ 201 h 461"/>
                <a:gd name="T38" fmla="*/ 132 w 356"/>
                <a:gd name="T39" fmla="*/ 210 h 461"/>
                <a:gd name="T40" fmla="*/ 141 w 356"/>
                <a:gd name="T41" fmla="*/ 224 h 461"/>
                <a:gd name="T42" fmla="*/ 152 w 356"/>
                <a:gd name="T43" fmla="*/ 219 h 461"/>
                <a:gd name="T44" fmla="*/ 165 w 356"/>
                <a:gd name="T45" fmla="*/ 216 h 461"/>
                <a:gd name="T46" fmla="*/ 180 w 356"/>
                <a:gd name="T47" fmla="*/ 199 h 461"/>
                <a:gd name="T48" fmla="*/ 189 w 356"/>
                <a:gd name="T49" fmla="*/ 194 h 461"/>
                <a:gd name="T50" fmla="*/ 203 w 356"/>
                <a:gd name="T51" fmla="*/ 193 h 461"/>
                <a:gd name="T52" fmla="*/ 205 w 356"/>
                <a:gd name="T53" fmla="*/ 213 h 461"/>
                <a:gd name="T54" fmla="*/ 214 w 356"/>
                <a:gd name="T55" fmla="*/ 227 h 461"/>
                <a:gd name="T56" fmla="*/ 223 w 356"/>
                <a:gd name="T57" fmla="*/ 240 h 461"/>
                <a:gd name="T58" fmla="*/ 233 w 356"/>
                <a:gd name="T59" fmla="*/ 239 h 461"/>
                <a:gd name="T60" fmla="*/ 239 w 356"/>
                <a:gd name="T61" fmla="*/ 219 h 461"/>
                <a:gd name="T62" fmla="*/ 255 w 356"/>
                <a:gd name="T63" fmla="*/ 228 h 461"/>
                <a:gd name="T64" fmla="*/ 263 w 356"/>
                <a:gd name="T65" fmla="*/ 262 h 461"/>
                <a:gd name="T66" fmla="*/ 270 w 356"/>
                <a:gd name="T67" fmla="*/ 279 h 461"/>
                <a:gd name="T68" fmla="*/ 267 w 356"/>
                <a:gd name="T69" fmla="*/ 304 h 461"/>
                <a:gd name="T70" fmla="*/ 268 w 356"/>
                <a:gd name="T71" fmla="*/ 313 h 461"/>
                <a:gd name="T72" fmla="*/ 282 w 356"/>
                <a:gd name="T73" fmla="*/ 311 h 461"/>
                <a:gd name="T74" fmla="*/ 285 w 356"/>
                <a:gd name="T75" fmla="*/ 320 h 461"/>
                <a:gd name="T76" fmla="*/ 298 w 356"/>
                <a:gd name="T77" fmla="*/ 336 h 461"/>
                <a:gd name="T78" fmla="*/ 303 w 356"/>
                <a:gd name="T79" fmla="*/ 347 h 461"/>
                <a:gd name="T80" fmla="*/ 294 w 356"/>
                <a:gd name="T81" fmla="*/ 351 h 461"/>
                <a:gd name="T82" fmla="*/ 286 w 356"/>
                <a:gd name="T83" fmla="*/ 358 h 461"/>
                <a:gd name="T84" fmla="*/ 294 w 356"/>
                <a:gd name="T85" fmla="*/ 366 h 461"/>
                <a:gd name="T86" fmla="*/ 291 w 356"/>
                <a:gd name="T87" fmla="*/ 394 h 461"/>
                <a:gd name="T88" fmla="*/ 298 w 356"/>
                <a:gd name="T89" fmla="*/ 400 h 461"/>
                <a:gd name="T90" fmla="*/ 313 w 356"/>
                <a:gd name="T91" fmla="*/ 404 h 461"/>
                <a:gd name="T92" fmla="*/ 323 w 356"/>
                <a:gd name="T93" fmla="*/ 419 h 461"/>
                <a:gd name="T94" fmla="*/ 328 w 356"/>
                <a:gd name="T95" fmla="*/ 434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6" h="461">
                  <a:moveTo>
                    <a:pt x="0" y="0"/>
                  </a:moveTo>
                  <a:lnTo>
                    <a:pt x="0" y="0"/>
                  </a:lnTo>
                  <a:lnTo>
                    <a:pt x="6" y="9"/>
                  </a:lnTo>
                  <a:lnTo>
                    <a:pt x="9" y="18"/>
                  </a:lnTo>
                  <a:lnTo>
                    <a:pt x="11" y="24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42"/>
                  </a:lnTo>
                  <a:lnTo>
                    <a:pt x="15" y="49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9" y="73"/>
                  </a:lnTo>
                  <a:lnTo>
                    <a:pt x="30" y="74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68"/>
                  </a:lnTo>
                  <a:lnTo>
                    <a:pt x="33" y="64"/>
                  </a:lnTo>
                  <a:lnTo>
                    <a:pt x="33" y="61"/>
                  </a:lnTo>
                  <a:lnTo>
                    <a:pt x="35" y="59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9" y="62"/>
                  </a:lnTo>
                  <a:lnTo>
                    <a:pt x="40" y="65"/>
                  </a:lnTo>
                  <a:lnTo>
                    <a:pt x="42" y="71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9" y="89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64" y="107"/>
                  </a:lnTo>
                  <a:lnTo>
                    <a:pt x="67" y="111"/>
                  </a:lnTo>
                  <a:lnTo>
                    <a:pt x="69" y="114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3" y="120"/>
                  </a:lnTo>
                  <a:lnTo>
                    <a:pt x="77" y="122"/>
                  </a:lnTo>
                  <a:lnTo>
                    <a:pt x="80" y="123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3" y="127"/>
                  </a:lnTo>
                  <a:lnTo>
                    <a:pt x="83" y="129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79" y="138"/>
                  </a:lnTo>
                  <a:lnTo>
                    <a:pt x="77" y="142"/>
                  </a:lnTo>
                  <a:lnTo>
                    <a:pt x="77" y="145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86" y="151"/>
                  </a:lnTo>
                  <a:lnTo>
                    <a:pt x="89" y="154"/>
                  </a:lnTo>
                  <a:lnTo>
                    <a:pt x="91" y="157"/>
                  </a:lnTo>
                  <a:lnTo>
                    <a:pt x="91" y="157"/>
                  </a:lnTo>
                  <a:lnTo>
                    <a:pt x="92" y="161"/>
                  </a:lnTo>
                  <a:lnTo>
                    <a:pt x="95" y="166"/>
                  </a:lnTo>
                  <a:lnTo>
                    <a:pt x="98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3" y="167"/>
                  </a:lnTo>
                  <a:lnTo>
                    <a:pt x="104" y="166"/>
                  </a:lnTo>
                  <a:lnTo>
                    <a:pt x="107" y="164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26" y="172"/>
                  </a:lnTo>
                  <a:lnTo>
                    <a:pt x="134" y="173"/>
                  </a:lnTo>
                  <a:lnTo>
                    <a:pt x="134" y="173"/>
                  </a:lnTo>
                  <a:lnTo>
                    <a:pt x="138" y="175"/>
                  </a:lnTo>
                  <a:lnTo>
                    <a:pt x="143" y="176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2"/>
                  </a:lnTo>
                  <a:lnTo>
                    <a:pt x="144" y="182"/>
                  </a:lnTo>
                  <a:lnTo>
                    <a:pt x="140" y="188"/>
                  </a:lnTo>
                  <a:lnTo>
                    <a:pt x="132" y="193"/>
                  </a:lnTo>
                  <a:lnTo>
                    <a:pt x="125" y="197"/>
                  </a:lnTo>
                  <a:lnTo>
                    <a:pt x="122" y="200"/>
                  </a:lnTo>
                  <a:lnTo>
                    <a:pt x="122" y="201"/>
                  </a:lnTo>
                  <a:lnTo>
                    <a:pt x="122" y="201"/>
                  </a:lnTo>
                  <a:lnTo>
                    <a:pt x="125" y="204"/>
                  </a:lnTo>
                  <a:lnTo>
                    <a:pt x="128" y="207"/>
                  </a:lnTo>
                  <a:lnTo>
                    <a:pt x="132" y="210"/>
                  </a:lnTo>
                  <a:lnTo>
                    <a:pt x="135" y="215"/>
                  </a:lnTo>
                  <a:lnTo>
                    <a:pt x="135" y="215"/>
                  </a:lnTo>
                  <a:lnTo>
                    <a:pt x="138" y="221"/>
                  </a:lnTo>
                  <a:lnTo>
                    <a:pt x="141" y="224"/>
                  </a:lnTo>
                  <a:lnTo>
                    <a:pt x="144" y="225"/>
                  </a:lnTo>
                  <a:lnTo>
                    <a:pt x="146" y="224"/>
                  </a:lnTo>
                  <a:lnTo>
                    <a:pt x="146" y="224"/>
                  </a:lnTo>
                  <a:lnTo>
                    <a:pt x="152" y="219"/>
                  </a:lnTo>
                  <a:lnTo>
                    <a:pt x="156" y="219"/>
                  </a:lnTo>
                  <a:lnTo>
                    <a:pt x="156" y="219"/>
                  </a:lnTo>
                  <a:lnTo>
                    <a:pt x="160" y="218"/>
                  </a:lnTo>
                  <a:lnTo>
                    <a:pt x="165" y="216"/>
                  </a:lnTo>
                  <a:lnTo>
                    <a:pt x="171" y="212"/>
                  </a:lnTo>
                  <a:lnTo>
                    <a:pt x="174" y="207"/>
                  </a:lnTo>
                  <a:lnTo>
                    <a:pt x="174" y="207"/>
                  </a:lnTo>
                  <a:lnTo>
                    <a:pt x="180" y="199"/>
                  </a:lnTo>
                  <a:lnTo>
                    <a:pt x="183" y="194"/>
                  </a:lnTo>
                  <a:lnTo>
                    <a:pt x="186" y="194"/>
                  </a:lnTo>
                  <a:lnTo>
                    <a:pt x="189" y="194"/>
                  </a:lnTo>
                  <a:lnTo>
                    <a:pt x="189" y="194"/>
                  </a:lnTo>
                  <a:lnTo>
                    <a:pt x="196" y="193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3" y="193"/>
                  </a:lnTo>
                  <a:lnTo>
                    <a:pt x="205" y="199"/>
                  </a:lnTo>
                  <a:lnTo>
                    <a:pt x="205" y="199"/>
                  </a:lnTo>
                  <a:lnTo>
                    <a:pt x="205" y="207"/>
                  </a:lnTo>
                  <a:lnTo>
                    <a:pt x="205" y="213"/>
                  </a:lnTo>
                  <a:lnTo>
                    <a:pt x="208" y="218"/>
                  </a:lnTo>
                  <a:lnTo>
                    <a:pt x="211" y="222"/>
                  </a:lnTo>
                  <a:lnTo>
                    <a:pt x="211" y="222"/>
                  </a:lnTo>
                  <a:lnTo>
                    <a:pt x="214" y="227"/>
                  </a:lnTo>
                  <a:lnTo>
                    <a:pt x="217" y="233"/>
                  </a:lnTo>
                  <a:lnTo>
                    <a:pt x="218" y="237"/>
                  </a:lnTo>
                  <a:lnTo>
                    <a:pt x="223" y="240"/>
                  </a:lnTo>
                  <a:lnTo>
                    <a:pt x="223" y="240"/>
                  </a:lnTo>
                  <a:lnTo>
                    <a:pt x="230" y="241"/>
                  </a:lnTo>
                  <a:lnTo>
                    <a:pt x="231" y="241"/>
                  </a:lnTo>
                  <a:lnTo>
                    <a:pt x="233" y="239"/>
                  </a:lnTo>
                  <a:lnTo>
                    <a:pt x="233" y="239"/>
                  </a:lnTo>
                  <a:lnTo>
                    <a:pt x="234" y="228"/>
                  </a:lnTo>
                  <a:lnTo>
                    <a:pt x="236" y="222"/>
                  </a:lnTo>
                  <a:lnTo>
                    <a:pt x="236" y="221"/>
                  </a:lnTo>
                  <a:lnTo>
                    <a:pt x="239" y="219"/>
                  </a:lnTo>
                  <a:lnTo>
                    <a:pt x="239" y="219"/>
                  </a:lnTo>
                  <a:lnTo>
                    <a:pt x="245" y="219"/>
                  </a:lnTo>
                  <a:lnTo>
                    <a:pt x="251" y="222"/>
                  </a:lnTo>
                  <a:lnTo>
                    <a:pt x="255" y="228"/>
                  </a:lnTo>
                  <a:lnTo>
                    <a:pt x="258" y="234"/>
                  </a:lnTo>
                  <a:lnTo>
                    <a:pt x="258" y="234"/>
                  </a:lnTo>
                  <a:lnTo>
                    <a:pt x="261" y="253"/>
                  </a:lnTo>
                  <a:lnTo>
                    <a:pt x="263" y="262"/>
                  </a:lnTo>
                  <a:lnTo>
                    <a:pt x="266" y="270"/>
                  </a:lnTo>
                  <a:lnTo>
                    <a:pt x="266" y="270"/>
                  </a:lnTo>
                  <a:lnTo>
                    <a:pt x="267" y="273"/>
                  </a:lnTo>
                  <a:lnTo>
                    <a:pt x="270" y="279"/>
                  </a:lnTo>
                  <a:lnTo>
                    <a:pt x="270" y="283"/>
                  </a:lnTo>
                  <a:lnTo>
                    <a:pt x="270" y="290"/>
                  </a:lnTo>
                  <a:lnTo>
                    <a:pt x="270" y="290"/>
                  </a:lnTo>
                  <a:lnTo>
                    <a:pt x="267" y="304"/>
                  </a:lnTo>
                  <a:lnTo>
                    <a:pt x="266" y="308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8" y="313"/>
                  </a:lnTo>
                  <a:lnTo>
                    <a:pt x="270" y="313"/>
                  </a:lnTo>
                  <a:lnTo>
                    <a:pt x="274" y="311"/>
                  </a:lnTo>
                  <a:lnTo>
                    <a:pt x="279" y="311"/>
                  </a:lnTo>
                  <a:lnTo>
                    <a:pt x="282" y="311"/>
                  </a:lnTo>
                  <a:lnTo>
                    <a:pt x="283" y="313"/>
                  </a:lnTo>
                  <a:lnTo>
                    <a:pt x="283" y="313"/>
                  </a:lnTo>
                  <a:lnTo>
                    <a:pt x="285" y="316"/>
                  </a:lnTo>
                  <a:lnTo>
                    <a:pt x="285" y="320"/>
                  </a:lnTo>
                  <a:lnTo>
                    <a:pt x="286" y="324"/>
                  </a:lnTo>
                  <a:lnTo>
                    <a:pt x="289" y="329"/>
                  </a:lnTo>
                  <a:lnTo>
                    <a:pt x="289" y="329"/>
                  </a:lnTo>
                  <a:lnTo>
                    <a:pt x="298" y="336"/>
                  </a:lnTo>
                  <a:lnTo>
                    <a:pt x="304" y="341"/>
                  </a:lnTo>
                  <a:lnTo>
                    <a:pt x="304" y="341"/>
                  </a:lnTo>
                  <a:lnTo>
                    <a:pt x="304" y="344"/>
                  </a:lnTo>
                  <a:lnTo>
                    <a:pt x="303" y="347"/>
                  </a:lnTo>
                  <a:lnTo>
                    <a:pt x="301" y="348"/>
                  </a:lnTo>
                  <a:lnTo>
                    <a:pt x="297" y="350"/>
                  </a:lnTo>
                  <a:lnTo>
                    <a:pt x="297" y="350"/>
                  </a:lnTo>
                  <a:lnTo>
                    <a:pt x="294" y="351"/>
                  </a:lnTo>
                  <a:lnTo>
                    <a:pt x="289" y="353"/>
                  </a:lnTo>
                  <a:lnTo>
                    <a:pt x="286" y="354"/>
                  </a:lnTo>
                  <a:lnTo>
                    <a:pt x="286" y="357"/>
                  </a:lnTo>
                  <a:lnTo>
                    <a:pt x="286" y="358"/>
                  </a:lnTo>
                  <a:lnTo>
                    <a:pt x="286" y="358"/>
                  </a:lnTo>
                  <a:lnTo>
                    <a:pt x="289" y="361"/>
                  </a:lnTo>
                  <a:lnTo>
                    <a:pt x="291" y="363"/>
                  </a:lnTo>
                  <a:lnTo>
                    <a:pt x="294" y="366"/>
                  </a:lnTo>
                  <a:lnTo>
                    <a:pt x="294" y="373"/>
                  </a:lnTo>
                  <a:lnTo>
                    <a:pt x="294" y="373"/>
                  </a:lnTo>
                  <a:lnTo>
                    <a:pt x="291" y="388"/>
                  </a:lnTo>
                  <a:lnTo>
                    <a:pt x="291" y="394"/>
                  </a:lnTo>
                  <a:lnTo>
                    <a:pt x="292" y="396"/>
                  </a:lnTo>
                  <a:lnTo>
                    <a:pt x="294" y="398"/>
                  </a:lnTo>
                  <a:lnTo>
                    <a:pt x="294" y="398"/>
                  </a:lnTo>
                  <a:lnTo>
                    <a:pt x="298" y="400"/>
                  </a:lnTo>
                  <a:lnTo>
                    <a:pt x="303" y="401"/>
                  </a:lnTo>
                  <a:lnTo>
                    <a:pt x="307" y="401"/>
                  </a:lnTo>
                  <a:lnTo>
                    <a:pt x="313" y="404"/>
                  </a:lnTo>
                  <a:lnTo>
                    <a:pt x="313" y="404"/>
                  </a:lnTo>
                  <a:lnTo>
                    <a:pt x="322" y="412"/>
                  </a:lnTo>
                  <a:lnTo>
                    <a:pt x="323" y="415"/>
                  </a:lnTo>
                  <a:lnTo>
                    <a:pt x="323" y="419"/>
                  </a:lnTo>
                  <a:lnTo>
                    <a:pt x="323" y="419"/>
                  </a:lnTo>
                  <a:lnTo>
                    <a:pt x="323" y="427"/>
                  </a:lnTo>
                  <a:lnTo>
                    <a:pt x="325" y="430"/>
                  </a:lnTo>
                  <a:lnTo>
                    <a:pt x="328" y="434"/>
                  </a:lnTo>
                  <a:lnTo>
                    <a:pt x="328" y="434"/>
                  </a:lnTo>
                  <a:lnTo>
                    <a:pt x="344" y="449"/>
                  </a:lnTo>
                  <a:lnTo>
                    <a:pt x="356" y="46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6" name="Freeform 185">
              <a:extLst>
                <a:ext uri="{FF2B5EF4-FFF2-40B4-BE49-F238E27FC236}">
                  <a16:creationId xmlns:a16="http://schemas.microsoft.com/office/drawing/2014/main" id="{638305C3-1554-5B48-BBEF-C0D447C9C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82450" y="7035800"/>
              <a:ext cx="830263" cy="1393825"/>
            </a:xfrm>
            <a:custGeom>
              <a:avLst/>
              <a:gdLst>
                <a:gd name="T0" fmla="*/ 384 w 523"/>
                <a:gd name="T1" fmla="*/ 3 h 878"/>
                <a:gd name="T2" fmla="*/ 382 w 523"/>
                <a:gd name="T3" fmla="*/ 22 h 878"/>
                <a:gd name="T4" fmla="*/ 375 w 523"/>
                <a:gd name="T5" fmla="*/ 36 h 878"/>
                <a:gd name="T6" fmla="*/ 395 w 523"/>
                <a:gd name="T7" fmla="*/ 45 h 878"/>
                <a:gd name="T8" fmla="*/ 400 w 523"/>
                <a:gd name="T9" fmla="*/ 61 h 878"/>
                <a:gd name="T10" fmla="*/ 404 w 523"/>
                <a:gd name="T11" fmla="*/ 77 h 878"/>
                <a:gd name="T12" fmla="*/ 413 w 523"/>
                <a:gd name="T13" fmla="*/ 89 h 878"/>
                <a:gd name="T14" fmla="*/ 409 w 523"/>
                <a:gd name="T15" fmla="*/ 95 h 878"/>
                <a:gd name="T16" fmla="*/ 421 w 523"/>
                <a:gd name="T17" fmla="*/ 108 h 878"/>
                <a:gd name="T18" fmla="*/ 429 w 523"/>
                <a:gd name="T19" fmla="*/ 142 h 878"/>
                <a:gd name="T20" fmla="*/ 443 w 523"/>
                <a:gd name="T21" fmla="*/ 159 h 878"/>
                <a:gd name="T22" fmla="*/ 465 w 523"/>
                <a:gd name="T23" fmla="*/ 162 h 878"/>
                <a:gd name="T24" fmla="*/ 480 w 523"/>
                <a:gd name="T25" fmla="*/ 162 h 878"/>
                <a:gd name="T26" fmla="*/ 487 w 523"/>
                <a:gd name="T27" fmla="*/ 172 h 878"/>
                <a:gd name="T28" fmla="*/ 508 w 523"/>
                <a:gd name="T29" fmla="*/ 181 h 878"/>
                <a:gd name="T30" fmla="*/ 520 w 523"/>
                <a:gd name="T31" fmla="*/ 213 h 878"/>
                <a:gd name="T32" fmla="*/ 496 w 523"/>
                <a:gd name="T33" fmla="*/ 262 h 878"/>
                <a:gd name="T34" fmla="*/ 461 w 523"/>
                <a:gd name="T35" fmla="*/ 273 h 878"/>
                <a:gd name="T36" fmla="*/ 432 w 523"/>
                <a:gd name="T37" fmla="*/ 313 h 878"/>
                <a:gd name="T38" fmla="*/ 415 w 523"/>
                <a:gd name="T39" fmla="*/ 345 h 878"/>
                <a:gd name="T40" fmla="*/ 376 w 523"/>
                <a:gd name="T41" fmla="*/ 372 h 878"/>
                <a:gd name="T42" fmla="*/ 363 w 523"/>
                <a:gd name="T43" fmla="*/ 385 h 878"/>
                <a:gd name="T44" fmla="*/ 345 w 523"/>
                <a:gd name="T45" fmla="*/ 393 h 878"/>
                <a:gd name="T46" fmla="*/ 352 w 523"/>
                <a:gd name="T47" fmla="*/ 401 h 878"/>
                <a:gd name="T48" fmla="*/ 358 w 523"/>
                <a:gd name="T49" fmla="*/ 418 h 878"/>
                <a:gd name="T50" fmla="*/ 375 w 523"/>
                <a:gd name="T51" fmla="*/ 427 h 878"/>
                <a:gd name="T52" fmla="*/ 387 w 523"/>
                <a:gd name="T53" fmla="*/ 440 h 878"/>
                <a:gd name="T54" fmla="*/ 397 w 523"/>
                <a:gd name="T55" fmla="*/ 452 h 878"/>
                <a:gd name="T56" fmla="*/ 395 w 523"/>
                <a:gd name="T57" fmla="*/ 486 h 878"/>
                <a:gd name="T58" fmla="*/ 384 w 523"/>
                <a:gd name="T59" fmla="*/ 496 h 878"/>
                <a:gd name="T60" fmla="*/ 357 w 523"/>
                <a:gd name="T61" fmla="*/ 521 h 878"/>
                <a:gd name="T62" fmla="*/ 333 w 523"/>
                <a:gd name="T63" fmla="*/ 529 h 878"/>
                <a:gd name="T64" fmla="*/ 320 w 523"/>
                <a:gd name="T65" fmla="*/ 541 h 878"/>
                <a:gd name="T66" fmla="*/ 296 w 523"/>
                <a:gd name="T67" fmla="*/ 556 h 878"/>
                <a:gd name="T68" fmla="*/ 284 w 523"/>
                <a:gd name="T69" fmla="*/ 563 h 878"/>
                <a:gd name="T70" fmla="*/ 268 w 523"/>
                <a:gd name="T71" fmla="*/ 560 h 878"/>
                <a:gd name="T72" fmla="*/ 258 w 523"/>
                <a:gd name="T73" fmla="*/ 578 h 878"/>
                <a:gd name="T74" fmla="*/ 250 w 523"/>
                <a:gd name="T75" fmla="*/ 595 h 878"/>
                <a:gd name="T76" fmla="*/ 224 w 523"/>
                <a:gd name="T77" fmla="*/ 619 h 878"/>
                <a:gd name="T78" fmla="*/ 197 w 523"/>
                <a:gd name="T79" fmla="*/ 652 h 878"/>
                <a:gd name="T80" fmla="*/ 181 w 523"/>
                <a:gd name="T81" fmla="*/ 659 h 878"/>
                <a:gd name="T82" fmla="*/ 144 w 523"/>
                <a:gd name="T83" fmla="*/ 656 h 878"/>
                <a:gd name="T84" fmla="*/ 114 w 523"/>
                <a:gd name="T85" fmla="*/ 678 h 878"/>
                <a:gd name="T86" fmla="*/ 92 w 523"/>
                <a:gd name="T87" fmla="*/ 690 h 878"/>
                <a:gd name="T88" fmla="*/ 59 w 523"/>
                <a:gd name="T89" fmla="*/ 683 h 878"/>
                <a:gd name="T90" fmla="*/ 36 w 523"/>
                <a:gd name="T91" fmla="*/ 693 h 878"/>
                <a:gd name="T92" fmla="*/ 40 w 523"/>
                <a:gd name="T93" fmla="*/ 717 h 878"/>
                <a:gd name="T94" fmla="*/ 27 w 523"/>
                <a:gd name="T95" fmla="*/ 738 h 878"/>
                <a:gd name="T96" fmla="*/ 24 w 523"/>
                <a:gd name="T97" fmla="*/ 758 h 878"/>
                <a:gd name="T98" fmla="*/ 24 w 523"/>
                <a:gd name="T99" fmla="*/ 779 h 878"/>
                <a:gd name="T100" fmla="*/ 50 w 523"/>
                <a:gd name="T101" fmla="*/ 791 h 878"/>
                <a:gd name="T102" fmla="*/ 43 w 523"/>
                <a:gd name="T103" fmla="*/ 804 h 878"/>
                <a:gd name="T104" fmla="*/ 18 w 523"/>
                <a:gd name="T105" fmla="*/ 815 h 878"/>
                <a:gd name="T106" fmla="*/ 3 w 523"/>
                <a:gd name="T107" fmla="*/ 832 h 8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3" h="878">
                  <a:moveTo>
                    <a:pt x="389" y="0"/>
                  </a:moveTo>
                  <a:lnTo>
                    <a:pt x="389" y="0"/>
                  </a:lnTo>
                  <a:lnTo>
                    <a:pt x="388" y="2"/>
                  </a:lnTo>
                  <a:lnTo>
                    <a:pt x="385" y="2"/>
                  </a:lnTo>
                  <a:lnTo>
                    <a:pt x="384" y="3"/>
                  </a:lnTo>
                  <a:lnTo>
                    <a:pt x="384" y="6"/>
                  </a:lnTo>
                  <a:lnTo>
                    <a:pt x="384" y="6"/>
                  </a:lnTo>
                  <a:lnTo>
                    <a:pt x="384" y="15"/>
                  </a:lnTo>
                  <a:lnTo>
                    <a:pt x="384" y="18"/>
                  </a:lnTo>
                  <a:lnTo>
                    <a:pt x="382" y="22"/>
                  </a:lnTo>
                  <a:lnTo>
                    <a:pt x="382" y="22"/>
                  </a:lnTo>
                  <a:lnTo>
                    <a:pt x="378" y="27"/>
                  </a:lnTo>
                  <a:lnTo>
                    <a:pt x="375" y="30"/>
                  </a:lnTo>
                  <a:lnTo>
                    <a:pt x="373" y="33"/>
                  </a:lnTo>
                  <a:lnTo>
                    <a:pt x="375" y="36"/>
                  </a:lnTo>
                  <a:lnTo>
                    <a:pt x="375" y="36"/>
                  </a:lnTo>
                  <a:lnTo>
                    <a:pt x="378" y="40"/>
                  </a:lnTo>
                  <a:lnTo>
                    <a:pt x="384" y="42"/>
                  </a:lnTo>
                  <a:lnTo>
                    <a:pt x="395" y="45"/>
                  </a:lnTo>
                  <a:lnTo>
                    <a:pt x="395" y="45"/>
                  </a:lnTo>
                  <a:lnTo>
                    <a:pt x="401" y="48"/>
                  </a:lnTo>
                  <a:lnTo>
                    <a:pt x="403" y="49"/>
                  </a:lnTo>
                  <a:lnTo>
                    <a:pt x="404" y="53"/>
                  </a:lnTo>
                  <a:lnTo>
                    <a:pt x="404" y="53"/>
                  </a:lnTo>
                  <a:lnTo>
                    <a:pt x="400" y="61"/>
                  </a:lnTo>
                  <a:lnTo>
                    <a:pt x="398" y="65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401" y="74"/>
                  </a:lnTo>
                  <a:lnTo>
                    <a:pt x="404" y="77"/>
                  </a:lnTo>
                  <a:lnTo>
                    <a:pt x="409" y="79"/>
                  </a:lnTo>
                  <a:lnTo>
                    <a:pt x="409" y="79"/>
                  </a:lnTo>
                  <a:lnTo>
                    <a:pt x="413" y="85"/>
                  </a:lnTo>
                  <a:lnTo>
                    <a:pt x="413" y="86"/>
                  </a:lnTo>
                  <a:lnTo>
                    <a:pt x="413" y="89"/>
                  </a:lnTo>
                  <a:lnTo>
                    <a:pt x="413" y="89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9" y="95"/>
                  </a:lnTo>
                  <a:lnTo>
                    <a:pt x="409" y="95"/>
                  </a:lnTo>
                  <a:lnTo>
                    <a:pt x="413" y="98"/>
                  </a:lnTo>
                  <a:lnTo>
                    <a:pt x="418" y="101"/>
                  </a:lnTo>
                  <a:lnTo>
                    <a:pt x="419" y="104"/>
                  </a:lnTo>
                  <a:lnTo>
                    <a:pt x="421" y="108"/>
                  </a:lnTo>
                  <a:lnTo>
                    <a:pt x="421" y="108"/>
                  </a:lnTo>
                  <a:lnTo>
                    <a:pt x="421" y="120"/>
                  </a:lnTo>
                  <a:lnTo>
                    <a:pt x="424" y="127"/>
                  </a:lnTo>
                  <a:lnTo>
                    <a:pt x="426" y="135"/>
                  </a:lnTo>
                  <a:lnTo>
                    <a:pt x="426" y="135"/>
                  </a:lnTo>
                  <a:lnTo>
                    <a:pt x="429" y="142"/>
                  </a:lnTo>
                  <a:lnTo>
                    <a:pt x="431" y="148"/>
                  </a:lnTo>
                  <a:lnTo>
                    <a:pt x="432" y="151"/>
                  </a:lnTo>
                  <a:lnTo>
                    <a:pt x="434" y="154"/>
                  </a:lnTo>
                  <a:lnTo>
                    <a:pt x="437" y="156"/>
                  </a:lnTo>
                  <a:lnTo>
                    <a:pt x="443" y="159"/>
                  </a:lnTo>
                  <a:lnTo>
                    <a:pt x="443" y="159"/>
                  </a:lnTo>
                  <a:lnTo>
                    <a:pt x="452" y="162"/>
                  </a:lnTo>
                  <a:lnTo>
                    <a:pt x="458" y="163"/>
                  </a:lnTo>
                  <a:lnTo>
                    <a:pt x="462" y="162"/>
                  </a:lnTo>
                  <a:lnTo>
                    <a:pt x="465" y="162"/>
                  </a:lnTo>
                  <a:lnTo>
                    <a:pt x="465" y="162"/>
                  </a:lnTo>
                  <a:lnTo>
                    <a:pt x="472" y="159"/>
                  </a:lnTo>
                  <a:lnTo>
                    <a:pt x="477" y="159"/>
                  </a:lnTo>
                  <a:lnTo>
                    <a:pt x="480" y="162"/>
                  </a:lnTo>
                  <a:lnTo>
                    <a:pt x="480" y="162"/>
                  </a:lnTo>
                  <a:lnTo>
                    <a:pt x="481" y="165"/>
                  </a:lnTo>
                  <a:lnTo>
                    <a:pt x="481" y="167"/>
                  </a:lnTo>
                  <a:lnTo>
                    <a:pt x="483" y="169"/>
                  </a:lnTo>
                  <a:lnTo>
                    <a:pt x="487" y="172"/>
                  </a:lnTo>
                  <a:lnTo>
                    <a:pt x="487" y="172"/>
                  </a:lnTo>
                  <a:lnTo>
                    <a:pt x="495" y="175"/>
                  </a:lnTo>
                  <a:lnTo>
                    <a:pt x="502" y="176"/>
                  </a:lnTo>
                  <a:lnTo>
                    <a:pt x="502" y="176"/>
                  </a:lnTo>
                  <a:lnTo>
                    <a:pt x="505" y="178"/>
                  </a:lnTo>
                  <a:lnTo>
                    <a:pt x="508" y="181"/>
                  </a:lnTo>
                  <a:lnTo>
                    <a:pt x="514" y="188"/>
                  </a:lnTo>
                  <a:lnTo>
                    <a:pt x="523" y="202"/>
                  </a:lnTo>
                  <a:lnTo>
                    <a:pt x="523" y="202"/>
                  </a:lnTo>
                  <a:lnTo>
                    <a:pt x="521" y="206"/>
                  </a:lnTo>
                  <a:lnTo>
                    <a:pt x="520" y="213"/>
                  </a:lnTo>
                  <a:lnTo>
                    <a:pt x="512" y="233"/>
                  </a:lnTo>
                  <a:lnTo>
                    <a:pt x="502" y="261"/>
                  </a:lnTo>
                  <a:lnTo>
                    <a:pt x="502" y="261"/>
                  </a:lnTo>
                  <a:lnTo>
                    <a:pt x="501" y="262"/>
                  </a:lnTo>
                  <a:lnTo>
                    <a:pt x="496" y="262"/>
                  </a:lnTo>
                  <a:lnTo>
                    <a:pt x="483" y="264"/>
                  </a:lnTo>
                  <a:lnTo>
                    <a:pt x="483" y="264"/>
                  </a:lnTo>
                  <a:lnTo>
                    <a:pt x="478" y="264"/>
                  </a:lnTo>
                  <a:lnTo>
                    <a:pt x="474" y="265"/>
                  </a:lnTo>
                  <a:lnTo>
                    <a:pt x="461" y="273"/>
                  </a:lnTo>
                  <a:lnTo>
                    <a:pt x="449" y="280"/>
                  </a:lnTo>
                  <a:lnTo>
                    <a:pt x="441" y="287"/>
                  </a:lnTo>
                  <a:lnTo>
                    <a:pt x="441" y="287"/>
                  </a:lnTo>
                  <a:lnTo>
                    <a:pt x="437" y="298"/>
                  </a:lnTo>
                  <a:lnTo>
                    <a:pt x="432" y="313"/>
                  </a:lnTo>
                  <a:lnTo>
                    <a:pt x="428" y="326"/>
                  </a:lnTo>
                  <a:lnTo>
                    <a:pt x="426" y="332"/>
                  </a:lnTo>
                  <a:lnTo>
                    <a:pt x="424" y="335"/>
                  </a:lnTo>
                  <a:lnTo>
                    <a:pt x="424" y="335"/>
                  </a:lnTo>
                  <a:lnTo>
                    <a:pt x="415" y="345"/>
                  </a:lnTo>
                  <a:lnTo>
                    <a:pt x="404" y="357"/>
                  </a:lnTo>
                  <a:lnTo>
                    <a:pt x="404" y="357"/>
                  </a:lnTo>
                  <a:lnTo>
                    <a:pt x="397" y="361"/>
                  </a:lnTo>
                  <a:lnTo>
                    <a:pt x="389" y="366"/>
                  </a:lnTo>
                  <a:lnTo>
                    <a:pt x="376" y="372"/>
                  </a:lnTo>
                  <a:lnTo>
                    <a:pt x="376" y="372"/>
                  </a:lnTo>
                  <a:lnTo>
                    <a:pt x="373" y="375"/>
                  </a:lnTo>
                  <a:lnTo>
                    <a:pt x="370" y="379"/>
                  </a:lnTo>
                  <a:lnTo>
                    <a:pt x="366" y="384"/>
                  </a:lnTo>
                  <a:lnTo>
                    <a:pt x="363" y="385"/>
                  </a:lnTo>
                  <a:lnTo>
                    <a:pt x="360" y="385"/>
                  </a:lnTo>
                  <a:lnTo>
                    <a:pt x="360" y="385"/>
                  </a:lnTo>
                  <a:lnTo>
                    <a:pt x="351" y="388"/>
                  </a:lnTo>
                  <a:lnTo>
                    <a:pt x="347" y="391"/>
                  </a:lnTo>
                  <a:lnTo>
                    <a:pt x="345" y="393"/>
                  </a:lnTo>
                  <a:lnTo>
                    <a:pt x="344" y="394"/>
                  </a:lnTo>
                  <a:lnTo>
                    <a:pt x="345" y="397"/>
                  </a:lnTo>
                  <a:lnTo>
                    <a:pt x="348" y="399"/>
                  </a:lnTo>
                  <a:lnTo>
                    <a:pt x="348" y="399"/>
                  </a:lnTo>
                  <a:lnTo>
                    <a:pt x="352" y="401"/>
                  </a:lnTo>
                  <a:lnTo>
                    <a:pt x="357" y="404"/>
                  </a:lnTo>
                  <a:lnTo>
                    <a:pt x="358" y="407"/>
                  </a:lnTo>
                  <a:lnTo>
                    <a:pt x="358" y="412"/>
                  </a:lnTo>
                  <a:lnTo>
                    <a:pt x="358" y="412"/>
                  </a:lnTo>
                  <a:lnTo>
                    <a:pt x="358" y="418"/>
                  </a:lnTo>
                  <a:lnTo>
                    <a:pt x="361" y="422"/>
                  </a:lnTo>
                  <a:lnTo>
                    <a:pt x="366" y="425"/>
                  </a:lnTo>
                  <a:lnTo>
                    <a:pt x="370" y="427"/>
                  </a:lnTo>
                  <a:lnTo>
                    <a:pt x="370" y="427"/>
                  </a:lnTo>
                  <a:lnTo>
                    <a:pt x="375" y="427"/>
                  </a:lnTo>
                  <a:lnTo>
                    <a:pt x="379" y="427"/>
                  </a:lnTo>
                  <a:lnTo>
                    <a:pt x="381" y="428"/>
                  </a:lnTo>
                  <a:lnTo>
                    <a:pt x="382" y="430"/>
                  </a:lnTo>
                  <a:lnTo>
                    <a:pt x="387" y="440"/>
                  </a:lnTo>
                  <a:lnTo>
                    <a:pt x="387" y="440"/>
                  </a:lnTo>
                  <a:lnTo>
                    <a:pt x="389" y="446"/>
                  </a:lnTo>
                  <a:lnTo>
                    <a:pt x="391" y="449"/>
                  </a:lnTo>
                  <a:lnTo>
                    <a:pt x="394" y="450"/>
                  </a:lnTo>
                  <a:lnTo>
                    <a:pt x="395" y="450"/>
                  </a:lnTo>
                  <a:lnTo>
                    <a:pt x="397" y="452"/>
                  </a:lnTo>
                  <a:lnTo>
                    <a:pt x="397" y="455"/>
                  </a:lnTo>
                  <a:lnTo>
                    <a:pt x="397" y="455"/>
                  </a:lnTo>
                  <a:lnTo>
                    <a:pt x="397" y="471"/>
                  </a:lnTo>
                  <a:lnTo>
                    <a:pt x="395" y="486"/>
                  </a:lnTo>
                  <a:lnTo>
                    <a:pt x="395" y="486"/>
                  </a:lnTo>
                  <a:lnTo>
                    <a:pt x="392" y="489"/>
                  </a:lnTo>
                  <a:lnTo>
                    <a:pt x="389" y="490"/>
                  </a:lnTo>
                  <a:lnTo>
                    <a:pt x="387" y="493"/>
                  </a:lnTo>
                  <a:lnTo>
                    <a:pt x="384" y="496"/>
                  </a:lnTo>
                  <a:lnTo>
                    <a:pt x="384" y="496"/>
                  </a:lnTo>
                  <a:lnTo>
                    <a:pt x="375" y="508"/>
                  </a:lnTo>
                  <a:lnTo>
                    <a:pt x="370" y="514"/>
                  </a:lnTo>
                  <a:lnTo>
                    <a:pt x="366" y="517"/>
                  </a:lnTo>
                  <a:lnTo>
                    <a:pt x="366" y="517"/>
                  </a:lnTo>
                  <a:lnTo>
                    <a:pt x="357" y="521"/>
                  </a:lnTo>
                  <a:lnTo>
                    <a:pt x="347" y="523"/>
                  </a:lnTo>
                  <a:lnTo>
                    <a:pt x="347" y="523"/>
                  </a:lnTo>
                  <a:lnTo>
                    <a:pt x="342" y="523"/>
                  </a:lnTo>
                  <a:lnTo>
                    <a:pt x="338" y="526"/>
                  </a:lnTo>
                  <a:lnTo>
                    <a:pt x="333" y="529"/>
                  </a:lnTo>
                  <a:lnTo>
                    <a:pt x="332" y="532"/>
                  </a:lnTo>
                  <a:lnTo>
                    <a:pt x="332" y="532"/>
                  </a:lnTo>
                  <a:lnTo>
                    <a:pt x="330" y="535"/>
                  </a:lnTo>
                  <a:lnTo>
                    <a:pt x="326" y="538"/>
                  </a:lnTo>
                  <a:lnTo>
                    <a:pt x="320" y="541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08" y="544"/>
                  </a:lnTo>
                  <a:lnTo>
                    <a:pt x="304" y="547"/>
                  </a:lnTo>
                  <a:lnTo>
                    <a:pt x="296" y="556"/>
                  </a:lnTo>
                  <a:lnTo>
                    <a:pt x="296" y="556"/>
                  </a:lnTo>
                  <a:lnTo>
                    <a:pt x="293" y="560"/>
                  </a:lnTo>
                  <a:lnTo>
                    <a:pt x="290" y="563"/>
                  </a:lnTo>
                  <a:lnTo>
                    <a:pt x="287" y="564"/>
                  </a:lnTo>
                  <a:lnTo>
                    <a:pt x="284" y="563"/>
                  </a:lnTo>
                  <a:lnTo>
                    <a:pt x="284" y="563"/>
                  </a:lnTo>
                  <a:lnTo>
                    <a:pt x="280" y="561"/>
                  </a:lnTo>
                  <a:lnTo>
                    <a:pt x="275" y="560"/>
                  </a:lnTo>
                  <a:lnTo>
                    <a:pt x="270" y="560"/>
                  </a:lnTo>
                  <a:lnTo>
                    <a:pt x="268" y="560"/>
                  </a:lnTo>
                  <a:lnTo>
                    <a:pt x="268" y="561"/>
                  </a:lnTo>
                  <a:lnTo>
                    <a:pt x="268" y="561"/>
                  </a:lnTo>
                  <a:lnTo>
                    <a:pt x="262" y="575"/>
                  </a:lnTo>
                  <a:lnTo>
                    <a:pt x="262" y="575"/>
                  </a:lnTo>
                  <a:lnTo>
                    <a:pt x="258" y="578"/>
                  </a:lnTo>
                  <a:lnTo>
                    <a:pt x="253" y="581"/>
                  </a:lnTo>
                  <a:lnTo>
                    <a:pt x="252" y="582"/>
                  </a:lnTo>
                  <a:lnTo>
                    <a:pt x="252" y="582"/>
                  </a:lnTo>
                  <a:lnTo>
                    <a:pt x="250" y="591"/>
                  </a:lnTo>
                  <a:lnTo>
                    <a:pt x="250" y="595"/>
                  </a:lnTo>
                  <a:lnTo>
                    <a:pt x="247" y="600"/>
                  </a:lnTo>
                  <a:lnTo>
                    <a:pt x="247" y="600"/>
                  </a:lnTo>
                  <a:lnTo>
                    <a:pt x="237" y="610"/>
                  </a:lnTo>
                  <a:lnTo>
                    <a:pt x="224" y="619"/>
                  </a:lnTo>
                  <a:lnTo>
                    <a:pt x="224" y="619"/>
                  </a:lnTo>
                  <a:lnTo>
                    <a:pt x="212" y="628"/>
                  </a:lnTo>
                  <a:lnTo>
                    <a:pt x="203" y="637"/>
                  </a:lnTo>
                  <a:lnTo>
                    <a:pt x="203" y="637"/>
                  </a:lnTo>
                  <a:lnTo>
                    <a:pt x="200" y="647"/>
                  </a:lnTo>
                  <a:lnTo>
                    <a:pt x="197" y="652"/>
                  </a:lnTo>
                  <a:lnTo>
                    <a:pt x="196" y="655"/>
                  </a:lnTo>
                  <a:lnTo>
                    <a:pt x="194" y="656"/>
                  </a:lnTo>
                  <a:lnTo>
                    <a:pt x="194" y="656"/>
                  </a:lnTo>
                  <a:lnTo>
                    <a:pt x="187" y="658"/>
                  </a:lnTo>
                  <a:lnTo>
                    <a:pt x="181" y="659"/>
                  </a:lnTo>
                  <a:lnTo>
                    <a:pt x="173" y="658"/>
                  </a:lnTo>
                  <a:lnTo>
                    <a:pt x="173" y="658"/>
                  </a:lnTo>
                  <a:lnTo>
                    <a:pt x="156" y="656"/>
                  </a:lnTo>
                  <a:lnTo>
                    <a:pt x="144" y="656"/>
                  </a:lnTo>
                  <a:lnTo>
                    <a:pt x="144" y="656"/>
                  </a:lnTo>
                  <a:lnTo>
                    <a:pt x="136" y="664"/>
                  </a:lnTo>
                  <a:lnTo>
                    <a:pt x="130" y="668"/>
                  </a:lnTo>
                  <a:lnTo>
                    <a:pt x="121" y="674"/>
                  </a:lnTo>
                  <a:lnTo>
                    <a:pt x="121" y="674"/>
                  </a:lnTo>
                  <a:lnTo>
                    <a:pt x="114" y="678"/>
                  </a:lnTo>
                  <a:lnTo>
                    <a:pt x="105" y="684"/>
                  </a:lnTo>
                  <a:lnTo>
                    <a:pt x="98" y="689"/>
                  </a:lnTo>
                  <a:lnTo>
                    <a:pt x="95" y="690"/>
                  </a:lnTo>
                  <a:lnTo>
                    <a:pt x="92" y="690"/>
                  </a:lnTo>
                  <a:lnTo>
                    <a:pt x="92" y="690"/>
                  </a:lnTo>
                  <a:lnTo>
                    <a:pt x="84" y="689"/>
                  </a:lnTo>
                  <a:lnTo>
                    <a:pt x="76" y="686"/>
                  </a:lnTo>
                  <a:lnTo>
                    <a:pt x="67" y="684"/>
                  </a:lnTo>
                  <a:lnTo>
                    <a:pt x="59" y="683"/>
                  </a:lnTo>
                  <a:lnTo>
                    <a:pt x="59" y="683"/>
                  </a:lnTo>
                  <a:lnTo>
                    <a:pt x="46" y="686"/>
                  </a:lnTo>
                  <a:lnTo>
                    <a:pt x="39" y="689"/>
                  </a:lnTo>
                  <a:lnTo>
                    <a:pt x="37" y="690"/>
                  </a:lnTo>
                  <a:lnTo>
                    <a:pt x="36" y="693"/>
                  </a:lnTo>
                  <a:lnTo>
                    <a:pt x="36" y="693"/>
                  </a:lnTo>
                  <a:lnTo>
                    <a:pt x="34" y="702"/>
                  </a:lnTo>
                  <a:lnTo>
                    <a:pt x="34" y="707"/>
                  </a:lnTo>
                  <a:lnTo>
                    <a:pt x="36" y="711"/>
                  </a:lnTo>
                  <a:lnTo>
                    <a:pt x="36" y="711"/>
                  </a:lnTo>
                  <a:lnTo>
                    <a:pt x="40" y="717"/>
                  </a:lnTo>
                  <a:lnTo>
                    <a:pt x="42" y="718"/>
                  </a:lnTo>
                  <a:lnTo>
                    <a:pt x="40" y="720"/>
                  </a:lnTo>
                  <a:lnTo>
                    <a:pt x="40" y="720"/>
                  </a:lnTo>
                  <a:lnTo>
                    <a:pt x="34" y="729"/>
                  </a:lnTo>
                  <a:lnTo>
                    <a:pt x="27" y="738"/>
                  </a:lnTo>
                  <a:lnTo>
                    <a:pt x="27" y="738"/>
                  </a:lnTo>
                  <a:lnTo>
                    <a:pt x="24" y="748"/>
                  </a:lnTo>
                  <a:lnTo>
                    <a:pt x="22" y="754"/>
                  </a:lnTo>
                  <a:lnTo>
                    <a:pt x="24" y="758"/>
                  </a:lnTo>
                  <a:lnTo>
                    <a:pt x="24" y="758"/>
                  </a:lnTo>
                  <a:lnTo>
                    <a:pt x="24" y="763"/>
                  </a:lnTo>
                  <a:lnTo>
                    <a:pt x="24" y="769"/>
                  </a:lnTo>
                  <a:lnTo>
                    <a:pt x="24" y="776"/>
                  </a:lnTo>
                  <a:lnTo>
                    <a:pt x="24" y="776"/>
                  </a:lnTo>
                  <a:lnTo>
                    <a:pt x="24" y="779"/>
                  </a:lnTo>
                  <a:lnTo>
                    <a:pt x="27" y="781"/>
                  </a:lnTo>
                  <a:lnTo>
                    <a:pt x="34" y="785"/>
                  </a:lnTo>
                  <a:lnTo>
                    <a:pt x="34" y="785"/>
                  </a:lnTo>
                  <a:lnTo>
                    <a:pt x="46" y="788"/>
                  </a:lnTo>
                  <a:lnTo>
                    <a:pt x="50" y="791"/>
                  </a:lnTo>
                  <a:lnTo>
                    <a:pt x="50" y="792"/>
                  </a:lnTo>
                  <a:lnTo>
                    <a:pt x="50" y="795"/>
                  </a:lnTo>
                  <a:lnTo>
                    <a:pt x="50" y="795"/>
                  </a:lnTo>
                  <a:lnTo>
                    <a:pt x="47" y="800"/>
                  </a:lnTo>
                  <a:lnTo>
                    <a:pt x="43" y="804"/>
                  </a:lnTo>
                  <a:lnTo>
                    <a:pt x="33" y="809"/>
                  </a:lnTo>
                  <a:lnTo>
                    <a:pt x="33" y="809"/>
                  </a:lnTo>
                  <a:lnTo>
                    <a:pt x="25" y="812"/>
                  </a:lnTo>
                  <a:lnTo>
                    <a:pt x="18" y="815"/>
                  </a:lnTo>
                  <a:lnTo>
                    <a:pt x="18" y="815"/>
                  </a:lnTo>
                  <a:lnTo>
                    <a:pt x="16" y="819"/>
                  </a:lnTo>
                  <a:lnTo>
                    <a:pt x="13" y="824"/>
                  </a:lnTo>
                  <a:lnTo>
                    <a:pt x="10" y="827"/>
                  </a:lnTo>
                  <a:lnTo>
                    <a:pt x="10" y="827"/>
                  </a:lnTo>
                  <a:lnTo>
                    <a:pt x="3" y="832"/>
                  </a:lnTo>
                  <a:lnTo>
                    <a:pt x="0" y="837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2" y="87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7" name="Freeform 186">
              <a:extLst>
                <a:ext uri="{FF2B5EF4-FFF2-40B4-BE49-F238E27FC236}">
                  <a16:creationId xmlns:a16="http://schemas.microsoft.com/office/drawing/2014/main" id="{45F56738-01FD-2443-8070-EC9E55BE3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8850" y="7791450"/>
              <a:ext cx="1169988" cy="319087"/>
            </a:xfrm>
            <a:custGeom>
              <a:avLst/>
              <a:gdLst>
                <a:gd name="T0" fmla="*/ 10 w 737"/>
                <a:gd name="T1" fmla="*/ 179 h 201"/>
                <a:gd name="T2" fmla="*/ 22 w 737"/>
                <a:gd name="T3" fmla="*/ 173 h 201"/>
                <a:gd name="T4" fmla="*/ 31 w 737"/>
                <a:gd name="T5" fmla="*/ 179 h 201"/>
                <a:gd name="T6" fmla="*/ 39 w 737"/>
                <a:gd name="T7" fmla="*/ 180 h 201"/>
                <a:gd name="T8" fmla="*/ 51 w 737"/>
                <a:gd name="T9" fmla="*/ 186 h 201"/>
                <a:gd name="T10" fmla="*/ 66 w 737"/>
                <a:gd name="T11" fmla="*/ 186 h 201"/>
                <a:gd name="T12" fmla="*/ 65 w 737"/>
                <a:gd name="T13" fmla="*/ 180 h 201"/>
                <a:gd name="T14" fmla="*/ 63 w 737"/>
                <a:gd name="T15" fmla="*/ 177 h 201"/>
                <a:gd name="T16" fmla="*/ 90 w 737"/>
                <a:gd name="T17" fmla="*/ 167 h 201"/>
                <a:gd name="T18" fmla="*/ 93 w 737"/>
                <a:gd name="T19" fmla="*/ 154 h 201"/>
                <a:gd name="T20" fmla="*/ 91 w 737"/>
                <a:gd name="T21" fmla="*/ 136 h 201"/>
                <a:gd name="T22" fmla="*/ 103 w 737"/>
                <a:gd name="T23" fmla="*/ 124 h 201"/>
                <a:gd name="T24" fmla="*/ 118 w 737"/>
                <a:gd name="T25" fmla="*/ 136 h 201"/>
                <a:gd name="T26" fmla="*/ 127 w 737"/>
                <a:gd name="T27" fmla="*/ 128 h 201"/>
                <a:gd name="T28" fmla="*/ 134 w 737"/>
                <a:gd name="T29" fmla="*/ 127 h 201"/>
                <a:gd name="T30" fmla="*/ 151 w 737"/>
                <a:gd name="T31" fmla="*/ 151 h 201"/>
                <a:gd name="T32" fmla="*/ 173 w 737"/>
                <a:gd name="T33" fmla="*/ 171 h 201"/>
                <a:gd name="T34" fmla="*/ 199 w 737"/>
                <a:gd name="T35" fmla="*/ 183 h 201"/>
                <a:gd name="T36" fmla="*/ 216 w 737"/>
                <a:gd name="T37" fmla="*/ 179 h 201"/>
                <a:gd name="T38" fmla="*/ 242 w 737"/>
                <a:gd name="T39" fmla="*/ 186 h 201"/>
                <a:gd name="T40" fmla="*/ 279 w 737"/>
                <a:gd name="T41" fmla="*/ 191 h 201"/>
                <a:gd name="T42" fmla="*/ 293 w 737"/>
                <a:gd name="T43" fmla="*/ 182 h 201"/>
                <a:gd name="T44" fmla="*/ 305 w 737"/>
                <a:gd name="T45" fmla="*/ 179 h 201"/>
                <a:gd name="T46" fmla="*/ 316 w 737"/>
                <a:gd name="T47" fmla="*/ 176 h 201"/>
                <a:gd name="T48" fmla="*/ 331 w 737"/>
                <a:gd name="T49" fmla="*/ 158 h 201"/>
                <a:gd name="T50" fmla="*/ 359 w 737"/>
                <a:gd name="T51" fmla="*/ 143 h 201"/>
                <a:gd name="T52" fmla="*/ 359 w 737"/>
                <a:gd name="T53" fmla="*/ 134 h 201"/>
                <a:gd name="T54" fmla="*/ 380 w 737"/>
                <a:gd name="T55" fmla="*/ 108 h 201"/>
                <a:gd name="T56" fmla="*/ 401 w 737"/>
                <a:gd name="T57" fmla="*/ 88 h 201"/>
                <a:gd name="T58" fmla="*/ 417 w 737"/>
                <a:gd name="T59" fmla="*/ 81 h 201"/>
                <a:gd name="T60" fmla="*/ 426 w 737"/>
                <a:gd name="T61" fmla="*/ 34 h 201"/>
                <a:gd name="T62" fmla="*/ 463 w 737"/>
                <a:gd name="T63" fmla="*/ 29 h 201"/>
                <a:gd name="T64" fmla="*/ 472 w 737"/>
                <a:gd name="T65" fmla="*/ 34 h 201"/>
                <a:gd name="T66" fmla="*/ 490 w 737"/>
                <a:gd name="T67" fmla="*/ 34 h 201"/>
                <a:gd name="T68" fmla="*/ 500 w 737"/>
                <a:gd name="T69" fmla="*/ 26 h 201"/>
                <a:gd name="T70" fmla="*/ 536 w 737"/>
                <a:gd name="T71" fmla="*/ 23 h 201"/>
                <a:gd name="T72" fmla="*/ 540 w 737"/>
                <a:gd name="T73" fmla="*/ 16 h 201"/>
                <a:gd name="T74" fmla="*/ 552 w 737"/>
                <a:gd name="T75" fmla="*/ 17 h 201"/>
                <a:gd name="T76" fmla="*/ 559 w 737"/>
                <a:gd name="T77" fmla="*/ 22 h 201"/>
                <a:gd name="T78" fmla="*/ 565 w 737"/>
                <a:gd name="T79" fmla="*/ 17 h 201"/>
                <a:gd name="T80" fmla="*/ 565 w 737"/>
                <a:gd name="T81" fmla="*/ 4 h 201"/>
                <a:gd name="T82" fmla="*/ 583 w 737"/>
                <a:gd name="T83" fmla="*/ 0 h 201"/>
                <a:gd name="T84" fmla="*/ 610 w 737"/>
                <a:gd name="T85" fmla="*/ 16 h 201"/>
                <a:gd name="T86" fmla="*/ 614 w 737"/>
                <a:gd name="T87" fmla="*/ 25 h 201"/>
                <a:gd name="T88" fmla="*/ 620 w 737"/>
                <a:gd name="T89" fmla="*/ 37 h 201"/>
                <a:gd name="T90" fmla="*/ 648 w 737"/>
                <a:gd name="T91" fmla="*/ 47 h 201"/>
                <a:gd name="T92" fmla="*/ 658 w 737"/>
                <a:gd name="T93" fmla="*/ 56 h 201"/>
                <a:gd name="T94" fmla="*/ 679 w 737"/>
                <a:gd name="T95" fmla="*/ 74 h 201"/>
                <a:gd name="T96" fmla="*/ 697 w 737"/>
                <a:gd name="T97" fmla="*/ 69 h 201"/>
                <a:gd name="T98" fmla="*/ 715 w 737"/>
                <a:gd name="T99" fmla="*/ 74 h 201"/>
                <a:gd name="T100" fmla="*/ 721 w 737"/>
                <a:gd name="T101" fmla="*/ 90 h 201"/>
                <a:gd name="T102" fmla="*/ 712 w 737"/>
                <a:gd name="T103" fmla="*/ 85 h 201"/>
                <a:gd name="T104" fmla="*/ 712 w 737"/>
                <a:gd name="T105" fmla="*/ 99 h 201"/>
                <a:gd name="T106" fmla="*/ 721 w 737"/>
                <a:gd name="T107" fmla="*/ 114 h 201"/>
                <a:gd name="T108" fmla="*/ 712 w 737"/>
                <a:gd name="T109" fmla="*/ 122 h 201"/>
                <a:gd name="T110" fmla="*/ 709 w 737"/>
                <a:gd name="T111" fmla="*/ 140 h 201"/>
                <a:gd name="T112" fmla="*/ 707 w 737"/>
                <a:gd name="T113" fmla="*/ 161 h 201"/>
                <a:gd name="T114" fmla="*/ 712 w 737"/>
                <a:gd name="T115" fmla="*/ 170 h 201"/>
                <a:gd name="T116" fmla="*/ 706 w 737"/>
                <a:gd name="T117" fmla="*/ 185 h 201"/>
                <a:gd name="T118" fmla="*/ 712 w 737"/>
                <a:gd name="T119" fmla="*/ 201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7" h="201">
                  <a:moveTo>
                    <a:pt x="0" y="182"/>
                  </a:moveTo>
                  <a:lnTo>
                    <a:pt x="0" y="182"/>
                  </a:lnTo>
                  <a:lnTo>
                    <a:pt x="5" y="180"/>
                  </a:lnTo>
                  <a:lnTo>
                    <a:pt x="10" y="179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7" y="174"/>
                  </a:lnTo>
                  <a:lnTo>
                    <a:pt x="22" y="173"/>
                  </a:lnTo>
                  <a:lnTo>
                    <a:pt x="25" y="173"/>
                  </a:lnTo>
                  <a:lnTo>
                    <a:pt x="28" y="176"/>
                  </a:lnTo>
                  <a:lnTo>
                    <a:pt x="28" y="176"/>
                  </a:lnTo>
                  <a:lnTo>
                    <a:pt x="31" y="179"/>
                  </a:lnTo>
                  <a:lnTo>
                    <a:pt x="34" y="180"/>
                  </a:lnTo>
                  <a:lnTo>
                    <a:pt x="38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42" y="180"/>
                  </a:lnTo>
                  <a:lnTo>
                    <a:pt x="44" y="182"/>
                  </a:lnTo>
                  <a:lnTo>
                    <a:pt x="47" y="185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6" y="188"/>
                  </a:lnTo>
                  <a:lnTo>
                    <a:pt x="62" y="188"/>
                  </a:lnTo>
                  <a:lnTo>
                    <a:pt x="66" y="186"/>
                  </a:lnTo>
                  <a:lnTo>
                    <a:pt x="66" y="186"/>
                  </a:lnTo>
                  <a:lnTo>
                    <a:pt x="66" y="183"/>
                  </a:lnTo>
                  <a:lnTo>
                    <a:pt x="66" y="183"/>
                  </a:lnTo>
                  <a:lnTo>
                    <a:pt x="65" y="180"/>
                  </a:lnTo>
                  <a:lnTo>
                    <a:pt x="62" y="179"/>
                  </a:lnTo>
                  <a:lnTo>
                    <a:pt x="60" y="179"/>
                  </a:lnTo>
                  <a:lnTo>
                    <a:pt x="63" y="177"/>
                  </a:lnTo>
                  <a:lnTo>
                    <a:pt x="63" y="177"/>
                  </a:lnTo>
                  <a:lnTo>
                    <a:pt x="78" y="173"/>
                  </a:lnTo>
                  <a:lnTo>
                    <a:pt x="85" y="170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94" y="159"/>
                  </a:lnTo>
                  <a:lnTo>
                    <a:pt x="94" y="157"/>
                  </a:lnTo>
                  <a:lnTo>
                    <a:pt x="93" y="154"/>
                  </a:lnTo>
                  <a:lnTo>
                    <a:pt x="93" y="154"/>
                  </a:lnTo>
                  <a:lnTo>
                    <a:pt x="91" y="146"/>
                  </a:lnTo>
                  <a:lnTo>
                    <a:pt x="91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6" y="130"/>
                  </a:lnTo>
                  <a:lnTo>
                    <a:pt x="100" y="125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11" y="131"/>
                  </a:lnTo>
                  <a:lnTo>
                    <a:pt x="115" y="134"/>
                  </a:lnTo>
                  <a:lnTo>
                    <a:pt x="118" y="136"/>
                  </a:lnTo>
                  <a:lnTo>
                    <a:pt x="121" y="136"/>
                  </a:lnTo>
                  <a:lnTo>
                    <a:pt x="121" y="136"/>
                  </a:lnTo>
                  <a:lnTo>
                    <a:pt x="124" y="133"/>
                  </a:lnTo>
                  <a:lnTo>
                    <a:pt x="127" y="128"/>
                  </a:lnTo>
                  <a:lnTo>
                    <a:pt x="130" y="127"/>
                  </a:lnTo>
                  <a:lnTo>
                    <a:pt x="133" y="127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9" y="130"/>
                  </a:lnTo>
                  <a:lnTo>
                    <a:pt x="145" y="134"/>
                  </a:lnTo>
                  <a:lnTo>
                    <a:pt x="148" y="142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4" y="155"/>
                  </a:lnTo>
                  <a:lnTo>
                    <a:pt x="159" y="161"/>
                  </a:lnTo>
                  <a:lnTo>
                    <a:pt x="173" y="171"/>
                  </a:lnTo>
                  <a:lnTo>
                    <a:pt x="186" y="179"/>
                  </a:lnTo>
                  <a:lnTo>
                    <a:pt x="195" y="183"/>
                  </a:lnTo>
                  <a:lnTo>
                    <a:pt x="195" y="183"/>
                  </a:lnTo>
                  <a:lnTo>
                    <a:pt x="199" y="183"/>
                  </a:lnTo>
                  <a:lnTo>
                    <a:pt x="202" y="180"/>
                  </a:lnTo>
                  <a:lnTo>
                    <a:pt x="208" y="179"/>
                  </a:lnTo>
                  <a:lnTo>
                    <a:pt x="216" y="179"/>
                  </a:lnTo>
                  <a:lnTo>
                    <a:pt x="216" y="179"/>
                  </a:lnTo>
                  <a:lnTo>
                    <a:pt x="229" y="183"/>
                  </a:lnTo>
                  <a:lnTo>
                    <a:pt x="235" y="186"/>
                  </a:lnTo>
                  <a:lnTo>
                    <a:pt x="242" y="186"/>
                  </a:lnTo>
                  <a:lnTo>
                    <a:pt x="242" y="186"/>
                  </a:lnTo>
                  <a:lnTo>
                    <a:pt x="250" y="186"/>
                  </a:lnTo>
                  <a:lnTo>
                    <a:pt x="260" y="188"/>
                  </a:lnTo>
                  <a:lnTo>
                    <a:pt x="272" y="189"/>
                  </a:lnTo>
                  <a:lnTo>
                    <a:pt x="279" y="191"/>
                  </a:lnTo>
                  <a:lnTo>
                    <a:pt x="279" y="191"/>
                  </a:lnTo>
                  <a:lnTo>
                    <a:pt x="285" y="188"/>
                  </a:lnTo>
                  <a:lnTo>
                    <a:pt x="288" y="185"/>
                  </a:lnTo>
                  <a:lnTo>
                    <a:pt x="293" y="182"/>
                  </a:lnTo>
                  <a:lnTo>
                    <a:pt x="300" y="179"/>
                  </a:lnTo>
                  <a:lnTo>
                    <a:pt x="300" y="179"/>
                  </a:lnTo>
                  <a:lnTo>
                    <a:pt x="303" y="179"/>
                  </a:lnTo>
                  <a:lnTo>
                    <a:pt x="305" y="179"/>
                  </a:lnTo>
                  <a:lnTo>
                    <a:pt x="308" y="180"/>
                  </a:lnTo>
                  <a:lnTo>
                    <a:pt x="309" y="182"/>
                  </a:lnTo>
                  <a:lnTo>
                    <a:pt x="310" y="182"/>
                  </a:lnTo>
                  <a:lnTo>
                    <a:pt x="316" y="176"/>
                  </a:lnTo>
                  <a:lnTo>
                    <a:pt x="316" y="176"/>
                  </a:lnTo>
                  <a:lnTo>
                    <a:pt x="324" y="168"/>
                  </a:lnTo>
                  <a:lnTo>
                    <a:pt x="327" y="162"/>
                  </a:lnTo>
                  <a:lnTo>
                    <a:pt x="331" y="158"/>
                  </a:lnTo>
                  <a:lnTo>
                    <a:pt x="339" y="154"/>
                  </a:lnTo>
                  <a:lnTo>
                    <a:pt x="339" y="154"/>
                  </a:lnTo>
                  <a:lnTo>
                    <a:pt x="355" y="146"/>
                  </a:lnTo>
                  <a:lnTo>
                    <a:pt x="359" y="143"/>
                  </a:lnTo>
                  <a:lnTo>
                    <a:pt x="359" y="140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59" y="134"/>
                  </a:lnTo>
                  <a:lnTo>
                    <a:pt x="361" y="130"/>
                  </a:lnTo>
                  <a:lnTo>
                    <a:pt x="365" y="122"/>
                  </a:lnTo>
                  <a:lnTo>
                    <a:pt x="373" y="115"/>
                  </a:lnTo>
                  <a:lnTo>
                    <a:pt x="380" y="108"/>
                  </a:lnTo>
                  <a:lnTo>
                    <a:pt x="380" y="108"/>
                  </a:lnTo>
                  <a:lnTo>
                    <a:pt x="393" y="96"/>
                  </a:lnTo>
                  <a:lnTo>
                    <a:pt x="401" y="88"/>
                  </a:lnTo>
                  <a:lnTo>
                    <a:pt x="401" y="88"/>
                  </a:lnTo>
                  <a:lnTo>
                    <a:pt x="405" y="85"/>
                  </a:lnTo>
                  <a:lnTo>
                    <a:pt x="410" y="84"/>
                  </a:lnTo>
                  <a:lnTo>
                    <a:pt x="417" y="81"/>
                  </a:lnTo>
                  <a:lnTo>
                    <a:pt x="417" y="81"/>
                  </a:lnTo>
                  <a:lnTo>
                    <a:pt x="420" y="72"/>
                  </a:lnTo>
                  <a:lnTo>
                    <a:pt x="422" y="57"/>
                  </a:lnTo>
                  <a:lnTo>
                    <a:pt x="424" y="41"/>
                  </a:lnTo>
                  <a:lnTo>
                    <a:pt x="426" y="34"/>
                  </a:lnTo>
                  <a:lnTo>
                    <a:pt x="426" y="34"/>
                  </a:lnTo>
                  <a:lnTo>
                    <a:pt x="442" y="31"/>
                  </a:lnTo>
                  <a:lnTo>
                    <a:pt x="454" y="29"/>
                  </a:lnTo>
                  <a:lnTo>
                    <a:pt x="463" y="29"/>
                  </a:lnTo>
                  <a:lnTo>
                    <a:pt x="463" y="29"/>
                  </a:lnTo>
                  <a:lnTo>
                    <a:pt x="467" y="31"/>
                  </a:lnTo>
                  <a:lnTo>
                    <a:pt x="469" y="32"/>
                  </a:lnTo>
                  <a:lnTo>
                    <a:pt x="472" y="34"/>
                  </a:lnTo>
                  <a:lnTo>
                    <a:pt x="478" y="35"/>
                  </a:lnTo>
                  <a:lnTo>
                    <a:pt x="478" y="35"/>
                  </a:lnTo>
                  <a:lnTo>
                    <a:pt x="487" y="35"/>
                  </a:lnTo>
                  <a:lnTo>
                    <a:pt x="490" y="34"/>
                  </a:lnTo>
                  <a:lnTo>
                    <a:pt x="491" y="31"/>
                  </a:lnTo>
                  <a:lnTo>
                    <a:pt x="491" y="31"/>
                  </a:lnTo>
                  <a:lnTo>
                    <a:pt x="494" y="28"/>
                  </a:lnTo>
                  <a:lnTo>
                    <a:pt x="500" y="26"/>
                  </a:lnTo>
                  <a:lnTo>
                    <a:pt x="515" y="25"/>
                  </a:lnTo>
                  <a:lnTo>
                    <a:pt x="515" y="25"/>
                  </a:lnTo>
                  <a:lnTo>
                    <a:pt x="531" y="25"/>
                  </a:lnTo>
                  <a:lnTo>
                    <a:pt x="536" y="23"/>
                  </a:lnTo>
                  <a:lnTo>
                    <a:pt x="539" y="22"/>
                  </a:lnTo>
                  <a:lnTo>
                    <a:pt x="539" y="22"/>
                  </a:lnTo>
                  <a:lnTo>
                    <a:pt x="539" y="19"/>
                  </a:lnTo>
                  <a:lnTo>
                    <a:pt x="540" y="16"/>
                  </a:lnTo>
                  <a:lnTo>
                    <a:pt x="543" y="14"/>
                  </a:lnTo>
                  <a:lnTo>
                    <a:pt x="547" y="14"/>
                  </a:lnTo>
                  <a:lnTo>
                    <a:pt x="547" y="14"/>
                  </a:lnTo>
                  <a:lnTo>
                    <a:pt x="552" y="17"/>
                  </a:lnTo>
                  <a:lnTo>
                    <a:pt x="555" y="20"/>
                  </a:lnTo>
                  <a:lnTo>
                    <a:pt x="558" y="22"/>
                  </a:lnTo>
                  <a:lnTo>
                    <a:pt x="559" y="22"/>
                  </a:lnTo>
                  <a:lnTo>
                    <a:pt x="559" y="22"/>
                  </a:lnTo>
                  <a:lnTo>
                    <a:pt x="564" y="20"/>
                  </a:lnTo>
                  <a:lnTo>
                    <a:pt x="565" y="20"/>
                  </a:lnTo>
                  <a:lnTo>
                    <a:pt x="565" y="17"/>
                  </a:lnTo>
                  <a:lnTo>
                    <a:pt x="565" y="17"/>
                  </a:lnTo>
                  <a:lnTo>
                    <a:pt x="564" y="11"/>
                  </a:lnTo>
                  <a:lnTo>
                    <a:pt x="564" y="7"/>
                  </a:lnTo>
                  <a:lnTo>
                    <a:pt x="565" y="4"/>
                  </a:lnTo>
                  <a:lnTo>
                    <a:pt x="565" y="4"/>
                  </a:lnTo>
                  <a:lnTo>
                    <a:pt x="568" y="1"/>
                  </a:lnTo>
                  <a:lnTo>
                    <a:pt x="573" y="0"/>
                  </a:lnTo>
                  <a:lnTo>
                    <a:pt x="580" y="0"/>
                  </a:lnTo>
                  <a:lnTo>
                    <a:pt x="583" y="0"/>
                  </a:lnTo>
                  <a:lnTo>
                    <a:pt x="587" y="2"/>
                  </a:lnTo>
                  <a:lnTo>
                    <a:pt x="587" y="2"/>
                  </a:lnTo>
                  <a:lnTo>
                    <a:pt x="604" y="11"/>
                  </a:lnTo>
                  <a:lnTo>
                    <a:pt x="610" y="16"/>
                  </a:lnTo>
                  <a:lnTo>
                    <a:pt x="614" y="19"/>
                  </a:lnTo>
                  <a:lnTo>
                    <a:pt x="614" y="19"/>
                  </a:lnTo>
                  <a:lnTo>
                    <a:pt x="614" y="22"/>
                  </a:lnTo>
                  <a:lnTo>
                    <a:pt x="614" y="25"/>
                  </a:lnTo>
                  <a:lnTo>
                    <a:pt x="614" y="29"/>
                  </a:lnTo>
                  <a:lnTo>
                    <a:pt x="617" y="34"/>
                  </a:lnTo>
                  <a:lnTo>
                    <a:pt x="617" y="34"/>
                  </a:lnTo>
                  <a:lnTo>
                    <a:pt x="620" y="37"/>
                  </a:lnTo>
                  <a:lnTo>
                    <a:pt x="624" y="40"/>
                  </a:lnTo>
                  <a:lnTo>
                    <a:pt x="636" y="44"/>
                  </a:lnTo>
                  <a:lnTo>
                    <a:pt x="636" y="44"/>
                  </a:lnTo>
                  <a:lnTo>
                    <a:pt x="648" y="47"/>
                  </a:lnTo>
                  <a:lnTo>
                    <a:pt x="651" y="48"/>
                  </a:lnTo>
                  <a:lnTo>
                    <a:pt x="654" y="51"/>
                  </a:lnTo>
                  <a:lnTo>
                    <a:pt x="654" y="51"/>
                  </a:lnTo>
                  <a:lnTo>
                    <a:pt x="658" y="56"/>
                  </a:lnTo>
                  <a:lnTo>
                    <a:pt x="663" y="59"/>
                  </a:lnTo>
                  <a:lnTo>
                    <a:pt x="673" y="66"/>
                  </a:lnTo>
                  <a:lnTo>
                    <a:pt x="673" y="66"/>
                  </a:lnTo>
                  <a:lnTo>
                    <a:pt x="679" y="74"/>
                  </a:lnTo>
                  <a:lnTo>
                    <a:pt x="684" y="75"/>
                  </a:lnTo>
                  <a:lnTo>
                    <a:pt x="688" y="74"/>
                  </a:lnTo>
                  <a:lnTo>
                    <a:pt x="688" y="74"/>
                  </a:lnTo>
                  <a:lnTo>
                    <a:pt x="697" y="69"/>
                  </a:lnTo>
                  <a:lnTo>
                    <a:pt x="703" y="68"/>
                  </a:lnTo>
                  <a:lnTo>
                    <a:pt x="709" y="69"/>
                  </a:lnTo>
                  <a:lnTo>
                    <a:pt x="709" y="69"/>
                  </a:lnTo>
                  <a:lnTo>
                    <a:pt x="715" y="74"/>
                  </a:lnTo>
                  <a:lnTo>
                    <a:pt x="724" y="82"/>
                  </a:lnTo>
                  <a:lnTo>
                    <a:pt x="737" y="93"/>
                  </a:lnTo>
                  <a:lnTo>
                    <a:pt x="737" y="93"/>
                  </a:lnTo>
                  <a:lnTo>
                    <a:pt x="721" y="90"/>
                  </a:lnTo>
                  <a:lnTo>
                    <a:pt x="721" y="90"/>
                  </a:lnTo>
                  <a:lnTo>
                    <a:pt x="716" y="87"/>
                  </a:lnTo>
                  <a:lnTo>
                    <a:pt x="715" y="85"/>
                  </a:lnTo>
                  <a:lnTo>
                    <a:pt x="712" y="85"/>
                  </a:lnTo>
                  <a:lnTo>
                    <a:pt x="710" y="88"/>
                  </a:lnTo>
                  <a:lnTo>
                    <a:pt x="710" y="88"/>
                  </a:lnTo>
                  <a:lnTo>
                    <a:pt x="710" y="94"/>
                  </a:lnTo>
                  <a:lnTo>
                    <a:pt x="712" y="99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9" y="111"/>
                  </a:lnTo>
                  <a:lnTo>
                    <a:pt x="721" y="114"/>
                  </a:lnTo>
                  <a:lnTo>
                    <a:pt x="719" y="117"/>
                  </a:lnTo>
                  <a:lnTo>
                    <a:pt x="716" y="119"/>
                  </a:lnTo>
                  <a:lnTo>
                    <a:pt x="716" y="119"/>
                  </a:lnTo>
                  <a:lnTo>
                    <a:pt x="712" y="122"/>
                  </a:lnTo>
                  <a:lnTo>
                    <a:pt x="709" y="127"/>
                  </a:lnTo>
                  <a:lnTo>
                    <a:pt x="707" y="133"/>
                  </a:lnTo>
                  <a:lnTo>
                    <a:pt x="709" y="140"/>
                  </a:lnTo>
                  <a:lnTo>
                    <a:pt x="709" y="140"/>
                  </a:lnTo>
                  <a:lnTo>
                    <a:pt x="709" y="148"/>
                  </a:lnTo>
                  <a:lnTo>
                    <a:pt x="709" y="152"/>
                  </a:lnTo>
                  <a:lnTo>
                    <a:pt x="707" y="157"/>
                  </a:lnTo>
                  <a:lnTo>
                    <a:pt x="707" y="161"/>
                  </a:lnTo>
                  <a:lnTo>
                    <a:pt x="707" y="161"/>
                  </a:lnTo>
                  <a:lnTo>
                    <a:pt x="709" y="165"/>
                  </a:lnTo>
                  <a:lnTo>
                    <a:pt x="712" y="168"/>
                  </a:lnTo>
                  <a:lnTo>
                    <a:pt x="712" y="170"/>
                  </a:lnTo>
                  <a:lnTo>
                    <a:pt x="710" y="174"/>
                  </a:lnTo>
                  <a:lnTo>
                    <a:pt x="710" y="174"/>
                  </a:lnTo>
                  <a:lnTo>
                    <a:pt x="707" y="180"/>
                  </a:lnTo>
                  <a:lnTo>
                    <a:pt x="706" y="185"/>
                  </a:lnTo>
                  <a:lnTo>
                    <a:pt x="706" y="189"/>
                  </a:lnTo>
                  <a:lnTo>
                    <a:pt x="707" y="192"/>
                  </a:lnTo>
                  <a:lnTo>
                    <a:pt x="707" y="192"/>
                  </a:lnTo>
                  <a:lnTo>
                    <a:pt x="712" y="20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8" name="Freeform 187">
              <a:extLst>
                <a:ext uri="{FF2B5EF4-FFF2-40B4-BE49-F238E27FC236}">
                  <a16:creationId xmlns:a16="http://schemas.microsoft.com/office/drawing/2014/main" id="{813D04DB-9F6B-9E41-BB0E-95662EFA6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2050" y="4976813"/>
              <a:ext cx="406400" cy="1941512"/>
            </a:xfrm>
            <a:custGeom>
              <a:avLst/>
              <a:gdLst>
                <a:gd name="T0" fmla="*/ 99 w 256"/>
                <a:gd name="T1" fmla="*/ 26 h 1223"/>
                <a:gd name="T2" fmla="*/ 132 w 256"/>
                <a:gd name="T3" fmla="*/ 96 h 1223"/>
                <a:gd name="T4" fmla="*/ 142 w 256"/>
                <a:gd name="T5" fmla="*/ 203 h 1223"/>
                <a:gd name="T6" fmla="*/ 136 w 256"/>
                <a:gd name="T7" fmla="*/ 250 h 1223"/>
                <a:gd name="T8" fmla="*/ 117 w 256"/>
                <a:gd name="T9" fmla="*/ 269 h 1223"/>
                <a:gd name="T10" fmla="*/ 95 w 256"/>
                <a:gd name="T11" fmla="*/ 287 h 1223"/>
                <a:gd name="T12" fmla="*/ 115 w 256"/>
                <a:gd name="T13" fmla="*/ 294 h 1223"/>
                <a:gd name="T14" fmla="*/ 129 w 256"/>
                <a:gd name="T15" fmla="*/ 308 h 1223"/>
                <a:gd name="T16" fmla="*/ 127 w 256"/>
                <a:gd name="T17" fmla="*/ 342 h 1223"/>
                <a:gd name="T18" fmla="*/ 133 w 256"/>
                <a:gd name="T19" fmla="*/ 374 h 1223"/>
                <a:gd name="T20" fmla="*/ 139 w 256"/>
                <a:gd name="T21" fmla="*/ 425 h 1223"/>
                <a:gd name="T22" fmla="*/ 173 w 256"/>
                <a:gd name="T23" fmla="*/ 446 h 1223"/>
                <a:gd name="T24" fmla="*/ 151 w 256"/>
                <a:gd name="T25" fmla="*/ 477 h 1223"/>
                <a:gd name="T26" fmla="*/ 130 w 256"/>
                <a:gd name="T27" fmla="*/ 503 h 1223"/>
                <a:gd name="T28" fmla="*/ 142 w 256"/>
                <a:gd name="T29" fmla="*/ 524 h 1223"/>
                <a:gd name="T30" fmla="*/ 130 w 256"/>
                <a:gd name="T31" fmla="*/ 524 h 1223"/>
                <a:gd name="T32" fmla="*/ 127 w 256"/>
                <a:gd name="T33" fmla="*/ 561 h 1223"/>
                <a:gd name="T34" fmla="*/ 145 w 256"/>
                <a:gd name="T35" fmla="*/ 560 h 1223"/>
                <a:gd name="T36" fmla="*/ 164 w 256"/>
                <a:gd name="T37" fmla="*/ 555 h 1223"/>
                <a:gd name="T38" fmla="*/ 179 w 256"/>
                <a:gd name="T39" fmla="*/ 565 h 1223"/>
                <a:gd name="T40" fmla="*/ 212 w 256"/>
                <a:gd name="T41" fmla="*/ 574 h 1223"/>
                <a:gd name="T42" fmla="*/ 229 w 256"/>
                <a:gd name="T43" fmla="*/ 583 h 1223"/>
                <a:gd name="T44" fmla="*/ 255 w 256"/>
                <a:gd name="T45" fmla="*/ 589 h 1223"/>
                <a:gd name="T46" fmla="*/ 253 w 256"/>
                <a:gd name="T47" fmla="*/ 610 h 1223"/>
                <a:gd name="T48" fmla="*/ 227 w 256"/>
                <a:gd name="T49" fmla="*/ 620 h 1223"/>
                <a:gd name="T50" fmla="*/ 194 w 256"/>
                <a:gd name="T51" fmla="*/ 619 h 1223"/>
                <a:gd name="T52" fmla="*/ 175 w 256"/>
                <a:gd name="T53" fmla="*/ 634 h 1223"/>
                <a:gd name="T54" fmla="*/ 170 w 256"/>
                <a:gd name="T55" fmla="*/ 669 h 1223"/>
                <a:gd name="T56" fmla="*/ 181 w 256"/>
                <a:gd name="T57" fmla="*/ 678 h 1223"/>
                <a:gd name="T58" fmla="*/ 167 w 256"/>
                <a:gd name="T59" fmla="*/ 693 h 1223"/>
                <a:gd name="T60" fmla="*/ 163 w 256"/>
                <a:gd name="T61" fmla="*/ 709 h 1223"/>
                <a:gd name="T62" fmla="*/ 169 w 256"/>
                <a:gd name="T63" fmla="*/ 739 h 1223"/>
                <a:gd name="T64" fmla="*/ 179 w 256"/>
                <a:gd name="T65" fmla="*/ 757 h 1223"/>
                <a:gd name="T66" fmla="*/ 192 w 256"/>
                <a:gd name="T67" fmla="*/ 768 h 1223"/>
                <a:gd name="T68" fmla="*/ 187 w 256"/>
                <a:gd name="T69" fmla="*/ 789 h 1223"/>
                <a:gd name="T70" fmla="*/ 179 w 256"/>
                <a:gd name="T71" fmla="*/ 810 h 1223"/>
                <a:gd name="T72" fmla="*/ 163 w 256"/>
                <a:gd name="T73" fmla="*/ 848 h 1223"/>
                <a:gd name="T74" fmla="*/ 166 w 256"/>
                <a:gd name="T75" fmla="*/ 871 h 1223"/>
                <a:gd name="T76" fmla="*/ 136 w 256"/>
                <a:gd name="T77" fmla="*/ 893 h 1223"/>
                <a:gd name="T78" fmla="*/ 120 w 256"/>
                <a:gd name="T79" fmla="*/ 912 h 1223"/>
                <a:gd name="T80" fmla="*/ 123 w 256"/>
                <a:gd name="T81" fmla="*/ 931 h 1223"/>
                <a:gd name="T82" fmla="*/ 105 w 256"/>
                <a:gd name="T83" fmla="*/ 943 h 1223"/>
                <a:gd name="T84" fmla="*/ 101 w 256"/>
                <a:gd name="T85" fmla="*/ 1004 h 1223"/>
                <a:gd name="T86" fmla="*/ 138 w 256"/>
                <a:gd name="T87" fmla="*/ 1032 h 1223"/>
                <a:gd name="T88" fmla="*/ 151 w 256"/>
                <a:gd name="T89" fmla="*/ 1057 h 1223"/>
                <a:gd name="T90" fmla="*/ 150 w 256"/>
                <a:gd name="T91" fmla="*/ 1085 h 1223"/>
                <a:gd name="T92" fmla="*/ 129 w 256"/>
                <a:gd name="T93" fmla="*/ 1087 h 1223"/>
                <a:gd name="T94" fmla="*/ 124 w 256"/>
                <a:gd name="T95" fmla="*/ 1116 h 1223"/>
                <a:gd name="T96" fmla="*/ 150 w 256"/>
                <a:gd name="T97" fmla="*/ 1134 h 1223"/>
                <a:gd name="T98" fmla="*/ 157 w 256"/>
                <a:gd name="T99" fmla="*/ 1159 h 1223"/>
                <a:gd name="T100" fmla="*/ 135 w 256"/>
                <a:gd name="T101" fmla="*/ 1177 h 1223"/>
                <a:gd name="T102" fmla="*/ 129 w 256"/>
                <a:gd name="T103" fmla="*/ 1202 h 1223"/>
                <a:gd name="T104" fmla="*/ 112 w 256"/>
                <a:gd name="T105" fmla="*/ 1223 h 1223"/>
                <a:gd name="T106" fmla="*/ 104 w 256"/>
                <a:gd name="T107" fmla="*/ 1208 h 1223"/>
                <a:gd name="T108" fmla="*/ 80 w 256"/>
                <a:gd name="T109" fmla="*/ 1214 h 1223"/>
                <a:gd name="T110" fmla="*/ 77 w 256"/>
                <a:gd name="T111" fmla="*/ 1192 h 1223"/>
                <a:gd name="T112" fmla="*/ 47 w 256"/>
                <a:gd name="T113" fmla="*/ 1170 h 1223"/>
                <a:gd name="T114" fmla="*/ 30 w 256"/>
                <a:gd name="T115" fmla="*/ 1155 h 1223"/>
                <a:gd name="T116" fmla="*/ 0 w 256"/>
                <a:gd name="T117" fmla="*/ 1164 h 1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6" h="1223">
                  <a:moveTo>
                    <a:pt x="95" y="0"/>
                  </a:moveTo>
                  <a:lnTo>
                    <a:pt x="95" y="0"/>
                  </a:lnTo>
                  <a:lnTo>
                    <a:pt x="95" y="4"/>
                  </a:lnTo>
                  <a:lnTo>
                    <a:pt x="93" y="9"/>
                  </a:lnTo>
                  <a:lnTo>
                    <a:pt x="95" y="19"/>
                  </a:lnTo>
                  <a:lnTo>
                    <a:pt x="95" y="19"/>
                  </a:lnTo>
                  <a:lnTo>
                    <a:pt x="99" y="26"/>
                  </a:lnTo>
                  <a:lnTo>
                    <a:pt x="108" y="37"/>
                  </a:lnTo>
                  <a:lnTo>
                    <a:pt x="118" y="47"/>
                  </a:lnTo>
                  <a:lnTo>
                    <a:pt x="126" y="58"/>
                  </a:lnTo>
                  <a:lnTo>
                    <a:pt x="126" y="58"/>
                  </a:lnTo>
                  <a:lnTo>
                    <a:pt x="129" y="66"/>
                  </a:lnTo>
                  <a:lnTo>
                    <a:pt x="132" y="77"/>
                  </a:lnTo>
                  <a:lnTo>
                    <a:pt x="132" y="96"/>
                  </a:lnTo>
                  <a:lnTo>
                    <a:pt x="132" y="96"/>
                  </a:lnTo>
                  <a:lnTo>
                    <a:pt x="133" y="105"/>
                  </a:lnTo>
                  <a:lnTo>
                    <a:pt x="135" y="112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41" y="177"/>
                  </a:lnTo>
                  <a:lnTo>
                    <a:pt x="142" y="203"/>
                  </a:lnTo>
                  <a:lnTo>
                    <a:pt x="145" y="220"/>
                  </a:lnTo>
                  <a:lnTo>
                    <a:pt x="145" y="220"/>
                  </a:lnTo>
                  <a:lnTo>
                    <a:pt x="147" y="231"/>
                  </a:lnTo>
                  <a:lnTo>
                    <a:pt x="145" y="240"/>
                  </a:lnTo>
                  <a:lnTo>
                    <a:pt x="142" y="247"/>
                  </a:lnTo>
                  <a:lnTo>
                    <a:pt x="139" y="249"/>
                  </a:lnTo>
                  <a:lnTo>
                    <a:pt x="136" y="250"/>
                  </a:lnTo>
                  <a:lnTo>
                    <a:pt x="136" y="250"/>
                  </a:lnTo>
                  <a:lnTo>
                    <a:pt x="126" y="252"/>
                  </a:lnTo>
                  <a:lnTo>
                    <a:pt x="123" y="253"/>
                  </a:lnTo>
                  <a:lnTo>
                    <a:pt x="120" y="259"/>
                  </a:lnTo>
                  <a:lnTo>
                    <a:pt x="120" y="259"/>
                  </a:lnTo>
                  <a:lnTo>
                    <a:pt x="118" y="265"/>
                  </a:lnTo>
                  <a:lnTo>
                    <a:pt x="117" y="269"/>
                  </a:lnTo>
                  <a:lnTo>
                    <a:pt x="115" y="272"/>
                  </a:lnTo>
                  <a:lnTo>
                    <a:pt x="110" y="275"/>
                  </a:lnTo>
                  <a:lnTo>
                    <a:pt x="110" y="275"/>
                  </a:lnTo>
                  <a:lnTo>
                    <a:pt x="96" y="281"/>
                  </a:lnTo>
                  <a:lnTo>
                    <a:pt x="95" y="284"/>
                  </a:lnTo>
                  <a:lnTo>
                    <a:pt x="95" y="287"/>
                  </a:lnTo>
                  <a:lnTo>
                    <a:pt x="95" y="287"/>
                  </a:lnTo>
                  <a:lnTo>
                    <a:pt x="98" y="289"/>
                  </a:lnTo>
                  <a:lnTo>
                    <a:pt x="99" y="290"/>
                  </a:lnTo>
                  <a:lnTo>
                    <a:pt x="105" y="292"/>
                  </a:lnTo>
                  <a:lnTo>
                    <a:pt x="111" y="292"/>
                  </a:lnTo>
                  <a:lnTo>
                    <a:pt x="114" y="293"/>
                  </a:lnTo>
                  <a:lnTo>
                    <a:pt x="114" y="293"/>
                  </a:lnTo>
                  <a:lnTo>
                    <a:pt x="115" y="294"/>
                  </a:lnTo>
                  <a:lnTo>
                    <a:pt x="115" y="297"/>
                  </a:lnTo>
                  <a:lnTo>
                    <a:pt x="115" y="299"/>
                  </a:lnTo>
                  <a:lnTo>
                    <a:pt x="117" y="302"/>
                  </a:lnTo>
                  <a:lnTo>
                    <a:pt x="117" y="302"/>
                  </a:lnTo>
                  <a:lnTo>
                    <a:pt x="121" y="305"/>
                  </a:lnTo>
                  <a:lnTo>
                    <a:pt x="124" y="306"/>
                  </a:lnTo>
                  <a:lnTo>
                    <a:pt x="129" y="308"/>
                  </a:lnTo>
                  <a:lnTo>
                    <a:pt x="130" y="309"/>
                  </a:lnTo>
                  <a:lnTo>
                    <a:pt x="130" y="309"/>
                  </a:lnTo>
                  <a:lnTo>
                    <a:pt x="130" y="314"/>
                  </a:lnTo>
                  <a:lnTo>
                    <a:pt x="130" y="321"/>
                  </a:lnTo>
                  <a:lnTo>
                    <a:pt x="129" y="336"/>
                  </a:lnTo>
                  <a:lnTo>
                    <a:pt x="129" y="336"/>
                  </a:lnTo>
                  <a:lnTo>
                    <a:pt x="127" y="342"/>
                  </a:lnTo>
                  <a:lnTo>
                    <a:pt x="124" y="349"/>
                  </a:lnTo>
                  <a:lnTo>
                    <a:pt x="123" y="358"/>
                  </a:lnTo>
                  <a:lnTo>
                    <a:pt x="124" y="361"/>
                  </a:lnTo>
                  <a:lnTo>
                    <a:pt x="126" y="366"/>
                  </a:lnTo>
                  <a:lnTo>
                    <a:pt x="126" y="366"/>
                  </a:lnTo>
                  <a:lnTo>
                    <a:pt x="129" y="371"/>
                  </a:lnTo>
                  <a:lnTo>
                    <a:pt x="133" y="374"/>
                  </a:lnTo>
                  <a:lnTo>
                    <a:pt x="136" y="379"/>
                  </a:lnTo>
                  <a:lnTo>
                    <a:pt x="139" y="385"/>
                  </a:lnTo>
                  <a:lnTo>
                    <a:pt x="139" y="385"/>
                  </a:lnTo>
                  <a:lnTo>
                    <a:pt x="139" y="397"/>
                  </a:lnTo>
                  <a:lnTo>
                    <a:pt x="138" y="409"/>
                  </a:lnTo>
                  <a:lnTo>
                    <a:pt x="138" y="420"/>
                  </a:lnTo>
                  <a:lnTo>
                    <a:pt x="139" y="425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8" y="432"/>
                  </a:lnTo>
                  <a:lnTo>
                    <a:pt x="158" y="437"/>
                  </a:lnTo>
                  <a:lnTo>
                    <a:pt x="169" y="441"/>
                  </a:lnTo>
                  <a:lnTo>
                    <a:pt x="173" y="446"/>
                  </a:lnTo>
                  <a:lnTo>
                    <a:pt x="173" y="446"/>
                  </a:lnTo>
                  <a:lnTo>
                    <a:pt x="172" y="448"/>
                  </a:lnTo>
                  <a:lnTo>
                    <a:pt x="167" y="453"/>
                  </a:lnTo>
                  <a:lnTo>
                    <a:pt x="157" y="460"/>
                  </a:lnTo>
                  <a:lnTo>
                    <a:pt x="157" y="460"/>
                  </a:lnTo>
                  <a:lnTo>
                    <a:pt x="152" y="463"/>
                  </a:lnTo>
                  <a:lnTo>
                    <a:pt x="151" y="468"/>
                  </a:lnTo>
                  <a:lnTo>
                    <a:pt x="151" y="477"/>
                  </a:lnTo>
                  <a:lnTo>
                    <a:pt x="151" y="477"/>
                  </a:lnTo>
                  <a:lnTo>
                    <a:pt x="150" y="483"/>
                  </a:lnTo>
                  <a:lnTo>
                    <a:pt x="145" y="488"/>
                  </a:lnTo>
                  <a:lnTo>
                    <a:pt x="136" y="499"/>
                  </a:lnTo>
                  <a:lnTo>
                    <a:pt x="136" y="499"/>
                  </a:lnTo>
                  <a:lnTo>
                    <a:pt x="133" y="502"/>
                  </a:lnTo>
                  <a:lnTo>
                    <a:pt x="130" y="503"/>
                  </a:lnTo>
                  <a:lnTo>
                    <a:pt x="129" y="505"/>
                  </a:lnTo>
                  <a:lnTo>
                    <a:pt x="129" y="506"/>
                  </a:lnTo>
                  <a:lnTo>
                    <a:pt x="132" y="511"/>
                  </a:lnTo>
                  <a:lnTo>
                    <a:pt x="132" y="511"/>
                  </a:lnTo>
                  <a:lnTo>
                    <a:pt x="139" y="520"/>
                  </a:lnTo>
                  <a:lnTo>
                    <a:pt x="142" y="524"/>
                  </a:lnTo>
                  <a:lnTo>
                    <a:pt x="142" y="524"/>
                  </a:lnTo>
                  <a:lnTo>
                    <a:pt x="141" y="526"/>
                  </a:lnTo>
                  <a:lnTo>
                    <a:pt x="141" y="526"/>
                  </a:lnTo>
                  <a:lnTo>
                    <a:pt x="138" y="526"/>
                  </a:lnTo>
                  <a:lnTo>
                    <a:pt x="135" y="524"/>
                  </a:lnTo>
                  <a:lnTo>
                    <a:pt x="132" y="524"/>
                  </a:lnTo>
                  <a:lnTo>
                    <a:pt x="130" y="524"/>
                  </a:lnTo>
                  <a:lnTo>
                    <a:pt x="130" y="524"/>
                  </a:lnTo>
                  <a:lnTo>
                    <a:pt x="126" y="537"/>
                  </a:lnTo>
                  <a:lnTo>
                    <a:pt x="121" y="548"/>
                  </a:lnTo>
                  <a:lnTo>
                    <a:pt x="121" y="555"/>
                  </a:lnTo>
                  <a:lnTo>
                    <a:pt x="121" y="555"/>
                  </a:lnTo>
                  <a:lnTo>
                    <a:pt x="121" y="558"/>
                  </a:lnTo>
                  <a:lnTo>
                    <a:pt x="124" y="561"/>
                  </a:lnTo>
                  <a:lnTo>
                    <a:pt x="127" y="561"/>
                  </a:lnTo>
                  <a:lnTo>
                    <a:pt x="132" y="560"/>
                  </a:lnTo>
                  <a:lnTo>
                    <a:pt x="132" y="560"/>
                  </a:lnTo>
                  <a:lnTo>
                    <a:pt x="139" y="555"/>
                  </a:lnTo>
                  <a:lnTo>
                    <a:pt x="141" y="554"/>
                  </a:lnTo>
                  <a:lnTo>
                    <a:pt x="144" y="555"/>
                  </a:lnTo>
                  <a:lnTo>
                    <a:pt x="144" y="555"/>
                  </a:lnTo>
                  <a:lnTo>
                    <a:pt x="145" y="560"/>
                  </a:lnTo>
                  <a:lnTo>
                    <a:pt x="148" y="564"/>
                  </a:lnTo>
                  <a:lnTo>
                    <a:pt x="150" y="565"/>
                  </a:lnTo>
                  <a:lnTo>
                    <a:pt x="151" y="567"/>
                  </a:lnTo>
                  <a:lnTo>
                    <a:pt x="154" y="565"/>
                  </a:lnTo>
                  <a:lnTo>
                    <a:pt x="155" y="564"/>
                  </a:lnTo>
                  <a:lnTo>
                    <a:pt x="155" y="564"/>
                  </a:lnTo>
                  <a:lnTo>
                    <a:pt x="164" y="555"/>
                  </a:lnTo>
                  <a:lnTo>
                    <a:pt x="167" y="554"/>
                  </a:lnTo>
                  <a:lnTo>
                    <a:pt x="170" y="555"/>
                  </a:lnTo>
                  <a:lnTo>
                    <a:pt x="170" y="555"/>
                  </a:lnTo>
                  <a:lnTo>
                    <a:pt x="173" y="563"/>
                  </a:lnTo>
                  <a:lnTo>
                    <a:pt x="175" y="565"/>
                  </a:lnTo>
                  <a:lnTo>
                    <a:pt x="179" y="565"/>
                  </a:lnTo>
                  <a:lnTo>
                    <a:pt x="179" y="565"/>
                  </a:lnTo>
                  <a:lnTo>
                    <a:pt x="187" y="567"/>
                  </a:lnTo>
                  <a:lnTo>
                    <a:pt x="191" y="568"/>
                  </a:lnTo>
                  <a:lnTo>
                    <a:pt x="195" y="571"/>
                  </a:lnTo>
                  <a:lnTo>
                    <a:pt x="195" y="571"/>
                  </a:lnTo>
                  <a:lnTo>
                    <a:pt x="200" y="574"/>
                  </a:lnTo>
                  <a:lnTo>
                    <a:pt x="204" y="574"/>
                  </a:lnTo>
                  <a:lnTo>
                    <a:pt x="212" y="574"/>
                  </a:lnTo>
                  <a:lnTo>
                    <a:pt x="212" y="574"/>
                  </a:lnTo>
                  <a:lnTo>
                    <a:pt x="213" y="576"/>
                  </a:lnTo>
                  <a:lnTo>
                    <a:pt x="215" y="577"/>
                  </a:lnTo>
                  <a:lnTo>
                    <a:pt x="218" y="579"/>
                  </a:lnTo>
                  <a:lnTo>
                    <a:pt x="222" y="580"/>
                  </a:lnTo>
                  <a:lnTo>
                    <a:pt x="222" y="580"/>
                  </a:lnTo>
                  <a:lnTo>
                    <a:pt x="229" y="583"/>
                  </a:lnTo>
                  <a:lnTo>
                    <a:pt x="235" y="583"/>
                  </a:lnTo>
                  <a:lnTo>
                    <a:pt x="240" y="583"/>
                  </a:lnTo>
                  <a:lnTo>
                    <a:pt x="243" y="582"/>
                  </a:lnTo>
                  <a:lnTo>
                    <a:pt x="243" y="582"/>
                  </a:lnTo>
                  <a:lnTo>
                    <a:pt x="246" y="582"/>
                  </a:lnTo>
                  <a:lnTo>
                    <a:pt x="250" y="585"/>
                  </a:lnTo>
                  <a:lnTo>
                    <a:pt x="255" y="589"/>
                  </a:lnTo>
                  <a:lnTo>
                    <a:pt x="256" y="592"/>
                  </a:lnTo>
                  <a:lnTo>
                    <a:pt x="256" y="595"/>
                  </a:lnTo>
                  <a:lnTo>
                    <a:pt x="256" y="595"/>
                  </a:lnTo>
                  <a:lnTo>
                    <a:pt x="256" y="601"/>
                  </a:lnTo>
                  <a:lnTo>
                    <a:pt x="256" y="605"/>
                  </a:lnTo>
                  <a:lnTo>
                    <a:pt x="255" y="608"/>
                  </a:lnTo>
                  <a:lnTo>
                    <a:pt x="253" y="610"/>
                  </a:lnTo>
                  <a:lnTo>
                    <a:pt x="250" y="611"/>
                  </a:lnTo>
                  <a:lnTo>
                    <a:pt x="246" y="611"/>
                  </a:lnTo>
                  <a:lnTo>
                    <a:pt x="246" y="611"/>
                  </a:lnTo>
                  <a:lnTo>
                    <a:pt x="238" y="613"/>
                  </a:lnTo>
                  <a:lnTo>
                    <a:pt x="232" y="614"/>
                  </a:lnTo>
                  <a:lnTo>
                    <a:pt x="229" y="616"/>
                  </a:lnTo>
                  <a:lnTo>
                    <a:pt x="227" y="620"/>
                  </a:lnTo>
                  <a:lnTo>
                    <a:pt x="227" y="620"/>
                  </a:lnTo>
                  <a:lnTo>
                    <a:pt x="222" y="625"/>
                  </a:lnTo>
                  <a:lnTo>
                    <a:pt x="218" y="628"/>
                  </a:lnTo>
                  <a:lnTo>
                    <a:pt x="213" y="629"/>
                  </a:lnTo>
                  <a:lnTo>
                    <a:pt x="207" y="628"/>
                  </a:lnTo>
                  <a:lnTo>
                    <a:pt x="207" y="628"/>
                  </a:lnTo>
                  <a:lnTo>
                    <a:pt x="194" y="619"/>
                  </a:lnTo>
                  <a:lnTo>
                    <a:pt x="189" y="617"/>
                  </a:lnTo>
                  <a:lnTo>
                    <a:pt x="187" y="617"/>
                  </a:lnTo>
                  <a:lnTo>
                    <a:pt x="184" y="619"/>
                  </a:lnTo>
                  <a:lnTo>
                    <a:pt x="181" y="620"/>
                  </a:lnTo>
                  <a:lnTo>
                    <a:pt x="181" y="620"/>
                  </a:lnTo>
                  <a:lnTo>
                    <a:pt x="176" y="628"/>
                  </a:lnTo>
                  <a:lnTo>
                    <a:pt x="175" y="634"/>
                  </a:lnTo>
                  <a:lnTo>
                    <a:pt x="173" y="648"/>
                  </a:lnTo>
                  <a:lnTo>
                    <a:pt x="173" y="648"/>
                  </a:lnTo>
                  <a:lnTo>
                    <a:pt x="172" y="656"/>
                  </a:lnTo>
                  <a:lnTo>
                    <a:pt x="169" y="662"/>
                  </a:lnTo>
                  <a:lnTo>
                    <a:pt x="169" y="666"/>
                  </a:lnTo>
                  <a:lnTo>
                    <a:pt x="169" y="668"/>
                  </a:lnTo>
                  <a:lnTo>
                    <a:pt x="170" y="669"/>
                  </a:lnTo>
                  <a:lnTo>
                    <a:pt x="170" y="669"/>
                  </a:lnTo>
                  <a:lnTo>
                    <a:pt x="175" y="672"/>
                  </a:lnTo>
                  <a:lnTo>
                    <a:pt x="179" y="672"/>
                  </a:lnTo>
                  <a:lnTo>
                    <a:pt x="182" y="675"/>
                  </a:lnTo>
                  <a:lnTo>
                    <a:pt x="182" y="677"/>
                  </a:lnTo>
                  <a:lnTo>
                    <a:pt x="181" y="678"/>
                  </a:lnTo>
                  <a:lnTo>
                    <a:pt x="181" y="678"/>
                  </a:lnTo>
                  <a:lnTo>
                    <a:pt x="178" y="682"/>
                  </a:lnTo>
                  <a:lnTo>
                    <a:pt x="173" y="684"/>
                  </a:lnTo>
                  <a:lnTo>
                    <a:pt x="169" y="685"/>
                  </a:lnTo>
                  <a:lnTo>
                    <a:pt x="167" y="687"/>
                  </a:lnTo>
                  <a:lnTo>
                    <a:pt x="167" y="688"/>
                  </a:lnTo>
                  <a:lnTo>
                    <a:pt x="167" y="688"/>
                  </a:lnTo>
                  <a:lnTo>
                    <a:pt x="167" y="693"/>
                  </a:lnTo>
                  <a:lnTo>
                    <a:pt x="169" y="696"/>
                  </a:lnTo>
                  <a:lnTo>
                    <a:pt x="172" y="700"/>
                  </a:lnTo>
                  <a:lnTo>
                    <a:pt x="172" y="700"/>
                  </a:lnTo>
                  <a:lnTo>
                    <a:pt x="172" y="702"/>
                  </a:lnTo>
                  <a:lnTo>
                    <a:pt x="169" y="703"/>
                  </a:lnTo>
                  <a:lnTo>
                    <a:pt x="164" y="706"/>
                  </a:lnTo>
                  <a:lnTo>
                    <a:pt x="163" y="709"/>
                  </a:lnTo>
                  <a:lnTo>
                    <a:pt x="163" y="709"/>
                  </a:lnTo>
                  <a:lnTo>
                    <a:pt x="160" y="718"/>
                  </a:lnTo>
                  <a:lnTo>
                    <a:pt x="161" y="722"/>
                  </a:lnTo>
                  <a:lnTo>
                    <a:pt x="163" y="728"/>
                  </a:lnTo>
                  <a:lnTo>
                    <a:pt x="163" y="728"/>
                  </a:lnTo>
                  <a:lnTo>
                    <a:pt x="166" y="734"/>
                  </a:lnTo>
                  <a:lnTo>
                    <a:pt x="169" y="739"/>
                  </a:lnTo>
                  <a:lnTo>
                    <a:pt x="172" y="743"/>
                  </a:lnTo>
                  <a:lnTo>
                    <a:pt x="173" y="745"/>
                  </a:lnTo>
                  <a:lnTo>
                    <a:pt x="173" y="745"/>
                  </a:lnTo>
                  <a:lnTo>
                    <a:pt x="173" y="752"/>
                  </a:lnTo>
                  <a:lnTo>
                    <a:pt x="176" y="755"/>
                  </a:lnTo>
                  <a:lnTo>
                    <a:pt x="179" y="757"/>
                  </a:lnTo>
                  <a:lnTo>
                    <a:pt x="179" y="757"/>
                  </a:lnTo>
                  <a:lnTo>
                    <a:pt x="189" y="760"/>
                  </a:lnTo>
                  <a:lnTo>
                    <a:pt x="194" y="761"/>
                  </a:lnTo>
                  <a:lnTo>
                    <a:pt x="195" y="761"/>
                  </a:lnTo>
                  <a:lnTo>
                    <a:pt x="197" y="762"/>
                  </a:lnTo>
                  <a:lnTo>
                    <a:pt x="197" y="762"/>
                  </a:lnTo>
                  <a:lnTo>
                    <a:pt x="195" y="765"/>
                  </a:lnTo>
                  <a:lnTo>
                    <a:pt x="192" y="768"/>
                  </a:lnTo>
                  <a:lnTo>
                    <a:pt x="191" y="773"/>
                  </a:lnTo>
                  <a:lnTo>
                    <a:pt x="189" y="776"/>
                  </a:lnTo>
                  <a:lnTo>
                    <a:pt x="189" y="776"/>
                  </a:lnTo>
                  <a:lnTo>
                    <a:pt x="191" y="783"/>
                  </a:lnTo>
                  <a:lnTo>
                    <a:pt x="191" y="786"/>
                  </a:lnTo>
                  <a:lnTo>
                    <a:pt x="189" y="788"/>
                  </a:lnTo>
                  <a:lnTo>
                    <a:pt x="187" y="789"/>
                  </a:lnTo>
                  <a:lnTo>
                    <a:pt x="187" y="789"/>
                  </a:lnTo>
                  <a:lnTo>
                    <a:pt x="182" y="791"/>
                  </a:lnTo>
                  <a:lnTo>
                    <a:pt x="179" y="795"/>
                  </a:lnTo>
                  <a:lnTo>
                    <a:pt x="178" y="799"/>
                  </a:lnTo>
                  <a:lnTo>
                    <a:pt x="178" y="804"/>
                  </a:lnTo>
                  <a:lnTo>
                    <a:pt x="178" y="804"/>
                  </a:lnTo>
                  <a:lnTo>
                    <a:pt x="179" y="810"/>
                  </a:lnTo>
                  <a:lnTo>
                    <a:pt x="179" y="819"/>
                  </a:lnTo>
                  <a:lnTo>
                    <a:pt x="179" y="835"/>
                  </a:lnTo>
                  <a:lnTo>
                    <a:pt x="179" y="835"/>
                  </a:lnTo>
                  <a:lnTo>
                    <a:pt x="178" y="837"/>
                  </a:lnTo>
                  <a:lnTo>
                    <a:pt x="176" y="839"/>
                  </a:lnTo>
                  <a:lnTo>
                    <a:pt x="170" y="842"/>
                  </a:lnTo>
                  <a:lnTo>
                    <a:pt x="163" y="848"/>
                  </a:lnTo>
                  <a:lnTo>
                    <a:pt x="161" y="850"/>
                  </a:lnTo>
                  <a:lnTo>
                    <a:pt x="160" y="853"/>
                  </a:lnTo>
                  <a:lnTo>
                    <a:pt x="160" y="853"/>
                  </a:lnTo>
                  <a:lnTo>
                    <a:pt x="161" y="859"/>
                  </a:lnTo>
                  <a:lnTo>
                    <a:pt x="164" y="863"/>
                  </a:lnTo>
                  <a:lnTo>
                    <a:pt x="166" y="868"/>
                  </a:lnTo>
                  <a:lnTo>
                    <a:pt x="166" y="871"/>
                  </a:lnTo>
                  <a:lnTo>
                    <a:pt x="166" y="871"/>
                  </a:lnTo>
                  <a:lnTo>
                    <a:pt x="161" y="877"/>
                  </a:lnTo>
                  <a:lnTo>
                    <a:pt x="157" y="881"/>
                  </a:lnTo>
                  <a:lnTo>
                    <a:pt x="151" y="885"/>
                  </a:lnTo>
                  <a:lnTo>
                    <a:pt x="145" y="888"/>
                  </a:lnTo>
                  <a:lnTo>
                    <a:pt x="145" y="888"/>
                  </a:lnTo>
                  <a:lnTo>
                    <a:pt x="136" y="893"/>
                  </a:lnTo>
                  <a:lnTo>
                    <a:pt x="132" y="897"/>
                  </a:lnTo>
                  <a:lnTo>
                    <a:pt x="130" y="900"/>
                  </a:lnTo>
                  <a:lnTo>
                    <a:pt x="130" y="900"/>
                  </a:lnTo>
                  <a:lnTo>
                    <a:pt x="130" y="905"/>
                  </a:lnTo>
                  <a:lnTo>
                    <a:pt x="127" y="908"/>
                  </a:lnTo>
                  <a:lnTo>
                    <a:pt x="124" y="911"/>
                  </a:lnTo>
                  <a:lnTo>
                    <a:pt x="120" y="912"/>
                  </a:lnTo>
                  <a:lnTo>
                    <a:pt x="120" y="912"/>
                  </a:lnTo>
                  <a:lnTo>
                    <a:pt x="111" y="915"/>
                  </a:lnTo>
                  <a:lnTo>
                    <a:pt x="108" y="918"/>
                  </a:lnTo>
                  <a:lnTo>
                    <a:pt x="111" y="921"/>
                  </a:lnTo>
                  <a:lnTo>
                    <a:pt x="111" y="921"/>
                  </a:lnTo>
                  <a:lnTo>
                    <a:pt x="120" y="927"/>
                  </a:lnTo>
                  <a:lnTo>
                    <a:pt x="123" y="931"/>
                  </a:lnTo>
                  <a:lnTo>
                    <a:pt x="123" y="933"/>
                  </a:lnTo>
                  <a:lnTo>
                    <a:pt x="121" y="934"/>
                  </a:lnTo>
                  <a:lnTo>
                    <a:pt x="121" y="934"/>
                  </a:lnTo>
                  <a:lnTo>
                    <a:pt x="117" y="936"/>
                  </a:lnTo>
                  <a:lnTo>
                    <a:pt x="112" y="939"/>
                  </a:lnTo>
                  <a:lnTo>
                    <a:pt x="108" y="940"/>
                  </a:lnTo>
                  <a:lnTo>
                    <a:pt x="105" y="943"/>
                  </a:lnTo>
                  <a:lnTo>
                    <a:pt x="105" y="943"/>
                  </a:lnTo>
                  <a:lnTo>
                    <a:pt x="102" y="954"/>
                  </a:lnTo>
                  <a:lnTo>
                    <a:pt x="101" y="961"/>
                  </a:lnTo>
                  <a:lnTo>
                    <a:pt x="99" y="970"/>
                  </a:lnTo>
                  <a:lnTo>
                    <a:pt x="99" y="970"/>
                  </a:lnTo>
                  <a:lnTo>
                    <a:pt x="99" y="992"/>
                  </a:lnTo>
                  <a:lnTo>
                    <a:pt x="101" y="1004"/>
                  </a:lnTo>
                  <a:lnTo>
                    <a:pt x="104" y="1010"/>
                  </a:lnTo>
                  <a:lnTo>
                    <a:pt x="105" y="1014"/>
                  </a:lnTo>
                  <a:lnTo>
                    <a:pt x="105" y="1014"/>
                  </a:lnTo>
                  <a:lnTo>
                    <a:pt x="112" y="1022"/>
                  </a:lnTo>
                  <a:lnTo>
                    <a:pt x="121" y="1026"/>
                  </a:lnTo>
                  <a:lnTo>
                    <a:pt x="130" y="1029"/>
                  </a:lnTo>
                  <a:lnTo>
                    <a:pt x="138" y="1032"/>
                  </a:lnTo>
                  <a:lnTo>
                    <a:pt x="138" y="1032"/>
                  </a:lnTo>
                  <a:lnTo>
                    <a:pt x="142" y="1033"/>
                  </a:lnTo>
                  <a:lnTo>
                    <a:pt x="147" y="1039"/>
                  </a:lnTo>
                  <a:lnTo>
                    <a:pt x="148" y="1045"/>
                  </a:lnTo>
                  <a:lnTo>
                    <a:pt x="150" y="1051"/>
                  </a:lnTo>
                  <a:lnTo>
                    <a:pt x="150" y="1051"/>
                  </a:lnTo>
                  <a:lnTo>
                    <a:pt x="151" y="1057"/>
                  </a:lnTo>
                  <a:lnTo>
                    <a:pt x="154" y="1063"/>
                  </a:lnTo>
                  <a:lnTo>
                    <a:pt x="155" y="1068"/>
                  </a:lnTo>
                  <a:lnTo>
                    <a:pt x="155" y="1072"/>
                  </a:lnTo>
                  <a:lnTo>
                    <a:pt x="155" y="1072"/>
                  </a:lnTo>
                  <a:lnTo>
                    <a:pt x="152" y="1082"/>
                  </a:lnTo>
                  <a:lnTo>
                    <a:pt x="151" y="1084"/>
                  </a:lnTo>
                  <a:lnTo>
                    <a:pt x="150" y="1085"/>
                  </a:lnTo>
                  <a:lnTo>
                    <a:pt x="150" y="1085"/>
                  </a:lnTo>
                  <a:lnTo>
                    <a:pt x="144" y="1081"/>
                  </a:lnTo>
                  <a:lnTo>
                    <a:pt x="139" y="1079"/>
                  </a:lnTo>
                  <a:lnTo>
                    <a:pt x="135" y="1081"/>
                  </a:lnTo>
                  <a:lnTo>
                    <a:pt x="135" y="1081"/>
                  </a:lnTo>
                  <a:lnTo>
                    <a:pt x="132" y="1084"/>
                  </a:lnTo>
                  <a:lnTo>
                    <a:pt x="129" y="1087"/>
                  </a:lnTo>
                  <a:lnTo>
                    <a:pt x="126" y="1094"/>
                  </a:lnTo>
                  <a:lnTo>
                    <a:pt x="126" y="1094"/>
                  </a:lnTo>
                  <a:lnTo>
                    <a:pt x="121" y="1102"/>
                  </a:lnTo>
                  <a:lnTo>
                    <a:pt x="120" y="1106"/>
                  </a:lnTo>
                  <a:lnTo>
                    <a:pt x="121" y="1112"/>
                  </a:lnTo>
                  <a:lnTo>
                    <a:pt x="121" y="1112"/>
                  </a:lnTo>
                  <a:lnTo>
                    <a:pt x="124" y="1116"/>
                  </a:lnTo>
                  <a:lnTo>
                    <a:pt x="130" y="1121"/>
                  </a:lnTo>
                  <a:lnTo>
                    <a:pt x="135" y="1125"/>
                  </a:lnTo>
                  <a:lnTo>
                    <a:pt x="139" y="1127"/>
                  </a:lnTo>
                  <a:lnTo>
                    <a:pt x="139" y="1127"/>
                  </a:lnTo>
                  <a:lnTo>
                    <a:pt x="147" y="1128"/>
                  </a:lnTo>
                  <a:lnTo>
                    <a:pt x="150" y="1130"/>
                  </a:lnTo>
                  <a:lnTo>
                    <a:pt x="150" y="1134"/>
                  </a:lnTo>
                  <a:lnTo>
                    <a:pt x="150" y="1134"/>
                  </a:lnTo>
                  <a:lnTo>
                    <a:pt x="148" y="1143"/>
                  </a:lnTo>
                  <a:lnTo>
                    <a:pt x="148" y="1148"/>
                  </a:lnTo>
                  <a:lnTo>
                    <a:pt x="150" y="1152"/>
                  </a:lnTo>
                  <a:lnTo>
                    <a:pt x="150" y="1152"/>
                  </a:lnTo>
                  <a:lnTo>
                    <a:pt x="154" y="1155"/>
                  </a:lnTo>
                  <a:lnTo>
                    <a:pt x="157" y="1159"/>
                  </a:lnTo>
                  <a:lnTo>
                    <a:pt x="158" y="1164"/>
                  </a:lnTo>
                  <a:lnTo>
                    <a:pt x="158" y="1165"/>
                  </a:lnTo>
                  <a:lnTo>
                    <a:pt x="157" y="1167"/>
                  </a:lnTo>
                  <a:lnTo>
                    <a:pt x="157" y="1167"/>
                  </a:lnTo>
                  <a:lnTo>
                    <a:pt x="150" y="1170"/>
                  </a:lnTo>
                  <a:lnTo>
                    <a:pt x="142" y="1174"/>
                  </a:lnTo>
                  <a:lnTo>
                    <a:pt x="135" y="1177"/>
                  </a:lnTo>
                  <a:lnTo>
                    <a:pt x="132" y="1180"/>
                  </a:lnTo>
                  <a:lnTo>
                    <a:pt x="130" y="1183"/>
                  </a:lnTo>
                  <a:lnTo>
                    <a:pt x="130" y="1183"/>
                  </a:lnTo>
                  <a:lnTo>
                    <a:pt x="127" y="1189"/>
                  </a:lnTo>
                  <a:lnTo>
                    <a:pt x="126" y="1195"/>
                  </a:lnTo>
                  <a:lnTo>
                    <a:pt x="127" y="1198"/>
                  </a:lnTo>
                  <a:lnTo>
                    <a:pt x="129" y="1202"/>
                  </a:lnTo>
                  <a:lnTo>
                    <a:pt x="129" y="1202"/>
                  </a:lnTo>
                  <a:lnTo>
                    <a:pt x="129" y="1207"/>
                  </a:lnTo>
                  <a:lnTo>
                    <a:pt x="127" y="1210"/>
                  </a:lnTo>
                  <a:lnTo>
                    <a:pt x="121" y="1216"/>
                  </a:lnTo>
                  <a:lnTo>
                    <a:pt x="121" y="1216"/>
                  </a:lnTo>
                  <a:lnTo>
                    <a:pt x="117" y="1220"/>
                  </a:lnTo>
                  <a:lnTo>
                    <a:pt x="112" y="1223"/>
                  </a:lnTo>
                  <a:lnTo>
                    <a:pt x="110" y="1223"/>
                  </a:lnTo>
                  <a:lnTo>
                    <a:pt x="108" y="1223"/>
                  </a:lnTo>
                  <a:lnTo>
                    <a:pt x="107" y="1222"/>
                  </a:lnTo>
                  <a:lnTo>
                    <a:pt x="107" y="1222"/>
                  </a:lnTo>
                  <a:lnTo>
                    <a:pt x="107" y="1217"/>
                  </a:lnTo>
                  <a:lnTo>
                    <a:pt x="105" y="1211"/>
                  </a:lnTo>
                  <a:lnTo>
                    <a:pt x="104" y="1208"/>
                  </a:lnTo>
                  <a:lnTo>
                    <a:pt x="101" y="1207"/>
                  </a:lnTo>
                  <a:lnTo>
                    <a:pt x="98" y="1207"/>
                  </a:lnTo>
                  <a:lnTo>
                    <a:pt x="95" y="1207"/>
                  </a:lnTo>
                  <a:lnTo>
                    <a:pt x="95" y="1207"/>
                  </a:lnTo>
                  <a:lnTo>
                    <a:pt x="87" y="1208"/>
                  </a:lnTo>
                  <a:lnTo>
                    <a:pt x="83" y="1213"/>
                  </a:lnTo>
                  <a:lnTo>
                    <a:pt x="80" y="1214"/>
                  </a:lnTo>
                  <a:lnTo>
                    <a:pt x="78" y="1213"/>
                  </a:lnTo>
                  <a:lnTo>
                    <a:pt x="78" y="1211"/>
                  </a:lnTo>
                  <a:lnTo>
                    <a:pt x="78" y="1211"/>
                  </a:lnTo>
                  <a:lnTo>
                    <a:pt x="77" y="1205"/>
                  </a:lnTo>
                  <a:lnTo>
                    <a:pt x="77" y="1199"/>
                  </a:lnTo>
                  <a:lnTo>
                    <a:pt x="77" y="1192"/>
                  </a:lnTo>
                  <a:lnTo>
                    <a:pt x="77" y="1192"/>
                  </a:lnTo>
                  <a:lnTo>
                    <a:pt x="73" y="1190"/>
                  </a:lnTo>
                  <a:lnTo>
                    <a:pt x="65" y="1189"/>
                  </a:lnTo>
                  <a:lnTo>
                    <a:pt x="56" y="1186"/>
                  </a:lnTo>
                  <a:lnTo>
                    <a:pt x="52" y="1185"/>
                  </a:lnTo>
                  <a:lnTo>
                    <a:pt x="50" y="1182"/>
                  </a:lnTo>
                  <a:lnTo>
                    <a:pt x="50" y="1182"/>
                  </a:lnTo>
                  <a:lnTo>
                    <a:pt x="47" y="1170"/>
                  </a:lnTo>
                  <a:lnTo>
                    <a:pt x="44" y="1162"/>
                  </a:lnTo>
                  <a:lnTo>
                    <a:pt x="40" y="1158"/>
                  </a:lnTo>
                  <a:lnTo>
                    <a:pt x="40" y="1158"/>
                  </a:lnTo>
                  <a:lnTo>
                    <a:pt x="33" y="1152"/>
                  </a:lnTo>
                  <a:lnTo>
                    <a:pt x="31" y="1152"/>
                  </a:lnTo>
                  <a:lnTo>
                    <a:pt x="30" y="1155"/>
                  </a:lnTo>
                  <a:lnTo>
                    <a:pt x="30" y="1155"/>
                  </a:lnTo>
                  <a:lnTo>
                    <a:pt x="28" y="1158"/>
                  </a:lnTo>
                  <a:lnTo>
                    <a:pt x="25" y="1161"/>
                  </a:lnTo>
                  <a:lnTo>
                    <a:pt x="21" y="1162"/>
                  </a:lnTo>
                  <a:lnTo>
                    <a:pt x="15" y="1162"/>
                  </a:lnTo>
                  <a:lnTo>
                    <a:pt x="15" y="1162"/>
                  </a:lnTo>
                  <a:lnTo>
                    <a:pt x="4" y="1164"/>
                  </a:lnTo>
                  <a:lnTo>
                    <a:pt x="0" y="1164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09" name="Freeform 188">
              <a:extLst>
                <a:ext uri="{FF2B5EF4-FFF2-40B4-BE49-F238E27FC236}">
                  <a16:creationId xmlns:a16="http://schemas.microsoft.com/office/drawing/2014/main" id="{3DB535E1-26FA-5E4C-B082-F115784FE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8838" y="7847013"/>
              <a:ext cx="620713" cy="385762"/>
            </a:xfrm>
            <a:custGeom>
              <a:avLst/>
              <a:gdLst>
                <a:gd name="T0" fmla="*/ 391 w 391"/>
                <a:gd name="T1" fmla="*/ 210 h 243"/>
                <a:gd name="T2" fmla="*/ 382 w 391"/>
                <a:gd name="T3" fmla="*/ 225 h 243"/>
                <a:gd name="T4" fmla="*/ 378 w 391"/>
                <a:gd name="T5" fmla="*/ 230 h 243"/>
                <a:gd name="T6" fmla="*/ 349 w 391"/>
                <a:gd name="T7" fmla="*/ 231 h 243"/>
                <a:gd name="T8" fmla="*/ 341 w 391"/>
                <a:gd name="T9" fmla="*/ 233 h 243"/>
                <a:gd name="T10" fmla="*/ 318 w 391"/>
                <a:gd name="T11" fmla="*/ 243 h 243"/>
                <a:gd name="T12" fmla="*/ 315 w 391"/>
                <a:gd name="T13" fmla="*/ 243 h 243"/>
                <a:gd name="T14" fmla="*/ 312 w 391"/>
                <a:gd name="T15" fmla="*/ 243 h 243"/>
                <a:gd name="T16" fmla="*/ 309 w 391"/>
                <a:gd name="T17" fmla="*/ 236 h 243"/>
                <a:gd name="T18" fmla="*/ 308 w 391"/>
                <a:gd name="T19" fmla="*/ 228 h 243"/>
                <a:gd name="T20" fmla="*/ 301 w 391"/>
                <a:gd name="T21" fmla="*/ 218 h 243"/>
                <a:gd name="T22" fmla="*/ 286 w 391"/>
                <a:gd name="T23" fmla="*/ 215 h 243"/>
                <a:gd name="T24" fmla="*/ 280 w 391"/>
                <a:gd name="T25" fmla="*/ 215 h 243"/>
                <a:gd name="T26" fmla="*/ 275 w 391"/>
                <a:gd name="T27" fmla="*/ 207 h 243"/>
                <a:gd name="T28" fmla="*/ 274 w 391"/>
                <a:gd name="T29" fmla="*/ 203 h 243"/>
                <a:gd name="T30" fmla="*/ 271 w 391"/>
                <a:gd name="T31" fmla="*/ 193 h 243"/>
                <a:gd name="T32" fmla="*/ 274 w 391"/>
                <a:gd name="T33" fmla="*/ 179 h 243"/>
                <a:gd name="T34" fmla="*/ 272 w 391"/>
                <a:gd name="T35" fmla="*/ 173 h 243"/>
                <a:gd name="T36" fmla="*/ 262 w 391"/>
                <a:gd name="T37" fmla="*/ 173 h 243"/>
                <a:gd name="T38" fmla="*/ 252 w 391"/>
                <a:gd name="T39" fmla="*/ 169 h 243"/>
                <a:gd name="T40" fmla="*/ 243 w 391"/>
                <a:gd name="T41" fmla="*/ 162 h 243"/>
                <a:gd name="T42" fmla="*/ 237 w 391"/>
                <a:gd name="T43" fmla="*/ 156 h 243"/>
                <a:gd name="T44" fmla="*/ 232 w 391"/>
                <a:gd name="T45" fmla="*/ 150 h 243"/>
                <a:gd name="T46" fmla="*/ 228 w 391"/>
                <a:gd name="T47" fmla="*/ 144 h 243"/>
                <a:gd name="T48" fmla="*/ 224 w 391"/>
                <a:gd name="T49" fmla="*/ 135 h 243"/>
                <a:gd name="T50" fmla="*/ 213 w 391"/>
                <a:gd name="T51" fmla="*/ 129 h 243"/>
                <a:gd name="T52" fmla="*/ 197 w 391"/>
                <a:gd name="T53" fmla="*/ 127 h 243"/>
                <a:gd name="T54" fmla="*/ 187 w 391"/>
                <a:gd name="T55" fmla="*/ 127 h 243"/>
                <a:gd name="T56" fmla="*/ 184 w 391"/>
                <a:gd name="T57" fmla="*/ 132 h 243"/>
                <a:gd name="T58" fmla="*/ 181 w 391"/>
                <a:gd name="T59" fmla="*/ 132 h 243"/>
                <a:gd name="T60" fmla="*/ 178 w 391"/>
                <a:gd name="T61" fmla="*/ 123 h 243"/>
                <a:gd name="T62" fmla="*/ 176 w 391"/>
                <a:gd name="T63" fmla="*/ 119 h 243"/>
                <a:gd name="T64" fmla="*/ 166 w 391"/>
                <a:gd name="T65" fmla="*/ 113 h 243"/>
                <a:gd name="T66" fmla="*/ 135 w 391"/>
                <a:gd name="T67" fmla="*/ 92 h 243"/>
                <a:gd name="T68" fmla="*/ 112 w 391"/>
                <a:gd name="T69" fmla="*/ 74 h 243"/>
                <a:gd name="T70" fmla="*/ 96 w 391"/>
                <a:gd name="T71" fmla="*/ 59 h 243"/>
                <a:gd name="T72" fmla="*/ 93 w 391"/>
                <a:gd name="T73" fmla="*/ 55 h 243"/>
                <a:gd name="T74" fmla="*/ 84 w 391"/>
                <a:gd name="T75" fmla="*/ 43 h 243"/>
                <a:gd name="T76" fmla="*/ 75 w 391"/>
                <a:gd name="T77" fmla="*/ 36 h 243"/>
                <a:gd name="T78" fmla="*/ 75 w 391"/>
                <a:gd name="T79" fmla="*/ 31 h 243"/>
                <a:gd name="T80" fmla="*/ 86 w 391"/>
                <a:gd name="T81" fmla="*/ 25 h 243"/>
                <a:gd name="T82" fmla="*/ 89 w 391"/>
                <a:gd name="T83" fmla="*/ 21 h 243"/>
                <a:gd name="T84" fmla="*/ 89 w 391"/>
                <a:gd name="T85" fmla="*/ 18 h 243"/>
                <a:gd name="T86" fmla="*/ 81 w 391"/>
                <a:gd name="T87" fmla="*/ 9 h 243"/>
                <a:gd name="T88" fmla="*/ 70 w 391"/>
                <a:gd name="T89" fmla="*/ 2 h 243"/>
                <a:gd name="T90" fmla="*/ 65 w 391"/>
                <a:gd name="T91" fmla="*/ 2 h 243"/>
                <a:gd name="T92" fmla="*/ 56 w 391"/>
                <a:gd name="T93" fmla="*/ 9 h 243"/>
                <a:gd name="T94" fmla="*/ 53 w 391"/>
                <a:gd name="T95" fmla="*/ 13 h 243"/>
                <a:gd name="T96" fmla="*/ 43 w 391"/>
                <a:gd name="T97" fmla="*/ 22 h 243"/>
                <a:gd name="T98" fmla="*/ 37 w 391"/>
                <a:gd name="T99" fmla="*/ 30 h 243"/>
                <a:gd name="T100" fmla="*/ 15 w 391"/>
                <a:gd name="T101" fmla="*/ 46 h 243"/>
                <a:gd name="T102" fmla="*/ 1 w 391"/>
                <a:gd name="T103" fmla="*/ 5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91" h="243">
                  <a:moveTo>
                    <a:pt x="391" y="210"/>
                  </a:moveTo>
                  <a:lnTo>
                    <a:pt x="391" y="210"/>
                  </a:lnTo>
                  <a:lnTo>
                    <a:pt x="382" y="225"/>
                  </a:lnTo>
                  <a:lnTo>
                    <a:pt x="382" y="225"/>
                  </a:lnTo>
                  <a:lnTo>
                    <a:pt x="380" y="228"/>
                  </a:lnTo>
                  <a:lnTo>
                    <a:pt x="378" y="230"/>
                  </a:lnTo>
                  <a:lnTo>
                    <a:pt x="369" y="231"/>
                  </a:lnTo>
                  <a:lnTo>
                    <a:pt x="349" y="231"/>
                  </a:lnTo>
                  <a:lnTo>
                    <a:pt x="349" y="231"/>
                  </a:lnTo>
                  <a:lnTo>
                    <a:pt x="341" y="233"/>
                  </a:lnTo>
                  <a:lnTo>
                    <a:pt x="333" y="236"/>
                  </a:lnTo>
                  <a:lnTo>
                    <a:pt x="318" y="243"/>
                  </a:lnTo>
                  <a:lnTo>
                    <a:pt x="318" y="243"/>
                  </a:lnTo>
                  <a:lnTo>
                    <a:pt x="315" y="243"/>
                  </a:lnTo>
                  <a:lnTo>
                    <a:pt x="314" y="243"/>
                  </a:lnTo>
                  <a:lnTo>
                    <a:pt x="312" y="243"/>
                  </a:lnTo>
                  <a:lnTo>
                    <a:pt x="311" y="240"/>
                  </a:lnTo>
                  <a:lnTo>
                    <a:pt x="309" y="236"/>
                  </a:lnTo>
                  <a:lnTo>
                    <a:pt x="308" y="228"/>
                  </a:lnTo>
                  <a:lnTo>
                    <a:pt x="308" y="228"/>
                  </a:lnTo>
                  <a:lnTo>
                    <a:pt x="305" y="222"/>
                  </a:lnTo>
                  <a:lnTo>
                    <a:pt x="301" y="218"/>
                  </a:lnTo>
                  <a:lnTo>
                    <a:pt x="293" y="216"/>
                  </a:lnTo>
                  <a:lnTo>
                    <a:pt x="286" y="215"/>
                  </a:lnTo>
                  <a:lnTo>
                    <a:pt x="286" y="215"/>
                  </a:lnTo>
                  <a:lnTo>
                    <a:pt x="280" y="215"/>
                  </a:lnTo>
                  <a:lnTo>
                    <a:pt x="277" y="212"/>
                  </a:lnTo>
                  <a:lnTo>
                    <a:pt x="275" y="207"/>
                  </a:lnTo>
                  <a:lnTo>
                    <a:pt x="274" y="203"/>
                  </a:lnTo>
                  <a:lnTo>
                    <a:pt x="274" y="203"/>
                  </a:lnTo>
                  <a:lnTo>
                    <a:pt x="271" y="199"/>
                  </a:lnTo>
                  <a:lnTo>
                    <a:pt x="271" y="193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4" y="175"/>
                  </a:lnTo>
                  <a:lnTo>
                    <a:pt x="272" y="173"/>
                  </a:lnTo>
                  <a:lnTo>
                    <a:pt x="268" y="173"/>
                  </a:lnTo>
                  <a:lnTo>
                    <a:pt x="262" y="173"/>
                  </a:lnTo>
                  <a:lnTo>
                    <a:pt x="262" y="173"/>
                  </a:lnTo>
                  <a:lnTo>
                    <a:pt x="252" y="169"/>
                  </a:lnTo>
                  <a:lnTo>
                    <a:pt x="247" y="166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37" y="156"/>
                  </a:lnTo>
                  <a:lnTo>
                    <a:pt x="232" y="150"/>
                  </a:lnTo>
                  <a:lnTo>
                    <a:pt x="232" y="150"/>
                  </a:lnTo>
                  <a:lnTo>
                    <a:pt x="229" y="147"/>
                  </a:lnTo>
                  <a:lnTo>
                    <a:pt x="228" y="144"/>
                  </a:lnTo>
                  <a:lnTo>
                    <a:pt x="224" y="135"/>
                  </a:lnTo>
                  <a:lnTo>
                    <a:pt x="224" y="135"/>
                  </a:lnTo>
                  <a:lnTo>
                    <a:pt x="219" y="130"/>
                  </a:lnTo>
                  <a:lnTo>
                    <a:pt x="213" y="129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89" y="126"/>
                  </a:lnTo>
                  <a:lnTo>
                    <a:pt x="187" y="127"/>
                  </a:lnTo>
                  <a:lnTo>
                    <a:pt x="187" y="130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1" y="132"/>
                  </a:lnTo>
                  <a:lnTo>
                    <a:pt x="179" y="130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6" y="119"/>
                  </a:lnTo>
                  <a:lnTo>
                    <a:pt x="173" y="117"/>
                  </a:lnTo>
                  <a:lnTo>
                    <a:pt x="166" y="113"/>
                  </a:lnTo>
                  <a:lnTo>
                    <a:pt x="166" y="113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12" y="74"/>
                  </a:lnTo>
                  <a:lnTo>
                    <a:pt x="101" y="64"/>
                  </a:lnTo>
                  <a:lnTo>
                    <a:pt x="96" y="59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89" y="47"/>
                  </a:lnTo>
                  <a:lnTo>
                    <a:pt x="84" y="43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4" y="34"/>
                  </a:lnTo>
                  <a:lnTo>
                    <a:pt x="75" y="31"/>
                  </a:lnTo>
                  <a:lnTo>
                    <a:pt x="80" y="28"/>
                  </a:lnTo>
                  <a:lnTo>
                    <a:pt x="86" y="25"/>
                  </a:lnTo>
                  <a:lnTo>
                    <a:pt x="87" y="22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89" y="18"/>
                  </a:lnTo>
                  <a:lnTo>
                    <a:pt x="87" y="15"/>
                  </a:lnTo>
                  <a:lnTo>
                    <a:pt x="81" y="9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7" y="0"/>
                  </a:lnTo>
                  <a:lnTo>
                    <a:pt x="65" y="2"/>
                  </a:lnTo>
                  <a:lnTo>
                    <a:pt x="61" y="5"/>
                  </a:lnTo>
                  <a:lnTo>
                    <a:pt x="56" y="9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7" y="16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37" y="30"/>
                  </a:lnTo>
                  <a:lnTo>
                    <a:pt x="28" y="37"/>
                  </a:lnTo>
                  <a:lnTo>
                    <a:pt x="15" y="46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0" y="58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0" name="Freeform 189">
              <a:extLst>
                <a:ext uri="{FF2B5EF4-FFF2-40B4-BE49-F238E27FC236}">
                  <a16:creationId xmlns:a16="http://schemas.microsoft.com/office/drawing/2014/main" id="{51FBE71C-6112-944B-A651-0D731A0135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07813" y="5876925"/>
              <a:ext cx="1136650" cy="1716087"/>
            </a:xfrm>
            <a:custGeom>
              <a:avLst/>
              <a:gdLst>
                <a:gd name="T0" fmla="*/ 19 w 716"/>
                <a:gd name="T1" fmla="*/ 3 h 1081"/>
                <a:gd name="T2" fmla="*/ 31 w 716"/>
                <a:gd name="T3" fmla="*/ 44 h 1081"/>
                <a:gd name="T4" fmla="*/ 16 w 716"/>
                <a:gd name="T5" fmla="*/ 65 h 1081"/>
                <a:gd name="T6" fmla="*/ 32 w 716"/>
                <a:gd name="T7" fmla="*/ 81 h 1081"/>
                <a:gd name="T8" fmla="*/ 81 w 716"/>
                <a:gd name="T9" fmla="*/ 124 h 1081"/>
                <a:gd name="T10" fmla="*/ 84 w 716"/>
                <a:gd name="T11" fmla="*/ 181 h 1081"/>
                <a:gd name="T12" fmla="*/ 112 w 716"/>
                <a:gd name="T13" fmla="*/ 206 h 1081"/>
                <a:gd name="T14" fmla="*/ 103 w 716"/>
                <a:gd name="T15" fmla="*/ 271 h 1081"/>
                <a:gd name="T16" fmla="*/ 123 w 716"/>
                <a:gd name="T17" fmla="*/ 312 h 1081"/>
                <a:gd name="T18" fmla="*/ 154 w 716"/>
                <a:gd name="T19" fmla="*/ 336 h 1081"/>
                <a:gd name="T20" fmla="*/ 170 w 716"/>
                <a:gd name="T21" fmla="*/ 360 h 1081"/>
                <a:gd name="T22" fmla="*/ 166 w 716"/>
                <a:gd name="T23" fmla="*/ 398 h 1081"/>
                <a:gd name="T24" fmla="*/ 142 w 716"/>
                <a:gd name="T25" fmla="*/ 461 h 1081"/>
                <a:gd name="T26" fmla="*/ 143 w 716"/>
                <a:gd name="T27" fmla="*/ 505 h 1081"/>
                <a:gd name="T28" fmla="*/ 145 w 716"/>
                <a:gd name="T29" fmla="*/ 555 h 1081"/>
                <a:gd name="T30" fmla="*/ 195 w 716"/>
                <a:gd name="T31" fmla="*/ 583 h 1081"/>
                <a:gd name="T32" fmla="*/ 212 w 716"/>
                <a:gd name="T33" fmla="*/ 563 h 1081"/>
                <a:gd name="T34" fmla="*/ 247 w 716"/>
                <a:gd name="T35" fmla="*/ 536 h 1081"/>
                <a:gd name="T36" fmla="*/ 275 w 716"/>
                <a:gd name="T37" fmla="*/ 526 h 1081"/>
                <a:gd name="T38" fmla="*/ 299 w 716"/>
                <a:gd name="T39" fmla="*/ 509 h 1081"/>
                <a:gd name="T40" fmla="*/ 327 w 716"/>
                <a:gd name="T41" fmla="*/ 535 h 1081"/>
                <a:gd name="T42" fmla="*/ 366 w 716"/>
                <a:gd name="T43" fmla="*/ 521 h 1081"/>
                <a:gd name="T44" fmla="*/ 367 w 716"/>
                <a:gd name="T45" fmla="*/ 486 h 1081"/>
                <a:gd name="T46" fmla="*/ 380 w 716"/>
                <a:gd name="T47" fmla="*/ 458 h 1081"/>
                <a:gd name="T48" fmla="*/ 406 w 716"/>
                <a:gd name="T49" fmla="*/ 407 h 1081"/>
                <a:gd name="T50" fmla="*/ 431 w 716"/>
                <a:gd name="T51" fmla="*/ 375 h 1081"/>
                <a:gd name="T52" fmla="*/ 459 w 716"/>
                <a:gd name="T53" fmla="*/ 345 h 1081"/>
                <a:gd name="T54" fmla="*/ 527 w 716"/>
                <a:gd name="T55" fmla="*/ 363 h 1081"/>
                <a:gd name="T56" fmla="*/ 554 w 716"/>
                <a:gd name="T57" fmla="*/ 389 h 1081"/>
                <a:gd name="T58" fmla="*/ 573 w 716"/>
                <a:gd name="T59" fmla="*/ 431 h 1081"/>
                <a:gd name="T60" fmla="*/ 608 w 716"/>
                <a:gd name="T61" fmla="*/ 427 h 1081"/>
                <a:gd name="T62" fmla="*/ 631 w 716"/>
                <a:gd name="T63" fmla="*/ 407 h 1081"/>
                <a:gd name="T64" fmla="*/ 662 w 716"/>
                <a:gd name="T65" fmla="*/ 425 h 1081"/>
                <a:gd name="T66" fmla="*/ 679 w 716"/>
                <a:gd name="T67" fmla="*/ 487 h 1081"/>
                <a:gd name="T68" fmla="*/ 697 w 716"/>
                <a:gd name="T69" fmla="*/ 505 h 1081"/>
                <a:gd name="T70" fmla="*/ 709 w 716"/>
                <a:gd name="T71" fmla="*/ 542 h 1081"/>
                <a:gd name="T72" fmla="*/ 653 w 716"/>
                <a:gd name="T73" fmla="*/ 533 h 1081"/>
                <a:gd name="T74" fmla="*/ 631 w 716"/>
                <a:gd name="T75" fmla="*/ 561 h 1081"/>
                <a:gd name="T76" fmla="*/ 632 w 716"/>
                <a:gd name="T77" fmla="*/ 600 h 1081"/>
                <a:gd name="T78" fmla="*/ 622 w 716"/>
                <a:gd name="T79" fmla="*/ 632 h 1081"/>
                <a:gd name="T80" fmla="*/ 639 w 716"/>
                <a:gd name="T81" fmla="*/ 650 h 1081"/>
                <a:gd name="T82" fmla="*/ 657 w 716"/>
                <a:gd name="T83" fmla="*/ 658 h 1081"/>
                <a:gd name="T84" fmla="*/ 666 w 716"/>
                <a:gd name="T85" fmla="*/ 681 h 1081"/>
                <a:gd name="T86" fmla="*/ 651 w 716"/>
                <a:gd name="T87" fmla="*/ 712 h 1081"/>
                <a:gd name="T88" fmla="*/ 588 w 716"/>
                <a:gd name="T89" fmla="*/ 735 h 1081"/>
                <a:gd name="T90" fmla="*/ 571 w 716"/>
                <a:gd name="T91" fmla="*/ 696 h 1081"/>
                <a:gd name="T92" fmla="*/ 506 w 716"/>
                <a:gd name="T93" fmla="*/ 729 h 1081"/>
                <a:gd name="T94" fmla="*/ 475 w 716"/>
                <a:gd name="T95" fmla="*/ 785 h 1081"/>
                <a:gd name="T96" fmla="*/ 437 w 716"/>
                <a:gd name="T97" fmla="*/ 794 h 1081"/>
                <a:gd name="T98" fmla="*/ 386 w 716"/>
                <a:gd name="T99" fmla="*/ 795 h 1081"/>
                <a:gd name="T100" fmla="*/ 367 w 716"/>
                <a:gd name="T101" fmla="*/ 788 h 1081"/>
                <a:gd name="T102" fmla="*/ 326 w 716"/>
                <a:gd name="T103" fmla="*/ 791 h 1081"/>
                <a:gd name="T104" fmla="*/ 308 w 716"/>
                <a:gd name="T105" fmla="*/ 773 h 1081"/>
                <a:gd name="T106" fmla="*/ 253 w 716"/>
                <a:gd name="T107" fmla="*/ 807 h 1081"/>
                <a:gd name="T108" fmla="*/ 207 w 716"/>
                <a:gd name="T109" fmla="*/ 809 h 1081"/>
                <a:gd name="T110" fmla="*/ 143 w 716"/>
                <a:gd name="T111" fmla="*/ 862 h 1081"/>
                <a:gd name="T112" fmla="*/ 149 w 716"/>
                <a:gd name="T113" fmla="*/ 896 h 1081"/>
                <a:gd name="T114" fmla="*/ 182 w 716"/>
                <a:gd name="T115" fmla="*/ 926 h 1081"/>
                <a:gd name="T116" fmla="*/ 154 w 716"/>
                <a:gd name="T117" fmla="*/ 966 h 1081"/>
                <a:gd name="T118" fmla="*/ 172 w 716"/>
                <a:gd name="T119" fmla="*/ 1009 h 1081"/>
                <a:gd name="T120" fmla="*/ 164 w 716"/>
                <a:gd name="T121" fmla="*/ 1077 h 1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6" h="1081">
                  <a:moveTo>
                    <a:pt x="0" y="15"/>
                  </a:moveTo>
                  <a:lnTo>
                    <a:pt x="0" y="15"/>
                  </a:lnTo>
                  <a:lnTo>
                    <a:pt x="1" y="9"/>
                  </a:lnTo>
                  <a:lnTo>
                    <a:pt x="3" y="4"/>
                  </a:lnTo>
                  <a:lnTo>
                    <a:pt x="4" y="1"/>
                  </a:lnTo>
                  <a:lnTo>
                    <a:pt x="4" y="1"/>
                  </a:lnTo>
                  <a:lnTo>
                    <a:pt x="7" y="0"/>
                  </a:lnTo>
                  <a:lnTo>
                    <a:pt x="12" y="0"/>
                  </a:lnTo>
                  <a:lnTo>
                    <a:pt x="16" y="1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6"/>
                  </a:lnTo>
                  <a:lnTo>
                    <a:pt x="18" y="10"/>
                  </a:lnTo>
                  <a:lnTo>
                    <a:pt x="18" y="15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1" y="25"/>
                  </a:lnTo>
                  <a:lnTo>
                    <a:pt x="23" y="30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1" y="44"/>
                  </a:lnTo>
                  <a:lnTo>
                    <a:pt x="34" y="47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1" y="50"/>
                  </a:lnTo>
                  <a:lnTo>
                    <a:pt x="26" y="52"/>
                  </a:lnTo>
                  <a:lnTo>
                    <a:pt x="21" y="53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6" y="58"/>
                  </a:lnTo>
                  <a:lnTo>
                    <a:pt x="16" y="61"/>
                  </a:lnTo>
                  <a:lnTo>
                    <a:pt x="16" y="65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0" y="73"/>
                  </a:lnTo>
                  <a:lnTo>
                    <a:pt x="9" y="76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5" y="78"/>
                  </a:lnTo>
                  <a:lnTo>
                    <a:pt x="19" y="80"/>
                  </a:lnTo>
                  <a:lnTo>
                    <a:pt x="25" y="80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43" y="84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61" y="93"/>
                  </a:lnTo>
                  <a:lnTo>
                    <a:pt x="66" y="98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7" y="108"/>
                  </a:lnTo>
                  <a:lnTo>
                    <a:pt x="78" y="113"/>
                  </a:lnTo>
                  <a:lnTo>
                    <a:pt x="81" y="124"/>
                  </a:lnTo>
                  <a:lnTo>
                    <a:pt x="81" y="124"/>
                  </a:lnTo>
                  <a:lnTo>
                    <a:pt x="83" y="130"/>
                  </a:lnTo>
                  <a:lnTo>
                    <a:pt x="86" y="138"/>
                  </a:lnTo>
                  <a:lnTo>
                    <a:pt x="93" y="148"/>
                  </a:lnTo>
                  <a:lnTo>
                    <a:pt x="93" y="148"/>
                  </a:lnTo>
                  <a:lnTo>
                    <a:pt x="93" y="153"/>
                  </a:lnTo>
                  <a:lnTo>
                    <a:pt x="90" y="158"/>
                  </a:lnTo>
                  <a:lnTo>
                    <a:pt x="87" y="166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4" y="181"/>
                  </a:lnTo>
                  <a:lnTo>
                    <a:pt x="81" y="190"/>
                  </a:lnTo>
                  <a:lnTo>
                    <a:pt x="80" y="193"/>
                  </a:lnTo>
                  <a:lnTo>
                    <a:pt x="81" y="197"/>
                  </a:lnTo>
                  <a:lnTo>
                    <a:pt x="83" y="200"/>
                  </a:lnTo>
                  <a:lnTo>
                    <a:pt x="86" y="201"/>
                  </a:lnTo>
                  <a:lnTo>
                    <a:pt x="86" y="201"/>
                  </a:lnTo>
                  <a:lnTo>
                    <a:pt x="95" y="203"/>
                  </a:lnTo>
                  <a:lnTo>
                    <a:pt x="102" y="204"/>
                  </a:lnTo>
                  <a:lnTo>
                    <a:pt x="109" y="204"/>
                  </a:lnTo>
                  <a:lnTo>
                    <a:pt x="112" y="206"/>
                  </a:lnTo>
                  <a:lnTo>
                    <a:pt x="112" y="206"/>
                  </a:lnTo>
                  <a:lnTo>
                    <a:pt x="115" y="213"/>
                  </a:lnTo>
                  <a:lnTo>
                    <a:pt x="120" y="225"/>
                  </a:lnTo>
                  <a:lnTo>
                    <a:pt x="121" y="237"/>
                  </a:lnTo>
                  <a:lnTo>
                    <a:pt x="121" y="244"/>
                  </a:lnTo>
                  <a:lnTo>
                    <a:pt x="121" y="244"/>
                  </a:lnTo>
                  <a:lnTo>
                    <a:pt x="118" y="249"/>
                  </a:lnTo>
                  <a:lnTo>
                    <a:pt x="114" y="252"/>
                  </a:lnTo>
                  <a:lnTo>
                    <a:pt x="109" y="256"/>
                  </a:lnTo>
                  <a:lnTo>
                    <a:pt x="106" y="261"/>
                  </a:lnTo>
                  <a:lnTo>
                    <a:pt x="106" y="261"/>
                  </a:lnTo>
                  <a:lnTo>
                    <a:pt x="103" y="271"/>
                  </a:lnTo>
                  <a:lnTo>
                    <a:pt x="100" y="281"/>
                  </a:lnTo>
                  <a:lnTo>
                    <a:pt x="100" y="290"/>
                  </a:lnTo>
                  <a:lnTo>
                    <a:pt x="102" y="295"/>
                  </a:lnTo>
                  <a:lnTo>
                    <a:pt x="102" y="295"/>
                  </a:lnTo>
                  <a:lnTo>
                    <a:pt x="109" y="295"/>
                  </a:lnTo>
                  <a:lnTo>
                    <a:pt x="114" y="295"/>
                  </a:lnTo>
                  <a:lnTo>
                    <a:pt x="117" y="296"/>
                  </a:lnTo>
                  <a:lnTo>
                    <a:pt x="120" y="299"/>
                  </a:lnTo>
                  <a:lnTo>
                    <a:pt x="120" y="299"/>
                  </a:lnTo>
                  <a:lnTo>
                    <a:pt x="121" y="307"/>
                  </a:lnTo>
                  <a:lnTo>
                    <a:pt x="123" y="312"/>
                  </a:lnTo>
                  <a:lnTo>
                    <a:pt x="123" y="318"/>
                  </a:lnTo>
                  <a:lnTo>
                    <a:pt x="124" y="321"/>
                  </a:lnTo>
                  <a:lnTo>
                    <a:pt x="127" y="323"/>
                  </a:lnTo>
                  <a:lnTo>
                    <a:pt x="127" y="323"/>
                  </a:lnTo>
                  <a:lnTo>
                    <a:pt x="132" y="324"/>
                  </a:lnTo>
                  <a:lnTo>
                    <a:pt x="136" y="326"/>
                  </a:lnTo>
                  <a:lnTo>
                    <a:pt x="140" y="326"/>
                  </a:lnTo>
                  <a:lnTo>
                    <a:pt x="145" y="329"/>
                  </a:lnTo>
                  <a:lnTo>
                    <a:pt x="145" y="329"/>
                  </a:lnTo>
                  <a:lnTo>
                    <a:pt x="152" y="336"/>
                  </a:lnTo>
                  <a:lnTo>
                    <a:pt x="154" y="336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8" y="335"/>
                  </a:lnTo>
                  <a:lnTo>
                    <a:pt x="163" y="332"/>
                  </a:lnTo>
                  <a:lnTo>
                    <a:pt x="169" y="332"/>
                  </a:lnTo>
                  <a:lnTo>
                    <a:pt x="170" y="332"/>
                  </a:lnTo>
                  <a:lnTo>
                    <a:pt x="172" y="333"/>
                  </a:lnTo>
                  <a:lnTo>
                    <a:pt x="172" y="333"/>
                  </a:lnTo>
                  <a:lnTo>
                    <a:pt x="173" y="339"/>
                  </a:lnTo>
                  <a:lnTo>
                    <a:pt x="173" y="347"/>
                  </a:lnTo>
                  <a:lnTo>
                    <a:pt x="170" y="360"/>
                  </a:lnTo>
                  <a:lnTo>
                    <a:pt x="170" y="360"/>
                  </a:lnTo>
                  <a:lnTo>
                    <a:pt x="167" y="367"/>
                  </a:lnTo>
                  <a:lnTo>
                    <a:pt x="167" y="372"/>
                  </a:lnTo>
                  <a:lnTo>
                    <a:pt x="170" y="376"/>
                  </a:lnTo>
                  <a:lnTo>
                    <a:pt x="170" y="376"/>
                  </a:lnTo>
                  <a:lnTo>
                    <a:pt x="172" y="381"/>
                  </a:lnTo>
                  <a:lnTo>
                    <a:pt x="173" y="385"/>
                  </a:lnTo>
                  <a:lnTo>
                    <a:pt x="172" y="389"/>
                  </a:lnTo>
                  <a:lnTo>
                    <a:pt x="170" y="392"/>
                  </a:lnTo>
                  <a:lnTo>
                    <a:pt x="170" y="392"/>
                  </a:lnTo>
                  <a:lnTo>
                    <a:pt x="166" y="398"/>
                  </a:lnTo>
                  <a:lnTo>
                    <a:pt x="163" y="404"/>
                  </a:lnTo>
                  <a:lnTo>
                    <a:pt x="163" y="404"/>
                  </a:lnTo>
                  <a:lnTo>
                    <a:pt x="161" y="410"/>
                  </a:lnTo>
                  <a:lnTo>
                    <a:pt x="155" y="419"/>
                  </a:lnTo>
                  <a:lnTo>
                    <a:pt x="155" y="419"/>
                  </a:lnTo>
                  <a:lnTo>
                    <a:pt x="151" y="427"/>
                  </a:lnTo>
                  <a:lnTo>
                    <a:pt x="148" y="437"/>
                  </a:lnTo>
                  <a:lnTo>
                    <a:pt x="145" y="447"/>
                  </a:lnTo>
                  <a:lnTo>
                    <a:pt x="142" y="455"/>
                  </a:lnTo>
                  <a:lnTo>
                    <a:pt x="142" y="455"/>
                  </a:lnTo>
                  <a:lnTo>
                    <a:pt x="142" y="461"/>
                  </a:lnTo>
                  <a:lnTo>
                    <a:pt x="143" y="464"/>
                  </a:lnTo>
                  <a:lnTo>
                    <a:pt x="146" y="468"/>
                  </a:lnTo>
                  <a:lnTo>
                    <a:pt x="146" y="468"/>
                  </a:lnTo>
                  <a:lnTo>
                    <a:pt x="148" y="471"/>
                  </a:lnTo>
                  <a:lnTo>
                    <a:pt x="149" y="477"/>
                  </a:lnTo>
                  <a:lnTo>
                    <a:pt x="148" y="484"/>
                  </a:lnTo>
                  <a:lnTo>
                    <a:pt x="148" y="489"/>
                  </a:lnTo>
                  <a:lnTo>
                    <a:pt x="148" y="489"/>
                  </a:lnTo>
                  <a:lnTo>
                    <a:pt x="143" y="496"/>
                  </a:lnTo>
                  <a:lnTo>
                    <a:pt x="143" y="499"/>
                  </a:lnTo>
                  <a:lnTo>
                    <a:pt x="143" y="505"/>
                  </a:lnTo>
                  <a:lnTo>
                    <a:pt x="143" y="505"/>
                  </a:lnTo>
                  <a:lnTo>
                    <a:pt x="145" y="514"/>
                  </a:lnTo>
                  <a:lnTo>
                    <a:pt x="143" y="520"/>
                  </a:lnTo>
                  <a:lnTo>
                    <a:pt x="139" y="526"/>
                  </a:lnTo>
                  <a:lnTo>
                    <a:pt x="139" y="526"/>
                  </a:lnTo>
                  <a:lnTo>
                    <a:pt x="135" y="533"/>
                  </a:lnTo>
                  <a:lnTo>
                    <a:pt x="133" y="542"/>
                  </a:lnTo>
                  <a:lnTo>
                    <a:pt x="132" y="552"/>
                  </a:lnTo>
                  <a:lnTo>
                    <a:pt x="132" y="552"/>
                  </a:lnTo>
                  <a:lnTo>
                    <a:pt x="138" y="552"/>
                  </a:lnTo>
                  <a:lnTo>
                    <a:pt x="145" y="555"/>
                  </a:lnTo>
                  <a:lnTo>
                    <a:pt x="151" y="561"/>
                  </a:lnTo>
                  <a:lnTo>
                    <a:pt x="151" y="561"/>
                  </a:lnTo>
                  <a:lnTo>
                    <a:pt x="155" y="567"/>
                  </a:lnTo>
                  <a:lnTo>
                    <a:pt x="157" y="573"/>
                  </a:lnTo>
                  <a:lnTo>
                    <a:pt x="160" y="578"/>
                  </a:lnTo>
                  <a:lnTo>
                    <a:pt x="163" y="581"/>
                  </a:lnTo>
                  <a:lnTo>
                    <a:pt x="167" y="582"/>
                  </a:lnTo>
                  <a:lnTo>
                    <a:pt x="167" y="582"/>
                  </a:lnTo>
                  <a:lnTo>
                    <a:pt x="177" y="585"/>
                  </a:lnTo>
                  <a:lnTo>
                    <a:pt x="186" y="585"/>
                  </a:lnTo>
                  <a:lnTo>
                    <a:pt x="195" y="583"/>
                  </a:lnTo>
                  <a:lnTo>
                    <a:pt x="195" y="583"/>
                  </a:lnTo>
                  <a:lnTo>
                    <a:pt x="197" y="582"/>
                  </a:lnTo>
                  <a:lnTo>
                    <a:pt x="198" y="579"/>
                  </a:lnTo>
                  <a:lnTo>
                    <a:pt x="200" y="576"/>
                  </a:lnTo>
                  <a:lnTo>
                    <a:pt x="203" y="573"/>
                  </a:lnTo>
                  <a:lnTo>
                    <a:pt x="203" y="573"/>
                  </a:lnTo>
                  <a:lnTo>
                    <a:pt x="207" y="573"/>
                  </a:lnTo>
                  <a:lnTo>
                    <a:pt x="209" y="570"/>
                  </a:lnTo>
                  <a:lnTo>
                    <a:pt x="210" y="567"/>
                  </a:lnTo>
                  <a:lnTo>
                    <a:pt x="212" y="563"/>
                  </a:lnTo>
                  <a:lnTo>
                    <a:pt x="212" y="563"/>
                  </a:lnTo>
                  <a:lnTo>
                    <a:pt x="212" y="557"/>
                  </a:lnTo>
                  <a:lnTo>
                    <a:pt x="210" y="551"/>
                  </a:lnTo>
                  <a:lnTo>
                    <a:pt x="210" y="545"/>
                  </a:lnTo>
                  <a:lnTo>
                    <a:pt x="212" y="545"/>
                  </a:lnTo>
                  <a:lnTo>
                    <a:pt x="215" y="544"/>
                  </a:lnTo>
                  <a:lnTo>
                    <a:pt x="215" y="544"/>
                  </a:lnTo>
                  <a:lnTo>
                    <a:pt x="228" y="545"/>
                  </a:lnTo>
                  <a:lnTo>
                    <a:pt x="234" y="544"/>
                  </a:lnTo>
                  <a:lnTo>
                    <a:pt x="238" y="542"/>
                  </a:lnTo>
                  <a:lnTo>
                    <a:pt x="238" y="542"/>
                  </a:lnTo>
                  <a:lnTo>
                    <a:pt x="247" y="536"/>
                  </a:lnTo>
                  <a:lnTo>
                    <a:pt x="252" y="535"/>
                  </a:lnTo>
                  <a:lnTo>
                    <a:pt x="252" y="535"/>
                  </a:lnTo>
                  <a:lnTo>
                    <a:pt x="253" y="533"/>
                  </a:lnTo>
                  <a:lnTo>
                    <a:pt x="254" y="530"/>
                  </a:lnTo>
                  <a:lnTo>
                    <a:pt x="256" y="529"/>
                  </a:lnTo>
                  <a:lnTo>
                    <a:pt x="260" y="529"/>
                  </a:lnTo>
                  <a:lnTo>
                    <a:pt x="260" y="529"/>
                  </a:lnTo>
                  <a:lnTo>
                    <a:pt x="265" y="530"/>
                  </a:lnTo>
                  <a:lnTo>
                    <a:pt x="269" y="529"/>
                  </a:lnTo>
                  <a:lnTo>
                    <a:pt x="274" y="527"/>
                  </a:lnTo>
                  <a:lnTo>
                    <a:pt x="275" y="526"/>
                  </a:lnTo>
                  <a:lnTo>
                    <a:pt x="275" y="526"/>
                  </a:lnTo>
                  <a:lnTo>
                    <a:pt x="277" y="524"/>
                  </a:lnTo>
                  <a:lnTo>
                    <a:pt x="281" y="523"/>
                  </a:lnTo>
                  <a:lnTo>
                    <a:pt x="284" y="523"/>
                  </a:lnTo>
                  <a:lnTo>
                    <a:pt x="286" y="520"/>
                  </a:lnTo>
                  <a:lnTo>
                    <a:pt x="286" y="520"/>
                  </a:lnTo>
                  <a:lnTo>
                    <a:pt x="290" y="511"/>
                  </a:lnTo>
                  <a:lnTo>
                    <a:pt x="293" y="508"/>
                  </a:lnTo>
                  <a:lnTo>
                    <a:pt x="296" y="508"/>
                  </a:lnTo>
                  <a:lnTo>
                    <a:pt x="296" y="508"/>
                  </a:lnTo>
                  <a:lnTo>
                    <a:pt x="299" y="509"/>
                  </a:lnTo>
                  <a:lnTo>
                    <a:pt x="302" y="515"/>
                  </a:lnTo>
                  <a:lnTo>
                    <a:pt x="302" y="515"/>
                  </a:lnTo>
                  <a:lnTo>
                    <a:pt x="303" y="518"/>
                  </a:lnTo>
                  <a:lnTo>
                    <a:pt x="306" y="520"/>
                  </a:lnTo>
                  <a:lnTo>
                    <a:pt x="311" y="521"/>
                  </a:lnTo>
                  <a:lnTo>
                    <a:pt x="315" y="523"/>
                  </a:lnTo>
                  <a:lnTo>
                    <a:pt x="318" y="524"/>
                  </a:lnTo>
                  <a:lnTo>
                    <a:pt x="320" y="527"/>
                  </a:lnTo>
                  <a:lnTo>
                    <a:pt x="320" y="527"/>
                  </a:lnTo>
                  <a:lnTo>
                    <a:pt x="324" y="532"/>
                  </a:lnTo>
                  <a:lnTo>
                    <a:pt x="327" y="535"/>
                  </a:lnTo>
                  <a:lnTo>
                    <a:pt x="330" y="536"/>
                  </a:lnTo>
                  <a:lnTo>
                    <a:pt x="336" y="536"/>
                  </a:lnTo>
                  <a:lnTo>
                    <a:pt x="336" y="536"/>
                  </a:lnTo>
                  <a:lnTo>
                    <a:pt x="342" y="538"/>
                  </a:lnTo>
                  <a:lnTo>
                    <a:pt x="345" y="536"/>
                  </a:lnTo>
                  <a:lnTo>
                    <a:pt x="354" y="529"/>
                  </a:lnTo>
                  <a:lnTo>
                    <a:pt x="354" y="529"/>
                  </a:lnTo>
                  <a:lnTo>
                    <a:pt x="358" y="526"/>
                  </a:lnTo>
                  <a:lnTo>
                    <a:pt x="363" y="524"/>
                  </a:lnTo>
                  <a:lnTo>
                    <a:pt x="366" y="523"/>
                  </a:lnTo>
                  <a:lnTo>
                    <a:pt x="366" y="521"/>
                  </a:lnTo>
                  <a:lnTo>
                    <a:pt x="366" y="521"/>
                  </a:lnTo>
                  <a:lnTo>
                    <a:pt x="369" y="514"/>
                  </a:lnTo>
                  <a:lnTo>
                    <a:pt x="370" y="509"/>
                  </a:lnTo>
                  <a:lnTo>
                    <a:pt x="369" y="506"/>
                  </a:lnTo>
                  <a:lnTo>
                    <a:pt x="369" y="506"/>
                  </a:lnTo>
                  <a:lnTo>
                    <a:pt x="364" y="501"/>
                  </a:lnTo>
                  <a:lnTo>
                    <a:pt x="363" y="499"/>
                  </a:lnTo>
                  <a:lnTo>
                    <a:pt x="364" y="496"/>
                  </a:lnTo>
                  <a:lnTo>
                    <a:pt x="364" y="496"/>
                  </a:lnTo>
                  <a:lnTo>
                    <a:pt x="366" y="490"/>
                  </a:lnTo>
                  <a:lnTo>
                    <a:pt x="367" y="486"/>
                  </a:lnTo>
                  <a:lnTo>
                    <a:pt x="367" y="483"/>
                  </a:lnTo>
                  <a:lnTo>
                    <a:pt x="367" y="483"/>
                  </a:lnTo>
                  <a:lnTo>
                    <a:pt x="364" y="474"/>
                  </a:lnTo>
                  <a:lnTo>
                    <a:pt x="364" y="469"/>
                  </a:lnTo>
                  <a:lnTo>
                    <a:pt x="366" y="468"/>
                  </a:lnTo>
                  <a:lnTo>
                    <a:pt x="369" y="468"/>
                  </a:lnTo>
                  <a:lnTo>
                    <a:pt x="369" y="468"/>
                  </a:lnTo>
                  <a:lnTo>
                    <a:pt x="374" y="466"/>
                  </a:lnTo>
                  <a:lnTo>
                    <a:pt x="377" y="464"/>
                  </a:lnTo>
                  <a:lnTo>
                    <a:pt x="380" y="458"/>
                  </a:lnTo>
                  <a:lnTo>
                    <a:pt x="380" y="458"/>
                  </a:lnTo>
                  <a:lnTo>
                    <a:pt x="386" y="447"/>
                  </a:lnTo>
                  <a:lnTo>
                    <a:pt x="388" y="444"/>
                  </a:lnTo>
                  <a:lnTo>
                    <a:pt x="391" y="443"/>
                  </a:lnTo>
                  <a:lnTo>
                    <a:pt x="391" y="443"/>
                  </a:lnTo>
                  <a:lnTo>
                    <a:pt x="392" y="443"/>
                  </a:lnTo>
                  <a:lnTo>
                    <a:pt x="395" y="441"/>
                  </a:lnTo>
                  <a:lnTo>
                    <a:pt x="397" y="438"/>
                  </a:lnTo>
                  <a:lnTo>
                    <a:pt x="398" y="431"/>
                  </a:lnTo>
                  <a:lnTo>
                    <a:pt x="398" y="431"/>
                  </a:lnTo>
                  <a:lnTo>
                    <a:pt x="403" y="413"/>
                  </a:lnTo>
                  <a:lnTo>
                    <a:pt x="406" y="407"/>
                  </a:lnTo>
                  <a:lnTo>
                    <a:pt x="407" y="403"/>
                  </a:lnTo>
                  <a:lnTo>
                    <a:pt x="407" y="403"/>
                  </a:lnTo>
                  <a:lnTo>
                    <a:pt x="413" y="397"/>
                  </a:lnTo>
                  <a:lnTo>
                    <a:pt x="416" y="394"/>
                  </a:lnTo>
                  <a:lnTo>
                    <a:pt x="422" y="394"/>
                  </a:lnTo>
                  <a:lnTo>
                    <a:pt x="422" y="394"/>
                  </a:lnTo>
                  <a:lnTo>
                    <a:pt x="426" y="392"/>
                  </a:lnTo>
                  <a:lnTo>
                    <a:pt x="429" y="389"/>
                  </a:lnTo>
                  <a:lnTo>
                    <a:pt x="431" y="381"/>
                  </a:lnTo>
                  <a:lnTo>
                    <a:pt x="431" y="381"/>
                  </a:lnTo>
                  <a:lnTo>
                    <a:pt x="431" y="375"/>
                  </a:lnTo>
                  <a:lnTo>
                    <a:pt x="429" y="370"/>
                  </a:lnTo>
                  <a:lnTo>
                    <a:pt x="429" y="364"/>
                  </a:lnTo>
                  <a:lnTo>
                    <a:pt x="429" y="361"/>
                  </a:lnTo>
                  <a:lnTo>
                    <a:pt x="429" y="361"/>
                  </a:lnTo>
                  <a:lnTo>
                    <a:pt x="431" y="357"/>
                  </a:lnTo>
                  <a:lnTo>
                    <a:pt x="437" y="351"/>
                  </a:lnTo>
                  <a:lnTo>
                    <a:pt x="444" y="347"/>
                  </a:lnTo>
                  <a:lnTo>
                    <a:pt x="451" y="344"/>
                  </a:lnTo>
                  <a:lnTo>
                    <a:pt x="451" y="344"/>
                  </a:lnTo>
                  <a:lnTo>
                    <a:pt x="456" y="344"/>
                  </a:lnTo>
                  <a:lnTo>
                    <a:pt x="459" y="345"/>
                  </a:lnTo>
                  <a:lnTo>
                    <a:pt x="462" y="347"/>
                  </a:lnTo>
                  <a:lnTo>
                    <a:pt x="469" y="349"/>
                  </a:lnTo>
                  <a:lnTo>
                    <a:pt x="469" y="349"/>
                  </a:lnTo>
                  <a:lnTo>
                    <a:pt x="490" y="351"/>
                  </a:lnTo>
                  <a:lnTo>
                    <a:pt x="505" y="351"/>
                  </a:lnTo>
                  <a:lnTo>
                    <a:pt x="505" y="351"/>
                  </a:lnTo>
                  <a:lnTo>
                    <a:pt x="509" y="351"/>
                  </a:lnTo>
                  <a:lnTo>
                    <a:pt x="512" y="352"/>
                  </a:lnTo>
                  <a:lnTo>
                    <a:pt x="521" y="358"/>
                  </a:lnTo>
                  <a:lnTo>
                    <a:pt x="521" y="358"/>
                  </a:lnTo>
                  <a:lnTo>
                    <a:pt x="527" y="363"/>
                  </a:lnTo>
                  <a:lnTo>
                    <a:pt x="534" y="366"/>
                  </a:lnTo>
                  <a:lnTo>
                    <a:pt x="546" y="369"/>
                  </a:lnTo>
                  <a:lnTo>
                    <a:pt x="546" y="369"/>
                  </a:lnTo>
                  <a:lnTo>
                    <a:pt x="552" y="370"/>
                  </a:lnTo>
                  <a:lnTo>
                    <a:pt x="557" y="375"/>
                  </a:lnTo>
                  <a:lnTo>
                    <a:pt x="560" y="379"/>
                  </a:lnTo>
                  <a:lnTo>
                    <a:pt x="560" y="382"/>
                  </a:lnTo>
                  <a:lnTo>
                    <a:pt x="560" y="384"/>
                  </a:lnTo>
                  <a:lnTo>
                    <a:pt x="560" y="384"/>
                  </a:lnTo>
                  <a:lnTo>
                    <a:pt x="557" y="387"/>
                  </a:lnTo>
                  <a:lnTo>
                    <a:pt x="554" y="389"/>
                  </a:lnTo>
                  <a:lnTo>
                    <a:pt x="552" y="391"/>
                  </a:lnTo>
                  <a:lnTo>
                    <a:pt x="554" y="394"/>
                  </a:lnTo>
                  <a:lnTo>
                    <a:pt x="554" y="394"/>
                  </a:lnTo>
                  <a:lnTo>
                    <a:pt x="558" y="397"/>
                  </a:lnTo>
                  <a:lnTo>
                    <a:pt x="560" y="403"/>
                  </a:lnTo>
                  <a:lnTo>
                    <a:pt x="561" y="410"/>
                  </a:lnTo>
                  <a:lnTo>
                    <a:pt x="562" y="418"/>
                  </a:lnTo>
                  <a:lnTo>
                    <a:pt x="562" y="418"/>
                  </a:lnTo>
                  <a:lnTo>
                    <a:pt x="564" y="424"/>
                  </a:lnTo>
                  <a:lnTo>
                    <a:pt x="567" y="428"/>
                  </a:lnTo>
                  <a:lnTo>
                    <a:pt x="573" y="431"/>
                  </a:lnTo>
                  <a:lnTo>
                    <a:pt x="577" y="431"/>
                  </a:lnTo>
                  <a:lnTo>
                    <a:pt x="577" y="431"/>
                  </a:lnTo>
                  <a:lnTo>
                    <a:pt x="580" y="429"/>
                  </a:lnTo>
                  <a:lnTo>
                    <a:pt x="585" y="427"/>
                  </a:lnTo>
                  <a:lnTo>
                    <a:pt x="588" y="425"/>
                  </a:lnTo>
                  <a:lnTo>
                    <a:pt x="594" y="424"/>
                  </a:lnTo>
                  <a:lnTo>
                    <a:pt x="594" y="424"/>
                  </a:lnTo>
                  <a:lnTo>
                    <a:pt x="599" y="424"/>
                  </a:lnTo>
                  <a:lnTo>
                    <a:pt x="602" y="425"/>
                  </a:lnTo>
                  <a:lnTo>
                    <a:pt x="605" y="427"/>
                  </a:lnTo>
                  <a:lnTo>
                    <a:pt x="608" y="427"/>
                  </a:lnTo>
                  <a:lnTo>
                    <a:pt x="608" y="427"/>
                  </a:lnTo>
                  <a:lnTo>
                    <a:pt x="610" y="425"/>
                  </a:lnTo>
                  <a:lnTo>
                    <a:pt x="613" y="422"/>
                  </a:lnTo>
                  <a:lnTo>
                    <a:pt x="614" y="418"/>
                  </a:lnTo>
                  <a:lnTo>
                    <a:pt x="616" y="413"/>
                  </a:lnTo>
                  <a:lnTo>
                    <a:pt x="616" y="413"/>
                  </a:lnTo>
                  <a:lnTo>
                    <a:pt x="616" y="412"/>
                  </a:lnTo>
                  <a:lnTo>
                    <a:pt x="617" y="410"/>
                  </a:lnTo>
                  <a:lnTo>
                    <a:pt x="622" y="407"/>
                  </a:lnTo>
                  <a:lnTo>
                    <a:pt x="628" y="407"/>
                  </a:lnTo>
                  <a:lnTo>
                    <a:pt x="631" y="407"/>
                  </a:lnTo>
                  <a:lnTo>
                    <a:pt x="631" y="407"/>
                  </a:lnTo>
                  <a:lnTo>
                    <a:pt x="634" y="410"/>
                  </a:lnTo>
                  <a:lnTo>
                    <a:pt x="635" y="413"/>
                  </a:lnTo>
                  <a:lnTo>
                    <a:pt x="637" y="416"/>
                  </a:lnTo>
                  <a:lnTo>
                    <a:pt x="641" y="416"/>
                  </a:lnTo>
                  <a:lnTo>
                    <a:pt x="641" y="416"/>
                  </a:lnTo>
                  <a:lnTo>
                    <a:pt x="648" y="418"/>
                  </a:lnTo>
                  <a:lnTo>
                    <a:pt x="654" y="419"/>
                  </a:lnTo>
                  <a:lnTo>
                    <a:pt x="659" y="422"/>
                  </a:lnTo>
                  <a:lnTo>
                    <a:pt x="662" y="425"/>
                  </a:lnTo>
                  <a:lnTo>
                    <a:pt x="662" y="425"/>
                  </a:lnTo>
                  <a:lnTo>
                    <a:pt x="662" y="431"/>
                  </a:lnTo>
                  <a:lnTo>
                    <a:pt x="662" y="440"/>
                  </a:lnTo>
                  <a:lnTo>
                    <a:pt x="663" y="450"/>
                  </a:lnTo>
                  <a:lnTo>
                    <a:pt x="663" y="458"/>
                  </a:lnTo>
                  <a:lnTo>
                    <a:pt x="663" y="458"/>
                  </a:lnTo>
                  <a:lnTo>
                    <a:pt x="668" y="466"/>
                  </a:lnTo>
                  <a:lnTo>
                    <a:pt x="672" y="475"/>
                  </a:lnTo>
                  <a:lnTo>
                    <a:pt x="672" y="475"/>
                  </a:lnTo>
                  <a:lnTo>
                    <a:pt x="675" y="483"/>
                  </a:lnTo>
                  <a:lnTo>
                    <a:pt x="679" y="487"/>
                  </a:lnTo>
                  <a:lnTo>
                    <a:pt x="679" y="487"/>
                  </a:lnTo>
                  <a:lnTo>
                    <a:pt x="681" y="492"/>
                  </a:lnTo>
                  <a:lnTo>
                    <a:pt x="681" y="496"/>
                  </a:lnTo>
                  <a:lnTo>
                    <a:pt x="681" y="501"/>
                  </a:lnTo>
                  <a:lnTo>
                    <a:pt x="682" y="502"/>
                  </a:lnTo>
                  <a:lnTo>
                    <a:pt x="685" y="505"/>
                  </a:lnTo>
                  <a:lnTo>
                    <a:pt x="685" y="505"/>
                  </a:lnTo>
                  <a:lnTo>
                    <a:pt x="688" y="505"/>
                  </a:lnTo>
                  <a:lnTo>
                    <a:pt x="690" y="506"/>
                  </a:lnTo>
                  <a:lnTo>
                    <a:pt x="693" y="505"/>
                  </a:lnTo>
                  <a:lnTo>
                    <a:pt x="694" y="504"/>
                  </a:lnTo>
                  <a:lnTo>
                    <a:pt x="697" y="505"/>
                  </a:lnTo>
                  <a:lnTo>
                    <a:pt x="703" y="511"/>
                  </a:lnTo>
                  <a:lnTo>
                    <a:pt x="703" y="511"/>
                  </a:lnTo>
                  <a:lnTo>
                    <a:pt x="714" y="523"/>
                  </a:lnTo>
                  <a:lnTo>
                    <a:pt x="715" y="527"/>
                  </a:lnTo>
                  <a:lnTo>
                    <a:pt x="716" y="532"/>
                  </a:lnTo>
                  <a:lnTo>
                    <a:pt x="716" y="532"/>
                  </a:lnTo>
                  <a:lnTo>
                    <a:pt x="716" y="536"/>
                  </a:lnTo>
                  <a:lnTo>
                    <a:pt x="716" y="539"/>
                  </a:lnTo>
                  <a:lnTo>
                    <a:pt x="716" y="539"/>
                  </a:lnTo>
                  <a:lnTo>
                    <a:pt x="709" y="542"/>
                  </a:lnTo>
                  <a:lnTo>
                    <a:pt x="709" y="542"/>
                  </a:lnTo>
                  <a:lnTo>
                    <a:pt x="694" y="545"/>
                  </a:lnTo>
                  <a:lnTo>
                    <a:pt x="679" y="545"/>
                  </a:lnTo>
                  <a:lnTo>
                    <a:pt x="679" y="545"/>
                  </a:lnTo>
                  <a:lnTo>
                    <a:pt x="675" y="545"/>
                  </a:lnTo>
                  <a:lnTo>
                    <a:pt x="672" y="544"/>
                  </a:lnTo>
                  <a:lnTo>
                    <a:pt x="665" y="538"/>
                  </a:lnTo>
                  <a:lnTo>
                    <a:pt x="665" y="538"/>
                  </a:lnTo>
                  <a:lnTo>
                    <a:pt x="662" y="533"/>
                  </a:lnTo>
                  <a:lnTo>
                    <a:pt x="660" y="532"/>
                  </a:lnTo>
                  <a:lnTo>
                    <a:pt x="657" y="530"/>
                  </a:lnTo>
                  <a:lnTo>
                    <a:pt x="653" y="533"/>
                  </a:lnTo>
                  <a:lnTo>
                    <a:pt x="653" y="533"/>
                  </a:lnTo>
                  <a:lnTo>
                    <a:pt x="647" y="538"/>
                  </a:lnTo>
                  <a:lnTo>
                    <a:pt x="639" y="541"/>
                  </a:lnTo>
                  <a:lnTo>
                    <a:pt x="628" y="546"/>
                  </a:lnTo>
                  <a:lnTo>
                    <a:pt x="628" y="546"/>
                  </a:lnTo>
                  <a:lnTo>
                    <a:pt x="620" y="552"/>
                  </a:lnTo>
                  <a:lnTo>
                    <a:pt x="619" y="554"/>
                  </a:lnTo>
                  <a:lnTo>
                    <a:pt x="620" y="555"/>
                  </a:lnTo>
                  <a:lnTo>
                    <a:pt x="620" y="555"/>
                  </a:lnTo>
                  <a:lnTo>
                    <a:pt x="628" y="558"/>
                  </a:lnTo>
                  <a:lnTo>
                    <a:pt x="631" y="561"/>
                  </a:lnTo>
                  <a:lnTo>
                    <a:pt x="631" y="564"/>
                  </a:lnTo>
                  <a:lnTo>
                    <a:pt x="631" y="564"/>
                  </a:lnTo>
                  <a:lnTo>
                    <a:pt x="631" y="566"/>
                  </a:lnTo>
                  <a:lnTo>
                    <a:pt x="628" y="567"/>
                  </a:lnTo>
                  <a:lnTo>
                    <a:pt x="626" y="567"/>
                  </a:lnTo>
                  <a:lnTo>
                    <a:pt x="625" y="572"/>
                  </a:lnTo>
                  <a:lnTo>
                    <a:pt x="625" y="572"/>
                  </a:lnTo>
                  <a:lnTo>
                    <a:pt x="623" y="582"/>
                  </a:lnTo>
                  <a:lnTo>
                    <a:pt x="628" y="592"/>
                  </a:lnTo>
                  <a:lnTo>
                    <a:pt x="628" y="592"/>
                  </a:lnTo>
                  <a:lnTo>
                    <a:pt x="632" y="600"/>
                  </a:lnTo>
                  <a:lnTo>
                    <a:pt x="632" y="603"/>
                  </a:lnTo>
                  <a:lnTo>
                    <a:pt x="631" y="606"/>
                  </a:lnTo>
                  <a:lnTo>
                    <a:pt x="631" y="606"/>
                  </a:lnTo>
                  <a:lnTo>
                    <a:pt x="628" y="607"/>
                  </a:lnTo>
                  <a:lnTo>
                    <a:pt x="623" y="609"/>
                  </a:lnTo>
                  <a:lnTo>
                    <a:pt x="620" y="610"/>
                  </a:lnTo>
                  <a:lnTo>
                    <a:pt x="619" y="613"/>
                  </a:lnTo>
                  <a:lnTo>
                    <a:pt x="619" y="613"/>
                  </a:lnTo>
                  <a:lnTo>
                    <a:pt x="619" y="623"/>
                  </a:lnTo>
                  <a:lnTo>
                    <a:pt x="619" y="628"/>
                  </a:lnTo>
                  <a:lnTo>
                    <a:pt x="622" y="632"/>
                  </a:lnTo>
                  <a:lnTo>
                    <a:pt x="622" y="632"/>
                  </a:lnTo>
                  <a:lnTo>
                    <a:pt x="625" y="634"/>
                  </a:lnTo>
                  <a:lnTo>
                    <a:pt x="628" y="634"/>
                  </a:lnTo>
                  <a:lnTo>
                    <a:pt x="631" y="634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35" y="640"/>
                  </a:lnTo>
                  <a:lnTo>
                    <a:pt x="637" y="644"/>
                  </a:lnTo>
                  <a:lnTo>
                    <a:pt x="637" y="647"/>
                  </a:lnTo>
                  <a:lnTo>
                    <a:pt x="639" y="650"/>
                  </a:lnTo>
                  <a:lnTo>
                    <a:pt x="639" y="650"/>
                  </a:lnTo>
                  <a:lnTo>
                    <a:pt x="641" y="653"/>
                  </a:lnTo>
                  <a:lnTo>
                    <a:pt x="642" y="656"/>
                  </a:lnTo>
                  <a:lnTo>
                    <a:pt x="644" y="659"/>
                  </a:lnTo>
                  <a:lnTo>
                    <a:pt x="647" y="662"/>
                  </a:lnTo>
                  <a:lnTo>
                    <a:pt x="647" y="662"/>
                  </a:lnTo>
                  <a:lnTo>
                    <a:pt x="648" y="663"/>
                  </a:lnTo>
                  <a:lnTo>
                    <a:pt x="651" y="663"/>
                  </a:lnTo>
                  <a:lnTo>
                    <a:pt x="653" y="662"/>
                  </a:lnTo>
                  <a:lnTo>
                    <a:pt x="654" y="659"/>
                  </a:lnTo>
                  <a:lnTo>
                    <a:pt x="654" y="659"/>
                  </a:lnTo>
                  <a:lnTo>
                    <a:pt x="657" y="658"/>
                  </a:lnTo>
                  <a:lnTo>
                    <a:pt x="660" y="655"/>
                  </a:lnTo>
                  <a:lnTo>
                    <a:pt x="663" y="655"/>
                  </a:lnTo>
                  <a:lnTo>
                    <a:pt x="666" y="656"/>
                  </a:lnTo>
                  <a:lnTo>
                    <a:pt x="666" y="656"/>
                  </a:lnTo>
                  <a:lnTo>
                    <a:pt x="666" y="659"/>
                  </a:lnTo>
                  <a:lnTo>
                    <a:pt x="666" y="662"/>
                  </a:lnTo>
                  <a:lnTo>
                    <a:pt x="663" y="668"/>
                  </a:lnTo>
                  <a:lnTo>
                    <a:pt x="663" y="668"/>
                  </a:lnTo>
                  <a:lnTo>
                    <a:pt x="663" y="672"/>
                  </a:lnTo>
                  <a:lnTo>
                    <a:pt x="663" y="675"/>
                  </a:lnTo>
                  <a:lnTo>
                    <a:pt x="666" y="681"/>
                  </a:lnTo>
                  <a:lnTo>
                    <a:pt x="666" y="681"/>
                  </a:lnTo>
                  <a:lnTo>
                    <a:pt x="671" y="695"/>
                  </a:lnTo>
                  <a:lnTo>
                    <a:pt x="672" y="702"/>
                  </a:lnTo>
                  <a:lnTo>
                    <a:pt x="671" y="708"/>
                  </a:lnTo>
                  <a:lnTo>
                    <a:pt x="671" y="708"/>
                  </a:lnTo>
                  <a:lnTo>
                    <a:pt x="669" y="711"/>
                  </a:lnTo>
                  <a:lnTo>
                    <a:pt x="665" y="714"/>
                  </a:lnTo>
                  <a:lnTo>
                    <a:pt x="662" y="714"/>
                  </a:lnTo>
                  <a:lnTo>
                    <a:pt x="656" y="714"/>
                  </a:lnTo>
                  <a:lnTo>
                    <a:pt x="656" y="714"/>
                  </a:lnTo>
                  <a:lnTo>
                    <a:pt x="651" y="712"/>
                  </a:lnTo>
                  <a:lnTo>
                    <a:pt x="648" y="712"/>
                  </a:lnTo>
                  <a:lnTo>
                    <a:pt x="645" y="714"/>
                  </a:lnTo>
                  <a:lnTo>
                    <a:pt x="644" y="718"/>
                  </a:lnTo>
                  <a:lnTo>
                    <a:pt x="644" y="718"/>
                  </a:lnTo>
                  <a:lnTo>
                    <a:pt x="639" y="723"/>
                  </a:lnTo>
                  <a:lnTo>
                    <a:pt x="635" y="727"/>
                  </a:lnTo>
                  <a:lnTo>
                    <a:pt x="628" y="732"/>
                  </a:lnTo>
                  <a:lnTo>
                    <a:pt x="622" y="733"/>
                  </a:lnTo>
                  <a:lnTo>
                    <a:pt x="622" y="733"/>
                  </a:lnTo>
                  <a:lnTo>
                    <a:pt x="605" y="735"/>
                  </a:lnTo>
                  <a:lnTo>
                    <a:pt x="588" y="735"/>
                  </a:lnTo>
                  <a:lnTo>
                    <a:pt x="588" y="735"/>
                  </a:lnTo>
                  <a:lnTo>
                    <a:pt x="562" y="730"/>
                  </a:lnTo>
                  <a:lnTo>
                    <a:pt x="562" y="730"/>
                  </a:lnTo>
                  <a:lnTo>
                    <a:pt x="565" y="724"/>
                  </a:lnTo>
                  <a:lnTo>
                    <a:pt x="576" y="706"/>
                  </a:lnTo>
                  <a:lnTo>
                    <a:pt x="576" y="706"/>
                  </a:lnTo>
                  <a:lnTo>
                    <a:pt x="579" y="702"/>
                  </a:lnTo>
                  <a:lnTo>
                    <a:pt x="577" y="698"/>
                  </a:lnTo>
                  <a:lnTo>
                    <a:pt x="576" y="696"/>
                  </a:lnTo>
                  <a:lnTo>
                    <a:pt x="574" y="696"/>
                  </a:lnTo>
                  <a:lnTo>
                    <a:pt x="571" y="696"/>
                  </a:lnTo>
                  <a:lnTo>
                    <a:pt x="567" y="698"/>
                  </a:lnTo>
                  <a:lnTo>
                    <a:pt x="567" y="698"/>
                  </a:lnTo>
                  <a:lnTo>
                    <a:pt x="551" y="711"/>
                  </a:lnTo>
                  <a:lnTo>
                    <a:pt x="543" y="717"/>
                  </a:lnTo>
                  <a:lnTo>
                    <a:pt x="536" y="720"/>
                  </a:lnTo>
                  <a:lnTo>
                    <a:pt x="536" y="720"/>
                  </a:lnTo>
                  <a:lnTo>
                    <a:pt x="517" y="721"/>
                  </a:lnTo>
                  <a:lnTo>
                    <a:pt x="509" y="724"/>
                  </a:lnTo>
                  <a:lnTo>
                    <a:pt x="506" y="726"/>
                  </a:lnTo>
                  <a:lnTo>
                    <a:pt x="506" y="729"/>
                  </a:lnTo>
                  <a:lnTo>
                    <a:pt x="506" y="729"/>
                  </a:lnTo>
                  <a:lnTo>
                    <a:pt x="509" y="755"/>
                  </a:lnTo>
                  <a:lnTo>
                    <a:pt x="509" y="763"/>
                  </a:lnTo>
                  <a:lnTo>
                    <a:pt x="509" y="770"/>
                  </a:lnTo>
                  <a:lnTo>
                    <a:pt x="508" y="775"/>
                  </a:lnTo>
                  <a:lnTo>
                    <a:pt x="506" y="776"/>
                  </a:lnTo>
                  <a:lnTo>
                    <a:pt x="505" y="776"/>
                  </a:lnTo>
                  <a:lnTo>
                    <a:pt x="505" y="776"/>
                  </a:lnTo>
                  <a:lnTo>
                    <a:pt x="487" y="779"/>
                  </a:lnTo>
                  <a:lnTo>
                    <a:pt x="480" y="782"/>
                  </a:lnTo>
                  <a:lnTo>
                    <a:pt x="475" y="785"/>
                  </a:lnTo>
                  <a:lnTo>
                    <a:pt x="475" y="785"/>
                  </a:lnTo>
                  <a:lnTo>
                    <a:pt x="468" y="798"/>
                  </a:lnTo>
                  <a:lnTo>
                    <a:pt x="462" y="804"/>
                  </a:lnTo>
                  <a:lnTo>
                    <a:pt x="460" y="804"/>
                  </a:lnTo>
                  <a:lnTo>
                    <a:pt x="457" y="804"/>
                  </a:lnTo>
                  <a:lnTo>
                    <a:pt x="457" y="804"/>
                  </a:lnTo>
                  <a:lnTo>
                    <a:pt x="454" y="801"/>
                  </a:lnTo>
                  <a:lnTo>
                    <a:pt x="451" y="798"/>
                  </a:lnTo>
                  <a:lnTo>
                    <a:pt x="450" y="795"/>
                  </a:lnTo>
                  <a:lnTo>
                    <a:pt x="444" y="794"/>
                  </a:lnTo>
                  <a:lnTo>
                    <a:pt x="444" y="794"/>
                  </a:lnTo>
                  <a:lnTo>
                    <a:pt x="437" y="794"/>
                  </a:lnTo>
                  <a:lnTo>
                    <a:pt x="429" y="794"/>
                  </a:lnTo>
                  <a:lnTo>
                    <a:pt x="423" y="795"/>
                  </a:lnTo>
                  <a:lnTo>
                    <a:pt x="419" y="797"/>
                  </a:lnTo>
                  <a:lnTo>
                    <a:pt x="419" y="797"/>
                  </a:lnTo>
                  <a:lnTo>
                    <a:pt x="413" y="798"/>
                  </a:lnTo>
                  <a:lnTo>
                    <a:pt x="403" y="801"/>
                  </a:lnTo>
                  <a:lnTo>
                    <a:pt x="397" y="801"/>
                  </a:lnTo>
                  <a:lnTo>
                    <a:pt x="392" y="800"/>
                  </a:lnTo>
                  <a:lnTo>
                    <a:pt x="389" y="798"/>
                  </a:lnTo>
                  <a:lnTo>
                    <a:pt x="386" y="795"/>
                  </a:lnTo>
                  <a:lnTo>
                    <a:pt x="386" y="795"/>
                  </a:lnTo>
                  <a:lnTo>
                    <a:pt x="383" y="788"/>
                  </a:lnTo>
                  <a:lnTo>
                    <a:pt x="382" y="782"/>
                  </a:lnTo>
                  <a:lnTo>
                    <a:pt x="379" y="778"/>
                  </a:lnTo>
                  <a:lnTo>
                    <a:pt x="377" y="778"/>
                  </a:lnTo>
                  <a:lnTo>
                    <a:pt x="376" y="776"/>
                  </a:lnTo>
                  <a:lnTo>
                    <a:pt x="376" y="776"/>
                  </a:lnTo>
                  <a:lnTo>
                    <a:pt x="374" y="778"/>
                  </a:lnTo>
                  <a:lnTo>
                    <a:pt x="373" y="779"/>
                  </a:lnTo>
                  <a:lnTo>
                    <a:pt x="373" y="783"/>
                  </a:lnTo>
                  <a:lnTo>
                    <a:pt x="370" y="786"/>
                  </a:lnTo>
                  <a:lnTo>
                    <a:pt x="367" y="788"/>
                  </a:lnTo>
                  <a:lnTo>
                    <a:pt x="363" y="789"/>
                  </a:lnTo>
                  <a:lnTo>
                    <a:pt x="363" y="789"/>
                  </a:lnTo>
                  <a:lnTo>
                    <a:pt x="355" y="789"/>
                  </a:lnTo>
                  <a:lnTo>
                    <a:pt x="349" y="788"/>
                  </a:lnTo>
                  <a:lnTo>
                    <a:pt x="340" y="786"/>
                  </a:lnTo>
                  <a:lnTo>
                    <a:pt x="340" y="786"/>
                  </a:lnTo>
                  <a:lnTo>
                    <a:pt x="337" y="786"/>
                  </a:lnTo>
                  <a:lnTo>
                    <a:pt x="333" y="789"/>
                  </a:lnTo>
                  <a:lnTo>
                    <a:pt x="330" y="792"/>
                  </a:lnTo>
                  <a:lnTo>
                    <a:pt x="329" y="792"/>
                  </a:lnTo>
                  <a:lnTo>
                    <a:pt x="326" y="791"/>
                  </a:lnTo>
                  <a:lnTo>
                    <a:pt x="326" y="791"/>
                  </a:lnTo>
                  <a:lnTo>
                    <a:pt x="317" y="788"/>
                  </a:lnTo>
                  <a:lnTo>
                    <a:pt x="315" y="786"/>
                  </a:lnTo>
                  <a:lnTo>
                    <a:pt x="314" y="782"/>
                  </a:lnTo>
                  <a:lnTo>
                    <a:pt x="314" y="782"/>
                  </a:lnTo>
                  <a:lnTo>
                    <a:pt x="314" y="778"/>
                  </a:lnTo>
                  <a:lnTo>
                    <a:pt x="314" y="773"/>
                  </a:lnTo>
                  <a:lnTo>
                    <a:pt x="311" y="770"/>
                  </a:lnTo>
                  <a:lnTo>
                    <a:pt x="309" y="770"/>
                  </a:lnTo>
                  <a:lnTo>
                    <a:pt x="308" y="773"/>
                  </a:lnTo>
                  <a:lnTo>
                    <a:pt x="308" y="773"/>
                  </a:lnTo>
                  <a:lnTo>
                    <a:pt x="305" y="778"/>
                  </a:lnTo>
                  <a:lnTo>
                    <a:pt x="300" y="783"/>
                  </a:lnTo>
                  <a:lnTo>
                    <a:pt x="297" y="791"/>
                  </a:lnTo>
                  <a:lnTo>
                    <a:pt x="292" y="798"/>
                  </a:lnTo>
                  <a:lnTo>
                    <a:pt x="292" y="798"/>
                  </a:lnTo>
                  <a:lnTo>
                    <a:pt x="286" y="804"/>
                  </a:lnTo>
                  <a:lnTo>
                    <a:pt x="280" y="807"/>
                  </a:lnTo>
                  <a:lnTo>
                    <a:pt x="272" y="807"/>
                  </a:lnTo>
                  <a:lnTo>
                    <a:pt x="262" y="807"/>
                  </a:lnTo>
                  <a:lnTo>
                    <a:pt x="262" y="807"/>
                  </a:lnTo>
                  <a:lnTo>
                    <a:pt x="253" y="807"/>
                  </a:lnTo>
                  <a:lnTo>
                    <a:pt x="247" y="809"/>
                  </a:lnTo>
                  <a:lnTo>
                    <a:pt x="244" y="809"/>
                  </a:lnTo>
                  <a:lnTo>
                    <a:pt x="238" y="806"/>
                  </a:lnTo>
                  <a:lnTo>
                    <a:pt x="238" y="806"/>
                  </a:lnTo>
                  <a:lnTo>
                    <a:pt x="231" y="801"/>
                  </a:lnTo>
                  <a:lnTo>
                    <a:pt x="220" y="798"/>
                  </a:lnTo>
                  <a:lnTo>
                    <a:pt x="212" y="798"/>
                  </a:lnTo>
                  <a:lnTo>
                    <a:pt x="209" y="800"/>
                  </a:lnTo>
                  <a:lnTo>
                    <a:pt x="207" y="801"/>
                  </a:lnTo>
                  <a:lnTo>
                    <a:pt x="207" y="801"/>
                  </a:lnTo>
                  <a:lnTo>
                    <a:pt x="207" y="809"/>
                  </a:lnTo>
                  <a:lnTo>
                    <a:pt x="209" y="819"/>
                  </a:lnTo>
                  <a:lnTo>
                    <a:pt x="212" y="831"/>
                  </a:lnTo>
                  <a:lnTo>
                    <a:pt x="212" y="831"/>
                  </a:lnTo>
                  <a:lnTo>
                    <a:pt x="201" y="829"/>
                  </a:lnTo>
                  <a:lnTo>
                    <a:pt x="191" y="829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73" y="838"/>
                  </a:lnTo>
                  <a:lnTo>
                    <a:pt x="161" y="849"/>
                  </a:lnTo>
                  <a:lnTo>
                    <a:pt x="149" y="857"/>
                  </a:lnTo>
                  <a:lnTo>
                    <a:pt x="143" y="862"/>
                  </a:lnTo>
                  <a:lnTo>
                    <a:pt x="143" y="862"/>
                  </a:lnTo>
                  <a:lnTo>
                    <a:pt x="140" y="863"/>
                  </a:lnTo>
                  <a:lnTo>
                    <a:pt x="139" y="866"/>
                  </a:lnTo>
                  <a:lnTo>
                    <a:pt x="136" y="878"/>
                  </a:lnTo>
                  <a:lnTo>
                    <a:pt x="136" y="878"/>
                  </a:lnTo>
                  <a:lnTo>
                    <a:pt x="136" y="886"/>
                  </a:lnTo>
                  <a:lnTo>
                    <a:pt x="136" y="892"/>
                  </a:lnTo>
                  <a:lnTo>
                    <a:pt x="139" y="895"/>
                  </a:lnTo>
                  <a:lnTo>
                    <a:pt x="143" y="897"/>
                  </a:lnTo>
                  <a:lnTo>
                    <a:pt x="143" y="897"/>
                  </a:lnTo>
                  <a:lnTo>
                    <a:pt x="149" y="896"/>
                  </a:lnTo>
                  <a:lnTo>
                    <a:pt x="152" y="899"/>
                  </a:lnTo>
                  <a:lnTo>
                    <a:pt x="158" y="905"/>
                  </a:lnTo>
                  <a:lnTo>
                    <a:pt x="158" y="905"/>
                  </a:lnTo>
                  <a:lnTo>
                    <a:pt x="166" y="914"/>
                  </a:lnTo>
                  <a:lnTo>
                    <a:pt x="173" y="917"/>
                  </a:lnTo>
                  <a:lnTo>
                    <a:pt x="173" y="917"/>
                  </a:lnTo>
                  <a:lnTo>
                    <a:pt x="186" y="921"/>
                  </a:lnTo>
                  <a:lnTo>
                    <a:pt x="188" y="923"/>
                  </a:lnTo>
                  <a:lnTo>
                    <a:pt x="188" y="924"/>
                  </a:lnTo>
                  <a:lnTo>
                    <a:pt x="182" y="926"/>
                  </a:lnTo>
                  <a:lnTo>
                    <a:pt x="182" y="926"/>
                  </a:lnTo>
                  <a:lnTo>
                    <a:pt x="173" y="926"/>
                  </a:lnTo>
                  <a:lnTo>
                    <a:pt x="167" y="926"/>
                  </a:lnTo>
                  <a:lnTo>
                    <a:pt x="164" y="926"/>
                  </a:lnTo>
                  <a:lnTo>
                    <a:pt x="163" y="927"/>
                  </a:lnTo>
                  <a:lnTo>
                    <a:pt x="163" y="930"/>
                  </a:lnTo>
                  <a:lnTo>
                    <a:pt x="161" y="935"/>
                  </a:lnTo>
                  <a:lnTo>
                    <a:pt x="161" y="935"/>
                  </a:lnTo>
                  <a:lnTo>
                    <a:pt x="160" y="945"/>
                  </a:lnTo>
                  <a:lnTo>
                    <a:pt x="155" y="955"/>
                  </a:lnTo>
                  <a:lnTo>
                    <a:pt x="154" y="961"/>
                  </a:lnTo>
                  <a:lnTo>
                    <a:pt x="154" y="966"/>
                  </a:lnTo>
                  <a:lnTo>
                    <a:pt x="155" y="970"/>
                  </a:lnTo>
                  <a:lnTo>
                    <a:pt x="157" y="974"/>
                  </a:lnTo>
                  <a:lnTo>
                    <a:pt x="157" y="974"/>
                  </a:lnTo>
                  <a:lnTo>
                    <a:pt x="163" y="982"/>
                  </a:lnTo>
                  <a:lnTo>
                    <a:pt x="164" y="989"/>
                  </a:lnTo>
                  <a:lnTo>
                    <a:pt x="164" y="995"/>
                  </a:lnTo>
                  <a:lnTo>
                    <a:pt x="166" y="1001"/>
                  </a:lnTo>
                  <a:lnTo>
                    <a:pt x="166" y="1001"/>
                  </a:lnTo>
                  <a:lnTo>
                    <a:pt x="169" y="1003"/>
                  </a:lnTo>
                  <a:lnTo>
                    <a:pt x="170" y="1006"/>
                  </a:lnTo>
                  <a:lnTo>
                    <a:pt x="172" y="1009"/>
                  </a:lnTo>
                  <a:lnTo>
                    <a:pt x="170" y="1014"/>
                  </a:lnTo>
                  <a:lnTo>
                    <a:pt x="170" y="1014"/>
                  </a:lnTo>
                  <a:lnTo>
                    <a:pt x="167" y="1023"/>
                  </a:lnTo>
                  <a:lnTo>
                    <a:pt x="166" y="1031"/>
                  </a:lnTo>
                  <a:lnTo>
                    <a:pt x="167" y="1047"/>
                  </a:lnTo>
                  <a:lnTo>
                    <a:pt x="167" y="1047"/>
                  </a:lnTo>
                  <a:lnTo>
                    <a:pt x="166" y="1059"/>
                  </a:lnTo>
                  <a:lnTo>
                    <a:pt x="166" y="1068"/>
                  </a:lnTo>
                  <a:lnTo>
                    <a:pt x="164" y="1074"/>
                  </a:lnTo>
                  <a:lnTo>
                    <a:pt x="164" y="1077"/>
                  </a:lnTo>
                  <a:lnTo>
                    <a:pt x="164" y="1077"/>
                  </a:lnTo>
                  <a:lnTo>
                    <a:pt x="170" y="1080"/>
                  </a:lnTo>
                  <a:lnTo>
                    <a:pt x="177" y="108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1" name="Freeform 190">
              <a:extLst>
                <a:ext uri="{FF2B5EF4-FFF2-40B4-BE49-F238E27FC236}">
                  <a16:creationId xmlns:a16="http://schemas.microsoft.com/office/drawing/2014/main" id="{815A4C85-96B6-5E45-A14E-6B48F0AAA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950" y="6092825"/>
              <a:ext cx="244475" cy="569912"/>
            </a:xfrm>
            <a:custGeom>
              <a:avLst/>
              <a:gdLst>
                <a:gd name="T0" fmla="*/ 0 w 154"/>
                <a:gd name="T1" fmla="*/ 22 h 359"/>
                <a:gd name="T2" fmla="*/ 7 w 154"/>
                <a:gd name="T3" fmla="*/ 18 h 359"/>
                <a:gd name="T4" fmla="*/ 10 w 154"/>
                <a:gd name="T5" fmla="*/ 14 h 359"/>
                <a:gd name="T6" fmla="*/ 13 w 154"/>
                <a:gd name="T7" fmla="*/ 3 h 359"/>
                <a:gd name="T8" fmla="*/ 15 w 154"/>
                <a:gd name="T9" fmla="*/ 2 h 359"/>
                <a:gd name="T10" fmla="*/ 19 w 154"/>
                <a:gd name="T11" fmla="*/ 0 h 359"/>
                <a:gd name="T12" fmla="*/ 27 w 154"/>
                <a:gd name="T13" fmla="*/ 6 h 359"/>
                <a:gd name="T14" fmla="*/ 33 w 154"/>
                <a:gd name="T15" fmla="*/ 15 h 359"/>
                <a:gd name="T16" fmla="*/ 34 w 154"/>
                <a:gd name="T17" fmla="*/ 22 h 359"/>
                <a:gd name="T18" fmla="*/ 37 w 154"/>
                <a:gd name="T19" fmla="*/ 28 h 359"/>
                <a:gd name="T20" fmla="*/ 46 w 154"/>
                <a:gd name="T21" fmla="*/ 33 h 359"/>
                <a:gd name="T22" fmla="*/ 50 w 154"/>
                <a:gd name="T23" fmla="*/ 37 h 359"/>
                <a:gd name="T24" fmla="*/ 50 w 154"/>
                <a:gd name="T25" fmla="*/ 45 h 359"/>
                <a:gd name="T26" fmla="*/ 53 w 154"/>
                <a:gd name="T27" fmla="*/ 48 h 359"/>
                <a:gd name="T28" fmla="*/ 65 w 154"/>
                <a:gd name="T29" fmla="*/ 51 h 359"/>
                <a:gd name="T30" fmla="*/ 74 w 154"/>
                <a:gd name="T31" fmla="*/ 58 h 359"/>
                <a:gd name="T32" fmla="*/ 83 w 154"/>
                <a:gd name="T33" fmla="*/ 70 h 359"/>
                <a:gd name="T34" fmla="*/ 93 w 154"/>
                <a:gd name="T35" fmla="*/ 79 h 359"/>
                <a:gd name="T36" fmla="*/ 107 w 154"/>
                <a:gd name="T37" fmla="*/ 83 h 359"/>
                <a:gd name="T38" fmla="*/ 113 w 154"/>
                <a:gd name="T39" fmla="*/ 83 h 359"/>
                <a:gd name="T40" fmla="*/ 113 w 154"/>
                <a:gd name="T41" fmla="*/ 83 h 359"/>
                <a:gd name="T42" fmla="*/ 113 w 154"/>
                <a:gd name="T43" fmla="*/ 73 h 359"/>
                <a:gd name="T44" fmla="*/ 113 w 154"/>
                <a:gd name="T45" fmla="*/ 65 h 359"/>
                <a:gd name="T46" fmla="*/ 124 w 154"/>
                <a:gd name="T47" fmla="*/ 82 h 359"/>
                <a:gd name="T48" fmla="*/ 130 w 154"/>
                <a:gd name="T49" fmla="*/ 91 h 359"/>
                <a:gd name="T50" fmla="*/ 133 w 154"/>
                <a:gd name="T51" fmla="*/ 101 h 359"/>
                <a:gd name="T52" fmla="*/ 133 w 154"/>
                <a:gd name="T53" fmla="*/ 110 h 359"/>
                <a:gd name="T54" fmla="*/ 139 w 154"/>
                <a:gd name="T55" fmla="*/ 117 h 359"/>
                <a:gd name="T56" fmla="*/ 145 w 154"/>
                <a:gd name="T57" fmla="*/ 123 h 359"/>
                <a:gd name="T58" fmla="*/ 148 w 154"/>
                <a:gd name="T59" fmla="*/ 125 h 359"/>
                <a:gd name="T60" fmla="*/ 147 w 154"/>
                <a:gd name="T61" fmla="*/ 150 h 359"/>
                <a:gd name="T62" fmla="*/ 150 w 154"/>
                <a:gd name="T63" fmla="*/ 160 h 359"/>
                <a:gd name="T64" fmla="*/ 154 w 154"/>
                <a:gd name="T65" fmla="*/ 168 h 359"/>
                <a:gd name="T66" fmla="*/ 154 w 154"/>
                <a:gd name="T67" fmla="*/ 172 h 359"/>
                <a:gd name="T68" fmla="*/ 151 w 154"/>
                <a:gd name="T69" fmla="*/ 184 h 359"/>
                <a:gd name="T70" fmla="*/ 147 w 154"/>
                <a:gd name="T71" fmla="*/ 188 h 359"/>
                <a:gd name="T72" fmla="*/ 138 w 154"/>
                <a:gd name="T73" fmla="*/ 197 h 359"/>
                <a:gd name="T74" fmla="*/ 135 w 154"/>
                <a:gd name="T75" fmla="*/ 199 h 359"/>
                <a:gd name="T76" fmla="*/ 127 w 154"/>
                <a:gd name="T77" fmla="*/ 196 h 359"/>
                <a:gd name="T78" fmla="*/ 113 w 154"/>
                <a:gd name="T79" fmla="*/ 190 h 359"/>
                <a:gd name="T80" fmla="*/ 107 w 154"/>
                <a:gd name="T81" fmla="*/ 193 h 359"/>
                <a:gd name="T82" fmla="*/ 105 w 154"/>
                <a:gd name="T83" fmla="*/ 196 h 359"/>
                <a:gd name="T84" fmla="*/ 104 w 154"/>
                <a:gd name="T85" fmla="*/ 215 h 359"/>
                <a:gd name="T86" fmla="*/ 96 w 154"/>
                <a:gd name="T87" fmla="*/ 228 h 359"/>
                <a:gd name="T88" fmla="*/ 93 w 154"/>
                <a:gd name="T89" fmla="*/ 230 h 359"/>
                <a:gd name="T90" fmla="*/ 83 w 154"/>
                <a:gd name="T91" fmla="*/ 225 h 359"/>
                <a:gd name="T92" fmla="*/ 80 w 154"/>
                <a:gd name="T93" fmla="*/ 222 h 359"/>
                <a:gd name="T94" fmla="*/ 77 w 154"/>
                <a:gd name="T95" fmla="*/ 224 h 359"/>
                <a:gd name="T96" fmla="*/ 70 w 154"/>
                <a:gd name="T97" fmla="*/ 231 h 359"/>
                <a:gd name="T98" fmla="*/ 67 w 154"/>
                <a:gd name="T99" fmla="*/ 246 h 359"/>
                <a:gd name="T100" fmla="*/ 67 w 154"/>
                <a:gd name="T101" fmla="*/ 258 h 359"/>
                <a:gd name="T102" fmla="*/ 71 w 154"/>
                <a:gd name="T103" fmla="*/ 262 h 359"/>
                <a:gd name="T104" fmla="*/ 80 w 154"/>
                <a:gd name="T105" fmla="*/ 261 h 359"/>
                <a:gd name="T106" fmla="*/ 83 w 154"/>
                <a:gd name="T107" fmla="*/ 262 h 359"/>
                <a:gd name="T108" fmla="*/ 86 w 154"/>
                <a:gd name="T109" fmla="*/ 267 h 359"/>
                <a:gd name="T110" fmla="*/ 89 w 154"/>
                <a:gd name="T111" fmla="*/ 279 h 359"/>
                <a:gd name="T112" fmla="*/ 99 w 154"/>
                <a:gd name="T113" fmla="*/ 282 h 359"/>
                <a:gd name="T114" fmla="*/ 110 w 154"/>
                <a:gd name="T115" fmla="*/ 282 h 359"/>
                <a:gd name="T116" fmla="*/ 115 w 154"/>
                <a:gd name="T117" fmla="*/ 286 h 359"/>
                <a:gd name="T118" fmla="*/ 115 w 154"/>
                <a:gd name="T119" fmla="*/ 289 h 359"/>
                <a:gd name="T120" fmla="*/ 111 w 154"/>
                <a:gd name="T121" fmla="*/ 304 h 359"/>
                <a:gd name="T122" fmla="*/ 104 w 154"/>
                <a:gd name="T123" fmla="*/ 325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" h="359">
                  <a:moveTo>
                    <a:pt x="0" y="22"/>
                  </a:moveTo>
                  <a:lnTo>
                    <a:pt x="0" y="22"/>
                  </a:lnTo>
                  <a:lnTo>
                    <a:pt x="4" y="19"/>
                  </a:lnTo>
                  <a:lnTo>
                    <a:pt x="7" y="18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2" y="2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33" y="15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7"/>
                  </a:lnTo>
                  <a:lnTo>
                    <a:pt x="37" y="28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9" y="36"/>
                  </a:lnTo>
                  <a:lnTo>
                    <a:pt x="50" y="37"/>
                  </a:lnTo>
                  <a:lnTo>
                    <a:pt x="50" y="42"/>
                  </a:lnTo>
                  <a:lnTo>
                    <a:pt x="50" y="45"/>
                  </a:lnTo>
                  <a:lnTo>
                    <a:pt x="50" y="46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65" y="51"/>
                  </a:lnTo>
                  <a:lnTo>
                    <a:pt x="70" y="54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83" y="70"/>
                  </a:lnTo>
                  <a:lnTo>
                    <a:pt x="87" y="76"/>
                  </a:lnTo>
                  <a:lnTo>
                    <a:pt x="93" y="79"/>
                  </a:lnTo>
                  <a:lnTo>
                    <a:pt x="93" y="79"/>
                  </a:lnTo>
                  <a:lnTo>
                    <a:pt x="107" y="83"/>
                  </a:lnTo>
                  <a:lnTo>
                    <a:pt x="111" y="85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79"/>
                  </a:lnTo>
                  <a:lnTo>
                    <a:pt x="113" y="73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5" y="7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30" y="91"/>
                  </a:lnTo>
                  <a:lnTo>
                    <a:pt x="132" y="95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10"/>
                  </a:lnTo>
                  <a:lnTo>
                    <a:pt x="135" y="114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45" y="123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7" y="150"/>
                  </a:lnTo>
                  <a:lnTo>
                    <a:pt x="147" y="150"/>
                  </a:lnTo>
                  <a:lnTo>
                    <a:pt x="148" y="156"/>
                  </a:lnTo>
                  <a:lnTo>
                    <a:pt x="150" y="160"/>
                  </a:lnTo>
                  <a:lnTo>
                    <a:pt x="153" y="165"/>
                  </a:lnTo>
                  <a:lnTo>
                    <a:pt x="154" y="168"/>
                  </a:lnTo>
                  <a:lnTo>
                    <a:pt x="154" y="168"/>
                  </a:lnTo>
                  <a:lnTo>
                    <a:pt x="154" y="172"/>
                  </a:lnTo>
                  <a:lnTo>
                    <a:pt x="154" y="178"/>
                  </a:lnTo>
                  <a:lnTo>
                    <a:pt x="151" y="184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2" y="193"/>
                  </a:lnTo>
                  <a:lnTo>
                    <a:pt x="138" y="197"/>
                  </a:lnTo>
                  <a:lnTo>
                    <a:pt x="136" y="199"/>
                  </a:lnTo>
                  <a:lnTo>
                    <a:pt x="135" y="199"/>
                  </a:lnTo>
                  <a:lnTo>
                    <a:pt x="127" y="196"/>
                  </a:lnTo>
                  <a:lnTo>
                    <a:pt x="127" y="196"/>
                  </a:lnTo>
                  <a:lnTo>
                    <a:pt x="120" y="191"/>
                  </a:lnTo>
                  <a:lnTo>
                    <a:pt x="113" y="190"/>
                  </a:lnTo>
                  <a:lnTo>
                    <a:pt x="108" y="191"/>
                  </a:lnTo>
                  <a:lnTo>
                    <a:pt x="107" y="193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205"/>
                  </a:lnTo>
                  <a:lnTo>
                    <a:pt x="104" y="215"/>
                  </a:lnTo>
                  <a:lnTo>
                    <a:pt x="99" y="225"/>
                  </a:lnTo>
                  <a:lnTo>
                    <a:pt x="96" y="228"/>
                  </a:lnTo>
                  <a:lnTo>
                    <a:pt x="93" y="230"/>
                  </a:lnTo>
                  <a:lnTo>
                    <a:pt x="93" y="230"/>
                  </a:lnTo>
                  <a:lnTo>
                    <a:pt x="87" y="228"/>
                  </a:lnTo>
                  <a:lnTo>
                    <a:pt x="83" y="225"/>
                  </a:lnTo>
                  <a:lnTo>
                    <a:pt x="81" y="224"/>
                  </a:lnTo>
                  <a:lnTo>
                    <a:pt x="80" y="222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4" y="227"/>
                  </a:lnTo>
                  <a:lnTo>
                    <a:pt x="70" y="231"/>
                  </a:lnTo>
                  <a:lnTo>
                    <a:pt x="68" y="239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58"/>
                  </a:lnTo>
                  <a:lnTo>
                    <a:pt x="68" y="261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80" y="261"/>
                  </a:lnTo>
                  <a:lnTo>
                    <a:pt x="81" y="261"/>
                  </a:lnTo>
                  <a:lnTo>
                    <a:pt x="83" y="262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87" y="274"/>
                  </a:lnTo>
                  <a:lnTo>
                    <a:pt x="89" y="279"/>
                  </a:lnTo>
                  <a:lnTo>
                    <a:pt x="93" y="280"/>
                  </a:lnTo>
                  <a:lnTo>
                    <a:pt x="99" y="282"/>
                  </a:lnTo>
                  <a:lnTo>
                    <a:pt x="99" y="282"/>
                  </a:lnTo>
                  <a:lnTo>
                    <a:pt x="110" y="282"/>
                  </a:lnTo>
                  <a:lnTo>
                    <a:pt x="113" y="283"/>
                  </a:lnTo>
                  <a:lnTo>
                    <a:pt x="115" y="286"/>
                  </a:lnTo>
                  <a:lnTo>
                    <a:pt x="115" y="286"/>
                  </a:lnTo>
                  <a:lnTo>
                    <a:pt x="115" y="289"/>
                  </a:lnTo>
                  <a:lnTo>
                    <a:pt x="115" y="293"/>
                  </a:lnTo>
                  <a:lnTo>
                    <a:pt x="111" y="304"/>
                  </a:lnTo>
                  <a:lnTo>
                    <a:pt x="104" y="325"/>
                  </a:lnTo>
                  <a:lnTo>
                    <a:pt x="104" y="325"/>
                  </a:lnTo>
                  <a:lnTo>
                    <a:pt x="92" y="359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2" name="Freeform 191">
              <a:extLst>
                <a:ext uri="{FF2B5EF4-FFF2-40B4-BE49-F238E27FC236}">
                  <a16:creationId xmlns:a16="http://schemas.microsoft.com/office/drawing/2014/main" id="{B3BA78CC-1F34-2649-B9CD-77A87EF37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1625" y="5789613"/>
              <a:ext cx="695325" cy="914400"/>
            </a:xfrm>
            <a:custGeom>
              <a:avLst/>
              <a:gdLst>
                <a:gd name="T0" fmla="*/ 3 w 438"/>
                <a:gd name="T1" fmla="*/ 227 h 576"/>
                <a:gd name="T2" fmla="*/ 16 w 438"/>
                <a:gd name="T3" fmla="*/ 259 h 576"/>
                <a:gd name="T4" fmla="*/ 35 w 438"/>
                <a:gd name="T5" fmla="*/ 299 h 576"/>
                <a:gd name="T6" fmla="*/ 17 w 438"/>
                <a:gd name="T7" fmla="*/ 323 h 576"/>
                <a:gd name="T8" fmla="*/ 31 w 438"/>
                <a:gd name="T9" fmla="*/ 347 h 576"/>
                <a:gd name="T10" fmla="*/ 12 w 438"/>
                <a:gd name="T11" fmla="*/ 359 h 576"/>
                <a:gd name="T12" fmla="*/ 10 w 438"/>
                <a:gd name="T13" fmla="*/ 370 h 576"/>
                <a:gd name="T14" fmla="*/ 1 w 438"/>
                <a:gd name="T15" fmla="*/ 399 h 576"/>
                <a:gd name="T16" fmla="*/ 23 w 438"/>
                <a:gd name="T17" fmla="*/ 409 h 576"/>
                <a:gd name="T18" fmla="*/ 49 w 438"/>
                <a:gd name="T19" fmla="*/ 400 h 576"/>
                <a:gd name="T20" fmla="*/ 66 w 438"/>
                <a:gd name="T21" fmla="*/ 415 h 576"/>
                <a:gd name="T22" fmla="*/ 40 w 438"/>
                <a:gd name="T23" fmla="*/ 456 h 576"/>
                <a:gd name="T24" fmla="*/ 22 w 438"/>
                <a:gd name="T25" fmla="*/ 495 h 576"/>
                <a:gd name="T26" fmla="*/ 17 w 438"/>
                <a:gd name="T27" fmla="*/ 513 h 576"/>
                <a:gd name="T28" fmla="*/ 29 w 438"/>
                <a:gd name="T29" fmla="*/ 507 h 576"/>
                <a:gd name="T30" fmla="*/ 37 w 438"/>
                <a:gd name="T31" fmla="*/ 535 h 576"/>
                <a:gd name="T32" fmla="*/ 63 w 438"/>
                <a:gd name="T33" fmla="*/ 541 h 576"/>
                <a:gd name="T34" fmla="*/ 87 w 438"/>
                <a:gd name="T35" fmla="*/ 535 h 576"/>
                <a:gd name="T36" fmla="*/ 114 w 438"/>
                <a:gd name="T37" fmla="*/ 570 h 576"/>
                <a:gd name="T38" fmla="*/ 131 w 438"/>
                <a:gd name="T39" fmla="*/ 563 h 576"/>
                <a:gd name="T40" fmla="*/ 148 w 438"/>
                <a:gd name="T41" fmla="*/ 539 h 576"/>
                <a:gd name="T42" fmla="*/ 166 w 438"/>
                <a:gd name="T43" fmla="*/ 551 h 576"/>
                <a:gd name="T44" fmla="*/ 168 w 438"/>
                <a:gd name="T45" fmla="*/ 533 h 576"/>
                <a:gd name="T46" fmla="*/ 192 w 438"/>
                <a:gd name="T47" fmla="*/ 519 h 576"/>
                <a:gd name="T48" fmla="*/ 211 w 438"/>
                <a:gd name="T49" fmla="*/ 476 h 576"/>
                <a:gd name="T50" fmla="*/ 247 w 438"/>
                <a:gd name="T51" fmla="*/ 434 h 576"/>
                <a:gd name="T52" fmla="*/ 269 w 438"/>
                <a:gd name="T53" fmla="*/ 407 h 576"/>
                <a:gd name="T54" fmla="*/ 293 w 438"/>
                <a:gd name="T55" fmla="*/ 407 h 576"/>
                <a:gd name="T56" fmla="*/ 328 w 438"/>
                <a:gd name="T57" fmla="*/ 409 h 576"/>
                <a:gd name="T58" fmla="*/ 355 w 438"/>
                <a:gd name="T59" fmla="*/ 399 h 576"/>
                <a:gd name="T60" fmla="*/ 365 w 438"/>
                <a:gd name="T61" fmla="*/ 376 h 576"/>
                <a:gd name="T62" fmla="*/ 397 w 438"/>
                <a:gd name="T63" fmla="*/ 359 h 576"/>
                <a:gd name="T64" fmla="*/ 374 w 438"/>
                <a:gd name="T65" fmla="*/ 350 h 576"/>
                <a:gd name="T66" fmla="*/ 327 w 438"/>
                <a:gd name="T67" fmla="*/ 341 h 576"/>
                <a:gd name="T68" fmla="*/ 300 w 438"/>
                <a:gd name="T69" fmla="*/ 329 h 576"/>
                <a:gd name="T70" fmla="*/ 262 w 438"/>
                <a:gd name="T71" fmla="*/ 322 h 576"/>
                <a:gd name="T72" fmla="*/ 260 w 438"/>
                <a:gd name="T73" fmla="*/ 305 h 576"/>
                <a:gd name="T74" fmla="*/ 256 w 438"/>
                <a:gd name="T75" fmla="*/ 270 h 576"/>
                <a:gd name="T76" fmla="*/ 260 w 438"/>
                <a:gd name="T77" fmla="*/ 243 h 576"/>
                <a:gd name="T78" fmla="*/ 272 w 438"/>
                <a:gd name="T79" fmla="*/ 221 h 576"/>
                <a:gd name="T80" fmla="*/ 299 w 438"/>
                <a:gd name="T81" fmla="*/ 210 h 576"/>
                <a:gd name="T82" fmla="*/ 322 w 438"/>
                <a:gd name="T83" fmla="*/ 234 h 576"/>
                <a:gd name="T84" fmla="*/ 302 w 438"/>
                <a:gd name="T85" fmla="*/ 277 h 576"/>
                <a:gd name="T86" fmla="*/ 317 w 438"/>
                <a:gd name="T87" fmla="*/ 287 h 576"/>
                <a:gd name="T88" fmla="*/ 331 w 438"/>
                <a:gd name="T89" fmla="*/ 290 h 576"/>
                <a:gd name="T90" fmla="*/ 342 w 438"/>
                <a:gd name="T91" fmla="*/ 307 h 576"/>
                <a:gd name="T92" fmla="*/ 345 w 438"/>
                <a:gd name="T93" fmla="*/ 268 h 576"/>
                <a:gd name="T94" fmla="*/ 373 w 438"/>
                <a:gd name="T95" fmla="*/ 270 h 576"/>
                <a:gd name="T96" fmla="*/ 391 w 438"/>
                <a:gd name="T97" fmla="*/ 274 h 576"/>
                <a:gd name="T98" fmla="*/ 425 w 438"/>
                <a:gd name="T99" fmla="*/ 279 h 576"/>
                <a:gd name="T100" fmla="*/ 414 w 438"/>
                <a:gd name="T101" fmla="*/ 267 h 576"/>
                <a:gd name="T102" fmla="*/ 417 w 438"/>
                <a:gd name="T103" fmla="*/ 249 h 576"/>
                <a:gd name="T104" fmla="*/ 419 w 438"/>
                <a:gd name="T105" fmla="*/ 224 h 576"/>
                <a:gd name="T106" fmla="*/ 438 w 438"/>
                <a:gd name="T107" fmla="*/ 216 h 576"/>
                <a:gd name="T108" fmla="*/ 411 w 438"/>
                <a:gd name="T109" fmla="*/ 197 h 576"/>
                <a:gd name="T110" fmla="*/ 402 w 438"/>
                <a:gd name="T111" fmla="*/ 176 h 576"/>
                <a:gd name="T112" fmla="*/ 364 w 438"/>
                <a:gd name="T113" fmla="*/ 147 h 576"/>
                <a:gd name="T114" fmla="*/ 348 w 438"/>
                <a:gd name="T115" fmla="*/ 129 h 576"/>
                <a:gd name="T116" fmla="*/ 325 w 438"/>
                <a:gd name="T117" fmla="*/ 85 h 576"/>
                <a:gd name="T118" fmla="*/ 296 w 438"/>
                <a:gd name="T119" fmla="*/ 68 h 576"/>
                <a:gd name="T120" fmla="*/ 263 w 438"/>
                <a:gd name="T121" fmla="*/ 55 h 576"/>
                <a:gd name="T122" fmla="*/ 251 w 438"/>
                <a:gd name="T123" fmla="*/ 31 h 576"/>
                <a:gd name="T124" fmla="*/ 229 w 438"/>
                <a:gd name="T125" fmla="*/ 2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8" h="576">
                  <a:moveTo>
                    <a:pt x="10" y="166"/>
                  </a:moveTo>
                  <a:lnTo>
                    <a:pt x="10" y="166"/>
                  </a:lnTo>
                  <a:lnTo>
                    <a:pt x="10" y="191"/>
                  </a:lnTo>
                  <a:lnTo>
                    <a:pt x="10" y="191"/>
                  </a:lnTo>
                  <a:lnTo>
                    <a:pt x="7" y="206"/>
                  </a:lnTo>
                  <a:lnTo>
                    <a:pt x="4" y="221"/>
                  </a:lnTo>
                  <a:lnTo>
                    <a:pt x="4" y="221"/>
                  </a:lnTo>
                  <a:lnTo>
                    <a:pt x="3" y="227"/>
                  </a:lnTo>
                  <a:lnTo>
                    <a:pt x="3" y="234"/>
                  </a:lnTo>
                  <a:lnTo>
                    <a:pt x="4" y="240"/>
                  </a:lnTo>
                  <a:lnTo>
                    <a:pt x="7" y="246"/>
                  </a:lnTo>
                  <a:lnTo>
                    <a:pt x="7" y="246"/>
                  </a:lnTo>
                  <a:lnTo>
                    <a:pt x="13" y="250"/>
                  </a:lnTo>
                  <a:lnTo>
                    <a:pt x="16" y="253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76"/>
                  </a:lnTo>
                  <a:lnTo>
                    <a:pt x="16" y="282"/>
                  </a:lnTo>
                  <a:lnTo>
                    <a:pt x="17" y="283"/>
                  </a:lnTo>
                  <a:lnTo>
                    <a:pt x="19" y="285"/>
                  </a:lnTo>
                  <a:lnTo>
                    <a:pt x="19" y="285"/>
                  </a:lnTo>
                  <a:lnTo>
                    <a:pt x="35" y="290"/>
                  </a:lnTo>
                  <a:lnTo>
                    <a:pt x="35" y="290"/>
                  </a:lnTo>
                  <a:lnTo>
                    <a:pt x="35" y="299"/>
                  </a:lnTo>
                  <a:lnTo>
                    <a:pt x="34" y="305"/>
                  </a:lnTo>
                  <a:lnTo>
                    <a:pt x="32" y="307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26" y="311"/>
                  </a:lnTo>
                  <a:lnTo>
                    <a:pt x="22" y="316"/>
                  </a:lnTo>
                  <a:lnTo>
                    <a:pt x="17" y="320"/>
                  </a:lnTo>
                  <a:lnTo>
                    <a:pt x="17" y="323"/>
                  </a:lnTo>
                  <a:lnTo>
                    <a:pt x="17" y="326"/>
                  </a:lnTo>
                  <a:lnTo>
                    <a:pt x="17" y="326"/>
                  </a:lnTo>
                  <a:lnTo>
                    <a:pt x="22" y="332"/>
                  </a:lnTo>
                  <a:lnTo>
                    <a:pt x="26" y="338"/>
                  </a:lnTo>
                  <a:lnTo>
                    <a:pt x="31" y="342"/>
                  </a:lnTo>
                  <a:lnTo>
                    <a:pt x="32" y="345"/>
                  </a:lnTo>
                  <a:lnTo>
                    <a:pt x="32" y="345"/>
                  </a:lnTo>
                  <a:lnTo>
                    <a:pt x="31" y="347"/>
                  </a:lnTo>
                  <a:lnTo>
                    <a:pt x="26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20" y="354"/>
                  </a:lnTo>
                  <a:lnTo>
                    <a:pt x="19" y="357"/>
                  </a:lnTo>
                  <a:lnTo>
                    <a:pt x="16" y="359"/>
                  </a:lnTo>
                  <a:lnTo>
                    <a:pt x="13" y="360"/>
                  </a:lnTo>
                  <a:lnTo>
                    <a:pt x="12" y="359"/>
                  </a:lnTo>
                  <a:lnTo>
                    <a:pt x="12" y="359"/>
                  </a:lnTo>
                  <a:lnTo>
                    <a:pt x="9" y="359"/>
                  </a:lnTo>
                  <a:lnTo>
                    <a:pt x="4" y="360"/>
                  </a:lnTo>
                  <a:lnTo>
                    <a:pt x="3" y="363"/>
                  </a:lnTo>
                  <a:lnTo>
                    <a:pt x="3" y="365"/>
                  </a:lnTo>
                  <a:lnTo>
                    <a:pt x="4" y="366"/>
                  </a:lnTo>
                  <a:lnTo>
                    <a:pt x="4" y="366"/>
                  </a:lnTo>
                  <a:lnTo>
                    <a:pt x="10" y="370"/>
                  </a:lnTo>
                  <a:lnTo>
                    <a:pt x="14" y="375"/>
                  </a:lnTo>
                  <a:lnTo>
                    <a:pt x="16" y="379"/>
                  </a:lnTo>
                  <a:lnTo>
                    <a:pt x="14" y="382"/>
                  </a:lnTo>
                  <a:lnTo>
                    <a:pt x="14" y="382"/>
                  </a:lnTo>
                  <a:lnTo>
                    <a:pt x="6" y="390"/>
                  </a:lnTo>
                  <a:lnTo>
                    <a:pt x="1" y="394"/>
                  </a:lnTo>
                  <a:lnTo>
                    <a:pt x="0" y="397"/>
                  </a:lnTo>
                  <a:lnTo>
                    <a:pt x="1" y="399"/>
                  </a:lnTo>
                  <a:lnTo>
                    <a:pt x="1" y="399"/>
                  </a:lnTo>
                  <a:lnTo>
                    <a:pt x="4" y="406"/>
                  </a:lnTo>
                  <a:lnTo>
                    <a:pt x="6" y="409"/>
                  </a:lnTo>
                  <a:lnTo>
                    <a:pt x="9" y="412"/>
                  </a:lnTo>
                  <a:lnTo>
                    <a:pt x="9" y="412"/>
                  </a:lnTo>
                  <a:lnTo>
                    <a:pt x="13" y="412"/>
                  </a:lnTo>
                  <a:lnTo>
                    <a:pt x="17" y="412"/>
                  </a:lnTo>
                  <a:lnTo>
                    <a:pt x="23" y="409"/>
                  </a:lnTo>
                  <a:lnTo>
                    <a:pt x="26" y="406"/>
                  </a:lnTo>
                  <a:lnTo>
                    <a:pt x="26" y="406"/>
                  </a:lnTo>
                  <a:lnTo>
                    <a:pt x="31" y="402"/>
                  </a:lnTo>
                  <a:lnTo>
                    <a:pt x="34" y="400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46" y="400"/>
                  </a:lnTo>
                  <a:lnTo>
                    <a:pt x="49" y="400"/>
                  </a:lnTo>
                  <a:lnTo>
                    <a:pt x="50" y="403"/>
                  </a:lnTo>
                  <a:lnTo>
                    <a:pt x="50" y="403"/>
                  </a:lnTo>
                  <a:lnTo>
                    <a:pt x="52" y="409"/>
                  </a:lnTo>
                  <a:lnTo>
                    <a:pt x="53" y="412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63" y="413"/>
                  </a:lnTo>
                  <a:lnTo>
                    <a:pt x="66" y="415"/>
                  </a:lnTo>
                  <a:lnTo>
                    <a:pt x="68" y="416"/>
                  </a:lnTo>
                  <a:lnTo>
                    <a:pt x="68" y="416"/>
                  </a:lnTo>
                  <a:lnTo>
                    <a:pt x="57" y="422"/>
                  </a:lnTo>
                  <a:lnTo>
                    <a:pt x="52" y="430"/>
                  </a:lnTo>
                  <a:lnTo>
                    <a:pt x="47" y="436"/>
                  </a:lnTo>
                  <a:lnTo>
                    <a:pt x="47" y="436"/>
                  </a:lnTo>
                  <a:lnTo>
                    <a:pt x="43" y="449"/>
                  </a:lnTo>
                  <a:lnTo>
                    <a:pt x="40" y="456"/>
                  </a:lnTo>
                  <a:lnTo>
                    <a:pt x="35" y="461"/>
                  </a:lnTo>
                  <a:lnTo>
                    <a:pt x="35" y="461"/>
                  </a:lnTo>
                  <a:lnTo>
                    <a:pt x="26" y="471"/>
                  </a:lnTo>
                  <a:lnTo>
                    <a:pt x="22" y="476"/>
                  </a:lnTo>
                  <a:lnTo>
                    <a:pt x="22" y="482"/>
                  </a:lnTo>
                  <a:lnTo>
                    <a:pt x="22" y="482"/>
                  </a:lnTo>
                  <a:lnTo>
                    <a:pt x="22" y="490"/>
                  </a:lnTo>
                  <a:lnTo>
                    <a:pt x="22" y="495"/>
                  </a:lnTo>
                  <a:lnTo>
                    <a:pt x="19" y="496"/>
                  </a:lnTo>
                  <a:lnTo>
                    <a:pt x="19" y="496"/>
                  </a:lnTo>
                  <a:lnTo>
                    <a:pt x="13" y="501"/>
                  </a:lnTo>
                  <a:lnTo>
                    <a:pt x="12" y="502"/>
                  </a:lnTo>
                  <a:lnTo>
                    <a:pt x="12" y="505"/>
                  </a:lnTo>
                  <a:lnTo>
                    <a:pt x="12" y="505"/>
                  </a:lnTo>
                  <a:lnTo>
                    <a:pt x="14" y="508"/>
                  </a:lnTo>
                  <a:lnTo>
                    <a:pt x="17" y="513"/>
                  </a:lnTo>
                  <a:lnTo>
                    <a:pt x="20" y="514"/>
                  </a:lnTo>
                  <a:lnTo>
                    <a:pt x="22" y="514"/>
                  </a:lnTo>
                  <a:lnTo>
                    <a:pt x="23" y="513"/>
                  </a:lnTo>
                  <a:lnTo>
                    <a:pt x="23" y="513"/>
                  </a:lnTo>
                  <a:lnTo>
                    <a:pt x="26" y="507"/>
                  </a:lnTo>
                  <a:lnTo>
                    <a:pt x="28" y="505"/>
                  </a:lnTo>
                  <a:lnTo>
                    <a:pt x="29" y="507"/>
                  </a:lnTo>
                  <a:lnTo>
                    <a:pt x="29" y="507"/>
                  </a:lnTo>
                  <a:lnTo>
                    <a:pt x="34" y="514"/>
                  </a:lnTo>
                  <a:lnTo>
                    <a:pt x="35" y="519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31" y="532"/>
                  </a:lnTo>
                  <a:lnTo>
                    <a:pt x="32" y="535"/>
                  </a:lnTo>
                  <a:lnTo>
                    <a:pt x="37" y="535"/>
                  </a:lnTo>
                  <a:lnTo>
                    <a:pt x="37" y="535"/>
                  </a:lnTo>
                  <a:lnTo>
                    <a:pt x="43" y="535"/>
                  </a:lnTo>
                  <a:lnTo>
                    <a:pt x="47" y="533"/>
                  </a:lnTo>
                  <a:lnTo>
                    <a:pt x="50" y="532"/>
                  </a:lnTo>
                  <a:lnTo>
                    <a:pt x="53" y="535"/>
                  </a:lnTo>
                  <a:lnTo>
                    <a:pt x="53" y="535"/>
                  </a:lnTo>
                  <a:lnTo>
                    <a:pt x="59" y="539"/>
                  </a:lnTo>
                  <a:lnTo>
                    <a:pt x="60" y="541"/>
                  </a:lnTo>
                  <a:lnTo>
                    <a:pt x="63" y="541"/>
                  </a:lnTo>
                  <a:lnTo>
                    <a:pt x="63" y="541"/>
                  </a:lnTo>
                  <a:lnTo>
                    <a:pt x="68" y="538"/>
                  </a:lnTo>
                  <a:lnTo>
                    <a:pt x="72" y="533"/>
                  </a:lnTo>
                  <a:lnTo>
                    <a:pt x="72" y="533"/>
                  </a:lnTo>
                  <a:lnTo>
                    <a:pt x="81" y="533"/>
                  </a:lnTo>
                  <a:lnTo>
                    <a:pt x="86" y="533"/>
                  </a:lnTo>
                  <a:lnTo>
                    <a:pt x="87" y="535"/>
                  </a:lnTo>
                  <a:lnTo>
                    <a:pt x="87" y="535"/>
                  </a:lnTo>
                  <a:lnTo>
                    <a:pt x="90" y="544"/>
                  </a:lnTo>
                  <a:lnTo>
                    <a:pt x="91" y="551"/>
                  </a:lnTo>
                  <a:lnTo>
                    <a:pt x="94" y="559"/>
                  </a:lnTo>
                  <a:lnTo>
                    <a:pt x="94" y="559"/>
                  </a:lnTo>
                  <a:lnTo>
                    <a:pt x="99" y="563"/>
                  </a:lnTo>
                  <a:lnTo>
                    <a:pt x="105" y="566"/>
                  </a:lnTo>
                  <a:lnTo>
                    <a:pt x="109" y="567"/>
                  </a:lnTo>
                  <a:lnTo>
                    <a:pt x="114" y="570"/>
                  </a:lnTo>
                  <a:lnTo>
                    <a:pt x="114" y="570"/>
                  </a:lnTo>
                  <a:lnTo>
                    <a:pt x="121" y="575"/>
                  </a:lnTo>
                  <a:lnTo>
                    <a:pt x="124" y="576"/>
                  </a:lnTo>
                  <a:lnTo>
                    <a:pt x="127" y="573"/>
                  </a:lnTo>
                  <a:lnTo>
                    <a:pt x="127" y="573"/>
                  </a:lnTo>
                  <a:lnTo>
                    <a:pt x="129" y="570"/>
                  </a:lnTo>
                  <a:lnTo>
                    <a:pt x="130" y="567"/>
                  </a:lnTo>
                  <a:lnTo>
                    <a:pt x="131" y="563"/>
                  </a:lnTo>
                  <a:lnTo>
                    <a:pt x="134" y="560"/>
                  </a:lnTo>
                  <a:lnTo>
                    <a:pt x="134" y="560"/>
                  </a:lnTo>
                  <a:lnTo>
                    <a:pt x="137" y="557"/>
                  </a:lnTo>
                  <a:lnTo>
                    <a:pt x="142" y="554"/>
                  </a:lnTo>
                  <a:lnTo>
                    <a:pt x="145" y="551"/>
                  </a:lnTo>
                  <a:lnTo>
                    <a:pt x="146" y="545"/>
                  </a:lnTo>
                  <a:lnTo>
                    <a:pt x="146" y="545"/>
                  </a:lnTo>
                  <a:lnTo>
                    <a:pt x="148" y="539"/>
                  </a:lnTo>
                  <a:lnTo>
                    <a:pt x="149" y="535"/>
                  </a:lnTo>
                  <a:lnTo>
                    <a:pt x="152" y="533"/>
                  </a:lnTo>
                  <a:lnTo>
                    <a:pt x="155" y="533"/>
                  </a:lnTo>
                  <a:lnTo>
                    <a:pt x="157" y="535"/>
                  </a:lnTo>
                  <a:lnTo>
                    <a:pt x="157" y="535"/>
                  </a:lnTo>
                  <a:lnTo>
                    <a:pt x="161" y="541"/>
                  </a:lnTo>
                  <a:lnTo>
                    <a:pt x="163" y="548"/>
                  </a:lnTo>
                  <a:lnTo>
                    <a:pt x="166" y="551"/>
                  </a:lnTo>
                  <a:lnTo>
                    <a:pt x="167" y="551"/>
                  </a:lnTo>
                  <a:lnTo>
                    <a:pt x="168" y="550"/>
                  </a:lnTo>
                  <a:lnTo>
                    <a:pt x="168" y="550"/>
                  </a:lnTo>
                  <a:lnTo>
                    <a:pt x="170" y="545"/>
                  </a:lnTo>
                  <a:lnTo>
                    <a:pt x="170" y="541"/>
                  </a:lnTo>
                  <a:lnTo>
                    <a:pt x="170" y="541"/>
                  </a:lnTo>
                  <a:lnTo>
                    <a:pt x="168" y="533"/>
                  </a:lnTo>
                  <a:lnTo>
                    <a:pt x="168" y="533"/>
                  </a:lnTo>
                  <a:lnTo>
                    <a:pt x="170" y="530"/>
                  </a:lnTo>
                  <a:lnTo>
                    <a:pt x="171" y="529"/>
                  </a:lnTo>
                  <a:lnTo>
                    <a:pt x="179" y="526"/>
                  </a:lnTo>
                  <a:lnTo>
                    <a:pt x="179" y="526"/>
                  </a:lnTo>
                  <a:lnTo>
                    <a:pt x="188" y="524"/>
                  </a:lnTo>
                  <a:lnTo>
                    <a:pt x="192" y="521"/>
                  </a:lnTo>
                  <a:lnTo>
                    <a:pt x="192" y="519"/>
                  </a:lnTo>
                  <a:lnTo>
                    <a:pt x="192" y="519"/>
                  </a:lnTo>
                  <a:lnTo>
                    <a:pt x="189" y="513"/>
                  </a:lnTo>
                  <a:lnTo>
                    <a:pt x="188" y="511"/>
                  </a:lnTo>
                  <a:lnTo>
                    <a:pt x="188" y="508"/>
                  </a:lnTo>
                  <a:lnTo>
                    <a:pt x="188" y="508"/>
                  </a:lnTo>
                  <a:lnTo>
                    <a:pt x="192" y="501"/>
                  </a:lnTo>
                  <a:lnTo>
                    <a:pt x="200" y="490"/>
                  </a:lnTo>
                  <a:lnTo>
                    <a:pt x="211" y="476"/>
                  </a:lnTo>
                  <a:lnTo>
                    <a:pt x="211" y="476"/>
                  </a:lnTo>
                  <a:lnTo>
                    <a:pt x="220" y="473"/>
                  </a:lnTo>
                  <a:lnTo>
                    <a:pt x="228" y="470"/>
                  </a:lnTo>
                  <a:lnTo>
                    <a:pt x="231" y="467"/>
                  </a:lnTo>
                  <a:lnTo>
                    <a:pt x="232" y="465"/>
                  </a:lnTo>
                  <a:lnTo>
                    <a:pt x="232" y="465"/>
                  </a:lnTo>
                  <a:lnTo>
                    <a:pt x="241" y="449"/>
                  </a:lnTo>
                  <a:lnTo>
                    <a:pt x="245" y="440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7" y="430"/>
                  </a:lnTo>
                  <a:lnTo>
                    <a:pt x="248" y="425"/>
                  </a:lnTo>
                  <a:lnTo>
                    <a:pt x="254" y="419"/>
                  </a:lnTo>
                  <a:lnTo>
                    <a:pt x="254" y="419"/>
                  </a:lnTo>
                  <a:lnTo>
                    <a:pt x="262" y="410"/>
                  </a:lnTo>
                  <a:lnTo>
                    <a:pt x="265" y="407"/>
                  </a:lnTo>
                  <a:lnTo>
                    <a:pt x="269" y="407"/>
                  </a:lnTo>
                  <a:lnTo>
                    <a:pt x="269" y="407"/>
                  </a:lnTo>
                  <a:lnTo>
                    <a:pt x="272" y="406"/>
                  </a:lnTo>
                  <a:lnTo>
                    <a:pt x="275" y="404"/>
                  </a:lnTo>
                  <a:lnTo>
                    <a:pt x="278" y="403"/>
                  </a:lnTo>
                  <a:lnTo>
                    <a:pt x="281" y="403"/>
                  </a:lnTo>
                  <a:lnTo>
                    <a:pt x="281" y="403"/>
                  </a:lnTo>
                  <a:lnTo>
                    <a:pt x="288" y="406"/>
                  </a:lnTo>
                  <a:lnTo>
                    <a:pt x="293" y="407"/>
                  </a:lnTo>
                  <a:lnTo>
                    <a:pt x="296" y="406"/>
                  </a:lnTo>
                  <a:lnTo>
                    <a:pt x="296" y="406"/>
                  </a:lnTo>
                  <a:lnTo>
                    <a:pt x="305" y="402"/>
                  </a:lnTo>
                  <a:lnTo>
                    <a:pt x="309" y="400"/>
                  </a:lnTo>
                  <a:lnTo>
                    <a:pt x="315" y="400"/>
                  </a:lnTo>
                  <a:lnTo>
                    <a:pt x="315" y="400"/>
                  </a:lnTo>
                  <a:lnTo>
                    <a:pt x="321" y="404"/>
                  </a:lnTo>
                  <a:lnTo>
                    <a:pt x="328" y="409"/>
                  </a:lnTo>
                  <a:lnTo>
                    <a:pt x="334" y="412"/>
                  </a:lnTo>
                  <a:lnTo>
                    <a:pt x="339" y="412"/>
                  </a:lnTo>
                  <a:lnTo>
                    <a:pt x="342" y="412"/>
                  </a:lnTo>
                  <a:lnTo>
                    <a:pt x="342" y="412"/>
                  </a:lnTo>
                  <a:lnTo>
                    <a:pt x="346" y="407"/>
                  </a:lnTo>
                  <a:lnTo>
                    <a:pt x="351" y="404"/>
                  </a:lnTo>
                  <a:lnTo>
                    <a:pt x="355" y="399"/>
                  </a:lnTo>
                  <a:lnTo>
                    <a:pt x="355" y="399"/>
                  </a:lnTo>
                  <a:lnTo>
                    <a:pt x="358" y="394"/>
                  </a:lnTo>
                  <a:lnTo>
                    <a:pt x="360" y="391"/>
                  </a:lnTo>
                  <a:lnTo>
                    <a:pt x="360" y="387"/>
                  </a:lnTo>
                  <a:lnTo>
                    <a:pt x="360" y="387"/>
                  </a:lnTo>
                  <a:lnTo>
                    <a:pt x="358" y="382"/>
                  </a:lnTo>
                  <a:lnTo>
                    <a:pt x="358" y="379"/>
                  </a:lnTo>
                  <a:lnTo>
                    <a:pt x="361" y="378"/>
                  </a:lnTo>
                  <a:lnTo>
                    <a:pt x="365" y="376"/>
                  </a:lnTo>
                  <a:lnTo>
                    <a:pt x="365" y="376"/>
                  </a:lnTo>
                  <a:lnTo>
                    <a:pt x="376" y="376"/>
                  </a:lnTo>
                  <a:lnTo>
                    <a:pt x="379" y="376"/>
                  </a:lnTo>
                  <a:lnTo>
                    <a:pt x="382" y="372"/>
                  </a:lnTo>
                  <a:lnTo>
                    <a:pt x="382" y="372"/>
                  </a:lnTo>
                  <a:lnTo>
                    <a:pt x="391" y="365"/>
                  </a:lnTo>
                  <a:lnTo>
                    <a:pt x="397" y="359"/>
                  </a:lnTo>
                  <a:lnTo>
                    <a:pt x="397" y="359"/>
                  </a:lnTo>
                  <a:lnTo>
                    <a:pt x="397" y="356"/>
                  </a:lnTo>
                  <a:lnTo>
                    <a:pt x="397" y="354"/>
                  </a:lnTo>
                  <a:lnTo>
                    <a:pt x="392" y="350"/>
                  </a:lnTo>
                  <a:lnTo>
                    <a:pt x="388" y="347"/>
                  </a:lnTo>
                  <a:lnTo>
                    <a:pt x="383" y="345"/>
                  </a:lnTo>
                  <a:lnTo>
                    <a:pt x="383" y="345"/>
                  </a:lnTo>
                  <a:lnTo>
                    <a:pt x="379" y="347"/>
                  </a:lnTo>
                  <a:lnTo>
                    <a:pt x="374" y="350"/>
                  </a:lnTo>
                  <a:lnTo>
                    <a:pt x="367" y="351"/>
                  </a:lnTo>
                  <a:lnTo>
                    <a:pt x="362" y="351"/>
                  </a:lnTo>
                  <a:lnTo>
                    <a:pt x="358" y="350"/>
                  </a:lnTo>
                  <a:lnTo>
                    <a:pt x="358" y="350"/>
                  </a:lnTo>
                  <a:lnTo>
                    <a:pt x="342" y="342"/>
                  </a:lnTo>
                  <a:lnTo>
                    <a:pt x="334" y="341"/>
                  </a:lnTo>
                  <a:lnTo>
                    <a:pt x="327" y="341"/>
                  </a:lnTo>
                  <a:lnTo>
                    <a:pt x="327" y="341"/>
                  </a:lnTo>
                  <a:lnTo>
                    <a:pt x="320" y="341"/>
                  </a:lnTo>
                  <a:lnTo>
                    <a:pt x="309" y="339"/>
                  </a:lnTo>
                  <a:lnTo>
                    <a:pt x="300" y="338"/>
                  </a:lnTo>
                  <a:lnTo>
                    <a:pt x="299" y="336"/>
                  </a:lnTo>
                  <a:lnTo>
                    <a:pt x="299" y="335"/>
                  </a:lnTo>
                  <a:lnTo>
                    <a:pt x="299" y="335"/>
                  </a:lnTo>
                  <a:lnTo>
                    <a:pt x="299" y="330"/>
                  </a:lnTo>
                  <a:lnTo>
                    <a:pt x="300" y="329"/>
                  </a:lnTo>
                  <a:lnTo>
                    <a:pt x="299" y="327"/>
                  </a:lnTo>
                  <a:lnTo>
                    <a:pt x="297" y="326"/>
                  </a:lnTo>
                  <a:lnTo>
                    <a:pt x="293" y="325"/>
                  </a:lnTo>
                  <a:lnTo>
                    <a:pt x="281" y="325"/>
                  </a:lnTo>
                  <a:lnTo>
                    <a:pt x="281" y="325"/>
                  </a:lnTo>
                  <a:lnTo>
                    <a:pt x="274" y="325"/>
                  </a:lnTo>
                  <a:lnTo>
                    <a:pt x="266" y="323"/>
                  </a:lnTo>
                  <a:lnTo>
                    <a:pt x="262" y="322"/>
                  </a:lnTo>
                  <a:lnTo>
                    <a:pt x="259" y="320"/>
                  </a:lnTo>
                  <a:lnTo>
                    <a:pt x="256" y="317"/>
                  </a:lnTo>
                  <a:lnTo>
                    <a:pt x="256" y="316"/>
                  </a:lnTo>
                  <a:lnTo>
                    <a:pt x="256" y="311"/>
                  </a:lnTo>
                  <a:lnTo>
                    <a:pt x="256" y="311"/>
                  </a:lnTo>
                  <a:lnTo>
                    <a:pt x="257" y="308"/>
                  </a:lnTo>
                  <a:lnTo>
                    <a:pt x="259" y="307"/>
                  </a:lnTo>
                  <a:lnTo>
                    <a:pt x="260" y="305"/>
                  </a:lnTo>
                  <a:lnTo>
                    <a:pt x="262" y="304"/>
                  </a:lnTo>
                  <a:lnTo>
                    <a:pt x="262" y="304"/>
                  </a:lnTo>
                  <a:lnTo>
                    <a:pt x="259" y="293"/>
                  </a:lnTo>
                  <a:lnTo>
                    <a:pt x="256" y="285"/>
                  </a:lnTo>
                  <a:lnTo>
                    <a:pt x="256" y="285"/>
                  </a:lnTo>
                  <a:lnTo>
                    <a:pt x="256" y="279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3" y="262"/>
                  </a:lnTo>
                  <a:lnTo>
                    <a:pt x="253" y="258"/>
                  </a:lnTo>
                  <a:lnTo>
                    <a:pt x="253" y="255"/>
                  </a:lnTo>
                  <a:lnTo>
                    <a:pt x="253" y="255"/>
                  </a:lnTo>
                  <a:lnTo>
                    <a:pt x="254" y="249"/>
                  </a:lnTo>
                  <a:lnTo>
                    <a:pt x="259" y="246"/>
                  </a:lnTo>
                  <a:lnTo>
                    <a:pt x="259" y="246"/>
                  </a:lnTo>
                  <a:lnTo>
                    <a:pt x="260" y="243"/>
                  </a:lnTo>
                  <a:lnTo>
                    <a:pt x="260" y="240"/>
                  </a:lnTo>
                  <a:lnTo>
                    <a:pt x="262" y="231"/>
                  </a:lnTo>
                  <a:lnTo>
                    <a:pt x="262" y="224"/>
                  </a:lnTo>
                  <a:lnTo>
                    <a:pt x="263" y="222"/>
                  </a:lnTo>
                  <a:lnTo>
                    <a:pt x="263" y="221"/>
                  </a:lnTo>
                  <a:lnTo>
                    <a:pt x="263" y="221"/>
                  </a:lnTo>
                  <a:lnTo>
                    <a:pt x="268" y="221"/>
                  </a:lnTo>
                  <a:lnTo>
                    <a:pt x="272" y="221"/>
                  </a:lnTo>
                  <a:lnTo>
                    <a:pt x="278" y="219"/>
                  </a:lnTo>
                  <a:lnTo>
                    <a:pt x="278" y="219"/>
                  </a:lnTo>
                  <a:lnTo>
                    <a:pt x="283" y="218"/>
                  </a:lnTo>
                  <a:lnTo>
                    <a:pt x="285" y="215"/>
                  </a:lnTo>
                  <a:lnTo>
                    <a:pt x="288" y="212"/>
                  </a:lnTo>
                  <a:lnTo>
                    <a:pt x="291" y="210"/>
                  </a:lnTo>
                  <a:lnTo>
                    <a:pt x="291" y="210"/>
                  </a:lnTo>
                  <a:lnTo>
                    <a:pt x="299" y="210"/>
                  </a:lnTo>
                  <a:lnTo>
                    <a:pt x="302" y="212"/>
                  </a:lnTo>
                  <a:lnTo>
                    <a:pt x="308" y="216"/>
                  </a:lnTo>
                  <a:lnTo>
                    <a:pt x="308" y="216"/>
                  </a:lnTo>
                  <a:lnTo>
                    <a:pt x="312" y="221"/>
                  </a:lnTo>
                  <a:lnTo>
                    <a:pt x="315" y="224"/>
                  </a:lnTo>
                  <a:lnTo>
                    <a:pt x="318" y="230"/>
                  </a:lnTo>
                  <a:lnTo>
                    <a:pt x="318" y="230"/>
                  </a:lnTo>
                  <a:lnTo>
                    <a:pt x="322" y="234"/>
                  </a:lnTo>
                  <a:lnTo>
                    <a:pt x="322" y="237"/>
                  </a:lnTo>
                  <a:lnTo>
                    <a:pt x="320" y="242"/>
                  </a:lnTo>
                  <a:lnTo>
                    <a:pt x="320" y="242"/>
                  </a:lnTo>
                  <a:lnTo>
                    <a:pt x="315" y="248"/>
                  </a:lnTo>
                  <a:lnTo>
                    <a:pt x="312" y="253"/>
                  </a:lnTo>
                  <a:lnTo>
                    <a:pt x="308" y="265"/>
                  </a:lnTo>
                  <a:lnTo>
                    <a:pt x="308" y="265"/>
                  </a:lnTo>
                  <a:lnTo>
                    <a:pt x="302" y="277"/>
                  </a:lnTo>
                  <a:lnTo>
                    <a:pt x="300" y="282"/>
                  </a:lnTo>
                  <a:lnTo>
                    <a:pt x="302" y="283"/>
                  </a:lnTo>
                  <a:lnTo>
                    <a:pt x="303" y="285"/>
                  </a:lnTo>
                  <a:lnTo>
                    <a:pt x="303" y="285"/>
                  </a:lnTo>
                  <a:lnTo>
                    <a:pt x="308" y="285"/>
                  </a:lnTo>
                  <a:lnTo>
                    <a:pt x="311" y="285"/>
                  </a:lnTo>
                  <a:lnTo>
                    <a:pt x="314" y="285"/>
                  </a:lnTo>
                  <a:lnTo>
                    <a:pt x="317" y="287"/>
                  </a:lnTo>
                  <a:lnTo>
                    <a:pt x="317" y="287"/>
                  </a:lnTo>
                  <a:lnTo>
                    <a:pt x="318" y="289"/>
                  </a:lnTo>
                  <a:lnTo>
                    <a:pt x="320" y="289"/>
                  </a:lnTo>
                  <a:lnTo>
                    <a:pt x="325" y="289"/>
                  </a:lnTo>
                  <a:lnTo>
                    <a:pt x="330" y="289"/>
                  </a:lnTo>
                  <a:lnTo>
                    <a:pt x="331" y="289"/>
                  </a:lnTo>
                  <a:lnTo>
                    <a:pt x="331" y="290"/>
                  </a:lnTo>
                  <a:lnTo>
                    <a:pt x="331" y="290"/>
                  </a:lnTo>
                  <a:lnTo>
                    <a:pt x="331" y="293"/>
                  </a:lnTo>
                  <a:lnTo>
                    <a:pt x="330" y="299"/>
                  </a:lnTo>
                  <a:lnTo>
                    <a:pt x="330" y="304"/>
                  </a:lnTo>
                  <a:lnTo>
                    <a:pt x="331" y="305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7" y="307"/>
                  </a:lnTo>
                  <a:lnTo>
                    <a:pt x="342" y="307"/>
                  </a:lnTo>
                  <a:lnTo>
                    <a:pt x="345" y="304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9" y="287"/>
                  </a:lnTo>
                  <a:lnTo>
                    <a:pt x="349" y="282"/>
                  </a:lnTo>
                  <a:lnTo>
                    <a:pt x="348" y="277"/>
                  </a:lnTo>
                  <a:lnTo>
                    <a:pt x="348" y="277"/>
                  </a:lnTo>
                  <a:lnTo>
                    <a:pt x="345" y="268"/>
                  </a:lnTo>
                  <a:lnTo>
                    <a:pt x="345" y="264"/>
                  </a:lnTo>
                  <a:lnTo>
                    <a:pt x="345" y="264"/>
                  </a:lnTo>
                  <a:lnTo>
                    <a:pt x="348" y="264"/>
                  </a:lnTo>
                  <a:lnTo>
                    <a:pt x="348" y="264"/>
                  </a:lnTo>
                  <a:lnTo>
                    <a:pt x="361" y="264"/>
                  </a:lnTo>
                  <a:lnTo>
                    <a:pt x="368" y="267"/>
                  </a:lnTo>
                  <a:lnTo>
                    <a:pt x="371" y="268"/>
                  </a:lnTo>
                  <a:lnTo>
                    <a:pt x="373" y="270"/>
                  </a:lnTo>
                  <a:lnTo>
                    <a:pt x="373" y="270"/>
                  </a:lnTo>
                  <a:lnTo>
                    <a:pt x="376" y="274"/>
                  </a:lnTo>
                  <a:lnTo>
                    <a:pt x="380" y="279"/>
                  </a:lnTo>
                  <a:lnTo>
                    <a:pt x="383" y="280"/>
                  </a:lnTo>
                  <a:lnTo>
                    <a:pt x="386" y="280"/>
                  </a:lnTo>
                  <a:lnTo>
                    <a:pt x="386" y="280"/>
                  </a:lnTo>
                  <a:lnTo>
                    <a:pt x="391" y="276"/>
                  </a:lnTo>
                  <a:lnTo>
                    <a:pt x="391" y="274"/>
                  </a:lnTo>
                  <a:lnTo>
                    <a:pt x="394" y="273"/>
                  </a:lnTo>
                  <a:lnTo>
                    <a:pt x="394" y="273"/>
                  </a:lnTo>
                  <a:lnTo>
                    <a:pt x="395" y="274"/>
                  </a:lnTo>
                  <a:lnTo>
                    <a:pt x="398" y="276"/>
                  </a:lnTo>
                  <a:lnTo>
                    <a:pt x="402" y="277"/>
                  </a:lnTo>
                  <a:lnTo>
                    <a:pt x="408" y="279"/>
                  </a:lnTo>
                  <a:lnTo>
                    <a:pt x="408" y="279"/>
                  </a:lnTo>
                  <a:lnTo>
                    <a:pt x="425" y="279"/>
                  </a:lnTo>
                  <a:lnTo>
                    <a:pt x="429" y="279"/>
                  </a:lnTo>
                  <a:lnTo>
                    <a:pt x="429" y="277"/>
                  </a:lnTo>
                  <a:lnTo>
                    <a:pt x="429" y="276"/>
                  </a:lnTo>
                  <a:lnTo>
                    <a:pt x="429" y="276"/>
                  </a:lnTo>
                  <a:lnTo>
                    <a:pt x="428" y="273"/>
                  </a:lnTo>
                  <a:lnTo>
                    <a:pt x="423" y="271"/>
                  </a:lnTo>
                  <a:lnTo>
                    <a:pt x="419" y="270"/>
                  </a:lnTo>
                  <a:lnTo>
                    <a:pt x="414" y="267"/>
                  </a:lnTo>
                  <a:lnTo>
                    <a:pt x="414" y="267"/>
                  </a:lnTo>
                  <a:lnTo>
                    <a:pt x="410" y="264"/>
                  </a:lnTo>
                  <a:lnTo>
                    <a:pt x="405" y="262"/>
                  </a:lnTo>
                  <a:lnTo>
                    <a:pt x="404" y="261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14" y="250"/>
                  </a:lnTo>
                  <a:lnTo>
                    <a:pt x="417" y="249"/>
                  </a:lnTo>
                  <a:lnTo>
                    <a:pt x="417" y="246"/>
                  </a:lnTo>
                  <a:lnTo>
                    <a:pt x="417" y="246"/>
                  </a:lnTo>
                  <a:lnTo>
                    <a:pt x="413" y="240"/>
                  </a:lnTo>
                  <a:lnTo>
                    <a:pt x="410" y="236"/>
                  </a:lnTo>
                  <a:lnTo>
                    <a:pt x="410" y="236"/>
                  </a:lnTo>
                  <a:lnTo>
                    <a:pt x="411" y="233"/>
                  </a:lnTo>
                  <a:lnTo>
                    <a:pt x="414" y="228"/>
                  </a:lnTo>
                  <a:lnTo>
                    <a:pt x="419" y="224"/>
                  </a:lnTo>
                  <a:lnTo>
                    <a:pt x="422" y="224"/>
                  </a:lnTo>
                  <a:lnTo>
                    <a:pt x="423" y="224"/>
                  </a:lnTo>
                  <a:lnTo>
                    <a:pt x="423" y="224"/>
                  </a:lnTo>
                  <a:lnTo>
                    <a:pt x="434" y="225"/>
                  </a:lnTo>
                  <a:lnTo>
                    <a:pt x="437" y="224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16"/>
                  </a:lnTo>
                  <a:lnTo>
                    <a:pt x="438" y="213"/>
                  </a:lnTo>
                  <a:lnTo>
                    <a:pt x="438" y="213"/>
                  </a:lnTo>
                  <a:lnTo>
                    <a:pt x="434" y="206"/>
                  </a:lnTo>
                  <a:lnTo>
                    <a:pt x="434" y="206"/>
                  </a:lnTo>
                  <a:lnTo>
                    <a:pt x="429" y="205"/>
                  </a:lnTo>
                  <a:lnTo>
                    <a:pt x="422" y="202"/>
                  </a:lnTo>
                  <a:lnTo>
                    <a:pt x="413" y="199"/>
                  </a:lnTo>
                  <a:lnTo>
                    <a:pt x="411" y="197"/>
                  </a:lnTo>
                  <a:lnTo>
                    <a:pt x="411" y="196"/>
                  </a:lnTo>
                  <a:lnTo>
                    <a:pt x="411" y="196"/>
                  </a:lnTo>
                  <a:lnTo>
                    <a:pt x="411" y="190"/>
                  </a:lnTo>
                  <a:lnTo>
                    <a:pt x="411" y="184"/>
                  </a:lnTo>
                  <a:lnTo>
                    <a:pt x="408" y="178"/>
                  </a:lnTo>
                  <a:lnTo>
                    <a:pt x="405" y="176"/>
                  </a:lnTo>
                  <a:lnTo>
                    <a:pt x="402" y="176"/>
                  </a:lnTo>
                  <a:lnTo>
                    <a:pt x="402" y="176"/>
                  </a:lnTo>
                  <a:lnTo>
                    <a:pt x="397" y="175"/>
                  </a:lnTo>
                  <a:lnTo>
                    <a:pt x="391" y="173"/>
                  </a:lnTo>
                  <a:lnTo>
                    <a:pt x="385" y="169"/>
                  </a:lnTo>
                  <a:lnTo>
                    <a:pt x="379" y="165"/>
                  </a:lnTo>
                  <a:lnTo>
                    <a:pt x="379" y="165"/>
                  </a:lnTo>
                  <a:lnTo>
                    <a:pt x="368" y="156"/>
                  </a:lnTo>
                  <a:lnTo>
                    <a:pt x="365" y="151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2" y="142"/>
                  </a:lnTo>
                  <a:lnTo>
                    <a:pt x="362" y="136"/>
                  </a:lnTo>
                  <a:lnTo>
                    <a:pt x="361" y="131"/>
                  </a:lnTo>
                  <a:lnTo>
                    <a:pt x="360" y="129"/>
                  </a:lnTo>
                  <a:lnTo>
                    <a:pt x="357" y="129"/>
                  </a:lnTo>
                  <a:lnTo>
                    <a:pt x="357" y="129"/>
                  </a:lnTo>
                  <a:lnTo>
                    <a:pt x="348" y="129"/>
                  </a:lnTo>
                  <a:lnTo>
                    <a:pt x="339" y="129"/>
                  </a:lnTo>
                  <a:lnTo>
                    <a:pt x="331" y="129"/>
                  </a:lnTo>
                  <a:lnTo>
                    <a:pt x="330" y="128"/>
                  </a:lnTo>
                  <a:lnTo>
                    <a:pt x="330" y="125"/>
                  </a:lnTo>
                  <a:lnTo>
                    <a:pt x="330" y="125"/>
                  </a:lnTo>
                  <a:lnTo>
                    <a:pt x="327" y="101"/>
                  </a:lnTo>
                  <a:lnTo>
                    <a:pt x="325" y="89"/>
                  </a:lnTo>
                  <a:lnTo>
                    <a:pt x="325" y="85"/>
                  </a:lnTo>
                  <a:lnTo>
                    <a:pt x="324" y="83"/>
                  </a:lnTo>
                  <a:lnTo>
                    <a:pt x="324" y="83"/>
                  </a:lnTo>
                  <a:lnTo>
                    <a:pt x="311" y="85"/>
                  </a:lnTo>
                  <a:lnTo>
                    <a:pt x="302" y="83"/>
                  </a:lnTo>
                  <a:lnTo>
                    <a:pt x="300" y="83"/>
                  </a:lnTo>
                  <a:lnTo>
                    <a:pt x="299" y="82"/>
                  </a:lnTo>
                  <a:lnTo>
                    <a:pt x="299" y="82"/>
                  </a:lnTo>
                  <a:lnTo>
                    <a:pt x="296" y="68"/>
                  </a:lnTo>
                  <a:lnTo>
                    <a:pt x="293" y="61"/>
                  </a:lnTo>
                  <a:lnTo>
                    <a:pt x="291" y="58"/>
                  </a:lnTo>
                  <a:lnTo>
                    <a:pt x="288" y="58"/>
                  </a:lnTo>
                  <a:lnTo>
                    <a:pt x="288" y="58"/>
                  </a:lnTo>
                  <a:lnTo>
                    <a:pt x="275" y="59"/>
                  </a:lnTo>
                  <a:lnTo>
                    <a:pt x="268" y="59"/>
                  </a:lnTo>
                  <a:lnTo>
                    <a:pt x="265" y="58"/>
                  </a:lnTo>
                  <a:lnTo>
                    <a:pt x="263" y="55"/>
                  </a:lnTo>
                  <a:lnTo>
                    <a:pt x="263" y="55"/>
                  </a:lnTo>
                  <a:lnTo>
                    <a:pt x="263" y="49"/>
                  </a:lnTo>
                  <a:lnTo>
                    <a:pt x="260" y="45"/>
                  </a:lnTo>
                  <a:lnTo>
                    <a:pt x="257" y="42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53" y="37"/>
                  </a:lnTo>
                  <a:lnTo>
                    <a:pt x="251" y="31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47" y="19"/>
                  </a:lnTo>
                  <a:lnTo>
                    <a:pt x="245" y="16"/>
                  </a:lnTo>
                  <a:lnTo>
                    <a:pt x="244" y="14"/>
                  </a:lnTo>
                  <a:lnTo>
                    <a:pt x="244" y="14"/>
                  </a:lnTo>
                  <a:lnTo>
                    <a:pt x="245" y="0"/>
                  </a:lnTo>
                  <a:lnTo>
                    <a:pt x="229" y="2"/>
                  </a:lnTo>
                  <a:lnTo>
                    <a:pt x="197" y="3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3" name="Freeform 192">
              <a:extLst>
                <a:ext uri="{FF2B5EF4-FFF2-40B4-BE49-F238E27FC236}">
                  <a16:creationId xmlns:a16="http://schemas.microsoft.com/office/drawing/2014/main" id="{F277438D-0CA2-724D-BB36-54CBCC83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6648450"/>
              <a:ext cx="122238" cy="150812"/>
            </a:xfrm>
            <a:custGeom>
              <a:avLst/>
              <a:gdLst>
                <a:gd name="T0" fmla="*/ 0 w 77"/>
                <a:gd name="T1" fmla="*/ 0 h 95"/>
                <a:gd name="T2" fmla="*/ 0 w 77"/>
                <a:gd name="T3" fmla="*/ 0 h 95"/>
                <a:gd name="T4" fmla="*/ 9 w 77"/>
                <a:gd name="T5" fmla="*/ 0 h 95"/>
                <a:gd name="T6" fmla="*/ 15 w 77"/>
                <a:gd name="T7" fmla="*/ 0 h 95"/>
                <a:gd name="T8" fmla="*/ 16 w 77"/>
                <a:gd name="T9" fmla="*/ 1 h 95"/>
                <a:gd name="T10" fmla="*/ 18 w 77"/>
                <a:gd name="T11" fmla="*/ 4 h 95"/>
                <a:gd name="T12" fmla="*/ 18 w 77"/>
                <a:gd name="T13" fmla="*/ 4 h 95"/>
                <a:gd name="T14" fmla="*/ 18 w 77"/>
                <a:gd name="T15" fmla="*/ 13 h 95"/>
                <a:gd name="T16" fmla="*/ 19 w 77"/>
                <a:gd name="T17" fmla="*/ 15 h 95"/>
                <a:gd name="T18" fmla="*/ 22 w 77"/>
                <a:gd name="T19" fmla="*/ 15 h 95"/>
                <a:gd name="T20" fmla="*/ 22 w 77"/>
                <a:gd name="T21" fmla="*/ 15 h 95"/>
                <a:gd name="T22" fmla="*/ 25 w 77"/>
                <a:gd name="T23" fmla="*/ 12 h 95"/>
                <a:gd name="T24" fmla="*/ 27 w 77"/>
                <a:gd name="T25" fmla="*/ 9 h 95"/>
                <a:gd name="T26" fmla="*/ 30 w 77"/>
                <a:gd name="T27" fmla="*/ 7 h 95"/>
                <a:gd name="T28" fmla="*/ 36 w 77"/>
                <a:gd name="T29" fmla="*/ 7 h 95"/>
                <a:gd name="T30" fmla="*/ 36 w 77"/>
                <a:gd name="T31" fmla="*/ 7 h 95"/>
                <a:gd name="T32" fmla="*/ 40 w 77"/>
                <a:gd name="T33" fmla="*/ 10 h 95"/>
                <a:gd name="T34" fmla="*/ 41 w 77"/>
                <a:gd name="T35" fmla="*/ 13 h 95"/>
                <a:gd name="T36" fmla="*/ 43 w 77"/>
                <a:gd name="T37" fmla="*/ 16 h 95"/>
                <a:gd name="T38" fmla="*/ 47 w 77"/>
                <a:gd name="T39" fmla="*/ 20 h 95"/>
                <a:gd name="T40" fmla="*/ 47 w 77"/>
                <a:gd name="T41" fmla="*/ 20 h 95"/>
                <a:gd name="T42" fmla="*/ 53 w 77"/>
                <a:gd name="T43" fmla="*/ 23 h 95"/>
                <a:gd name="T44" fmla="*/ 58 w 77"/>
                <a:gd name="T45" fmla="*/ 23 h 95"/>
                <a:gd name="T46" fmla="*/ 62 w 77"/>
                <a:gd name="T47" fmla="*/ 25 h 95"/>
                <a:gd name="T48" fmla="*/ 64 w 77"/>
                <a:gd name="T49" fmla="*/ 26 h 95"/>
                <a:gd name="T50" fmla="*/ 64 w 77"/>
                <a:gd name="T51" fmla="*/ 26 h 95"/>
                <a:gd name="T52" fmla="*/ 65 w 77"/>
                <a:gd name="T53" fmla="*/ 29 h 95"/>
                <a:gd name="T54" fmla="*/ 64 w 77"/>
                <a:gd name="T55" fmla="*/ 31 h 95"/>
                <a:gd name="T56" fmla="*/ 64 w 77"/>
                <a:gd name="T57" fmla="*/ 34 h 95"/>
                <a:gd name="T58" fmla="*/ 65 w 77"/>
                <a:gd name="T59" fmla="*/ 37 h 95"/>
                <a:gd name="T60" fmla="*/ 65 w 77"/>
                <a:gd name="T61" fmla="*/ 37 h 95"/>
                <a:gd name="T62" fmla="*/ 70 w 77"/>
                <a:gd name="T63" fmla="*/ 40 h 95"/>
                <a:gd name="T64" fmla="*/ 74 w 77"/>
                <a:gd name="T65" fmla="*/ 40 h 95"/>
                <a:gd name="T66" fmla="*/ 75 w 77"/>
                <a:gd name="T67" fmla="*/ 41 h 95"/>
                <a:gd name="T68" fmla="*/ 77 w 77"/>
                <a:gd name="T69" fmla="*/ 46 h 95"/>
                <a:gd name="T70" fmla="*/ 77 w 77"/>
                <a:gd name="T71" fmla="*/ 46 h 95"/>
                <a:gd name="T72" fmla="*/ 75 w 77"/>
                <a:gd name="T73" fmla="*/ 49 h 95"/>
                <a:gd name="T74" fmla="*/ 74 w 77"/>
                <a:gd name="T75" fmla="*/ 50 h 95"/>
                <a:gd name="T76" fmla="*/ 68 w 77"/>
                <a:gd name="T77" fmla="*/ 55 h 95"/>
                <a:gd name="T78" fmla="*/ 61 w 77"/>
                <a:gd name="T79" fmla="*/ 58 h 95"/>
                <a:gd name="T80" fmla="*/ 56 w 77"/>
                <a:gd name="T81" fmla="*/ 60 h 95"/>
                <a:gd name="T82" fmla="*/ 56 w 77"/>
                <a:gd name="T83" fmla="*/ 60 h 95"/>
                <a:gd name="T84" fmla="*/ 53 w 77"/>
                <a:gd name="T85" fmla="*/ 63 h 95"/>
                <a:gd name="T86" fmla="*/ 53 w 77"/>
                <a:gd name="T87" fmla="*/ 68 h 95"/>
                <a:gd name="T88" fmla="*/ 53 w 77"/>
                <a:gd name="T89" fmla="*/ 80 h 95"/>
                <a:gd name="T90" fmla="*/ 55 w 77"/>
                <a:gd name="T91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7" h="95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13"/>
                  </a:lnTo>
                  <a:lnTo>
                    <a:pt x="19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5" y="12"/>
                  </a:lnTo>
                  <a:lnTo>
                    <a:pt x="27" y="9"/>
                  </a:lnTo>
                  <a:lnTo>
                    <a:pt x="30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40" y="10"/>
                  </a:lnTo>
                  <a:lnTo>
                    <a:pt x="41" y="13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53" y="23"/>
                  </a:lnTo>
                  <a:lnTo>
                    <a:pt x="58" y="23"/>
                  </a:lnTo>
                  <a:lnTo>
                    <a:pt x="62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9"/>
                  </a:lnTo>
                  <a:lnTo>
                    <a:pt x="64" y="31"/>
                  </a:lnTo>
                  <a:lnTo>
                    <a:pt x="64" y="34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70" y="40"/>
                  </a:lnTo>
                  <a:lnTo>
                    <a:pt x="74" y="40"/>
                  </a:lnTo>
                  <a:lnTo>
                    <a:pt x="75" y="41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5" y="49"/>
                  </a:lnTo>
                  <a:lnTo>
                    <a:pt x="74" y="50"/>
                  </a:lnTo>
                  <a:lnTo>
                    <a:pt x="68" y="55"/>
                  </a:lnTo>
                  <a:lnTo>
                    <a:pt x="61" y="58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3" y="63"/>
                  </a:lnTo>
                  <a:lnTo>
                    <a:pt x="53" y="68"/>
                  </a:lnTo>
                  <a:lnTo>
                    <a:pt x="53" y="80"/>
                  </a:lnTo>
                  <a:lnTo>
                    <a:pt x="55" y="95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4" name="Freeform 193">
              <a:extLst>
                <a:ext uri="{FF2B5EF4-FFF2-40B4-BE49-F238E27FC236}">
                  <a16:creationId xmlns:a16="http://schemas.microsoft.com/office/drawing/2014/main" id="{A65C292C-CDB5-E147-815D-A7CD5B975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6013" y="6567488"/>
              <a:ext cx="69850" cy="146050"/>
            </a:xfrm>
            <a:custGeom>
              <a:avLst/>
              <a:gdLst>
                <a:gd name="T0" fmla="*/ 0 w 44"/>
                <a:gd name="T1" fmla="*/ 0 h 92"/>
                <a:gd name="T2" fmla="*/ 0 w 44"/>
                <a:gd name="T3" fmla="*/ 0 h 92"/>
                <a:gd name="T4" fmla="*/ 9 w 44"/>
                <a:gd name="T5" fmla="*/ 12 h 92"/>
                <a:gd name="T6" fmla="*/ 22 w 44"/>
                <a:gd name="T7" fmla="*/ 29 h 92"/>
                <a:gd name="T8" fmla="*/ 22 w 44"/>
                <a:gd name="T9" fmla="*/ 29 h 92"/>
                <a:gd name="T10" fmla="*/ 26 w 44"/>
                <a:gd name="T11" fmla="*/ 33 h 92"/>
                <a:gd name="T12" fmla="*/ 29 w 44"/>
                <a:gd name="T13" fmla="*/ 39 h 92"/>
                <a:gd name="T14" fmla="*/ 31 w 44"/>
                <a:gd name="T15" fmla="*/ 45 h 92"/>
                <a:gd name="T16" fmla="*/ 31 w 44"/>
                <a:gd name="T17" fmla="*/ 54 h 92"/>
                <a:gd name="T18" fmla="*/ 31 w 44"/>
                <a:gd name="T19" fmla="*/ 54 h 92"/>
                <a:gd name="T20" fmla="*/ 32 w 44"/>
                <a:gd name="T21" fmla="*/ 58 h 92"/>
                <a:gd name="T22" fmla="*/ 34 w 44"/>
                <a:gd name="T23" fmla="*/ 64 h 92"/>
                <a:gd name="T24" fmla="*/ 38 w 44"/>
                <a:gd name="T25" fmla="*/ 77 h 92"/>
                <a:gd name="T26" fmla="*/ 44 w 44"/>
                <a:gd name="T2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92">
                  <a:moveTo>
                    <a:pt x="0" y="0"/>
                  </a:moveTo>
                  <a:lnTo>
                    <a:pt x="0" y="0"/>
                  </a:lnTo>
                  <a:lnTo>
                    <a:pt x="9" y="12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6" y="33"/>
                  </a:lnTo>
                  <a:lnTo>
                    <a:pt x="29" y="39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2" y="58"/>
                  </a:lnTo>
                  <a:lnTo>
                    <a:pt x="34" y="64"/>
                  </a:lnTo>
                  <a:lnTo>
                    <a:pt x="38" y="77"/>
                  </a:lnTo>
                  <a:lnTo>
                    <a:pt x="44" y="92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5" name="Freeform 194">
              <a:extLst>
                <a:ext uri="{FF2B5EF4-FFF2-40B4-BE49-F238E27FC236}">
                  <a16:creationId xmlns:a16="http://schemas.microsoft.com/office/drawing/2014/main" id="{03F2BFB9-8FB4-8841-8894-696EEEBAF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038" y="6057900"/>
              <a:ext cx="182563" cy="595312"/>
            </a:xfrm>
            <a:custGeom>
              <a:avLst/>
              <a:gdLst>
                <a:gd name="T0" fmla="*/ 18 w 115"/>
                <a:gd name="T1" fmla="*/ 375 h 375"/>
                <a:gd name="T2" fmla="*/ 28 w 115"/>
                <a:gd name="T3" fmla="*/ 367 h 375"/>
                <a:gd name="T4" fmla="*/ 28 w 115"/>
                <a:gd name="T5" fmla="*/ 363 h 375"/>
                <a:gd name="T6" fmla="*/ 25 w 115"/>
                <a:gd name="T7" fmla="*/ 360 h 375"/>
                <a:gd name="T8" fmla="*/ 21 w 115"/>
                <a:gd name="T9" fmla="*/ 355 h 375"/>
                <a:gd name="T10" fmla="*/ 18 w 115"/>
                <a:gd name="T11" fmla="*/ 342 h 375"/>
                <a:gd name="T12" fmla="*/ 19 w 115"/>
                <a:gd name="T13" fmla="*/ 335 h 375"/>
                <a:gd name="T14" fmla="*/ 22 w 115"/>
                <a:gd name="T15" fmla="*/ 335 h 375"/>
                <a:gd name="T16" fmla="*/ 32 w 115"/>
                <a:gd name="T17" fmla="*/ 341 h 375"/>
                <a:gd name="T18" fmla="*/ 40 w 115"/>
                <a:gd name="T19" fmla="*/ 345 h 375"/>
                <a:gd name="T20" fmla="*/ 47 w 115"/>
                <a:gd name="T21" fmla="*/ 347 h 375"/>
                <a:gd name="T22" fmla="*/ 52 w 115"/>
                <a:gd name="T23" fmla="*/ 344 h 375"/>
                <a:gd name="T24" fmla="*/ 53 w 115"/>
                <a:gd name="T25" fmla="*/ 341 h 375"/>
                <a:gd name="T26" fmla="*/ 55 w 115"/>
                <a:gd name="T27" fmla="*/ 329 h 375"/>
                <a:gd name="T28" fmla="*/ 59 w 115"/>
                <a:gd name="T29" fmla="*/ 323 h 375"/>
                <a:gd name="T30" fmla="*/ 62 w 115"/>
                <a:gd name="T31" fmla="*/ 323 h 375"/>
                <a:gd name="T32" fmla="*/ 71 w 115"/>
                <a:gd name="T33" fmla="*/ 326 h 375"/>
                <a:gd name="T34" fmla="*/ 78 w 115"/>
                <a:gd name="T35" fmla="*/ 330 h 375"/>
                <a:gd name="T36" fmla="*/ 87 w 115"/>
                <a:gd name="T37" fmla="*/ 333 h 375"/>
                <a:gd name="T38" fmla="*/ 99 w 115"/>
                <a:gd name="T39" fmla="*/ 332 h 375"/>
                <a:gd name="T40" fmla="*/ 109 w 115"/>
                <a:gd name="T41" fmla="*/ 324 h 375"/>
                <a:gd name="T42" fmla="*/ 114 w 115"/>
                <a:gd name="T43" fmla="*/ 321 h 375"/>
                <a:gd name="T44" fmla="*/ 115 w 115"/>
                <a:gd name="T45" fmla="*/ 299 h 375"/>
                <a:gd name="T46" fmla="*/ 115 w 115"/>
                <a:gd name="T47" fmla="*/ 289 h 375"/>
                <a:gd name="T48" fmla="*/ 106 w 115"/>
                <a:gd name="T49" fmla="*/ 246 h 375"/>
                <a:gd name="T50" fmla="*/ 102 w 115"/>
                <a:gd name="T51" fmla="*/ 227 h 375"/>
                <a:gd name="T52" fmla="*/ 98 w 115"/>
                <a:gd name="T53" fmla="*/ 206 h 375"/>
                <a:gd name="T54" fmla="*/ 98 w 115"/>
                <a:gd name="T55" fmla="*/ 191 h 375"/>
                <a:gd name="T56" fmla="*/ 100 w 115"/>
                <a:gd name="T57" fmla="*/ 175 h 375"/>
                <a:gd name="T58" fmla="*/ 105 w 115"/>
                <a:gd name="T59" fmla="*/ 167 h 375"/>
                <a:gd name="T60" fmla="*/ 112 w 115"/>
                <a:gd name="T61" fmla="*/ 154 h 375"/>
                <a:gd name="T62" fmla="*/ 112 w 115"/>
                <a:gd name="T63" fmla="*/ 148 h 375"/>
                <a:gd name="T64" fmla="*/ 105 w 115"/>
                <a:gd name="T65" fmla="*/ 133 h 375"/>
                <a:gd name="T66" fmla="*/ 98 w 115"/>
                <a:gd name="T67" fmla="*/ 114 h 375"/>
                <a:gd name="T68" fmla="*/ 90 w 115"/>
                <a:gd name="T69" fmla="*/ 86 h 375"/>
                <a:gd name="T70" fmla="*/ 80 w 115"/>
                <a:gd name="T71" fmla="*/ 67 h 375"/>
                <a:gd name="T72" fmla="*/ 77 w 115"/>
                <a:gd name="T73" fmla="*/ 65 h 375"/>
                <a:gd name="T74" fmla="*/ 65 w 115"/>
                <a:gd name="T75" fmla="*/ 64 h 375"/>
                <a:gd name="T76" fmla="*/ 58 w 115"/>
                <a:gd name="T77" fmla="*/ 61 h 375"/>
                <a:gd name="T78" fmla="*/ 37 w 115"/>
                <a:gd name="T79" fmla="*/ 56 h 375"/>
                <a:gd name="T80" fmla="*/ 31 w 115"/>
                <a:gd name="T81" fmla="*/ 53 h 375"/>
                <a:gd name="T82" fmla="*/ 32 w 115"/>
                <a:gd name="T83" fmla="*/ 47 h 375"/>
                <a:gd name="T84" fmla="*/ 37 w 115"/>
                <a:gd name="T85" fmla="*/ 41 h 375"/>
                <a:gd name="T86" fmla="*/ 40 w 115"/>
                <a:gd name="T87" fmla="*/ 31 h 375"/>
                <a:gd name="T88" fmla="*/ 38 w 115"/>
                <a:gd name="T89" fmla="*/ 30 h 375"/>
                <a:gd name="T90" fmla="*/ 31 w 115"/>
                <a:gd name="T91" fmla="*/ 27 h 375"/>
                <a:gd name="T92" fmla="*/ 25 w 115"/>
                <a:gd name="T93" fmla="*/ 30 h 375"/>
                <a:gd name="T94" fmla="*/ 15 w 115"/>
                <a:gd name="T95" fmla="*/ 37 h 375"/>
                <a:gd name="T96" fmla="*/ 12 w 115"/>
                <a:gd name="T97" fmla="*/ 34 h 375"/>
                <a:gd name="T98" fmla="*/ 4 w 115"/>
                <a:gd name="T99" fmla="*/ 24 h 375"/>
                <a:gd name="T100" fmla="*/ 1 w 115"/>
                <a:gd name="T101" fmla="*/ 13 h 375"/>
                <a:gd name="T102" fmla="*/ 0 w 115"/>
                <a:gd name="T103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" h="375">
                  <a:moveTo>
                    <a:pt x="18" y="375"/>
                  </a:moveTo>
                  <a:lnTo>
                    <a:pt x="18" y="375"/>
                  </a:lnTo>
                  <a:lnTo>
                    <a:pt x="25" y="370"/>
                  </a:lnTo>
                  <a:lnTo>
                    <a:pt x="28" y="367"/>
                  </a:lnTo>
                  <a:lnTo>
                    <a:pt x="28" y="363"/>
                  </a:lnTo>
                  <a:lnTo>
                    <a:pt x="28" y="363"/>
                  </a:lnTo>
                  <a:lnTo>
                    <a:pt x="26" y="360"/>
                  </a:lnTo>
                  <a:lnTo>
                    <a:pt x="25" y="360"/>
                  </a:lnTo>
                  <a:lnTo>
                    <a:pt x="22" y="358"/>
                  </a:lnTo>
                  <a:lnTo>
                    <a:pt x="21" y="355"/>
                  </a:lnTo>
                  <a:lnTo>
                    <a:pt x="21" y="355"/>
                  </a:lnTo>
                  <a:lnTo>
                    <a:pt x="18" y="342"/>
                  </a:lnTo>
                  <a:lnTo>
                    <a:pt x="18" y="336"/>
                  </a:lnTo>
                  <a:lnTo>
                    <a:pt x="19" y="335"/>
                  </a:lnTo>
                  <a:lnTo>
                    <a:pt x="22" y="335"/>
                  </a:lnTo>
                  <a:lnTo>
                    <a:pt x="22" y="335"/>
                  </a:lnTo>
                  <a:lnTo>
                    <a:pt x="26" y="338"/>
                  </a:lnTo>
                  <a:lnTo>
                    <a:pt x="32" y="341"/>
                  </a:lnTo>
                  <a:lnTo>
                    <a:pt x="35" y="344"/>
                  </a:lnTo>
                  <a:lnTo>
                    <a:pt x="40" y="345"/>
                  </a:lnTo>
                  <a:lnTo>
                    <a:pt x="40" y="345"/>
                  </a:lnTo>
                  <a:lnTo>
                    <a:pt x="47" y="347"/>
                  </a:lnTo>
                  <a:lnTo>
                    <a:pt x="52" y="345"/>
                  </a:lnTo>
                  <a:lnTo>
                    <a:pt x="52" y="344"/>
                  </a:lnTo>
                  <a:lnTo>
                    <a:pt x="53" y="341"/>
                  </a:lnTo>
                  <a:lnTo>
                    <a:pt x="53" y="341"/>
                  </a:lnTo>
                  <a:lnTo>
                    <a:pt x="53" y="335"/>
                  </a:lnTo>
                  <a:lnTo>
                    <a:pt x="55" y="329"/>
                  </a:lnTo>
                  <a:lnTo>
                    <a:pt x="58" y="324"/>
                  </a:lnTo>
                  <a:lnTo>
                    <a:pt x="59" y="323"/>
                  </a:lnTo>
                  <a:lnTo>
                    <a:pt x="62" y="323"/>
                  </a:lnTo>
                  <a:lnTo>
                    <a:pt x="62" y="323"/>
                  </a:lnTo>
                  <a:lnTo>
                    <a:pt x="66" y="323"/>
                  </a:lnTo>
                  <a:lnTo>
                    <a:pt x="71" y="326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83" y="332"/>
                  </a:lnTo>
                  <a:lnTo>
                    <a:pt x="87" y="333"/>
                  </a:lnTo>
                  <a:lnTo>
                    <a:pt x="93" y="333"/>
                  </a:lnTo>
                  <a:lnTo>
                    <a:pt x="99" y="332"/>
                  </a:lnTo>
                  <a:lnTo>
                    <a:pt x="99" y="332"/>
                  </a:lnTo>
                  <a:lnTo>
                    <a:pt x="109" y="324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5" y="310"/>
                  </a:lnTo>
                  <a:lnTo>
                    <a:pt x="115" y="299"/>
                  </a:lnTo>
                  <a:lnTo>
                    <a:pt x="115" y="289"/>
                  </a:lnTo>
                  <a:lnTo>
                    <a:pt x="115" y="289"/>
                  </a:lnTo>
                  <a:lnTo>
                    <a:pt x="111" y="267"/>
                  </a:lnTo>
                  <a:lnTo>
                    <a:pt x="106" y="246"/>
                  </a:lnTo>
                  <a:lnTo>
                    <a:pt x="106" y="246"/>
                  </a:lnTo>
                  <a:lnTo>
                    <a:pt x="102" y="227"/>
                  </a:lnTo>
                  <a:lnTo>
                    <a:pt x="99" y="215"/>
                  </a:lnTo>
                  <a:lnTo>
                    <a:pt x="98" y="206"/>
                  </a:lnTo>
                  <a:lnTo>
                    <a:pt x="98" y="206"/>
                  </a:lnTo>
                  <a:lnTo>
                    <a:pt x="98" y="191"/>
                  </a:lnTo>
                  <a:lnTo>
                    <a:pt x="98" y="184"/>
                  </a:lnTo>
                  <a:lnTo>
                    <a:pt x="100" y="175"/>
                  </a:lnTo>
                  <a:lnTo>
                    <a:pt x="100" y="175"/>
                  </a:lnTo>
                  <a:lnTo>
                    <a:pt x="105" y="167"/>
                  </a:lnTo>
                  <a:lnTo>
                    <a:pt x="109" y="160"/>
                  </a:lnTo>
                  <a:lnTo>
                    <a:pt x="112" y="154"/>
                  </a:lnTo>
                  <a:lnTo>
                    <a:pt x="112" y="151"/>
                  </a:lnTo>
                  <a:lnTo>
                    <a:pt x="112" y="148"/>
                  </a:lnTo>
                  <a:lnTo>
                    <a:pt x="112" y="148"/>
                  </a:lnTo>
                  <a:lnTo>
                    <a:pt x="105" y="133"/>
                  </a:lnTo>
                  <a:lnTo>
                    <a:pt x="102" y="124"/>
                  </a:lnTo>
                  <a:lnTo>
                    <a:pt x="98" y="114"/>
                  </a:lnTo>
                  <a:lnTo>
                    <a:pt x="98" y="114"/>
                  </a:lnTo>
                  <a:lnTo>
                    <a:pt x="90" y="86"/>
                  </a:lnTo>
                  <a:lnTo>
                    <a:pt x="84" y="74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77" y="65"/>
                  </a:lnTo>
                  <a:lnTo>
                    <a:pt x="71" y="65"/>
                  </a:lnTo>
                  <a:lnTo>
                    <a:pt x="65" y="64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47" y="58"/>
                  </a:lnTo>
                  <a:lnTo>
                    <a:pt x="37" y="56"/>
                  </a:lnTo>
                  <a:lnTo>
                    <a:pt x="34" y="55"/>
                  </a:lnTo>
                  <a:lnTo>
                    <a:pt x="31" y="53"/>
                  </a:lnTo>
                  <a:lnTo>
                    <a:pt x="31" y="50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7" y="41"/>
                  </a:lnTo>
                  <a:lnTo>
                    <a:pt x="40" y="36"/>
                  </a:lnTo>
                  <a:lnTo>
                    <a:pt x="40" y="31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4" y="27"/>
                  </a:lnTo>
                  <a:lnTo>
                    <a:pt x="31" y="27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18" y="36"/>
                  </a:lnTo>
                  <a:lnTo>
                    <a:pt x="15" y="37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9" y="30"/>
                  </a:lnTo>
                  <a:lnTo>
                    <a:pt x="4" y="24"/>
                  </a:lnTo>
                  <a:lnTo>
                    <a:pt x="3" y="18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6" name="Freeform 195">
              <a:extLst>
                <a:ext uri="{FF2B5EF4-FFF2-40B4-BE49-F238E27FC236}">
                  <a16:creationId xmlns:a16="http://schemas.microsoft.com/office/drawing/2014/main" id="{C0D91CD3-A733-7E47-BA05-2BBAA6ABA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888" y="6653213"/>
              <a:ext cx="293688" cy="230187"/>
            </a:xfrm>
            <a:custGeom>
              <a:avLst/>
              <a:gdLst>
                <a:gd name="T0" fmla="*/ 114 w 185"/>
                <a:gd name="T1" fmla="*/ 6 h 145"/>
                <a:gd name="T2" fmla="*/ 114 w 185"/>
                <a:gd name="T3" fmla="*/ 6 h 145"/>
                <a:gd name="T4" fmla="*/ 134 w 185"/>
                <a:gd name="T5" fmla="*/ 0 h 145"/>
                <a:gd name="T6" fmla="*/ 134 w 185"/>
                <a:gd name="T7" fmla="*/ 0 h 145"/>
                <a:gd name="T8" fmla="*/ 142 w 185"/>
                <a:gd name="T9" fmla="*/ 12 h 145"/>
                <a:gd name="T10" fmla="*/ 150 w 185"/>
                <a:gd name="T11" fmla="*/ 22 h 145"/>
                <a:gd name="T12" fmla="*/ 154 w 185"/>
                <a:gd name="T13" fmla="*/ 31 h 145"/>
                <a:gd name="T14" fmla="*/ 154 w 185"/>
                <a:gd name="T15" fmla="*/ 31 h 145"/>
                <a:gd name="T16" fmla="*/ 154 w 185"/>
                <a:gd name="T17" fmla="*/ 37 h 145"/>
                <a:gd name="T18" fmla="*/ 154 w 185"/>
                <a:gd name="T19" fmla="*/ 41 h 145"/>
                <a:gd name="T20" fmla="*/ 153 w 185"/>
                <a:gd name="T21" fmla="*/ 46 h 145"/>
                <a:gd name="T22" fmla="*/ 154 w 185"/>
                <a:gd name="T23" fmla="*/ 47 h 145"/>
                <a:gd name="T24" fmla="*/ 157 w 185"/>
                <a:gd name="T25" fmla="*/ 50 h 145"/>
                <a:gd name="T26" fmla="*/ 157 w 185"/>
                <a:gd name="T27" fmla="*/ 50 h 145"/>
                <a:gd name="T28" fmla="*/ 163 w 185"/>
                <a:gd name="T29" fmla="*/ 53 h 145"/>
                <a:gd name="T30" fmla="*/ 169 w 185"/>
                <a:gd name="T31" fmla="*/ 55 h 145"/>
                <a:gd name="T32" fmla="*/ 174 w 185"/>
                <a:gd name="T33" fmla="*/ 55 h 145"/>
                <a:gd name="T34" fmla="*/ 178 w 185"/>
                <a:gd name="T35" fmla="*/ 56 h 145"/>
                <a:gd name="T36" fmla="*/ 178 w 185"/>
                <a:gd name="T37" fmla="*/ 56 h 145"/>
                <a:gd name="T38" fmla="*/ 181 w 185"/>
                <a:gd name="T39" fmla="*/ 60 h 145"/>
                <a:gd name="T40" fmla="*/ 185 w 185"/>
                <a:gd name="T41" fmla="*/ 68 h 145"/>
                <a:gd name="T42" fmla="*/ 185 w 185"/>
                <a:gd name="T43" fmla="*/ 72 h 145"/>
                <a:gd name="T44" fmla="*/ 185 w 185"/>
                <a:gd name="T45" fmla="*/ 75 h 145"/>
                <a:gd name="T46" fmla="*/ 184 w 185"/>
                <a:gd name="T47" fmla="*/ 78 h 145"/>
                <a:gd name="T48" fmla="*/ 179 w 185"/>
                <a:gd name="T49" fmla="*/ 80 h 145"/>
                <a:gd name="T50" fmla="*/ 179 w 185"/>
                <a:gd name="T51" fmla="*/ 80 h 145"/>
                <a:gd name="T52" fmla="*/ 163 w 185"/>
                <a:gd name="T53" fmla="*/ 81 h 145"/>
                <a:gd name="T54" fmla="*/ 156 w 185"/>
                <a:gd name="T55" fmla="*/ 83 h 145"/>
                <a:gd name="T56" fmla="*/ 150 w 185"/>
                <a:gd name="T57" fmla="*/ 84 h 145"/>
                <a:gd name="T58" fmla="*/ 150 w 185"/>
                <a:gd name="T59" fmla="*/ 84 h 145"/>
                <a:gd name="T60" fmla="*/ 144 w 185"/>
                <a:gd name="T61" fmla="*/ 87 h 145"/>
                <a:gd name="T62" fmla="*/ 138 w 185"/>
                <a:gd name="T63" fmla="*/ 92 h 145"/>
                <a:gd name="T64" fmla="*/ 134 w 185"/>
                <a:gd name="T65" fmla="*/ 97 h 145"/>
                <a:gd name="T66" fmla="*/ 131 w 185"/>
                <a:gd name="T67" fmla="*/ 103 h 145"/>
                <a:gd name="T68" fmla="*/ 131 w 185"/>
                <a:gd name="T69" fmla="*/ 103 h 145"/>
                <a:gd name="T70" fmla="*/ 131 w 185"/>
                <a:gd name="T71" fmla="*/ 112 h 145"/>
                <a:gd name="T72" fmla="*/ 128 w 185"/>
                <a:gd name="T73" fmla="*/ 123 h 145"/>
                <a:gd name="T74" fmla="*/ 126 w 185"/>
                <a:gd name="T75" fmla="*/ 127 h 145"/>
                <a:gd name="T76" fmla="*/ 123 w 185"/>
                <a:gd name="T77" fmla="*/ 132 h 145"/>
                <a:gd name="T78" fmla="*/ 119 w 185"/>
                <a:gd name="T79" fmla="*/ 134 h 145"/>
                <a:gd name="T80" fmla="*/ 113 w 185"/>
                <a:gd name="T81" fmla="*/ 134 h 145"/>
                <a:gd name="T82" fmla="*/ 113 w 185"/>
                <a:gd name="T83" fmla="*/ 134 h 145"/>
                <a:gd name="T84" fmla="*/ 108 w 185"/>
                <a:gd name="T85" fmla="*/ 134 h 145"/>
                <a:gd name="T86" fmla="*/ 104 w 185"/>
                <a:gd name="T87" fmla="*/ 134 h 145"/>
                <a:gd name="T88" fmla="*/ 97 w 185"/>
                <a:gd name="T89" fmla="*/ 130 h 145"/>
                <a:gd name="T90" fmla="*/ 91 w 185"/>
                <a:gd name="T91" fmla="*/ 127 h 145"/>
                <a:gd name="T92" fmla="*/ 86 w 185"/>
                <a:gd name="T93" fmla="*/ 127 h 145"/>
                <a:gd name="T94" fmla="*/ 83 w 185"/>
                <a:gd name="T95" fmla="*/ 129 h 145"/>
                <a:gd name="T96" fmla="*/ 83 w 185"/>
                <a:gd name="T97" fmla="*/ 129 h 145"/>
                <a:gd name="T98" fmla="*/ 76 w 185"/>
                <a:gd name="T99" fmla="*/ 132 h 145"/>
                <a:gd name="T100" fmla="*/ 71 w 185"/>
                <a:gd name="T101" fmla="*/ 134 h 145"/>
                <a:gd name="T102" fmla="*/ 65 w 185"/>
                <a:gd name="T103" fmla="*/ 139 h 145"/>
                <a:gd name="T104" fmla="*/ 58 w 185"/>
                <a:gd name="T105" fmla="*/ 142 h 145"/>
                <a:gd name="T106" fmla="*/ 58 w 185"/>
                <a:gd name="T107" fmla="*/ 142 h 145"/>
                <a:gd name="T108" fmla="*/ 46 w 185"/>
                <a:gd name="T109" fmla="*/ 143 h 145"/>
                <a:gd name="T110" fmla="*/ 34 w 185"/>
                <a:gd name="T111" fmla="*/ 145 h 145"/>
                <a:gd name="T112" fmla="*/ 20 w 185"/>
                <a:gd name="T113" fmla="*/ 145 h 145"/>
                <a:gd name="T114" fmla="*/ 0 w 185"/>
                <a:gd name="T115" fmla="*/ 13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5" h="145">
                  <a:moveTo>
                    <a:pt x="114" y="6"/>
                  </a:moveTo>
                  <a:lnTo>
                    <a:pt x="114" y="6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42" y="12"/>
                  </a:lnTo>
                  <a:lnTo>
                    <a:pt x="150" y="22"/>
                  </a:lnTo>
                  <a:lnTo>
                    <a:pt x="154" y="31"/>
                  </a:lnTo>
                  <a:lnTo>
                    <a:pt x="154" y="31"/>
                  </a:lnTo>
                  <a:lnTo>
                    <a:pt x="154" y="37"/>
                  </a:lnTo>
                  <a:lnTo>
                    <a:pt x="154" y="41"/>
                  </a:lnTo>
                  <a:lnTo>
                    <a:pt x="153" y="46"/>
                  </a:lnTo>
                  <a:lnTo>
                    <a:pt x="154" y="47"/>
                  </a:lnTo>
                  <a:lnTo>
                    <a:pt x="157" y="50"/>
                  </a:lnTo>
                  <a:lnTo>
                    <a:pt x="157" y="50"/>
                  </a:lnTo>
                  <a:lnTo>
                    <a:pt x="163" y="53"/>
                  </a:lnTo>
                  <a:lnTo>
                    <a:pt x="169" y="55"/>
                  </a:lnTo>
                  <a:lnTo>
                    <a:pt x="174" y="55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81" y="60"/>
                  </a:lnTo>
                  <a:lnTo>
                    <a:pt x="185" y="68"/>
                  </a:lnTo>
                  <a:lnTo>
                    <a:pt x="185" y="72"/>
                  </a:lnTo>
                  <a:lnTo>
                    <a:pt x="185" y="75"/>
                  </a:lnTo>
                  <a:lnTo>
                    <a:pt x="184" y="78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63" y="81"/>
                  </a:lnTo>
                  <a:lnTo>
                    <a:pt x="156" y="83"/>
                  </a:lnTo>
                  <a:lnTo>
                    <a:pt x="150" y="84"/>
                  </a:lnTo>
                  <a:lnTo>
                    <a:pt x="150" y="84"/>
                  </a:lnTo>
                  <a:lnTo>
                    <a:pt x="144" y="87"/>
                  </a:lnTo>
                  <a:lnTo>
                    <a:pt x="138" y="92"/>
                  </a:lnTo>
                  <a:lnTo>
                    <a:pt x="134" y="97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1" y="112"/>
                  </a:lnTo>
                  <a:lnTo>
                    <a:pt x="128" y="123"/>
                  </a:lnTo>
                  <a:lnTo>
                    <a:pt x="126" y="127"/>
                  </a:lnTo>
                  <a:lnTo>
                    <a:pt x="123" y="132"/>
                  </a:lnTo>
                  <a:lnTo>
                    <a:pt x="119" y="134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08" y="134"/>
                  </a:lnTo>
                  <a:lnTo>
                    <a:pt x="104" y="134"/>
                  </a:lnTo>
                  <a:lnTo>
                    <a:pt x="97" y="130"/>
                  </a:lnTo>
                  <a:lnTo>
                    <a:pt x="91" y="127"/>
                  </a:lnTo>
                  <a:lnTo>
                    <a:pt x="86" y="127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76" y="132"/>
                  </a:lnTo>
                  <a:lnTo>
                    <a:pt x="71" y="134"/>
                  </a:lnTo>
                  <a:lnTo>
                    <a:pt x="65" y="139"/>
                  </a:lnTo>
                  <a:lnTo>
                    <a:pt x="58" y="142"/>
                  </a:lnTo>
                  <a:lnTo>
                    <a:pt x="58" y="142"/>
                  </a:lnTo>
                  <a:lnTo>
                    <a:pt x="46" y="143"/>
                  </a:lnTo>
                  <a:lnTo>
                    <a:pt x="34" y="145"/>
                  </a:lnTo>
                  <a:lnTo>
                    <a:pt x="20" y="145"/>
                  </a:lnTo>
                  <a:lnTo>
                    <a:pt x="0" y="139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7" name="Freeform 196">
              <a:extLst>
                <a:ext uri="{FF2B5EF4-FFF2-40B4-BE49-F238E27FC236}">
                  <a16:creationId xmlns:a16="http://schemas.microsoft.com/office/drawing/2014/main" id="{79882EE6-796E-0747-ADA0-D432041B5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5200" y="3598863"/>
              <a:ext cx="79375" cy="119062"/>
            </a:xfrm>
            <a:custGeom>
              <a:avLst/>
              <a:gdLst>
                <a:gd name="T0" fmla="*/ 3 w 50"/>
                <a:gd name="T1" fmla="*/ 15 h 75"/>
                <a:gd name="T2" fmla="*/ 3 w 50"/>
                <a:gd name="T3" fmla="*/ 15 h 75"/>
                <a:gd name="T4" fmla="*/ 0 w 50"/>
                <a:gd name="T5" fmla="*/ 22 h 75"/>
                <a:gd name="T6" fmla="*/ 0 w 50"/>
                <a:gd name="T7" fmla="*/ 28 h 75"/>
                <a:gd name="T8" fmla="*/ 3 w 50"/>
                <a:gd name="T9" fmla="*/ 34 h 75"/>
                <a:gd name="T10" fmla="*/ 3 w 50"/>
                <a:gd name="T11" fmla="*/ 34 h 75"/>
                <a:gd name="T12" fmla="*/ 6 w 50"/>
                <a:gd name="T13" fmla="*/ 41 h 75"/>
                <a:gd name="T14" fmla="*/ 10 w 50"/>
                <a:gd name="T15" fmla="*/ 50 h 75"/>
                <a:gd name="T16" fmla="*/ 10 w 50"/>
                <a:gd name="T17" fmla="*/ 50 h 75"/>
                <a:gd name="T18" fmla="*/ 13 w 50"/>
                <a:gd name="T19" fmla="*/ 65 h 75"/>
                <a:gd name="T20" fmla="*/ 16 w 50"/>
                <a:gd name="T21" fmla="*/ 69 h 75"/>
                <a:gd name="T22" fmla="*/ 19 w 50"/>
                <a:gd name="T23" fmla="*/ 72 h 75"/>
                <a:gd name="T24" fmla="*/ 19 w 50"/>
                <a:gd name="T25" fmla="*/ 72 h 75"/>
                <a:gd name="T26" fmla="*/ 28 w 50"/>
                <a:gd name="T27" fmla="*/ 75 h 75"/>
                <a:gd name="T28" fmla="*/ 32 w 50"/>
                <a:gd name="T29" fmla="*/ 75 h 75"/>
                <a:gd name="T30" fmla="*/ 38 w 50"/>
                <a:gd name="T31" fmla="*/ 74 h 75"/>
                <a:gd name="T32" fmla="*/ 38 w 50"/>
                <a:gd name="T33" fmla="*/ 74 h 75"/>
                <a:gd name="T34" fmla="*/ 43 w 50"/>
                <a:gd name="T35" fmla="*/ 71 h 75"/>
                <a:gd name="T36" fmla="*/ 47 w 50"/>
                <a:gd name="T37" fmla="*/ 71 h 75"/>
                <a:gd name="T38" fmla="*/ 49 w 50"/>
                <a:gd name="T39" fmla="*/ 68 h 75"/>
                <a:gd name="T40" fmla="*/ 50 w 50"/>
                <a:gd name="T41" fmla="*/ 62 h 75"/>
                <a:gd name="T42" fmla="*/ 50 w 50"/>
                <a:gd name="T43" fmla="*/ 62 h 75"/>
                <a:gd name="T44" fmla="*/ 49 w 50"/>
                <a:gd name="T45" fmla="*/ 46 h 75"/>
                <a:gd name="T46" fmla="*/ 47 w 50"/>
                <a:gd name="T47" fmla="*/ 31 h 75"/>
                <a:gd name="T48" fmla="*/ 47 w 50"/>
                <a:gd name="T49" fmla="*/ 31 h 75"/>
                <a:gd name="T50" fmla="*/ 49 w 50"/>
                <a:gd name="T51" fmla="*/ 21 h 75"/>
                <a:gd name="T52" fmla="*/ 47 w 50"/>
                <a:gd name="T53" fmla="*/ 16 h 75"/>
                <a:gd name="T54" fmla="*/ 46 w 50"/>
                <a:gd name="T55" fmla="*/ 10 h 75"/>
                <a:gd name="T56" fmla="*/ 46 w 50"/>
                <a:gd name="T57" fmla="*/ 10 h 75"/>
                <a:gd name="T58" fmla="*/ 43 w 50"/>
                <a:gd name="T59" fmla="*/ 6 h 75"/>
                <a:gd name="T60" fmla="*/ 38 w 50"/>
                <a:gd name="T61" fmla="*/ 3 h 75"/>
                <a:gd name="T62" fmla="*/ 34 w 50"/>
                <a:gd name="T63" fmla="*/ 0 h 75"/>
                <a:gd name="T64" fmla="*/ 23 w 50"/>
                <a:gd name="T65" fmla="*/ 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" h="75">
                  <a:moveTo>
                    <a:pt x="3" y="15"/>
                  </a:moveTo>
                  <a:lnTo>
                    <a:pt x="3" y="15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6" y="41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3" y="65"/>
                  </a:lnTo>
                  <a:lnTo>
                    <a:pt x="16" y="69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8" y="75"/>
                  </a:lnTo>
                  <a:lnTo>
                    <a:pt x="32" y="75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43" y="71"/>
                  </a:lnTo>
                  <a:lnTo>
                    <a:pt x="47" y="71"/>
                  </a:lnTo>
                  <a:lnTo>
                    <a:pt x="49" y="68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49" y="46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9" y="21"/>
                  </a:lnTo>
                  <a:lnTo>
                    <a:pt x="47" y="16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3" y="6"/>
                  </a:lnTo>
                  <a:lnTo>
                    <a:pt x="38" y="3"/>
                  </a:lnTo>
                  <a:lnTo>
                    <a:pt x="34" y="0"/>
                  </a:lnTo>
                  <a:lnTo>
                    <a:pt x="23" y="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8" name="Freeform 197">
              <a:extLst>
                <a:ext uri="{FF2B5EF4-FFF2-40B4-BE49-F238E27FC236}">
                  <a16:creationId xmlns:a16="http://schemas.microsoft.com/office/drawing/2014/main" id="{30D896B1-8684-9C43-938E-90F7742FDF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7963" y="5364163"/>
              <a:ext cx="26988" cy="112712"/>
            </a:xfrm>
            <a:custGeom>
              <a:avLst/>
              <a:gdLst>
                <a:gd name="T0" fmla="*/ 5 w 17"/>
                <a:gd name="T1" fmla="*/ 0 h 71"/>
                <a:gd name="T2" fmla="*/ 5 w 17"/>
                <a:gd name="T3" fmla="*/ 0 h 71"/>
                <a:gd name="T4" fmla="*/ 9 w 17"/>
                <a:gd name="T5" fmla="*/ 3 h 71"/>
                <a:gd name="T6" fmla="*/ 14 w 17"/>
                <a:gd name="T7" fmla="*/ 6 h 71"/>
                <a:gd name="T8" fmla="*/ 15 w 17"/>
                <a:gd name="T9" fmla="*/ 9 h 71"/>
                <a:gd name="T10" fmla="*/ 17 w 17"/>
                <a:gd name="T11" fmla="*/ 10 h 71"/>
                <a:gd name="T12" fmla="*/ 15 w 17"/>
                <a:gd name="T13" fmla="*/ 12 h 71"/>
                <a:gd name="T14" fmla="*/ 15 w 17"/>
                <a:gd name="T15" fmla="*/ 12 h 71"/>
                <a:gd name="T16" fmla="*/ 6 w 17"/>
                <a:gd name="T17" fmla="*/ 21 h 71"/>
                <a:gd name="T18" fmla="*/ 9 w 17"/>
                <a:gd name="T19" fmla="*/ 33 h 71"/>
                <a:gd name="T20" fmla="*/ 3 w 17"/>
                <a:gd name="T21" fmla="*/ 40 h 71"/>
                <a:gd name="T22" fmla="*/ 0 w 17"/>
                <a:gd name="T2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71">
                  <a:moveTo>
                    <a:pt x="5" y="0"/>
                  </a:moveTo>
                  <a:lnTo>
                    <a:pt x="5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15" y="9"/>
                  </a:lnTo>
                  <a:lnTo>
                    <a:pt x="17" y="10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6" y="21"/>
                  </a:lnTo>
                  <a:lnTo>
                    <a:pt x="9" y="33"/>
                  </a:lnTo>
                  <a:lnTo>
                    <a:pt x="3" y="40"/>
                  </a:lnTo>
                  <a:lnTo>
                    <a:pt x="0" y="7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19" name="Freeform 198">
              <a:extLst>
                <a:ext uri="{FF2B5EF4-FFF2-40B4-BE49-F238E27FC236}">
                  <a16:creationId xmlns:a16="http://schemas.microsoft.com/office/drawing/2014/main" id="{274BBD6B-C3B5-4344-BCDF-7B0B7C9BA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4565650"/>
              <a:ext cx="98425" cy="88900"/>
            </a:xfrm>
            <a:custGeom>
              <a:avLst/>
              <a:gdLst>
                <a:gd name="T0" fmla="*/ 4 w 62"/>
                <a:gd name="T1" fmla="*/ 37 h 56"/>
                <a:gd name="T2" fmla="*/ 4 w 62"/>
                <a:gd name="T3" fmla="*/ 37 h 56"/>
                <a:gd name="T4" fmla="*/ 9 w 62"/>
                <a:gd name="T5" fmla="*/ 35 h 56"/>
                <a:gd name="T6" fmla="*/ 12 w 62"/>
                <a:gd name="T7" fmla="*/ 32 h 56"/>
                <a:gd name="T8" fmla="*/ 15 w 62"/>
                <a:gd name="T9" fmla="*/ 29 h 56"/>
                <a:gd name="T10" fmla="*/ 15 w 62"/>
                <a:gd name="T11" fmla="*/ 29 h 56"/>
                <a:gd name="T12" fmla="*/ 16 w 62"/>
                <a:gd name="T13" fmla="*/ 25 h 56"/>
                <a:gd name="T14" fmla="*/ 21 w 62"/>
                <a:gd name="T15" fmla="*/ 22 h 56"/>
                <a:gd name="T16" fmla="*/ 24 w 62"/>
                <a:gd name="T17" fmla="*/ 20 h 56"/>
                <a:gd name="T18" fmla="*/ 27 w 62"/>
                <a:gd name="T19" fmla="*/ 16 h 56"/>
                <a:gd name="T20" fmla="*/ 27 w 62"/>
                <a:gd name="T21" fmla="*/ 16 h 56"/>
                <a:gd name="T22" fmla="*/ 34 w 62"/>
                <a:gd name="T23" fmla="*/ 10 h 56"/>
                <a:gd name="T24" fmla="*/ 41 w 62"/>
                <a:gd name="T25" fmla="*/ 4 h 56"/>
                <a:gd name="T26" fmla="*/ 41 w 62"/>
                <a:gd name="T27" fmla="*/ 4 h 56"/>
                <a:gd name="T28" fmla="*/ 46 w 62"/>
                <a:gd name="T29" fmla="*/ 1 h 56"/>
                <a:gd name="T30" fmla="*/ 50 w 62"/>
                <a:gd name="T31" fmla="*/ 0 h 56"/>
                <a:gd name="T32" fmla="*/ 53 w 62"/>
                <a:gd name="T33" fmla="*/ 3 h 56"/>
                <a:gd name="T34" fmla="*/ 55 w 62"/>
                <a:gd name="T35" fmla="*/ 7 h 56"/>
                <a:gd name="T36" fmla="*/ 55 w 62"/>
                <a:gd name="T37" fmla="*/ 7 h 56"/>
                <a:gd name="T38" fmla="*/ 58 w 62"/>
                <a:gd name="T39" fmla="*/ 13 h 56"/>
                <a:gd name="T40" fmla="*/ 59 w 62"/>
                <a:gd name="T41" fmla="*/ 17 h 56"/>
                <a:gd name="T42" fmla="*/ 59 w 62"/>
                <a:gd name="T43" fmla="*/ 26 h 56"/>
                <a:gd name="T44" fmla="*/ 59 w 62"/>
                <a:gd name="T45" fmla="*/ 26 h 56"/>
                <a:gd name="T46" fmla="*/ 62 w 62"/>
                <a:gd name="T47" fmla="*/ 45 h 56"/>
                <a:gd name="T48" fmla="*/ 61 w 62"/>
                <a:gd name="T49" fmla="*/ 51 h 56"/>
                <a:gd name="T50" fmla="*/ 59 w 62"/>
                <a:gd name="T51" fmla="*/ 53 h 56"/>
                <a:gd name="T52" fmla="*/ 56 w 62"/>
                <a:gd name="T53" fmla="*/ 54 h 56"/>
                <a:gd name="T54" fmla="*/ 56 w 62"/>
                <a:gd name="T55" fmla="*/ 54 h 56"/>
                <a:gd name="T56" fmla="*/ 52 w 62"/>
                <a:gd name="T57" fmla="*/ 56 h 56"/>
                <a:gd name="T58" fmla="*/ 47 w 62"/>
                <a:gd name="T59" fmla="*/ 56 h 56"/>
                <a:gd name="T60" fmla="*/ 37 w 62"/>
                <a:gd name="T61" fmla="*/ 54 h 56"/>
                <a:gd name="T62" fmla="*/ 37 w 62"/>
                <a:gd name="T63" fmla="*/ 54 h 56"/>
                <a:gd name="T64" fmla="*/ 28 w 62"/>
                <a:gd name="T65" fmla="*/ 56 h 56"/>
                <a:gd name="T66" fmla="*/ 22 w 62"/>
                <a:gd name="T67" fmla="*/ 54 h 56"/>
                <a:gd name="T68" fmla="*/ 16 w 62"/>
                <a:gd name="T69" fmla="*/ 51 h 56"/>
                <a:gd name="T70" fmla="*/ 16 w 62"/>
                <a:gd name="T71" fmla="*/ 51 h 56"/>
                <a:gd name="T72" fmla="*/ 4 w 62"/>
                <a:gd name="T73" fmla="*/ 45 h 56"/>
                <a:gd name="T74" fmla="*/ 1 w 62"/>
                <a:gd name="T75" fmla="*/ 44 h 56"/>
                <a:gd name="T76" fmla="*/ 0 w 62"/>
                <a:gd name="T77" fmla="*/ 43 h 56"/>
                <a:gd name="T78" fmla="*/ 0 w 62"/>
                <a:gd name="T79" fmla="*/ 43 h 56"/>
                <a:gd name="T80" fmla="*/ 3 w 62"/>
                <a:gd name="T81" fmla="*/ 40 h 56"/>
                <a:gd name="T82" fmla="*/ 4 w 62"/>
                <a:gd name="T83" fmla="*/ 37 h 56"/>
                <a:gd name="T84" fmla="*/ 4 w 62"/>
                <a:gd name="T85" fmla="*/ 3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56">
                  <a:moveTo>
                    <a:pt x="4" y="37"/>
                  </a:moveTo>
                  <a:lnTo>
                    <a:pt x="4" y="37"/>
                  </a:lnTo>
                  <a:lnTo>
                    <a:pt x="9" y="35"/>
                  </a:lnTo>
                  <a:lnTo>
                    <a:pt x="12" y="32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6" y="25"/>
                  </a:lnTo>
                  <a:lnTo>
                    <a:pt x="21" y="22"/>
                  </a:lnTo>
                  <a:lnTo>
                    <a:pt x="24" y="20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34" y="10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6" y="1"/>
                  </a:lnTo>
                  <a:lnTo>
                    <a:pt x="50" y="0"/>
                  </a:lnTo>
                  <a:lnTo>
                    <a:pt x="53" y="3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8" y="13"/>
                  </a:lnTo>
                  <a:lnTo>
                    <a:pt x="59" y="17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62" y="45"/>
                  </a:lnTo>
                  <a:lnTo>
                    <a:pt x="61" y="51"/>
                  </a:lnTo>
                  <a:lnTo>
                    <a:pt x="59" y="53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2" y="56"/>
                  </a:lnTo>
                  <a:lnTo>
                    <a:pt x="47" y="56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28" y="56"/>
                  </a:lnTo>
                  <a:lnTo>
                    <a:pt x="22" y="54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4" y="45"/>
                  </a:lnTo>
                  <a:lnTo>
                    <a:pt x="1" y="4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3" y="40"/>
                  </a:lnTo>
                  <a:lnTo>
                    <a:pt x="4" y="37"/>
                  </a:lnTo>
                  <a:lnTo>
                    <a:pt x="4" y="37"/>
                  </a:lnTo>
                  <a:close/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0" name="Freeform 199">
              <a:extLst>
                <a:ext uri="{FF2B5EF4-FFF2-40B4-BE49-F238E27FC236}">
                  <a16:creationId xmlns:a16="http://schemas.microsoft.com/office/drawing/2014/main" id="{98DF1766-0FAC-EC40-9707-E42D47788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9813" y="7419975"/>
              <a:ext cx="298450" cy="573087"/>
            </a:xfrm>
            <a:custGeom>
              <a:avLst/>
              <a:gdLst>
                <a:gd name="T0" fmla="*/ 0 w 188"/>
                <a:gd name="T1" fmla="*/ 0 h 361"/>
                <a:gd name="T2" fmla="*/ 12 w 188"/>
                <a:gd name="T3" fmla="*/ 0 h 361"/>
                <a:gd name="T4" fmla="*/ 26 w 188"/>
                <a:gd name="T5" fmla="*/ 4 h 361"/>
                <a:gd name="T6" fmla="*/ 30 w 188"/>
                <a:gd name="T7" fmla="*/ 8 h 361"/>
                <a:gd name="T8" fmla="*/ 34 w 188"/>
                <a:gd name="T9" fmla="*/ 16 h 361"/>
                <a:gd name="T10" fmla="*/ 34 w 188"/>
                <a:gd name="T11" fmla="*/ 31 h 361"/>
                <a:gd name="T12" fmla="*/ 40 w 188"/>
                <a:gd name="T13" fmla="*/ 35 h 361"/>
                <a:gd name="T14" fmla="*/ 52 w 188"/>
                <a:gd name="T15" fmla="*/ 37 h 361"/>
                <a:gd name="T16" fmla="*/ 83 w 188"/>
                <a:gd name="T17" fmla="*/ 37 h 361"/>
                <a:gd name="T18" fmla="*/ 85 w 188"/>
                <a:gd name="T19" fmla="*/ 35 h 361"/>
                <a:gd name="T20" fmla="*/ 91 w 188"/>
                <a:gd name="T21" fmla="*/ 28 h 361"/>
                <a:gd name="T22" fmla="*/ 95 w 188"/>
                <a:gd name="T23" fmla="*/ 25 h 361"/>
                <a:gd name="T24" fmla="*/ 101 w 188"/>
                <a:gd name="T25" fmla="*/ 26 h 361"/>
                <a:gd name="T26" fmla="*/ 114 w 188"/>
                <a:gd name="T27" fmla="*/ 41 h 361"/>
                <a:gd name="T28" fmla="*/ 126 w 188"/>
                <a:gd name="T29" fmla="*/ 53 h 361"/>
                <a:gd name="T30" fmla="*/ 134 w 188"/>
                <a:gd name="T31" fmla="*/ 59 h 361"/>
                <a:gd name="T32" fmla="*/ 141 w 188"/>
                <a:gd name="T33" fmla="*/ 75 h 361"/>
                <a:gd name="T34" fmla="*/ 142 w 188"/>
                <a:gd name="T35" fmla="*/ 82 h 361"/>
                <a:gd name="T36" fmla="*/ 141 w 188"/>
                <a:gd name="T37" fmla="*/ 93 h 361"/>
                <a:gd name="T38" fmla="*/ 145 w 188"/>
                <a:gd name="T39" fmla="*/ 99 h 361"/>
                <a:gd name="T40" fmla="*/ 148 w 188"/>
                <a:gd name="T41" fmla="*/ 103 h 361"/>
                <a:gd name="T42" fmla="*/ 151 w 188"/>
                <a:gd name="T43" fmla="*/ 117 h 361"/>
                <a:gd name="T44" fmla="*/ 153 w 188"/>
                <a:gd name="T45" fmla="*/ 119 h 361"/>
                <a:gd name="T46" fmla="*/ 160 w 188"/>
                <a:gd name="T47" fmla="*/ 124 h 361"/>
                <a:gd name="T48" fmla="*/ 162 w 188"/>
                <a:gd name="T49" fmla="*/ 128 h 361"/>
                <a:gd name="T50" fmla="*/ 163 w 188"/>
                <a:gd name="T51" fmla="*/ 165 h 361"/>
                <a:gd name="T52" fmla="*/ 162 w 188"/>
                <a:gd name="T53" fmla="*/ 177 h 361"/>
                <a:gd name="T54" fmla="*/ 156 w 188"/>
                <a:gd name="T55" fmla="*/ 191 h 361"/>
                <a:gd name="T56" fmla="*/ 154 w 188"/>
                <a:gd name="T57" fmla="*/ 194 h 361"/>
                <a:gd name="T58" fmla="*/ 159 w 188"/>
                <a:gd name="T59" fmla="*/ 199 h 361"/>
                <a:gd name="T60" fmla="*/ 172 w 188"/>
                <a:gd name="T61" fmla="*/ 210 h 361"/>
                <a:gd name="T62" fmla="*/ 184 w 188"/>
                <a:gd name="T63" fmla="*/ 225 h 361"/>
                <a:gd name="T64" fmla="*/ 188 w 188"/>
                <a:gd name="T65" fmla="*/ 234 h 361"/>
                <a:gd name="T66" fmla="*/ 188 w 188"/>
                <a:gd name="T67" fmla="*/ 242 h 361"/>
                <a:gd name="T68" fmla="*/ 184 w 188"/>
                <a:gd name="T69" fmla="*/ 251 h 361"/>
                <a:gd name="T70" fmla="*/ 175 w 188"/>
                <a:gd name="T71" fmla="*/ 260 h 361"/>
                <a:gd name="T72" fmla="*/ 156 w 188"/>
                <a:gd name="T73" fmla="*/ 269 h 361"/>
                <a:gd name="T74" fmla="*/ 151 w 188"/>
                <a:gd name="T75" fmla="*/ 274 h 361"/>
                <a:gd name="T76" fmla="*/ 151 w 188"/>
                <a:gd name="T77" fmla="*/ 276 h 361"/>
                <a:gd name="T78" fmla="*/ 151 w 188"/>
                <a:gd name="T79" fmla="*/ 284 h 361"/>
                <a:gd name="T80" fmla="*/ 141 w 188"/>
                <a:gd name="T81" fmla="*/ 296 h 361"/>
                <a:gd name="T82" fmla="*/ 135 w 188"/>
                <a:gd name="T83" fmla="*/ 302 h 361"/>
                <a:gd name="T84" fmla="*/ 131 w 188"/>
                <a:gd name="T85" fmla="*/ 311 h 361"/>
                <a:gd name="T86" fmla="*/ 125 w 188"/>
                <a:gd name="T87" fmla="*/ 321 h 361"/>
                <a:gd name="T88" fmla="*/ 117 w 188"/>
                <a:gd name="T89" fmla="*/ 325 h 361"/>
                <a:gd name="T90" fmla="*/ 100 w 188"/>
                <a:gd name="T91" fmla="*/ 333 h 361"/>
                <a:gd name="T92" fmla="*/ 91 w 188"/>
                <a:gd name="T93" fmla="*/ 337 h 361"/>
                <a:gd name="T94" fmla="*/ 85 w 188"/>
                <a:gd name="T95" fmla="*/ 343 h 361"/>
                <a:gd name="T96" fmla="*/ 79 w 188"/>
                <a:gd name="T97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8" h="36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12" y="0"/>
                  </a:lnTo>
                  <a:lnTo>
                    <a:pt x="21" y="1"/>
                  </a:lnTo>
                  <a:lnTo>
                    <a:pt x="26" y="4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3" y="11"/>
                  </a:lnTo>
                  <a:lnTo>
                    <a:pt x="34" y="16"/>
                  </a:lnTo>
                  <a:lnTo>
                    <a:pt x="34" y="25"/>
                  </a:lnTo>
                  <a:lnTo>
                    <a:pt x="34" y="31"/>
                  </a:lnTo>
                  <a:lnTo>
                    <a:pt x="37" y="32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52" y="37"/>
                  </a:lnTo>
                  <a:lnTo>
                    <a:pt x="64" y="37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5" y="35"/>
                  </a:lnTo>
                  <a:lnTo>
                    <a:pt x="86" y="34"/>
                  </a:lnTo>
                  <a:lnTo>
                    <a:pt x="91" y="28"/>
                  </a:lnTo>
                  <a:lnTo>
                    <a:pt x="92" y="26"/>
                  </a:lnTo>
                  <a:lnTo>
                    <a:pt x="95" y="25"/>
                  </a:lnTo>
                  <a:lnTo>
                    <a:pt x="98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14" y="41"/>
                  </a:lnTo>
                  <a:lnTo>
                    <a:pt x="120" y="48"/>
                  </a:lnTo>
                  <a:lnTo>
                    <a:pt x="126" y="53"/>
                  </a:lnTo>
                  <a:lnTo>
                    <a:pt x="126" y="53"/>
                  </a:lnTo>
                  <a:lnTo>
                    <a:pt x="134" y="59"/>
                  </a:lnTo>
                  <a:lnTo>
                    <a:pt x="138" y="66"/>
                  </a:lnTo>
                  <a:lnTo>
                    <a:pt x="141" y="75"/>
                  </a:lnTo>
                  <a:lnTo>
                    <a:pt x="142" y="82"/>
                  </a:lnTo>
                  <a:lnTo>
                    <a:pt x="142" y="82"/>
                  </a:lnTo>
                  <a:lnTo>
                    <a:pt x="142" y="88"/>
                  </a:lnTo>
                  <a:lnTo>
                    <a:pt x="141" y="93"/>
                  </a:lnTo>
                  <a:lnTo>
                    <a:pt x="142" y="96"/>
                  </a:lnTo>
                  <a:lnTo>
                    <a:pt x="145" y="99"/>
                  </a:lnTo>
                  <a:lnTo>
                    <a:pt x="145" y="99"/>
                  </a:lnTo>
                  <a:lnTo>
                    <a:pt x="148" y="103"/>
                  </a:lnTo>
                  <a:lnTo>
                    <a:pt x="151" y="109"/>
                  </a:lnTo>
                  <a:lnTo>
                    <a:pt x="151" y="117"/>
                  </a:lnTo>
                  <a:lnTo>
                    <a:pt x="151" y="117"/>
                  </a:lnTo>
                  <a:lnTo>
                    <a:pt x="153" y="119"/>
                  </a:lnTo>
                  <a:lnTo>
                    <a:pt x="157" y="122"/>
                  </a:lnTo>
                  <a:lnTo>
                    <a:pt x="160" y="124"/>
                  </a:lnTo>
                  <a:lnTo>
                    <a:pt x="162" y="128"/>
                  </a:lnTo>
                  <a:lnTo>
                    <a:pt x="162" y="128"/>
                  </a:lnTo>
                  <a:lnTo>
                    <a:pt x="163" y="151"/>
                  </a:lnTo>
                  <a:lnTo>
                    <a:pt x="163" y="165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59" y="185"/>
                  </a:lnTo>
                  <a:lnTo>
                    <a:pt x="156" y="191"/>
                  </a:lnTo>
                  <a:lnTo>
                    <a:pt x="154" y="192"/>
                  </a:lnTo>
                  <a:lnTo>
                    <a:pt x="154" y="194"/>
                  </a:lnTo>
                  <a:lnTo>
                    <a:pt x="156" y="197"/>
                  </a:lnTo>
                  <a:lnTo>
                    <a:pt x="159" y="199"/>
                  </a:lnTo>
                  <a:lnTo>
                    <a:pt x="159" y="199"/>
                  </a:lnTo>
                  <a:lnTo>
                    <a:pt x="172" y="210"/>
                  </a:lnTo>
                  <a:lnTo>
                    <a:pt x="178" y="216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8" y="234"/>
                  </a:lnTo>
                  <a:lnTo>
                    <a:pt x="188" y="238"/>
                  </a:lnTo>
                  <a:lnTo>
                    <a:pt x="188" y="242"/>
                  </a:lnTo>
                  <a:lnTo>
                    <a:pt x="187" y="247"/>
                  </a:lnTo>
                  <a:lnTo>
                    <a:pt x="184" y="251"/>
                  </a:lnTo>
                  <a:lnTo>
                    <a:pt x="175" y="260"/>
                  </a:lnTo>
                  <a:lnTo>
                    <a:pt x="175" y="260"/>
                  </a:lnTo>
                  <a:lnTo>
                    <a:pt x="163" y="266"/>
                  </a:lnTo>
                  <a:lnTo>
                    <a:pt x="156" y="269"/>
                  </a:lnTo>
                  <a:lnTo>
                    <a:pt x="151" y="272"/>
                  </a:lnTo>
                  <a:lnTo>
                    <a:pt x="151" y="274"/>
                  </a:lnTo>
                  <a:lnTo>
                    <a:pt x="151" y="276"/>
                  </a:lnTo>
                  <a:lnTo>
                    <a:pt x="151" y="276"/>
                  </a:lnTo>
                  <a:lnTo>
                    <a:pt x="151" y="281"/>
                  </a:lnTo>
                  <a:lnTo>
                    <a:pt x="151" y="284"/>
                  </a:lnTo>
                  <a:lnTo>
                    <a:pt x="147" y="290"/>
                  </a:lnTo>
                  <a:lnTo>
                    <a:pt x="141" y="296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2" y="306"/>
                  </a:lnTo>
                  <a:lnTo>
                    <a:pt x="131" y="311"/>
                  </a:lnTo>
                  <a:lnTo>
                    <a:pt x="131" y="315"/>
                  </a:lnTo>
                  <a:lnTo>
                    <a:pt x="125" y="321"/>
                  </a:lnTo>
                  <a:lnTo>
                    <a:pt x="125" y="321"/>
                  </a:lnTo>
                  <a:lnTo>
                    <a:pt x="117" y="325"/>
                  </a:lnTo>
                  <a:lnTo>
                    <a:pt x="108" y="330"/>
                  </a:lnTo>
                  <a:lnTo>
                    <a:pt x="100" y="333"/>
                  </a:lnTo>
                  <a:lnTo>
                    <a:pt x="91" y="337"/>
                  </a:lnTo>
                  <a:lnTo>
                    <a:pt x="91" y="337"/>
                  </a:lnTo>
                  <a:lnTo>
                    <a:pt x="88" y="340"/>
                  </a:lnTo>
                  <a:lnTo>
                    <a:pt x="85" y="343"/>
                  </a:lnTo>
                  <a:lnTo>
                    <a:pt x="82" y="351"/>
                  </a:lnTo>
                  <a:lnTo>
                    <a:pt x="79" y="361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  <p:sp>
          <p:nvSpPr>
            <p:cNvPr id="321" name="Freeform 200">
              <a:extLst>
                <a:ext uri="{FF2B5EF4-FFF2-40B4-BE49-F238E27FC236}">
                  <a16:creationId xmlns:a16="http://schemas.microsoft.com/office/drawing/2014/main" id="{535A419A-1C13-D74E-8CE4-BD7C0C35F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48950" y="6824663"/>
              <a:ext cx="673100" cy="973137"/>
            </a:xfrm>
            <a:custGeom>
              <a:avLst/>
              <a:gdLst>
                <a:gd name="T0" fmla="*/ 0 w 424"/>
                <a:gd name="T1" fmla="*/ 545 h 613"/>
                <a:gd name="T2" fmla="*/ 5 w 424"/>
                <a:gd name="T3" fmla="*/ 537 h 613"/>
                <a:gd name="T4" fmla="*/ 17 w 424"/>
                <a:gd name="T5" fmla="*/ 521 h 613"/>
                <a:gd name="T6" fmla="*/ 26 w 424"/>
                <a:gd name="T7" fmla="*/ 499 h 613"/>
                <a:gd name="T8" fmla="*/ 36 w 424"/>
                <a:gd name="T9" fmla="*/ 506 h 613"/>
                <a:gd name="T10" fmla="*/ 43 w 424"/>
                <a:gd name="T11" fmla="*/ 508 h 613"/>
                <a:gd name="T12" fmla="*/ 63 w 424"/>
                <a:gd name="T13" fmla="*/ 494 h 613"/>
                <a:gd name="T14" fmla="*/ 63 w 424"/>
                <a:gd name="T15" fmla="*/ 453 h 613"/>
                <a:gd name="T16" fmla="*/ 67 w 424"/>
                <a:gd name="T17" fmla="*/ 434 h 613"/>
                <a:gd name="T18" fmla="*/ 76 w 424"/>
                <a:gd name="T19" fmla="*/ 432 h 613"/>
                <a:gd name="T20" fmla="*/ 83 w 424"/>
                <a:gd name="T21" fmla="*/ 425 h 613"/>
                <a:gd name="T22" fmla="*/ 86 w 424"/>
                <a:gd name="T23" fmla="*/ 366 h 613"/>
                <a:gd name="T24" fmla="*/ 103 w 424"/>
                <a:gd name="T25" fmla="*/ 342 h 613"/>
                <a:gd name="T26" fmla="*/ 117 w 424"/>
                <a:gd name="T27" fmla="*/ 345 h 613"/>
                <a:gd name="T28" fmla="*/ 128 w 424"/>
                <a:gd name="T29" fmla="*/ 340 h 613"/>
                <a:gd name="T30" fmla="*/ 131 w 424"/>
                <a:gd name="T31" fmla="*/ 326 h 613"/>
                <a:gd name="T32" fmla="*/ 141 w 424"/>
                <a:gd name="T33" fmla="*/ 320 h 613"/>
                <a:gd name="T34" fmla="*/ 147 w 424"/>
                <a:gd name="T35" fmla="*/ 317 h 613"/>
                <a:gd name="T36" fmla="*/ 157 w 424"/>
                <a:gd name="T37" fmla="*/ 302 h 613"/>
                <a:gd name="T38" fmla="*/ 149 w 424"/>
                <a:gd name="T39" fmla="*/ 287 h 613"/>
                <a:gd name="T40" fmla="*/ 143 w 424"/>
                <a:gd name="T41" fmla="*/ 271 h 613"/>
                <a:gd name="T42" fmla="*/ 135 w 424"/>
                <a:gd name="T43" fmla="*/ 266 h 613"/>
                <a:gd name="T44" fmla="*/ 120 w 424"/>
                <a:gd name="T45" fmla="*/ 258 h 613"/>
                <a:gd name="T46" fmla="*/ 126 w 424"/>
                <a:gd name="T47" fmla="*/ 246 h 613"/>
                <a:gd name="T48" fmla="*/ 119 w 424"/>
                <a:gd name="T49" fmla="*/ 228 h 613"/>
                <a:gd name="T50" fmla="*/ 129 w 424"/>
                <a:gd name="T51" fmla="*/ 188 h 613"/>
                <a:gd name="T52" fmla="*/ 144 w 424"/>
                <a:gd name="T53" fmla="*/ 152 h 613"/>
                <a:gd name="T54" fmla="*/ 180 w 424"/>
                <a:gd name="T55" fmla="*/ 151 h 613"/>
                <a:gd name="T56" fmla="*/ 221 w 424"/>
                <a:gd name="T57" fmla="*/ 161 h 613"/>
                <a:gd name="T58" fmla="*/ 240 w 424"/>
                <a:gd name="T59" fmla="*/ 148 h 613"/>
                <a:gd name="T60" fmla="*/ 264 w 424"/>
                <a:gd name="T61" fmla="*/ 126 h 613"/>
                <a:gd name="T62" fmla="*/ 280 w 424"/>
                <a:gd name="T63" fmla="*/ 124 h 613"/>
                <a:gd name="T64" fmla="*/ 291 w 424"/>
                <a:gd name="T65" fmla="*/ 142 h 613"/>
                <a:gd name="T66" fmla="*/ 305 w 424"/>
                <a:gd name="T67" fmla="*/ 163 h 613"/>
                <a:gd name="T68" fmla="*/ 304 w 424"/>
                <a:gd name="T69" fmla="*/ 179 h 613"/>
                <a:gd name="T70" fmla="*/ 310 w 424"/>
                <a:gd name="T71" fmla="*/ 191 h 613"/>
                <a:gd name="T72" fmla="*/ 331 w 424"/>
                <a:gd name="T73" fmla="*/ 201 h 613"/>
                <a:gd name="T74" fmla="*/ 343 w 424"/>
                <a:gd name="T75" fmla="*/ 182 h 613"/>
                <a:gd name="T76" fmla="*/ 334 w 424"/>
                <a:gd name="T77" fmla="*/ 158 h 613"/>
                <a:gd name="T78" fmla="*/ 343 w 424"/>
                <a:gd name="T79" fmla="*/ 154 h 613"/>
                <a:gd name="T80" fmla="*/ 344 w 424"/>
                <a:gd name="T81" fmla="*/ 136 h 613"/>
                <a:gd name="T82" fmla="*/ 350 w 424"/>
                <a:gd name="T83" fmla="*/ 117 h 613"/>
                <a:gd name="T84" fmla="*/ 372 w 424"/>
                <a:gd name="T85" fmla="*/ 108 h 613"/>
                <a:gd name="T86" fmla="*/ 388 w 424"/>
                <a:gd name="T87" fmla="*/ 92 h 613"/>
                <a:gd name="T88" fmla="*/ 408 w 424"/>
                <a:gd name="T89" fmla="*/ 68 h 613"/>
                <a:gd name="T90" fmla="*/ 417 w 424"/>
                <a:gd name="T91" fmla="*/ 55 h 613"/>
                <a:gd name="T92" fmla="*/ 417 w 424"/>
                <a:gd name="T93" fmla="*/ 18 h 613"/>
                <a:gd name="T94" fmla="*/ 424 w 424"/>
                <a:gd name="T95" fmla="*/ 0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4" h="613">
                  <a:moveTo>
                    <a:pt x="54" y="613"/>
                  </a:moveTo>
                  <a:lnTo>
                    <a:pt x="2" y="551"/>
                  </a:lnTo>
                  <a:lnTo>
                    <a:pt x="2" y="551"/>
                  </a:lnTo>
                  <a:lnTo>
                    <a:pt x="0" y="545"/>
                  </a:lnTo>
                  <a:lnTo>
                    <a:pt x="2" y="540"/>
                  </a:lnTo>
                  <a:lnTo>
                    <a:pt x="3" y="539"/>
                  </a:lnTo>
                  <a:lnTo>
                    <a:pt x="5" y="537"/>
                  </a:lnTo>
                  <a:lnTo>
                    <a:pt x="5" y="537"/>
                  </a:lnTo>
                  <a:lnTo>
                    <a:pt x="11" y="534"/>
                  </a:lnTo>
                  <a:lnTo>
                    <a:pt x="14" y="532"/>
                  </a:lnTo>
                  <a:lnTo>
                    <a:pt x="15" y="527"/>
                  </a:lnTo>
                  <a:lnTo>
                    <a:pt x="17" y="521"/>
                  </a:lnTo>
                  <a:lnTo>
                    <a:pt x="17" y="521"/>
                  </a:lnTo>
                  <a:lnTo>
                    <a:pt x="21" y="505"/>
                  </a:lnTo>
                  <a:lnTo>
                    <a:pt x="24" y="500"/>
                  </a:lnTo>
                  <a:lnTo>
                    <a:pt x="26" y="499"/>
                  </a:lnTo>
                  <a:lnTo>
                    <a:pt x="29" y="499"/>
                  </a:lnTo>
                  <a:lnTo>
                    <a:pt x="29" y="499"/>
                  </a:lnTo>
                  <a:lnTo>
                    <a:pt x="33" y="502"/>
                  </a:lnTo>
                  <a:lnTo>
                    <a:pt x="36" y="506"/>
                  </a:lnTo>
                  <a:lnTo>
                    <a:pt x="39" y="508"/>
                  </a:lnTo>
                  <a:lnTo>
                    <a:pt x="42" y="509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54" y="505"/>
                  </a:lnTo>
                  <a:lnTo>
                    <a:pt x="58" y="500"/>
                  </a:lnTo>
                  <a:lnTo>
                    <a:pt x="63" y="494"/>
                  </a:lnTo>
                  <a:lnTo>
                    <a:pt x="63" y="494"/>
                  </a:lnTo>
                  <a:lnTo>
                    <a:pt x="64" y="489"/>
                  </a:lnTo>
                  <a:lnTo>
                    <a:pt x="64" y="484"/>
                  </a:lnTo>
                  <a:lnTo>
                    <a:pt x="64" y="474"/>
                  </a:lnTo>
                  <a:lnTo>
                    <a:pt x="63" y="453"/>
                  </a:lnTo>
                  <a:lnTo>
                    <a:pt x="63" y="453"/>
                  </a:lnTo>
                  <a:lnTo>
                    <a:pt x="63" y="446"/>
                  </a:lnTo>
                  <a:lnTo>
                    <a:pt x="64" y="438"/>
                  </a:lnTo>
                  <a:lnTo>
                    <a:pt x="67" y="434"/>
                  </a:lnTo>
                  <a:lnTo>
                    <a:pt x="69" y="432"/>
                  </a:lnTo>
                  <a:lnTo>
                    <a:pt x="72" y="431"/>
                  </a:lnTo>
                  <a:lnTo>
                    <a:pt x="72" y="431"/>
                  </a:lnTo>
                  <a:lnTo>
                    <a:pt x="76" y="432"/>
                  </a:lnTo>
                  <a:lnTo>
                    <a:pt x="79" y="435"/>
                  </a:lnTo>
                  <a:lnTo>
                    <a:pt x="80" y="435"/>
                  </a:lnTo>
                  <a:lnTo>
                    <a:pt x="82" y="434"/>
                  </a:lnTo>
                  <a:lnTo>
                    <a:pt x="83" y="425"/>
                  </a:lnTo>
                  <a:lnTo>
                    <a:pt x="83" y="425"/>
                  </a:lnTo>
                  <a:lnTo>
                    <a:pt x="86" y="392"/>
                  </a:lnTo>
                  <a:lnTo>
                    <a:pt x="86" y="366"/>
                  </a:lnTo>
                  <a:lnTo>
                    <a:pt x="86" y="366"/>
                  </a:lnTo>
                  <a:lnTo>
                    <a:pt x="86" y="361"/>
                  </a:lnTo>
                  <a:lnTo>
                    <a:pt x="88" y="357"/>
                  </a:lnTo>
                  <a:lnTo>
                    <a:pt x="95" y="348"/>
                  </a:lnTo>
                  <a:lnTo>
                    <a:pt x="103" y="342"/>
                  </a:lnTo>
                  <a:lnTo>
                    <a:pt x="107" y="340"/>
                  </a:lnTo>
                  <a:lnTo>
                    <a:pt x="109" y="340"/>
                  </a:lnTo>
                  <a:lnTo>
                    <a:pt x="109" y="340"/>
                  </a:lnTo>
                  <a:lnTo>
                    <a:pt x="117" y="345"/>
                  </a:lnTo>
                  <a:lnTo>
                    <a:pt x="122" y="345"/>
                  </a:lnTo>
                  <a:lnTo>
                    <a:pt x="125" y="345"/>
                  </a:lnTo>
                  <a:lnTo>
                    <a:pt x="125" y="345"/>
                  </a:lnTo>
                  <a:lnTo>
                    <a:pt x="128" y="340"/>
                  </a:lnTo>
                  <a:lnTo>
                    <a:pt x="128" y="336"/>
                  </a:lnTo>
                  <a:lnTo>
                    <a:pt x="129" y="330"/>
                  </a:lnTo>
                  <a:lnTo>
                    <a:pt x="131" y="326"/>
                  </a:lnTo>
                  <a:lnTo>
                    <a:pt x="131" y="326"/>
                  </a:lnTo>
                  <a:lnTo>
                    <a:pt x="134" y="324"/>
                  </a:lnTo>
                  <a:lnTo>
                    <a:pt x="137" y="324"/>
                  </a:lnTo>
                  <a:lnTo>
                    <a:pt x="140" y="323"/>
                  </a:lnTo>
                  <a:lnTo>
                    <a:pt x="141" y="320"/>
                  </a:lnTo>
                  <a:lnTo>
                    <a:pt x="141" y="320"/>
                  </a:lnTo>
                  <a:lnTo>
                    <a:pt x="141" y="317"/>
                  </a:lnTo>
                  <a:lnTo>
                    <a:pt x="144" y="317"/>
                  </a:lnTo>
                  <a:lnTo>
                    <a:pt x="147" y="317"/>
                  </a:lnTo>
                  <a:lnTo>
                    <a:pt x="153" y="312"/>
                  </a:lnTo>
                  <a:lnTo>
                    <a:pt x="153" y="312"/>
                  </a:lnTo>
                  <a:lnTo>
                    <a:pt x="156" y="306"/>
                  </a:lnTo>
                  <a:lnTo>
                    <a:pt x="157" y="302"/>
                  </a:lnTo>
                  <a:lnTo>
                    <a:pt x="156" y="296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49" y="287"/>
                  </a:lnTo>
                  <a:lnTo>
                    <a:pt x="146" y="283"/>
                  </a:lnTo>
                  <a:lnTo>
                    <a:pt x="143" y="274"/>
                  </a:lnTo>
                  <a:lnTo>
                    <a:pt x="143" y="274"/>
                  </a:lnTo>
                  <a:lnTo>
                    <a:pt x="143" y="271"/>
                  </a:lnTo>
                  <a:lnTo>
                    <a:pt x="143" y="269"/>
                  </a:lnTo>
                  <a:lnTo>
                    <a:pt x="143" y="268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28" y="263"/>
                  </a:lnTo>
                  <a:lnTo>
                    <a:pt x="122" y="262"/>
                  </a:lnTo>
                  <a:lnTo>
                    <a:pt x="120" y="260"/>
                  </a:lnTo>
                  <a:lnTo>
                    <a:pt x="120" y="258"/>
                  </a:lnTo>
                  <a:lnTo>
                    <a:pt x="120" y="258"/>
                  </a:lnTo>
                  <a:lnTo>
                    <a:pt x="125" y="252"/>
                  </a:lnTo>
                  <a:lnTo>
                    <a:pt x="126" y="249"/>
                  </a:lnTo>
                  <a:lnTo>
                    <a:pt x="126" y="246"/>
                  </a:lnTo>
                  <a:lnTo>
                    <a:pt x="126" y="246"/>
                  </a:lnTo>
                  <a:lnTo>
                    <a:pt x="126" y="241"/>
                  </a:lnTo>
                  <a:lnTo>
                    <a:pt x="123" y="237"/>
                  </a:lnTo>
                  <a:lnTo>
                    <a:pt x="119" y="228"/>
                  </a:lnTo>
                  <a:lnTo>
                    <a:pt x="119" y="228"/>
                  </a:lnTo>
                  <a:lnTo>
                    <a:pt x="119" y="222"/>
                  </a:lnTo>
                  <a:lnTo>
                    <a:pt x="120" y="213"/>
                  </a:lnTo>
                  <a:lnTo>
                    <a:pt x="129" y="188"/>
                  </a:lnTo>
                  <a:lnTo>
                    <a:pt x="138" y="163"/>
                  </a:lnTo>
                  <a:lnTo>
                    <a:pt x="141" y="155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57" y="149"/>
                  </a:lnTo>
                  <a:lnTo>
                    <a:pt x="168" y="149"/>
                  </a:lnTo>
                  <a:lnTo>
                    <a:pt x="180" y="151"/>
                  </a:lnTo>
                  <a:lnTo>
                    <a:pt x="180" y="151"/>
                  </a:lnTo>
                  <a:lnTo>
                    <a:pt x="197" y="157"/>
                  </a:lnTo>
                  <a:lnTo>
                    <a:pt x="211" y="160"/>
                  </a:lnTo>
                  <a:lnTo>
                    <a:pt x="211" y="160"/>
                  </a:lnTo>
                  <a:lnTo>
                    <a:pt x="221" y="161"/>
                  </a:lnTo>
                  <a:lnTo>
                    <a:pt x="226" y="161"/>
                  </a:lnTo>
                  <a:lnTo>
                    <a:pt x="231" y="157"/>
                  </a:lnTo>
                  <a:lnTo>
                    <a:pt x="231" y="157"/>
                  </a:lnTo>
                  <a:lnTo>
                    <a:pt x="240" y="148"/>
                  </a:lnTo>
                  <a:lnTo>
                    <a:pt x="248" y="139"/>
                  </a:lnTo>
                  <a:lnTo>
                    <a:pt x="248" y="139"/>
                  </a:lnTo>
                  <a:lnTo>
                    <a:pt x="255" y="132"/>
                  </a:lnTo>
                  <a:lnTo>
                    <a:pt x="264" y="126"/>
                  </a:lnTo>
                  <a:lnTo>
                    <a:pt x="273" y="123"/>
                  </a:lnTo>
                  <a:lnTo>
                    <a:pt x="277" y="123"/>
                  </a:lnTo>
                  <a:lnTo>
                    <a:pt x="280" y="124"/>
                  </a:lnTo>
                  <a:lnTo>
                    <a:pt x="280" y="124"/>
                  </a:lnTo>
                  <a:lnTo>
                    <a:pt x="285" y="127"/>
                  </a:lnTo>
                  <a:lnTo>
                    <a:pt x="288" y="132"/>
                  </a:lnTo>
                  <a:lnTo>
                    <a:pt x="291" y="142"/>
                  </a:lnTo>
                  <a:lnTo>
                    <a:pt x="291" y="142"/>
                  </a:lnTo>
                  <a:lnTo>
                    <a:pt x="294" y="146"/>
                  </a:lnTo>
                  <a:lnTo>
                    <a:pt x="297" y="152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7" y="164"/>
                  </a:lnTo>
                  <a:lnTo>
                    <a:pt x="307" y="167"/>
                  </a:lnTo>
                  <a:lnTo>
                    <a:pt x="305" y="173"/>
                  </a:lnTo>
                  <a:lnTo>
                    <a:pt x="304" y="179"/>
                  </a:lnTo>
                  <a:lnTo>
                    <a:pt x="304" y="182"/>
                  </a:lnTo>
                  <a:lnTo>
                    <a:pt x="305" y="185"/>
                  </a:lnTo>
                  <a:lnTo>
                    <a:pt x="305" y="185"/>
                  </a:lnTo>
                  <a:lnTo>
                    <a:pt x="310" y="191"/>
                  </a:lnTo>
                  <a:lnTo>
                    <a:pt x="317" y="198"/>
                  </a:lnTo>
                  <a:lnTo>
                    <a:pt x="325" y="201"/>
                  </a:lnTo>
                  <a:lnTo>
                    <a:pt x="328" y="201"/>
                  </a:lnTo>
                  <a:lnTo>
                    <a:pt x="331" y="201"/>
                  </a:lnTo>
                  <a:lnTo>
                    <a:pt x="331" y="201"/>
                  </a:lnTo>
                  <a:lnTo>
                    <a:pt x="337" y="195"/>
                  </a:lnTo>
                  <a:lnTo>
                    <a:pt x="340" y="189"/>
                  </a:lnTo>
                  <a:lnTo>
                    <a:pt x="343" y="182"/>
                  </a:lnTo>
                  <a:lnTo>
                    <a:pt x="341" y="173"/>
                  </a:lnTo>
                  <a:lnTo>
                    <a:pt x="341" y="173"/>
                  </a:lnTo>
                  <a:lnTo>
                    <a:pt x="337" y="164"/>
                  </a:lnTo>
                  <a:lnTo>
                    <a:pt x="334" y="158"/>
                  </a:lnTo>
                  <a:lnTo>
                    <a:pt x="329" y="152"/>
                  </a:lnTo>
                  <a:lnTo>
                    <a:pt x="329" y="152"/>
                  </a:lnTo>
                  <a:lnTo>
                    <a:pt x="338" y="155"/>
                  </a:lnTo>
                  <a:lnTo>
                    <a:pt x="343" y="154"/>
                  </a:lnTo>
                  <a:lnTo>
                    <a:pt x="344" y="152"/>
                  </a:lnTo>
                  <a:lnTo>
                    <a:pt x="345" y="149"/>
                  </a:lnTo>
                  <a:lnTo>
                    <a:pt x="345" y="149"/>
                  </a:lnTo>
                  <a:lnTo>
                    <a:pt x="344" y="136"/>
                  </a:lnTo>
                  <a:lnTo>
                    <a:pt x="344" y="130"/>
                  </a:lnTo>
                  <a:lnTo>
                    <a:pt x="347" y="124"/>
                  </a:lnTo>
                  <a:lnTo>
                    <a:pt x="347" y="124"/>
                  </a:lnTo>
                  <a:lnTo>
                    <a:pt x="350" y="117"/>
                  </a:lnTo>
                  <a:lnTo>
                    <a:pt x="357" y="112"/>
                  </a:lnTo>
                  <a:lnTo>
                    <a:pt x="365" y="109"/>
                  </a:lnTo>
                  <a:lnTo>
                    <a:pt x="372" y="108"/>
                  </a:lnTo>
                  <a:lnTo>
                    <a:pt x="372" y="108"/>
                  </a:lnTo>
                  <a:lnTo>
                    <a:pt x="377" y="106"/>
                  </a:lnTo>
                  <a:lnTo>
                    <a:pt x="380" y="105"/>
                  </a:lnTo>
                  <a:lnTo>
                    <a:pt x="384" y="99"/>
                  </a:lnTo>
                  <a:lnTo>
                    <a:pt x="388" y="92"/>
                  </a:lnTo>
                  <a:lnTo>
                    <a:pt x="394" y="81"/>
                  </a:lnTo>
                  <a:lnTo>
                    <a:pt x="394" y="81"/>
                  </a:lnTo>
                  <a:lnTo>
                    <a:pt x="402" y="74"/>
                  </a:lnTo>
                  <a:lnTo>
                    <a:pt x="408" y="68"/>
                  </a:lnTo>
                  <a:lnTo>
                    <a:pt x="414" y="62"/>
                  </a:lnTo>
                  <a:lnTo>
                    <a:pt x="415" y="58"/>
                  </a:lnTo>
                  <a:lnTo>
                    <a:pt x="417" y="55"/>
                  </a:lnTo>
                  <a:lnTo>
                    <a:pt x="417" y="55"/>
                  </a:lnTo>
                  <a:lnTo>
                    <a:pt x="417" y="46"/>
                  </a:lnTo>
                  <a:lnTo>
                    <a:pt x="417" y="35"/>
                  </a:lnTo>
                  <a:lnTo>
                    <a:pt x="415" y="26"/>
                  </a:lnTo>
                  <a:lnTo>
                    <a:pt x="417" y="18"/>
                  </a:lnTo>
                  <a:lnTo>
                    <a:pt x="417" y="18"/>
                  </a:lnTo>
                  <a:lnTo>
                    <a:pt x="418" y="10"/>
                  </a:lnTo>
                  <a:lnTo>
                    <a:pt x="421" y="4"/>
                  </a:lnTo>
                  <a:lnTo>
                    <a:pt x="424" y="0"/>
                  </a:lnTo>
                </a:path>
              </a:pathLst>
            </a:custGeom>
            <a:grpFill/>
            <a:ln w="4763">
              <a:solidFill>
                <a:srgbClr val="A7A7A7"/>
              </a:solidFill>
              <a:prstDash val="solid"/>
              <a:round/>
              <a:headEnd/>
              <a:tailEnd/>
            </a:ln>
          </p:spPr>
          <p:txBody>
            <a:bodyPr vert="horz" wrap="square" lIns="61194" tIns="30597" rIns="61194" bIns="30597" numCol="1" anchor="t" anchorCtr="0" compatLnSpc="1">
              <a:prstTxWarp prst="textNoShape">
                <a:avLst/>
              </a:prstTxWarp>
            </a:bodyPr>
            <a:lstStyle/>
            <a:p>
              <a:endParaRPr lang="ru-RU" sz="1205"/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труктура Почты Росси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sp>
        <p:nvSpPr>
          <p:cNvPr id="327" name="Прямоугольник 326">
            <a:extLst>
              <a:ext uri="{FF2B5EF4-FFF2-40B4-BE49-F238E27FC236}">
                <a16:creationId xmlns:a16="http://schemas.microsoft.com/office/drawing/2014/main" id="{A38A1FA0-B691-7048-9FFE-93D51D8DDCB9}"/>
              </a:ext>
            </a:extLst>
          </p:cNvPr>
          <p:cNvSpPr/>
          <p:nvPr/>
        </p:nvSpPr>
        <p:spPr>
          <a:xfrm>
            <a:off x="588822" y="1260417"/>
            <a:ext cx="3820503" cy="51377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grpSp>
        <p:nvGrpSpPr>
          <p:cNvPr id="328" name="Группа 327">
            <a:extLst>
              <a:ext uri="{FF2B5EF4-FFF2-40B4-BE49-F238E27FC236}">
                <a16:creationId xmlns:a16="http://schemas.microsoft.com/office/drawing/2014/main" id="{36F36966-76F4-464E-B83E-7F32703238C2}"/>
              </a:ext>
            </a:extLst>
          </p:cNvPr>
          <p:cNvGrpSpPr/>
          <p:nvPr/>
        </p:nvGrpSpPr>
        <p:grpSpPr>
          <a:xfrm>
            <a:off x="1419307" y="1412675"/>
            <a:ext cx="1927692" cy="1760"/>
            <a:chOff x="12061403" y="1104406"/>
            <a:chExt cx="2880494" cy="2630"/>
          </a:xfrm>
        </p:grpSpPr>
        <p:cxnSp>
          <p:nvCxnSpPr>
            <p:cNvPr id="329" name="Прямая соединительная линия 328">
              <a:extLst>
                <a:ext uri="{FF2B5EF4-FFF2-40B4-BE49-F238E27FC236}">
                  <a16:creationId xmlns:a16="http://schemas.microsoft.com/office/drawing/2014/main" id="{41E1446E-E9DE-D040-96B9-8970D955B3FE}"/>
                </a:ext>
              </a:extLst>
            </p:cNvPr>
            <p:cNvCxnSpPr/>
            <p:nvPr/>
          </p:nvCxnSpPr>
          <p:spPr>
            <a:xfrm>
              <a:off x="12421443" y="1104406"/>
              <a:ext cx="2520454" cy="263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Прямая соединительная линия 329">
              <a:extLst>
                <a:ext uri="{FF2B5EF4-FFF2-40B4-BE49-F238E27FC236}">
                  <a16:creationId xmlns:a16="http://schemas.microsoft.com/office/drawing/2014/main" id="{3C35AD1B-EF14-624C-A4FF-66167D54CE39}"/>
                </a:ext>
              </a:extLst>
            </p:cNvPr>
            <p:cNvCxnSpPr/>
            <p:nvPr/>
          </p:nvCxnSpPr>
          <p:spPr>
            <a:xfrm flipV="1">
              <a:off x="12061403" y="1104406"/>
              <a:ext cx="360040" cy="2630"/>
            </a:xfrm>
            <a:prstGeom prst="line">
              <a:avLst/>
            </a:prstGeom>
            <a:ln w="38100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331" name="TextBox 330">
            <a:extLst>
              <a:ext uri="{FF2B5EF4-FFF2-40B4-BE49-F238E27FC236}">
                <a16:creationId xmlns:a16="http://schemas.microsoft.com/office/drawing/2014/main" id="{C14EC461-A2EB-6C4B-A93A-83A54C628422}"/>
              </a:ext>
            </a:extLst>
          </p:cNvPr>
          <p:cNvSpPr txBox="1"/>
          <p:nvPr/>
        </p:nvSpPr>
        <p:spPr>
          <a:xfrm>
            <a:off x="704607" y="1655073"/>
            <a:ext cx="1006037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83</a:t>
            </a:r>
          </a:p>
        </p:txBody>
      </p:sp>
      <p:sp>
        <p:nvSpPr>
          <p:cNvPr id="332" name="TextBox 331">
            <a:extLst>
              <a:ext uri="{FF2B5EF4-FFF2-40B4-BE49-F238E27FC236}">
                <a16:creationId xmlns:a16="http://schemas.microsoft.com/office/drawing/2014/main" id="{E6313A0E-A000-0143-9BFE-25858C8CCB8D}"/>
              </a:ext>
            </a:extLst>
          </p:cNvPr>
          <p:cNvSpPr txBox="1"/>
          <p:nvPr/>
        </p:nvSpPr>
        <p:spPr>
          <a:xfrm>
            <a:off x="2151157" y="1830705"/>
            <a:ext cx="2258168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филиала в России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443E3BF0-3682-9B48-BABF-E7DE61F7E732}"/>
              </a:ext>
            </a:extLst>
          </p:cNvPr>
          <p:cNvSpPr txBox="1"/>
          <p:nvPr/>
        </p:nvSpPr>
        <p:spPr>
          <a:xfrm>
            <a:off x="703049" y="2210404"/>
            <a:ext cx="1006037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4" name="TextBox 333">
            <a:extLst>
              <a:ext uri="{FF2B5EF4-FFF2-40B4-BE49-F238E27FC236}">
                <a16:creationId xmlns:a16="http://schemas.microsoft.com/office/drawing/2014/main" id="{DDA4C707-34B8-C043-AA4B-D391DCEC97E9}"/>
              </a:ext>
            </a:extLst>
          </p:cNvPr>
          <p:cNvSpPr txBox="1"/>
          <p:nvPr/>
        </p:nvSpPr>
        <p:spPr>
          <a:xfrm>
            <a:off x="2149599" y="2375288"/>
            <a:ext cx="2258168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филиал в Германии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2C20C47B-7D1B-8D4E-BFEC-FA64A26E8AAD}"/>
              </a:ext>
            </a:extLst>
          </p:cNvPr>
          <p:cNvSpPr txBox="1"/>
          <p:nvPr/>
        </p:nvSpPr>
        <p:spPr>
          <a:xfrm>
            <a:off x="703049" y="2763406"/>
            <a:ext cx="1006037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F9B078B3-5AD5-1840-9E19-E69C8941D88F}"/>
              </a:ext>
            </a:extLst>
          </p:cNvPr>
          <p:cNvSpPr txBox="1"/>
          <p:nvPr/>
        </p:nvSpPr>
        <p:spPr>
          <a:xfrm>
            <a:off x="2144360" y="2777066"/>
            <a:ext cx="2259610" cy="5563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5" dirty="0">
                <a:solidFill>
                  <a:schemeClr val="bg1"/>
                </a:solidFill>
              </a:rPr>
              <a:t>It-</a:t>
            </a:r>
            <a:r>
              <a:rPr lang="ru-RU" sz="1205" dirty="0">
                <a:solidFill>
                  <a:schemeClr val="bg1"/>
                </a:solidFill>
              </a:rPr>
              <a:t>подразделения («Почтовые Технологии» и «Почта Сервис»)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BD454B3E-E0AA-094E-8BCA-AE6B38C24ECB}"/>
              </a:ext>
            </a:extLst>
          </p:cNvPr>
          <p:cNvSpPr txBox="1"/>
          <p:nvPr/>
        </p:nvSpPr>
        <p:spPr>
          <a:xfrm>
            <a:off x="703049" y="3341788"/>
            <a:ext cx="1006037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237B9A2D-05CA-0246-B6E6-77246DBDBA44}"/>
              </a:ext>
            </a:extLst>
          </p:cNvPr>
          <p:cNvSpPr txBox="1"/>
          <p:nvPr/>
        </p:nvSpPr>
        <p:spPr>
          <a:xfrm>
            <a:off x="2145041" y="3529452"/>
            <a:ext cx="2259610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представительство в Китае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911A6178-3EE1-884C-BE08-E01C51DC0F53}"/>
              </a:ext>
            </a:extLst>
          </p:cNvPr>
          <p:cNvSpPr txBox="1"/>
          <p:nvPr/>
        </p:nvSpPr>
        <p:spPr>
          <a:xfrm>
            <a:off x="703049" y="3889097"/>
            <a:ext cx="1006037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755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B800B382-BB82-4B4B-8F5D-C0EE2A8CD811}"/>
              </a:ext>
            </a:extLst>
          </p:cNvPr>
          <p:cNvSpPr txBox="1"/>
          <p:nvPr/>
        </p:nvSpPr>
        <p:spPr>
          <a:xfrm>
            <a:off x="2144360" y="3982853"/>
            <a:ext cx="2259610" cy="370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почтамтов управляют сетью отделений</a:t>
            </a:r>
            <a:r>
              <a:rPr lang="ru-RU" sz="1205" baseline="300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73BB6B67-5C9B-134C-B3BF-3F189358E838}"/>
              </a:ext>
            </a:extLst>
          </p:cNvPr>
          <p:cNvSpPr txBox="1"/>
          <p:nvPr/>
        </p:nvSpPr>
        <p:spPr>
          <a:xfrm>
            <a:off x="703048" y="4455181"/>
            <a:ext cx="1441312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11,2</a:t>
            </a:r>
            <a:r>
              <a:rPr lang="ru-RU" sz="1338" b="1" dirty="0">
                <a:solidFill>
                  <a:schemeClr val="bg1"/>
                </a:solidFill>
              </a:rPr>
              <a:t>тыс.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3628775B-903B-664C-BCAE-5B9ED29099D7}"/>
              </a:ext>
            </a:extLst>
          </p:cNvPr>
          <p:cNvSpPr txBox="1"/>
          <p:nvPr/>
        </p:nvSpPr>
        <p:spPr>
          <a:xfrm>
            <a:off x="2144360" y="4544606"/>
            <a:ext cx="2264964" cy="370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городских отделений почтовой связи. 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82F34BDD-DE16-1C46-98FE-7C37C81518EA}"/>
              </a:ext>
            </a:extLst>
          </p:cNvPr>
          <p:cNvSpPr txBox="1"/>
          <p:nvPr/>
        </p:nvSpPr>
        <p:spPr>
          <a:xfrm>
            <a:off x="708287" y="5024524"/>
            <a:ext cx="1441312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14" b="1" dirty="0">
                <a:solidFill>
                  <a:schemeClr val="bg1"/>
                </a:solidFill>
              </a:rPr>
              <a:t>30,1</a:t>
            </a:r>
            <a:r>
              <a:rPr lang="ru-RU" sz="1338" b="1" dirty="0">
                <a:solidFill>
                  <a:schemeClr val="bg1"/>
                </a:solidFill>
              </a:rPr>
              <a:t>тыс.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34288C51-DBCE-2B46-96C1-CBC9A619C7A3}"/>
              </a:ext>
            </a:extLst>
          </p:cNvPr>
          <p:cNvSpPr txBox="1"/>
          <p:nvPr/>
        </p:nvSpPr>
        <p:spPr>
          <a:xfrm>
            <a:off x="2149599" y="5113949"/>
            <a:ext cx="2264964" cy="370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сельских отделений почтовой связи. 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FBC6317B-9137-7945-8475-A23D0F37270A}"/>
              </a:ext>
            </a:extLst>
          </p:cNvPr>
          <p:cNvSpPr txBox="1"/>
          <p:nvPr/>
        </p:nvSpPr>
        <p:spPr>
          <a:xfrm>
            <a:off x="719606" y="5619749"/>
            <a:ext cx="1441312" cy="5561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14" dirty="0">
                <a:solidFill>
                  <a:schemeClr val="bg1"/>
                </a:solidFill>
              </a:rPr>
              <a:t>~</a:t>
            </a:r>
            <a:r>
              <a:rPr lang="ru-RU" sz="3614" b="1" dirty="0">
                <a:solidFill>
                  <a:schemeClr val="bg1"/>
                </a:solidFill>
              </a:rPr>
              <a:t>1</a:t>
            </a:r>
            <a:r>
              <a:rPr lang="ru-RU" sz="1338" b="1" dirty="0">
                <a:solidFill>
                  <a:schemeClr val="bg1"/>
                </a:solidFill>
              </a:rPr>
              <a:t>тыс.</a:t>
            </a:r>
          </a:p>
        </p:txBody>
      </p:sp>
      <p:sp>
        <p:nvSpPr>
          <p:cNvPr id="347" name="TextBox 346">
            <a:extLst>
              <a:ext uri="{FF2B5EF4-FFF2-40B4-BE49-F238E27FC236}">
                <a16:creationId xmlns:a16="http://schemas.microsoft.com/office/drawing/2014/main" id="{ADA6C6B2-35AD-9D4A-9ABF-701EED364F84}"/>
              </a:ext>
            </a:extLst>
          </p:cNvPr>
          <p:cNvSpPr txBox="1"/>
          <p:nvPr/>
        </p:nvSpPr>
        <p:spPr>
          <a:xfrm>
            <a:off x="2160918" y="5709175"/>
            <a:ext cx="2264964" cy="3708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>
                <a:solidFill>
                  <a:schemeClr val="bg1"/>
                </a:solidFill>
              </a:rPr>
              <a:t>прочих отделений почтовой связи</a:t>
            </a:r>
            <a:r>
              <a:rPr lang="ru-RU" sz="1205" baseline="30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" name="Выноска 1 2">
            <a:extLst>
              <a:ext uri="{FF2B5EF4-FFF2-40B4-BE49-F238E27FC236}">
                <a16:creationId xmlns:a16="http://schemas.microsoft.com/office/drawing/2014/main" id="{4701FF76-2B90-5B4D-BDE8-D77E5A692D3E}"/>
              </a:ext>
            </a:extLst>
          </p:cNvPr>
          <p:cNvSpPr/>
          <p:nvPr/>
        </p:nvSpPr>
        <p:spPr>
          <a:xfrm>
            <a:off x="7088211" y="1489097"/>
            <a:ext cx="963815" cy="663655"/>
          </a:xfrm>
          <a:prstGeom prst="borderCallout1">
            <a:avLst>
              <a:gd name="adj1" fmla="val 54910"/>
              <a:gd name="adj2" fmla="val -8333"/>
              <a:gd name="adj3" fmla="val 248099"/>
              <a:gd name="adj4" fmla="val -74436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Северо-Запад</a:t>
            </a:r>
          </a:p>
          <a:p>
            <a:pPr algn="ctr"/>
            <a:r>
              <a:rPr lang="ru-RU" sz="1071" dirty="0"/>
              <a:t>4109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48" name="Выноска 1 347">
            <a:extLst>
              <a:ext uri="{FF2B5EF4-FFF2-40B4-BE49-F238E27FC236}">
                <a16:creationId xmlns:a16="http://schemas.microsoft.com/office/drawing/2014/main" id="{1DE93F8C-2F29-C24F-BCB3-B6F613709DCF}"/>
              </a:ext>
            </a:extLst>
          </p:cNvPr>
          <p:cNvSpPr/>
          <p:nvPr/>
        </p:nvSpPr>
        <p:spPr>
          <a:xfrm>
            <a:off x="5738870" y="1038621"/>
            <a:ext cx="963815" cy="663655"/>
          </a:xfrm>
          <a:prstGeom prst="borderCallout1">
            <a:avLst>
              <a:gd name="adj1" fmla="val 109149"/>
              <a:gd name="adj2" fmla="val 47689"/>
              <a:gd name="adj3" fmla="val 392737"/>
              <a:gd name="adj4" fmla="val -986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Москва</a:t>
            </a:r>
          </a:p>
          <a:p>
            <a:pPr algn="ctr"/>
            <a:r>
              <a:rPr lang="ru-RU" sz="1071" dirty="0"/>
              <a:t>1712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49" name="Выноска 1 348">
            <a:extLst>
              <a:ext uri="{FF2B5EF4-FFF2-40B4-BE49-F238E27FC236}">
                <a16:creationId xmlns:a16="http://schemas.microsoft.com/office/drawing/2014/main" id="{998C08C2-837E-724E-85B1-2FB3401ADDF2}"/>
              </a:ext>
            </a:extLst>
          </p:cNvPr>
          <p:cNvSpPr/>
          <p:nvPr/>
        </p:nvSpPr>
        <p:spPr>
          <a:xfrm>
            <a:off x="4675917" y="2053489"/>
            <a:ext cx="753206" cy="489883"/>
          </a:xfrm>
          <a:prstGeom prst="borderCallout1">
            <a:avLst>
              <a:gd name="adj1" fmla="val 109149"/>
              <a:gd name="adj2" fmla="val 47689"/>
              <a:gd name="adj3" fmla="val 293066"/>
              <a:gd name="adj4" fmla="val 12132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Центр</a:t>
            </a:r>
          </a:p>
          <a:p>
            <a:pPr algn="ctr"/>
            <a:r>
              <a:rPr lang="ru-RU" sz="1071" dirty="0"/>
              <a:t>5667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0" name="Выноска 1 349">
            <a:extLst>
              <a:ext uri="{FF2B5EF4-FFF2-40B4-BE49-F238E27FC236}">
                <a16:creationId xmlns:a16="http://schemas.microsoft.com/office/drawing/2014/main" id="{D0CC8291-4E18-214C-8D89-9C136F9DF844}"/>
              </a:ext>
            </a:extLst>
          </p:cNvPr>
          <p:cNvSpPr/>
          <p:nvPr/>
        </p:nvSpPr>
        <p:spPr>
          <a:xfrm>
            <a:off x="4880309" y="5029549"/>
            <a:ext cx="963815" cy="663654"/>
          </a:xfrm>
          <a:prstGeom prst="borderCallout1">
            <a:avLst>
              <a:gd name="adj1" fmla="val -9059"/>
              <a:gd name="adj2" fmla="val 42402"/>
              <a:gd name="adj3" fmla="val -86162"/>
              <a:gd name="adj4" fmla="val 3270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Северный Кавказ</a:t>
            </a:r>
          </a:p>
          <a:p>
            <a:pPr algn="ctr"/>
            <a:r>
              <a:rPr lang="ru-RU" sz="1071" dirty="0"/>
              <a:t>2446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1" name="Выноска 1 350">
            <a:extLst>
              <a:ext uri="{FF2B5EF4-FFF2-40B4-BE49-F238E27FC236}">
                <a16:creationId xmlns:a16="http://schemas.microsoft.com/office/drawing/2014/main" id="{0F715EBD-6F8C-A64F-92BC-7DA47452D14E}"/>
              </a:ext>
            </a:extLst>
          </p:cNvPr>
          <p:cNvSpPr/>
          <p:nvPr/>
        </p:nvSpPr>
        <p:spPr>
          <a:xfrm>
            <a:off x="5955041" y="4879589"/>
            <a:ext cx="753206" cy="489883"/>
          </a:xfrm>
          <a:prstGeom prst="borderCallout1">
            <a:avLst>
              <a:gd name="adj1" fmla="val -13316"/>
              <a:gd name="adj2" fmla="val 22200"/>
              <a:gd name="adj3" fmla="val -152815"/>
              <a:gd name="adj4" fmla="val -9252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Южный</a:t>
            </a:r>
          </a:p>
          <a:p>
            <a:pPr algn="ctr"/>
            <a:r>
              <a:rPr lang="ru-RU" sz="1071" dirty="0"/>
              <a:t>6942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2" name="Выноска 1 351">
            <a:extLst>
              <a:ext uri="{FF2B5EF4-FFF2-40B4-BE49-F238E27FC236}">
                <a16:creationId xmlns:a16="http://schemas.microsoft.com/office/drawing/2014/main" id="{E8716431-1E16-FE4C-9EB2-9036944167D4}"/>
              </a:ext>
            </a:extLst>
          </p:cNvPr>
          <p:cNvSpPr/>
          <p:nvPr/>
        </p:nvSpPr>
        <p:spPr>
          <a:xfrm>
            <a:off x="6914834" y="5464346"/>
            <a:ext cx="753206" cy="489883"/>
          </a:xfrm>
          <a:prstGeom prst="borderCallout1">
            <a:avLst>
              <a:gd name="adj1" fmla="val -13316"/>
              <a:gd name="adj2" fmla="val 22200"/>
              <a:gd name="adj3" fmla="val -239712"/>
              <a:gd name="adj4" fmla="val -7839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Волга</a:t>
            </a:r>
          </a:p>
          <a:p>
            <a:pPr algn="ctr"/>
            <a:r>
              <a:rPr lang="ru-RU" sz="1071" dirty="0"/>
              <a:t>8414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4" name="Выноска 1 353">
            <a:extLst>
              <a:ext uri="{FF2B5EF4-FFF2-40B4-BE49-F238E27FC236}">
                <a16:creationId xmlns:a16="http://schemas.microsoft.com/office/drawing/2014/main" id="{662E0C7F-C9FC-6B4C-952A-59BC5F718E90}"/>
              </a:ext>
            </a:extLst>
          </p:cNvPr>
          <p:cNvSpPr/>
          <p:nvPr/>
        </p:nvSpPr>
        <p:spPr>
          <a:xfrm>
            <a:off x="8437551" y="1316810"/>
            <a:ext cx="963815" cy="663655"/>
          </a:xfrm>
          <a:prstGeom prst="borderCallout1">
            <a:avLst>
              <a:gd name="adj1" fmla="val 54910"/>
              <a:gd name="adj2" fmla="val -8333"/>
              <a:gd name="adj3" fmla="val 374383"/>
              <a:gd name="adj4" fmla="val -89619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Урал</a:t>
            </a:r>
          </a:p>
          <a:p>
            <a:pPr algn="ctr"/>
            <a:r>
              <a:rPr lang="ru-RU" sz="1071" dirty="0"/>
              <a:t>4901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5" name="Выноска 1 354">
            <a:extLst>
              <a:ext uri="{FF2B5EF4-FFF2-40B4-BE49-F238E27FC236}">
                <a16:creationId xmlns:a16="http://schemas.microsoft.com/office/drawing/2014/main" id="{9FF70111-FC98-B64E-BD32-BB45C4226B6A}"/>
              </a:ext>
            </a:extLst>
          </p:cNvPr>
          <p:cNvSpPr/>
          <p:nvPr/>
        </p:nvSpPr>
        <p:spPr>
          <a:xfrm>
            <a:off x="9096398" y="5544378"/>
            <a:ext cx="888526" cy="486922"/>
          </a:xfrm>
          <a:prstGeom prst="borderCallout1">
            <a:avLst>
              <a:gd name="adj1" fmla="val -13243"/>
              <a:gd name="adj2" fmla="val 46877"/>
              <a:gd name="adj3" fmla="val -210932"/>
              <a:gd name="adj4" fmla="val -8133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Сибирь</a:t>
            </a:r>
          </a:p>
          <a:p>
            <a:pPr algn="ctr"/>
            <a:r>
              <a:rPr lang="ru-RU" sz="1071" dirty="0"/>
              <a:t>6090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356" name="Выноска 1 355">
            <a:extLst>
              <a:ext uri="{FF2B5EF4-FFF2-40B4-BE49-F238E27FC236}">
                <a16:creationId xmlns:a16="http://schemas.microsoft.com/office/drawing/2014/main" id="{E0210D64-0047-9549-9140-67D949599A5D}"/>
              </a:ext>
            </a:extLst>
          </p:cNvPr>
          <p:cNvSpPr/>
          <p:nvPr/>
        </p:nvSpPr>
        <p:spPr>
          <a:xfrm>
            <a:off x="9984924" y="1254990"/>
            <a:ext cx="963815" cy="663655"/>
          </a:xfrm>
          <a:prstGeom prst="borderCallout1">
            <a:avLst>
              <a:gd name="adj1" fmla="val 117050"/>
              <a:gd name="adj2" fmla="val 27554"/>
              <a:gd name="adj3" fmla="val 344315"/>
              <a:gd name="adj4" fmla="val -20607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71" dirty="0"/>
              <a:t>МР Дальний Восток</a:t>
            </a:r>
          </a:p>
          <a:p>
            <a:pPr algn="ctr"/>
            <a:r>
              <a:rPr lang="ru-RU" sz="1071" dirty="0"/>
              <a:t>2116</a:t>
            </a:r>
            <a:r>
              <a:rPr lang="en-US" sz="1071" dirty="0"/>
              <a:t>*</a:t>
            </a:r>
            <a:endParaRPr lang="ru-RU" sz="107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3942525-D0D4-E144-987F-D00CA9D477EF}"/>
              </a:ext>
            </a:extLst>
          </p:cNvPr>
          <p:cNvSpPr txBox="1"/>
          <p:nvPr/>
        </p:nvSpPr>
        <p:spPr>
          <a:xfrm>
            <a:off x="6550319" y="6175871"/>
            <a:ext cx="5383390" cy="5249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37" dirty="0"/>
              <a:t>1. </a:t>
            </a:r>
            <a:r>
              <a:rPr lang="ru-RU" sz="937" dirty="0">
                <a:ea typeface="Segoe UI"/>
                <a:cs typeface="Segoe UI"/>
              </a:rPr>
              <a:t>Городские, межрайонные, районные, </a:t>
            </a:r>
            <a:r>
              <a:rPr lang="ru-RU" sz="937" dirty="0" err="1">
                <a:ea typeface="Segoe UI"/>
                <a:cs typeface="Segoe UI"/>
              </a:rPr>
              <a:t>прижелезнодорожные</a:t>
            </a:r>
            <a:r>
              <a:rPr lang="ru-RU" sz="937" dirty="0">
                <a:ea typeface="Segoe UI"/>
                <a:cs typeface="Segoe UI"/>
              </a:rPr>
              <a:t> и др. – на 0</a:t>
            </a:r>
            <a:r>
              <a:rPr lang="en-US" sz="937" dirty="0">
                <a:ea typeface="Segoe UI"/>
                <a:cs typeface="Segoe UI"/>
              </a:rPr>
              <a:t>6</a:t>
            </a:r>
            <a:r>
              <a:rPr lang="ru-RU" sz="937" dirty="0">
                <a:ea typeface="Segoe UI"/>
                <a:cs typeface="Segoe UI"/>
              </a:rPr>
              <a:t>.202</a:t>
            </a:r>
            <a:r>
              <a:rPr lang="en-US" sz="937" dirty="0">
                <a:ea typeface="Segoe UI"/>
                <a:cs typeface="Segoe UI"/>
              </a:rPr>
              <a:t>1</a:t>
            </a:r>
          </a:p>
          <a:p>
            <a:r>
              <a:rPr lang="ru-RU" sz="937" dirty="0"/>
              <a:t>2. </a:t>
            </a:r>
            <a:r>
              <a:rPr lang="ru-RU" sz="937" dirty="0">
                <a:ea typeface="Segoe UI"/>
                <a:cs typeface="Segoe UI"/>
              </a:rPr>
              <a:t>Передвижные ОПС (ПОПС), пункты почтовой связи (ППС), модульные ОПС (МОПС) и т.п. </a:t>
            </a:r>
          </a:p>
          <a:p>
            <a:r>
              <a:rPr lang="en-US" sz="937" dirty="0">
                <a:cs typeface="Segoe UI"/>
              </a:rPr>
              <a:t>* </a:t>
            </a:r>
            <a:r>
              <a:rPr lang="ru-RU" sz="937" dirty="0">
                <a:ea typeface="Segoe UI"/>
                <a:cs typeface="Segoe UI"/>
              </a:rPr>
              <a:t>Количество отделений почтовой связи (ОПС), 2020</a:t>
            </a:r>
            <a:endParaRPr lang="ru-RU" sz="937" dirty="0"/>
          </a:p>
        </p:txBody>
      </p:sp>
    </p:spTree>
    <p:extLst>
      <p:ext uri="{BB962C8B-B14F-4D97-AF65-F5344CB8AC3E}">
        <p14:creationId xmlns:p14="http://schemas.microsoft.com/office/powerpoint/2010/main" val="304086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" name="Объект 87" hidden="1">
            <a:extLst>
              <a:ext uri="{FF2B5EF4-FFF2-40B4-BE49-F238E27FC236}">
                <a16:creationId xmlns:a16="http://schemas.microsoft.com/office/drawing/2014/main" id="{0A9F6385-3C9D-468C-A98C-044DF7BD82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Слайд think-cell" r:id="rId5" imgW="532" imgH="533" progId="TCLayout.ActiveDocument.1">
                  <p:embed/>
                </p:oleObj>
              </mc:Choice>
              <mc:Fallback>
                <p:oleObj name="Слайд think-cell" r:id="rId5" imgW="532" imgH="533" progId="TCLayout.ActiveDocument.1">
                  <p:embed/>
                  <p:pic>
                    <p:nvPicPr>
                      <p:cNvPr id="88" name="Объект 87" hidden="1">
                        <a:extLst>
                          <a:ext uri="{FF2B5EF4-FFF2-40B4-BE49-F238E27FC236}">
                            <a16:creationId xmlns:a16="http://schemas.microsoft.com/office/drawing/2014/main" id="{0A9F6385-3C9D-468C-A98C-044DF7BD8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Номер слайда 2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20340"/>
            <a:fld id="{77CCD23E-997B-4E57-B2D9-5E2603462AC4}" type="slidenum">
              <a:rPr lang="ru-RU">
                <a:solidFill>
                  <a:srgbClr val="FFFFFF"/>
                </a:solidFill>
                <a:latin typeface="Arial"/>
              </a:rPr>
              <a:pPr defTabSz="1220340"/>
              <a:t>4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7" name="Заголовок 96">
            <a:extLst>
              <a:ext uri="{FF2B5EF4-FFF2-40B4-BE49-F238E27FC236}">
                <a16:creationId xmlns:a16="http://schemas.microsoft.com/office/drawing/2014/main" id="{52434501-6D49-4134-BC26-26E8169BB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22" y="453311"/>
            <a:ext cx="8591385" cy="802309"/>
          </a:xfrm>
        </p:spPr>
        <p:txBody>
          <a:bodyPr vert="horz">
            <a:normAutofit/>
          </a:bodyPr>
          <a:lstStyle/>
          <a:p>
            <a:r>
              <a:rPr lang="ru-RU" dirty="0"/>
              <a:t>Структура компании </a:t>
            </a:r>
            <a:br>
              <a:rPr lang="ru-RU" dirty="0"/>
            </a:br>
            <a:r>
              <a:rPr lang="ru-RU" sz="2133" dirty="0">
                <a:solidFill>
                  <a:srgbClr val="FF5A00"/>
                </a:solidFill>
              </a:rPr>
              <a:t>на примере макрорегиона «УРАЛ»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2689415" y="466841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/>
            <a:r>
              <a:rPr lang="ru-RU" sz="3212" b="1" dirty="0">
                <a:solidFill>
                  <a:srgbClr val="000000"/>
                </a:solidFill>
                <a:latin typeface="Arial"/>
              </a:rPr>
              <a:t>ЗАГОЛОВОК 1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2689415" y="2102646"/>
            <a:ext cx="3276879" cy="1957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/>
            <a:r>
              <a:rPr lang="ru-RU" sz="1272" b="1" dirty="0">
                <a:solidFill>
                  <a:srgbClr val="000000"/>
                </a:solidFill>
                <a:latin typeface="Arial"/>
              </a:rPr>
              <a:t>Подзаголовок 1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2689415" y="2462539"/>
            <a:ext cx="3276879" cy="1853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/>
            <a:r>
              <a:rPr lang="ru-RU" sz="1204" dirty="0">
                <a:solidFill>
                  <a:srgbClr val="000000"/>
                </a:solidFill>
                <a:latin typeface="Arial"/>
              </a:rPr>
              <a:t>Основной текст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2689415" y="1125393"/>
            <a:ext cx="3276879" cy="4015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>
              <a:spcBef>
                <a:spcPct val="20000"/>
              </a:spcBef>
            </a:pPr>
            <a:r>
              <a:rPr lang="ru-RU" sz="2609" b="1" dirty="0">
                <a:solidFill>
                  <a:srgbClr val="000000"/>
                </a:solidFill>
                <a:latin typeface="Arial"/>
              </a:rPr>
              <a:t>Заголовок 2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>
              <a:spcBef>
                <a:spcPct val="20000"/>
              </a:spcBef>
            </a:pPr>
            <a:r>
              <a:rPr lang="ru-RU" sz="1071" dirty="0">
                <a:solidFill>
                  <a:srgbClr val="FFFFFF">
                    <a:lumMod val="65000"/>
                  </a:srgbClr>
                </a:solidFill>
                <a:latin typeface="Arial"/>
              </a:rPr>
              <a:t>Подписи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2689415" y="1691259"/>
            <a:ext cx="3276879" cy="247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20340"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7" b="1" dirty="0">
                <a:solidFill>
                  <a:srgbClr val="000000"/>
                </a:solidFill>
                <a:latin typeface="Arial"/>
              </a:rPr>
              <a:t>Подзаголовок 2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2689415" y="3332622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12689413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12689415" y="4971062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3517165" y="3332622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13532307" y="4130946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13532307" y="4971062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2409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0" name="Овал 169">
            <a:extLst>
              <a:ext uri="{FF2B5EF4-FFF2-40B4-BE49-F238E27FC236}">
                <a16:creationId xmlns:a16="http://schemas.microsoft.com/office/drawing/2014/main" id="{D671D337-8994-4EBC-9111-8EC646BF48F4}"/>
              </a:ext>
            </a:extLst>
          </p:cNvPr>
          <p:cNvSpPr/>
          <p:nvPr/>
        </p:nvSpPr>
        <p:spPr>
          <a:xfrm>
            <a:off x="-6767648" y="3042184"/>
            <a:ext cx="62040" cy="62040"/>
          </a:xfrm>
          <a:prstGeom prst="ellipse">
            <a:avLst/>
          </a:prstGeom>
          <a:solidFill>
            <a:srgbClr val="FF5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181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6" name="Овал 175">
            <a:extLst>
              <a:ext uri="{FF2B5EF4-FFF2-40B4-BE49-F238E27FC236}">
                <a16:creationId xmlns:a16="http://schemas.microsoft.com/office/drawing/2014/main" id="{866D77F8-06A8-4BE8-9F5E-3A722A348DFD}"/>
              </a:ext>
            </a:extLst>
          </p:cNvPr>
          <p:cNvSpPr/>
          <p:nvPr/>
        </p:nvSpPr>
        <p:spPr>
          <a:xfrm>
            <a:off x="-6765531" y="5233971"/>
            <a:ext cx="62040" cy="62040"/>
          </a:xfrm>
          <a:prstGeom prst="ellipse">
            <a:avLst/>
          </a:prstGeom>
          <a:solidFill>
            <a:srgbClr val="FF5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20340"/>
            <a:endParaRPr lang="ru-RU" sz="181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TextBox 3">
            <a:extLst>
              <a:ext uri="{FF2B5EF4-FFF2-40B4-BE49-F238E27FC236}">
                <a16:creationId xmlns:a16="http://schemas.microsoft.com/office/drawing/2014/main" id="{18A04AFA-DA40-4AE2-BAF2-71B07C3CDBD7}"/>
              </a:ext>
            </a:extLst>
          </p:cNvPr>
          <p:cNvSpPr txBox="1"/>
          <p:nvPr/>
        </p:nvSpPr>
        <p:spPr>
          <a:xfrm>
            <a:off x="7129615" y="1786813"/>
            <a:ext cx="4146608" cy="2348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/>
            <a:r>
              <a:rPr lang="ru-RU" sz="1333" b="1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состав Макрорегиона УРАЛ входят:</a:t>
            </a:r>
          </a:p>
          <a:p>
            <a:pPr defTabSz="609585"/>
            <a:endParaRPr lang="ru-RU" sz="1333" b="1" dirty="0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Свердловской област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Челябинской област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Курганской област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Тюменской област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Кировской област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Пермского края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Удмуртской Республики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Ямало-Ненецкого автономного округа </a:t>
            </a:r>
          </a:p>
          <a:p>
            <a:pPr defTabSz="609585"/>
            <a:r>
              <a:rPr lang="ru-RU" sz="1333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ФПС Ханты-Мансийский автономный округ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5BB9C75D-D8BD-4C6D-8C33-66A710FE2EA7}"/>
              </a:ext>
            </a:extLst>
          </p:cNvPr>
          <p:cNvSpPr/>
          <p:nvPr/>
        </p:nvSpPr>
        <p:spPr>
          <a:xfrm>
            <a:off x="359695" y="4996189"/>
            <a:ext cx="134627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2400" b="1" dirty="0" smtClean="0">
                <a:solidFill>
                  <a:srgbClr val="000000"/>
                </a:solidFill>
                <a:latin typeface="Arial"/>
              </a:rPr>
              <a:t>64</a:t>
            </a:r>
            <a:r>
              <a:rPr lang="ru-RU" sz="2400" dirty="0" smtClean="0">
                <a:solidFill>
                  <a:srgbClr val="000000"/>
                </a:solidFill>
                <a:latin typeface="Arial"/>
              </a:rPr>
              <a:t> </a:t>
            </a:r>
            <a:endParaRPr lang="ru-RU" sz="24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535D46F3-A7E7-47F4-A1C2-7281E514AFE2}"/>
              </a:ext>
            </a:extLst>
          </p:cNvPr>
          <p:cNvCxnSpPr>
            <a:cxnSpLocks/>
          </p:cNvCxnSpPr>
          <p:nvPr/>
        </p:nvCxnSpPr>
        <p:spPr>
          <a:xfrm flipV="1">
            <a:off x="588822" y="5921352"/>
            <a:ext cx="854689" cy="1"/>
          </a:xfrm>
          <a:prstGeom prst="line">
            <a:avLst/>
          </a:prstGeom>
          <a:ln w="952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A432F514-4DF5-43ED-8451-209825B5A39F}"/>
              </a:ext>
            </a:extLst>
          </p:cNvPr>
          <p:cNvSpPr/>
          <p:nvPr/>
        </p:nvSpPr>
        <p:spPr>
          <a:xfrm>
            <a:off x="1741428" y="4996189"/>
            <a:ext cx="1059112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2400" b="1" dirty="0" smtClean="0">
                <a:solidFill>
                  <a:srgbClr val="000000"/>
                </a:solidFill>
                <a:latin typeface="Arial"/>
              </a:rPr>
              <a:t>4111</a:t>
            </a:r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A132B000-5142-40D5-89D6-608C08AE448E}"/>
              </a:ext>
            </a:extLst>
          </p:cNvPr>
          <p:cNvCxnSpPr>
            <a:cxnSpLocks/>
          </p:cNvCxnSpPr>
          <p:nvPr/>
        </p:nvCxnSpPr>
        <p:spPr>
          <a:xfrm flipV="1">
            <a:off x="1966945" y="5918340"/>
            <a:ext cx="833596" cy="3011"/>
          </a:xfrm>
          <a:prstGeom prst="line">
            <a:avLst/>
          </a:prstGeom>
          <a:ln w="952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BF2BA718-918C-4CD7-8A44-EF1641B1F698}"/>
              </a:ext>
            </a:extLst>
          </p:cNvPr>
          <p:cNvSpPr/>
          <p:nvPr/>
        </p:nvSpPr>
        <p:spPr>
          <a:xfrm>
            <a:off x="4236289" y="5011669"/>
            <a:ext cx="121223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2400" b="1" dirty="0" smtClean="0">
                <a:solidFill>
                  <a:srgbClr val="000000"/>
                </a:solidFill>
                <a:latin typeface="Arial"/>
              </a:rPr>
              <a:t>4600</a:t>
            </a:r>
            <a:endParaRPr lang="ru-RU" sz="24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3D5AC2D-3848-46CC-BAA8-69170D99FBD2}"/>
              </a:ext>
            </a:extLst>
          </p:cNvPr>
          <p:cNvSpPr/>
          <p:nvPr/>
        </p:nvSpPr>
        <p:spPr>
          <a:xfrm>
            <a:off x="6096000" y="4995955"/>
            <a:ext cx="121223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2400" b="1" dirty="0" smtClean="0">
                <a:solidFill>
                  <a:srgbClr val="000000"/>
                </a:solidFill>
                <a:latin typeface="Arial"/>
              </a:rPr>
              <a:t>8000</a:t>
            </a:r>
            <a:endParaRPr lang="ru-RU" sz="2400" b="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0C29BB2A-08E4-4614-B6ED-A38DD2E6A0A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79565" y="6036275"/>
            <a:ext cx="488904" cy="488904"/>
          </a:xfrm>
          <a:prstGeom prst="rect">
            <a:avLst/>
          </a:prstGeom>
        </p:spPr>
      </p:pic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A12F1CD7-9BB4-4DBE-B200-526E7470AB3F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6726" y="5982906"/>
            <a:ext cx="635004" cy="553449"/>
          </a:xfrm>
          <a:prstGeom prst="rect">
            <a:avLst/>
          </a:prstGeom>
        </p:spPr>
      </p:pic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082C24F-5036-44AD-A594-9FCD7946BDA8}"/>
              </a:ext>
            </a:extLst>
          </p:cNvPr>
          <p:cNvSpPr/>
          <p:nvPr/>
        </p:nvSpPr>
        <p:spPr>
          <a:xfrm>
            <a:off x="1808726" y="5437096"/>
            <a:ext cx="84628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1600" dirty="0">
                <a:solidFill>
                  <a:srgbClr val="000000"/>
                </a:solidFill>
                <a:latin typeface="Arial"/>
              </a:rPr>
              <a:t>ОПС</a:t>
            </a: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E60616E1-1A7F-45B3-8365-3BFAED1BAD6F}"/>
              </a:ext>
            </a:extLst>
          </p:cNvPr>
          <p:cNvSpPr/>
          <p:nvPr/>
        </p:nvSpPr>
        <p:spPr>
          <a:xfrm>
            <a:off x="539726" y="5428910"/>
            <a:ext cx="1146097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/>
            <a:r>
              <a:rPr lang="ru-RU" sz="1600" dirty="0">
                <a:solidFill>
                  <a:srgbClr val="000000"/>
                </a:solidFill>
                <a:latin typeface="Arial"/>
              </a:rPr>
              <a:t>почтамт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6CD3EEA6-9BDA-42A9-911B-46792A833F99}"/>
              </a:ext>
            </a:extLst>
          </p:cNvPr>
          <p:cNvSpPr/>
          <p:nvPr/>
        </p:nvSpPr>
        <p:spPr>
          <a:xfrm>
            <a:off x="4163117" y="5437095"/>
            <a:ext cx="135857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1600" dirty="0">
                <a:solidFill>
                  <a:srgbClr val="000000"/>
                </a:solidFill>
                <a:latin typeface="Arial"/>
              </a:rPr>
              <a:t>операторов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93FBA2C5-1117-408A-BF53-27666FC687AF}"/>
              </a:ext>
            </a:extLst>
          </p:cNvPr>
          <p:cNvSpPr/>
          <p:nvPr/>
        </p:nvSpPr>
        <p:spPr>
          <a:xfrm>
            <a:off x="6026180" y="5437437"/>
            <a:ext cx="1481096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09585"/>
            <a:r>
              <a:rPr lang="ru-RU" sz="1600" dirty="0">
                <a:solidFill>
                  <a:srgbClr val="000000"/>
                </a:solidFill>
                <a:latin typeface="Arial"/>
              </a:rPr>
              <a:t>почтальонов</a:t>
            </a: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id="{0054A808-2D91-4EC3-9B64-E9253AF6BCBE}"/>
              </a:ext>
            </a:extLst>
          </p:cNvPr>
          <p:cNvCxnSpPr>
            <a:cxnSpLocks/>
          </p:cNvCxnSpPr>
          <p:nvPr/>
        </p:nvCxnSpPr>
        <p:spPr>
          <a:xfrm>
            <a:off x="4236290" y="5921351"/>
            <a:ext cx="1248173" cy="0"/>
          </a:xfrm>
          <a:prstGeom prst="line">
            <a:avLst/>
          </a:prstGeom>
          <a:ln w="952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EA1E546E-FB5B-4A9E-9FE4-A3FB85EE242C}"/>
              </a:ext>
            </a:extLst>
          </p:cNvPr>
          <p:cNvCxnSpPr>
            <a:cxnSpLocks/>
          </p:cNvCxnSpPr>
          <p:nvPr/>
        </p:nvCxnSpPr>
        <p:spPr>
          <a:xfrm>
            <a:off x="6144140" y="5921351"/>
            <a:ext cx="1248173" cy="0"/>
          </a:xfrm>
          <a:prstGeom prst="line">
            <a:avLst/>
          </a:prstGeom>
          <a:ln w="952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0113B9B9-7171-47E8-8CF0-6D301E2D8C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84514" y="5977948"/>
            <a:ext cx="242415" cy="527264"/>
          </a:xfrm>
          <a:prstGeom prst="rect">
            <a:avLst/>
          </a:prstGeom>
        </p:spPr>
      </p:pic>
      <p:pic>
        <p:nvPicPr>
          <p:cNvPr id="105" name="Рисунок 104">
            <a:extLst>
              <a:ext uri="{FF2B5EF4-FFF2-40B4-BE49-F238E27FC236}">
                <a16:creationId xmlns:a16="http://schemas.microsoft.com/office/drawing/2014/main" id="{75B7E047-4586-48B6-92FB-5C6445DA6E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43468" y="6328360"/>
            <a:ext cx="448384" cy="450635"/>
          </a:xfrm>
          <a:prstGeom prst="rect">
            <a:avLst/>
          </a:prstGeom>
        </p:spPr>
      </p:pic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EF7CA77A-A782-4FD7-92BC-B192509B06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80053" y="5975667"/>
            <a:ext cx="465595" cy="718440"/>
          </a:xfrm>
          <a:prstGeom prst="rect">
            <a:avLst/>
          </a:prstGeom>
        </p:spPr>
      </p:pic>
      <p:pic>
        <p:nvPicPr>
          <p:cNvPr id="9222" name="Picture 6" descr="https://avatars.mds.yandex.net/i?id=519f86134d885b163bc27d013e19a47977a70c94-10806524-images-thumbs&amp;n=1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730" y="1409508"/>
            <a:ext cx="304800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3121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Работа в Почте России – это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BFB0BDF-CD14-494C-8F98-4BDF49EE2B50}"/>
              </a:ext>
            </a:extLst>
          </p:cNvPr>
          <p:cNvGrpSpPr/>
          <p:nvPr/>
        </p:nvGrpSpPr>
        <p:grpSpPr>
          <a:xfrm>
            <a:off x="583551" y="1232253"/>
            <a:ext cx="5078733" cy="916480"/>
            <a:chOff x="871982" y="1830008"/>
            <a:chExt cx="7589003" cy="1369469"/>
          </a:xfrm>
        </p:grpSpPr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49E1406A-929B-5847-A474-3A6F01A4EF31}"/>
                </a:ext>
              </a:extLst>
            </p:cNvPr>
            <p:cNvSpPr txBox="1"/>
            <p:nvPr/>
          </p:nvSpPr>
          <p:spPr>
            <a:xfrm>
              <a:off x="2396687" y="1963875"/>
              <a:ext cx="6064298" cy="110797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Важное дело</a:t>
              </a:r>
              <a:endParaRPr lang="ru-RU" sz="1606" dirty="0"/>
            </a:p>
            <a:p>
              <a:pPr lvl="0"/>
              <a:r>
                <a:rPr lang="ru-RU" sz="1071" dirty="0"/>
                <a:t>Наша работа помогает связывать близких на дальних расстояниях, заботиться о пенсионерах и повышать качество жизни людей во всех уголках страны.</a:t>
              </a:r>
            </a:p>
          </p:txBody>
        </p:sp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98EFBD88-DC33-C24F-8A34-85066A84D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1982" y="1830008"/>
              <a:ext cx="1369469" cy="1369469"/>
            </a:xfrm>
            <a:prstGeom prst="rect">
              <a:avLst/>
            </a:prstGeom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A8B9D34-C74C-6D48-A463-DAEF4FF1139F}"/>
              </a:ext>
            </a:extLst>
          </p:cNvPr>
          <p:cNvGrpSpPr/>
          <p:nvPr/>
        </p:nvGrpSpPr>
        <p:grpSpPr>
          <a:xfrm>
            <a:off x="6200737" y="1715521"/>
            <a:ext cx="5155103" cy="1071062"/>
            <a:chOff x="9270502" y="1900334"/>
            <a:chExt cx="7703120" cy="1600457"/>
          </a:xfrm>
        </p:grpSpPr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780223C3-6C98-4A48-82BB-C5115DA4B803}"/>
                </a:ext>
              </a:extLst>
            </p:cNvPr>
            <p:cNvSpPr txBox="1"/>
            <p:nvPr/>
          </p:nvSpPr>
          <p:spPr>
            <a:xfrm>
              <a:off x="10909326" y="1900334"/>
              <a:ext cx="6064296" cy="16004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Поддержка сотрудников</a:t>
              </a:r>
            </a:p>
            <a:p>
              <a:r>
                <a:rPr lang="ru-RU" sz="1071" dirty="0"/>
                <a:t>Все наши сотрудники застрахованы от несчастных случаев и болезней 24/7 с первого дня работы, мы предоставляем возможность подключиться к корпоративной пенсионной программе после 3х лет работы в компании. Всем детям от 1 года до 18 лет мы дарим подарки на Новый Год.</a:t>
              </a:r>
            </a:p>
          </p:txBody>
        </p:sp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00AB8E84-B3B6-3246-82EC-F5D01EC70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70502" y="2015819"/>
              <a:ext cx="1369468" cy="1369468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1B20F62-3699-AD45-8BF2-36CDB392B999}"/>
              </a:ext>
            </a:extLst>
          </p:cNvPr>
          <p:cNvGrpSpPr/>
          <p:nvPr/>
        </p:nvGrpSpPr>
        <p:grpSpPr>
          <a:xfrm>
            <a:off x="500086" y="3769158"/>
            <a:ext cx="5153515" cy="1153393"/>
            <a:chOff x="747264" y="5447030"/>
            <a:chExt cx="7700747" cy="1723481"/>
          </a:xfrm>
        </p:grpSpPr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AD40BACA-81F9-A740-B718-441BA446D2A1}"/>
                </a:ext>
              </a:extLst>
            </p:cNvPr>
            <p:cNvSpPr txBox="1"/>
            <p:nvPr/>
          </p:nvSpPr>
          <p:spPr>
            <a:xfrm>
              <a:off x="2388635" y="5447030"/>
              <a:ext cx="6059376" cy="17234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Уверенность </a:t>
              </a:r>
            </a:p>
            <a:p>
              <a:r>
                <a:rPr lang="ru-RU" sz="1606" b="1" dirty="0"/>
                <a:t>в завтрашнем дне</a:t>
              </a:r>
            </a:p>
            <a:p>
              <a:r>
                <a:rPr lang="ru-RU" sz="1071" dirty="0"/>
                <a:t>Почта России – надежный работодатель с многовековой историей. Мы не закрываемся на время карантина и </a:t>
              </a:r>
              <a:r>
                <a:rPr lang="ru-RU" sz="1071" dirty="0" err="1"/>
                <a:t>локдауна</a:t>
              </a:r>
              <a:r>
                <a:rPr lang="ru-RU" sz="1071" dirty="0"/>
                <a:t>, не сокращаем персонал и с уверенностью можно утверждать, что Почта России будет работать всегда.</a:t>
              </a:r>
            </a:p>
          </p:txBody>
        </p:sp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id="{A74DB417-F6CE-DE4D-A3D4-8EC1F4B1042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264" y="5524958"/>
              <a:ext cx="1618904" cy="1618904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5196EEF4-48F0-9543-BEFB-212E97E921C1}"/>
              </a:ext>
            </a:extLst>
          </p:cNvPr>
          <p:cNvGrpSpPr/>
          <p:nvPr/>
        </p:nvGrpSpPr>
        <p:grpSpPr>
          <a:xfrm>
            <a:off x="588822" y="5264462"/>
            <a:ext cx="5064779" cy="1235851"/>
            <a:chOff x="879859" y="7855222"/>
            <a:chExt cx="7568151" cy="1846697"/>
          </a:xfrm>
        </p:grpSpPr>
        <p:sp>
          <p:nvSpPr>
            <p:cNvPr id="343" name="TextBox 342">
              <a:extLst>
                <a:ext uri="{FF2B5EF4-FFF2-40B4-BE49-F238E27FC236}">
                  <a16:creationId xmlns:a16="http://schemas.microsoft.com/office/drawing/2014/main" id="{2BD1EB3F-23D2-654C-8186-64D1919540D8}"/>
                </a:ext>
              </a:extLst>
            </p:cNvPr>
            <p:cNvSpPr txBox="1"/>
            <p:nvPr/>
          </p:nvSpPr>
          <p:spPr>
            <a:xfrm>
              <a:off x="2388635" y="7855222"/>
              <a:ext cx="6059375" cy="18466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Честность и прозрачность</a:t>
              </a:r>
            </a:p>
            <a:p>
              <a:r>
                <a:rPr lang="ru-RU" sz="1071" dirty="0"/>
                <a:t>Почта России – честный и прозрачный работодатель. Все наши сотрудники оформлены официально с соблюдением ТК РФ, получают «белую» заработную плату гарантированно дважды в месяц. Мы всегда прозрачно рассказываем и показываем из чего складывается доход, поэтому вы всегда будете знать сколько и когда получите.</a:t>
              </a: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4923A81F-3C86-CB45-BD07-4F2BEB6104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859" y="8064954"/>
              <a:ext cx="1368190" cy="1368190"/>
            </a:xfrm>
            <a:prstGeom prst="rect">
              <a:avLst/>
            </a:prstGeom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6DA97470-7C4C-7940-A151-6C019042F663}"/>
              </a:ext>
            </a:extLst>
          </p:cNvPr>
          <p:cNvGrpSpPr/>
          <p:nvPr/>
        </p:nvGrpSpPr>
        <p:grpSpPr>
          <a:xfrm>
            <a:off x="583550" y="2490599"/>
            <a:ext cx="5073345" cy="936692"/>
            <a:chOff x="871982" y="3482638"/>
            <a:chExt cx="7580951" cy="1399671"/>
          </a:xfrm>
        </p:grpSpPr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FA3D59DE-E653-6E4B-A3A5-162FF0C082DF}"/>
                </a:ext>
              </a:extLst>
            </p:cNvPr>
            <p:cNvSpPr txBox="1"/>
            <p:nvPr/>
          </p:nvSpPr>
          <p:spPr>
            <a:xfrm>
              <a:off x="2393558" y="3482638"/>
              <a:ext cx="6059375" cy="1354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Семейная атмосфера</a:t>
              </a:r>
              <a:endParaRPr lang="ru-RU" sz="1606" dirty="0"/>
            </a:p>
            <a:p>
              <a:r>
                <a:rPr lang="ru-RU" sz="1071" dirty="0"/>
                <a:t>Коллектив Почты России и каждого отделения почтовой связи или сортировочного центра – настоящая дружная семья, в которой вы найдете поддержку и заботу друг о друге в рабочих и жизненных ситуациях.</a:t>
              </a: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6B0C7996-83AF-D84A-8105-05392F1754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1982" y="3512841"/>
              <a:ext cx="1369468" cy="1369468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3ACFE86-5D19-0245-B0AA-B82663A003DB}"/>
              </a:ext>
            </a:extLst>
          </p:cNvPr>
          <p:cNvGrpSpPr/>
          <p:nvPr/>
        </p:nvGrpSpPr>
        <p:grpSpPr>
          <a:xfrm>
            <a:off x="6055966" y="3134238"/>
            <a:ext cx="5299875" cy="1182674"/>
            <a:chOff x="9049253" y="3834250"/>
            <a:chExt cx="7919448" cy="1767236"/>
          </a:xfrm>
        </p:grpSpPr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F1A5DC40-B75B-AD4B-BF26-D1F7BDF30865}"/>
                </a:ext>
              </a:extLst>
            </p:cNvPr>
            <p:cNvSpPr txBox="1"/>
            <p:nvPr/>
          </p:nvSpPr>
          <p:spPr>
            <a:xfrm>
              <a:off x="10909326" y="4163870"/>
              <a:ext cx="6059375" cy="110798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Обучение и развитие</a:t>
              </a:r>
              <a:endParaRPr lang="ru-RU" sz="1606" dirty="0"/>
            </a:p>
            <a:p>
              <a:pPr lvl="0"/>
              <a:r>
                <a:rPr lang="ru-RU" sz="1071" dirty="0"/>
                <a:t>Каждому сотруднику Почты России доступно обучение в Корпоративном Университете компании. Обучение проводится в очном, смешанном и дистанционном форматах.</a:t>
              </a:r>
            </a:p>
          </p:txBody>
        </p:sp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id="{5A82D225-BED4-BF41-82BC-F78D075415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49253" y="3834250"/>
              <a:ext cx="1767236" cy="1767236"/>
            </a:xfrm>
            <a:prstGeom prst="rect">
              <a:avLst/>
            </a:prstGeom>
          </p:spPr>
        </p:pic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1AE90004-3D44-3C4A-A7C3-2E63999D13FB}"/>
              </a:ext>
            </a:extLst>
          </p:cNvPr>
          <p:cNvGrpSpPr/>
          <p:nvPr/>
        </p:nvGrpSpPr>
        <p:grpSpPr>
          <a:xfrm>
            <a:off x="6189063" y="4664580"/>
            <a:ext cx="5166777" cy="1040995"/>
            <a:chOff x="9248137" y="5806458"/>
            <a:chExt cx="7720564" cy="1555529"/>
          </a:xfrm>
        </p:grpSpPr>
        <p:sp>
          <p:nvSpPr>
            <p:cNvPr id="341" name="TextBox 340">
              <a:extLst>
                <a:ext uri="{FF2B5EF4-FFF2-40B4-BE49-F238E27FC236}">
                  <a16:creationId xmlns:a16="http://schemas.microsoft.com/office/drawing/2014/main" id="{7C634164-BF9A-E047-B66B-74E3B4106882}"/>
                </a:ext>
              </a:extLst>
            </p:cNvPr>
            <p:cNvSpPr txBox="1"/>
            <p:nvPr/>
          </p:nvSpPr>
          <p:spPr>
            <a:xfrm>
              <a:off x="10909325" y="5864884"/>
              <a:ext cx="6059376" cy="1354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606" b="1" dirty="0"/>
                <a:t>Карьерный рост</a:t>
              </a:r>
              <a:endParaRPr lang="ru-RU" sz="1606" dirty="0"/>
            </a:p>
            <a:p>
              <a:r>
                <a:rPr lang="ru-RU" sz="1071" dirty="0"/>
                <a:t>Почта России предоставляет своим сотрудникам возможности для карьерного роста. У нас множество примеров роста от операторов отделений почтовой связи до начальников почтамтов и в аппарат управления.</a:t>
              </a: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D3B6D289-3532-9847-A2CE-E7B0E21F80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48137" y="5806458"/>
              <a:ext cx="1555529" cy="15555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064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очта России – ответственный работодатель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A2C3E0-9897-754E-B8DE-F62B3CE48827}"/>
              </a:ext>
            </a:extLst>
          </p:cNvPr>
          <p:cNvSpPr txBox="1"/>
          <p:nvPr/>
        </p:nvSpPr>
        <p:spPr>
          <a:xfrm>
            <a:off x="609346" y="4245168"/>
            <a:ext cx="4501394" cy="2132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5" dirty="0"/>
              <a:t>Профсоюзу работников связи России исполнилось 113 лет. Это один из наиболее активных и авторитетных профсоюзов Российской Федерации.</a:t>
            </a:r>
          </a:p>
          <a:p>
            <a:endParaRPr lang="ru-RU" sz="1205" dirty="0"/>
          </a:p>
          <a:p>
            <a:r>
              <a:rPr lang="ru-RU" sz="1205" dirty="0"/>
              <a:t>Что дает членство в профсоюзе: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Содействие в решении вопросов по охране труда 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Льготные путевки в санатории и детские лагеря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Дополнительные новогодние подарки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Билеты в театры и музеи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Материальную помощь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Туристические и экскурсионные поездки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8485A012-F8A7-A746-987E-12BD0D7DE284}"/>
              </a:ext>
            </a:extLst>
          </p:cNvPr>
          <p:cNvSpPr txBox="1"/>
          <p:nvPr/>
        </p:nvSpPr>
        <p:spPr>
          <a:xfrm>
            <a:off x="6112639" y="4245168"/>
            <a:ext cx="4501394" cy="2502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5" dirty="0"/>
              <a:t>Почта России – компания, которая думает не только о прибыли, но и том, чтобы позитивно влиять на мир. </a:t>
            </a:r>
          </a:p>
          <a:p>
            <a:endParaRPr lang="ru-RU" sz="1205" dirty="0"/>
          </a:p>
          <a:p>
            <a:r>
              <a:rPr lang="ru-RU" sz="1205" dirty="0"/>
              <a:t>В компании действует Молодежный совет – крупнейшее волонтерское движение активных и неравнодушных почтовиков. Члены Молодежного совета: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Собирают пластиковые крышечки и батарейки, направляют вырученные средства на помощь детским домам и домам престарелых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Убирают мусор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Организуют сдачу крови среди сотрудников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Помогают сохранять культурное наследие России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Участвуют в национальных благотворительных проектах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0D54C99-AFA2-254D-A59A-8CE825E9BF3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2639" y="1131752"/>
            <a:ext cx="4501394" cy="2999194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C257864-ED99-344A-A42D-D049BA7D459E}"/>
              </a:ext>
            </a:extLst>
          </p:cNvPr>
          <p:cNvSpPr/>
          <p:nvPr/>
        </p:nvSpPr>
        <p:spPr>
          <a:xfrm>
            <a:off x="8046286" y="3477191"/>
            <a:ext cx="2567747" cy="653754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DF52AA8D-9F47-C346-B139-93C1C2F44953}"/>
              </a:ext>
            </a:extLst>
          </p:cNvPr>
          <p:cNvSpPr txBox="1"/>
          <p:nvPr/>
        </p:nvSpPr>
        <p:spPr>
          <a:xfrm>
            <a:off x="8131291" y="3547548"/>
            <a:ext cx="3632640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6" b="1" dirty="0">
                <a:solidFill>
                  <a:schemeClr val="bg1"/>
                </a:solidFill>
              </a:rPr>
              <a:t>Молодежный </a:t>
            </a:r>
          </a:p>
          <a:p>
            <a:r>
              <a:rPr lang="ru-RU" sz="1606" b="1" dirty="0">
                <a:solidFill>
                  <a:schemeClr val="bg1"/>
                </a:solidFill>
              </a:rPr>
              <a:t>совет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3EF52B19-5C2E-4C48-A8ED-B2E37FF9EC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346" y="1143877"/>
            <a:ext cx="4521919" cy="3012980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283BFE6E-004A-614C-A5B2-FD7D50589D63}"/>
              </a:ext>
            </a:extLst>
          </p:cNvPr>
          <p:cNvSpPr/>
          <p:nvPr/>
        </p:nvSpPr>
        <p:spPr>
          <a:xfrm>
            <a:off x="2548058" y="3503103"/>
            <a:ext cx="2567747" cy="653754"/>
          </a:xfrm>
          <a:prstGeom prst="rect">
            <a:avLst/>
          </a:prstGeom>
          <a:solidFill>
            <a:schemeClr val="accent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D40B4FC-0ED1-994E-98DF-6FAB006EB752}"/>
              </a:ext>
            </a:extLst>
          </p:cNvPr>
          <p:cNvSpPr txBox="1"/>
          <p:nvPr/>
        </p:nvSpPr>
        <p:spPr>
          <a:xfrm>
            <a:off x="2608913" y="3543179"/>
            <a:ext cx="2856688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6" b="1" dirty="0">
                <a:solidFill>
                  <a:schemeClr val="bg1"/>
                </a:solidFill>
              </a:rPr>
              <a:t>Профсоюз </a:t>
            </a:r>
          </a:p>
          <a:p>
            <a:r>
              <a:rPr lang="ru-RU" sz="1606" b="1" dirty="0">
                <a:solidFill>
                  <a:schemeClr val="bg1"/>
                </a:solidFill>
              </a:rPr>
              <a:t>работников связи</a:t>
            </a:r>
          </a:p>
        </p:txBody>
      </p:sp>
    </p:spTree>
    <p:extLst>
      <p:ext uri="{BB962C8B-B14F-4D97-AF65-F5344CB8AC3E}">
        <p14:creationId xmlns:p14="http://schemas.microsoft.com/office/powerpoint/2010/main" val="3178969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У нас интересная корпоративная жизнь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F04936-6DCF-5A46-8D82-06661468D8CC}"/>
              </a:ext>
            </a:extLst>
          </p:cNvPr>
          <p:cNvSpPr txBox="1"/>
          <p:nvPr/>
        </p:nvSpPr>
        <p:spPr>
          <a:xfrm>
            <a:off x="13409408" y="6792091"/>
            <a:ext cx="184731" cy="2777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5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E4C03F3-F1B2-0A43-A659-20DE92418D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822" y="1208422"/>
            <a:ext cx="5132146" cy="34214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89B2D63-D2E9-274A-9ADF-DDE627FB56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2381" y="3311971"/>
            <a:ext cx="5132146" cy="341970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7560B7C-DCAC-D44D-BF63-C4FD574672B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641" y="3798960"/>
            <a:ext cx="4396508" cy="2931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A3EDFB7-5F9B-F240-8887-2085C5498DD6}"/>
              </a:ext>
            </a:extLst>
          </p:cNvPr>
          <p:cNvSpPr txBox="1"/>
          <p:nvPr/>
        </p:nvSpPr>
        <p:spPr>
          <a:xfrm>
            <a:off x="6192381" y="1260417"/>
            <a:ext cx="5132146" cy="1080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6" dirty="0"/>
              <a:t>Корпоративные спортивные мероприятия и секции, </a:t>
            </a:r>
            <a:r>
              <a:rPr lang="ru-RU" sz="1606" dirty="0" err="1"/>
              <a:t>киберспартакиада</a:t>
            </a:r>
            <a:r>
              <a:rPr lang="ru-RU" sz="1606" dirty="0"/>
              <a:t>, онлайн и офлайн марафоны, подарки на праздники – только часть насыщенной корпоративной жизни Почты!</a:t>
            </a:r>
          </a:p>
        </p:txBody>
      </p:sp>
    </p:spTree>
    <p:extLst>
      <p:ext uri="{BB962C8B-B14F-4D97-AF65-F5344CB8AC3E}">
        <p14:creationId xmlns:p14="http://schemas.microsoft.com/office/powerpoint/2010/main" val="4034853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88822" y="270436"/>
            <a:ext cx="8591385" cy="802309"/>
          </a:xfrm>
        </p:spPr>
        <p:txBody>
          <a:bodyPr/>
          <a:lstStyle/>
          <a:p>
            <a:r>
              <a:rPr lang="ru-RU" dirty="0" smtClean="0"/>
              <a:t>Вакансии Краснотурьинский Почтамт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807907793"/>
              </p:ext>
            </p:extLst>
          </p:nvPr>
        </p:nvGraphicFramePr>
        <p:xfrm>
          <a:off x="1711630" y="1072745"/>
          <a:ext cx="8128000" cy="55658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4829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203EA83A-9874-44A6-8629-CD6DF7D4EB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Мы благодарны нашим сотрудникам и награждаем лучших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689415" y="3332621"/>
            <a:ext cx="586805" cy="586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1" name="Прямоугольник 20"/>
          <p:cNvSpPr/>
          <p:nvPr/>
        </p:nvSpPr>
        <p:spPr>
          <a:xfrm>
            <a:off x="12689414" y="4101458"/>
            <a:ext cx="586805" cy="5868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2" name="Прямоугольник 21"/>
          <p:cNvSpPr/>
          <p:nvPr/>
        </p:nvSpPr>
        <p:spPr>
          <a:xfrm>
            <a:off x="12689415" y="4971061"/>
            <a:ext cx="586805" cy="5868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3" name="Прямоугольник 22"/>
          <p:cNvSpPr/>
          <p:nvPr/>
        </p:nvSpPr>
        <p:spPr>
          <a:xfrm>
            <a:off x="13517166" y="3332621"/>
            <a:ext cx="586805" cy="5868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4" name="Прямоугольник 23"/>
          <p:cNvSpPr/>
          <p:nvPr/>
        </p:nvSpPr>
        <p:spPr>
          <a:xfrm>
            <a:off x="13532307" y="4130945"/>
            <a:ext cx="586805" cy="58680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5" name="Прямоугольник 24"/>
          <p:cNvSpPr/>
          <p:nvPr/>
        </p:nvSpPr>
        <p:spPr>
          <a:xfrm>
            <a:off x="13532307" y="4971061"/>
            <a:ext cx="586805" cy="586805"/>
          </a:xfrm>
          <a:prstGeom prst="rect">
            <a:avLst/>
          </a:prstGeom>
          <a:solidFill>
            <a:srgbClr val="FFAA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5"/>
          </a:p>
        </p:txBody>
      </p:sp>
      <p:sp>
        <p:nvSpPr>
          <p:cNvPr id="26" name="TextBox 25"/>
          <p:cNvSpPr txBox="1"/>
          <p:nvPr/>
        </p:nvSpPr>
        <p:spPr>
          <a:xfrm>
            <a:off x="12689415" y="466842"/>
            <a:ext cx="3276879" cy="494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12" b="1" dirty="0"/>
              <a:t>ЗАГОЛОВОК 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2689415" y="2102645"/>
            <a:ext cx="3276879" cy="1955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71" b="1" dirty="0"/>
              <a:t>Подзаголовок 1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2689415" y="2462539"/>
            <a:ext cx="3276879" cy="185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5" dirty="0"/>
              <a:t>Основной текст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2689415" y="1125393"/>
            <a:ext cx="3276879" cy="401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2610" b="1" dirty="0"/>
              <a:t>Заголовок 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2689415" y="2812135"/>
            <a:ext cx="3276879" cy="16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</a:pPr>
            <a:r>
              <a:rPr lang="ru-RU" sz="1071" dirty="0">
                <a:solidFill>
                  <a:schemeClr val="bg1">
                    <a:lumMod val="65000"/>
                  </a:schemeClr>
                </a:solidFill>
              </a:rPr>
              <a:t>Подпис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689415" y="1691258"/>
            <a:ext cx="3276879" cy="2471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ct val="20000"/>
              </a:spcBef>
              <a:defRPr sz="216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606" b="1" dirty="0">
                <a:solidFill>
                  <a:srgbClr val="000000"/>
                </a:solidFill>
              </a:rPr>
              <a:t>Подзаголовок 2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7F53C17-BFCA-C241-8B39-4235F2234DE2}"/>
              </a:ext>
            </a:extLst>
          </p:cNvPr>
          <p:cNvSpPr/>
          <p:nvPr/>
        </p:nvSpPr>
        <p:spPr>
          <a:xfrm>
            <a:off x="588821" y="1615930"/>
            <a:ext cx="4144403" cy="97342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6" b="1" dirty="0"/>
              <a:t>от Генерального директора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EEA1001-53FE-B942-B9B7-505BA646E62A}"/>
              </a:ext>
            </a:extLst>
          </p:cNvPr>
          <p:cNvSpPr txBox="1"/>
          <p:nvPr/>
        </p:nvSpPr>
        <p:spPr>
          <a:xfrm>
            <a:off x="4877797" y="1608314"/>
            <a:ext cx="4302410" cy="1019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Почетная грамота (премия </a:t>
            </a:r>
            <a:r>
              <a:rPr lang="ru-RU" sz="1205" dirty="0">
                <a:solidFill>
                  <a:schemeClr val="tx2"/>
                </a:solidFill>
              </a:rPr>
              <a:t>50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Благодарность Генерального директора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Знак «За мужество» (премия </a:t>
            </a:r>
            <a:r>
              <a:rPr lang="ru-RU" sz="1205" dirty="0">
                <a:solidFill>
                  <a:schemeClr val="tx2"/>
                </a:solidFill>
              </a:rPr>
              <a:t>50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Звание «Почетный работник (премия </a:t>
            </a:r>
            <a:r>
              <a:rPr lang="ru-RU" sz="1205" dirty="0">
                <a:solidFill>
                  <a:schemeClr val="tx2"/>
                </a:solidFill>
              </a:rPr>
              <a:t>20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Звание «Человек года» (премия </a:t>
            </a:r>
            <a:r>
              <a:rPr lang="ru-RU" sz="1205" dirty="0">
                <a:solidFill>
                  <a:schemeClr val="tx2"/>
                </a:solidFill>
              </a:rPr>
              <a:t>300 000 рублей</a:t>
            </a:r>
            <a:r>
              <a:rPr lang="ru-RU" sz="1205" dirty="0"/>
              <a:t>)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1AAE5C86-06B7-B244-AA9E-10205BE51A06}"/>
              </a:ext>
            </a:extLst>
          </p:cNvPr>
          <p:cNvSpPr/>
          <p:nvPr/>
        </p:nvSpPr>
        <p:spPr>
          <a:xfrm>
            <a:off x="588821" y="2836350"/>
            <a:ext cx="4144403" cy="97342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6" b="1" dirty="0"/>
              <a:t>Макрорегион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2C62F53-4DA8-3341-98C7-5496A04F4AFE}"/>
              </a:ext>
            </a:extLst>
          </p:cNvPr>
          <p:cNvSpPr txBox="1"/>
          <p:nvPr/>
        </p:nvSpPr>
        <p:spPr>
          <a:xfrm>
            <a:off x="4877797" y="3106795"/>
            <a:ext cx="4302410" cy="463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Почетная грамота (премия </a:t>
            </a:r>
            <a:r>
              <a:rPr lang="ru-RU" sz="1205" dirty="0">
                <a:solidFill>
                  <a:schemeClr val="tx2"/>
                </a:solidFill>
              </a:rPr>
              <a:t>20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Благодарность директора Макрорегиона</a:t>
            </a:r>
            <a:endParaRPr lang="ru-RU" sz="1205" dirty="0">
              <a:solidFill>
                <a:schemeClr val="tx2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C3F85786-1C25-D345-BDA8-B20E7AAAC599}"/>
              </a:ext>
            </a:extLst>
          </p:cNvPr>
          <p:cNvSpPr/>
          <p:nvPr/>
        </p:nvSpPr>
        <p:spPr>
          <a:xfrm>
            <a:off x="588821" y="4056770"/>
            <a:ext cx="4144403" cy="97342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6" b="1" dirty="0"/>
              <a:t>Филиал/Аппарат Управления Общества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829CA4C-84E9-4341-9976-5CFCA934D00D}"/>
              </a:ext>
            </a:extLst>
          </p:cNvPr>
          <p:cNvSpPr txBox="1"/>
          <p:nvPr/>
        </p:nvSpPr>
        <p:spPr>
          <a:xfrm>
            <a:off x="4877797" y="4234528"/>
            <a:ext cx="4302410" cy="648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Почетная грамота (премия </a:t>
            </a:r>
            <a:r>
              <a:rPr lang="ru-RU" sz="1205" dirty="0">
                <a:solidFill>
                  <a:schemeClr val="tx2"/>
                </a:solidFill>
              </a:rPr>
              <a:t>15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Благодарность директора филиала/АУО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Доска почета (премия</a:t>
            </a:r>
            <a:r>
              <a:rPr lang="ru-RU" sz="1205" dirty="0">
                <a:solidFill>
                  <a:schemeClr val="tx2"/>
                </a:solidFill>
              </a:rPr>
              <a:t> 10 000 рублей</a:t>
            </a:r>
            <a:r>
              <a:rPr lang="ru-RU" sz="1205" dirty="0"/>
              <a:t>)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4A7BE572-2EAD-DA40-BF64-42ABDACBC4E6}"/>
              </a:ext>
            </a:extLst>
          </p:cNvPr>
          <p:cNvSpPr/>
          <p:nvPr/>
        </p:nvSpPr>
        <p:spPr>
          <a:xfrm>
            <a:off x="588821" y="5277190"/>
            <a:ext cx="4121616" cy="97342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6" b="1" dirty="0"/>
              <a:t>Ведомственные награды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707F2AE-FBF6-C54C-91CD-71B9F74842D2}"/>
              </a:ext>
            </a:extLst>
          </p:cNvPr>
          <p:cNvSpPr txBox="1"/>
          <p:nvPr/>
        </p:nvSpPr>
        <p:spPr>
          <a:xfrm>
            <a:off x="4855010" y="5454948"/>
            <a:ext cx="4938241" cy="6486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Благодарность Министра </a:t>
            </a:r>
            <a:r>
              <a:rPr lang="ru-RU" sz="1205" dirty="0" err="1"/>
              <a:t>Минкомсвязи</a:t>
            </a:r>
            <a:r>
              <a:rPr lang="ru-RU" sz="1205" dirty="0"/>
              <a:t> (премия </a:t>
            </a:r>
            <a:r>
              <a:rPr lang="ru-RU" sz="1205" dirty="0">
                <a:solidFill>
                  <a:schemeClr val="tx2"/>
                </a:solidFill>
              </a:rPr>
              <a:t>10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Почетная грамота </a:t>
            </a:r>
            <a:r>
              <a:rPr lang="ru-RU" sz="1205" dirty="0" err="1"/>
              <a:t>Минкомсвязи</a:t>
            </a:r>
            <a:r>
              <a:rPr lang="ru-RU" sz="1205" dirty="0"/>
              <a:t> (премия </a:t>
            </a:r>
            <a:r>
              <a:rPr lang="ru-RU" sz="1205" dirty="0">
                <a:solidFill>
                  <a:schemeClr val="tx2"/>
                </a:solidFill>
              </a:rPr>
              <a:t>15 000 рублей</a:t>
            </a:r>
            <a:r>
              <a:rPr lang="ru-RU" sz="1205" dirty="0"/>
              <a:t>)</a:t>
            </a:r>
          </a:p>
          <a:p>
            <a:pPr marL="191224" indent="-191224">
              <a:buClr>
                <a:schemeClr val="tx2"/>
              </a:buClr>
              <a:buFont typeface="Courier New" panose="02070309020205020404" pitchFamily="49" charset="0"/>
              <a:buChar char="o"/>
            </a:pPr>
            <a:r>
              <a:rPr lang="ru-RU" sz="1205" dirty="0"/>
              <a:t>Звание «Мастер связи» (премия </a:t>
            </a:r>
            <a:r>
              <a:rPr lang="ru-RU" sz="1205" dirty="0">
                <a:solidFill>
                  <a:schemeClr val="tx2"/>
                </a:solidFill>
              </a:rPr>
              <a:t>20 000 рублей</a:t>
            </a:r>
            <a:r>
              <a:rPr lang="ru-RU" sz="1205" dirty="0"/>
              <a:t>)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E153479-606A-5541-9100-5A7F51B771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931481">
            <a:off x="8395177" y="997571"/>
            <a:ext cx="4121616" cy="231840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6F04936-6DCF-5A46-8D82-06661468D8CC}"/>
              </a:ext>
            </a:extLst>
          </p:cNvPr>
          <p:cNvSpPr txBox="1"/>
          <p:nvPr/>
        </p:nvSpPr>
        <p:spPr>
          <a:xfrm>
            <a:off x="13409408" y="6792091"/>
            <a:ext cx="184731" cy="2777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5" dirty="0"/>
          </a:p>
        </p:txBody>
      </p:sp>
    </p:spTree>
    <p:extLst>
      <p:ext uri="{BB962C8B-B14F-4D97-AF65-F5344CB8AC3E}">
        <p14:creationId xmlns:p14="http://schemas.microsoft.com/office/powerpoint/2010/main" val="3082738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1A37FF"/>
      </a:accent1>
      <a:accent2>
        <a:srgbClr val="FF5A00"/>
      </a:accent2>
      <a:accent3>
        <a:srgbClr val="FF8200"/>
      </a:accent3>
      <a:accent4>
        <a:srgbClr val="FFAA14"/>
      </a:accent4>
      <a:accent5>
        <a:srgbClr val="20419A"/>
      </a:accent5>
      <a:accent6>
        <a:srgbClr val="58B6E7"/>
      </a:accent6>
      <a:hlink>
        <a:srgbClr val="1A37FF"/>
      </a:hlink>
      <a:folHlink>
        <a:srgbClr val="FFAA14"/>
      </a:folHlink>
    </a:clrScheme>
    <a:fontScheme name="Custom 2">
      <a:majorFont>
        <a:latin typeface="Roboto Bold"/>
        <a:ea typeface=""/>
        <a:cs typeface=""/>
      </a:majorFont>
      <a:minorFont>
        <a:latin typeface="Roboto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Внутренний слайд">
  <a:themeElements>
    <a:clrScheme name="Russian Post colors">
      <a:dk1>
        <a:srgbClr val="003399"/>
      </a:dk1>
      <a:lt1>
        <a:sysClr val="window" lastClr="FFFFFF"/>
      </a:lt1>
      <a:dk2>
        <a:srgbClr val="262626"/>
      </a:dk2>
      <a:lt2>
        <a:srgbClr val="FFFFFF"/>
      </a:lt2>
      <a:accent1>
        <a:srgbClr val="003399"/>
      </a:accent1>
      <a:accent2>
        <a:srgbClr val="1468AE"/>
      </a:accent2>
      <a:accent3>
        <a:srgbClr val="B1232F"/>
      </a:accent3>
      <a:accent4>
        <a:srgbClr val="BE6529"/>
      </a:accent4>
      <a:accent5>
        <a:srgbClr val="4D657F"/>
      </a:accent5>
      <a:accent6>
        <a:srgbClr val="FFFFFF"/>
      </a:accent6>
      <a:hlink>
        <a:srgbClr val="003399"/>
      </a:hlink>
      <a:folHlink>
        <a:srgbClr val="8046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70</TotalTime>
  <Words>1102</Words>
  <Application>Microsoft Office PowerPoint</Application>
  <PresentationFormat>Широкоэкранный</PresentationFormat>
  <Paragraphs>213</Paragraphs>
  <Slides>1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1" baseType="lpstr">
      <vt:lpstr>Arial</vt:lpstr>
      <vt:lpstr>Calibri</vt:lpstr>
      <vt:lpstr>Calibri Light</vt:lpstr>
      <vt:lpstr>Courier New</vt:lpstr>
      <vt:lpstr>Roboto Bold</vt:lpstr>
      <vt:lpstr>Segoe UI</vt:lpstr>
      <vt:lpstr>Office Theme</vt:lpstr>
      <vt:lpstr>Внутренний слайд</vt:lpstr>
      <vt:lpstr>Тема Office</vt:lpstr>
      <vt:lpstr>1_Тема Office</vt:lpstr>
      <vt:lpstr>Слайд think-cell</vt:lpstr>
      <vt:lpstr>РАБОТА         В ПОЧТЕ РОССИИ</vt:lpstr>
      <vt:lpstr>Современная Почта – национальный логистический и почтовый оператор и одна из крупнейших сетей в мире</vt:lpstr>
      <vt:lpstr>Структура Почты России</vt:lpstr>
      <vt:lpstr>Структура компании  на примере макрорегиона «УРАЛ»</vt:lpstr>
      <vt:lpstr>Работа в Почте России – это</vt:lpstr>
      <vt:lpstr>Почта России – ответственный работодатель</vt:lpstr>
      <vt:lpstr>У нас интересная корпоративная жизнь</vt:lpstr>
      <vt:lpstr>Вакансии Краснотурьинский Почтамт</vt:lpstr>
      <vt:lpstr>Мы благодарны нашим сотрудникам и награждаем лучших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ia Yalushchak</dc:creator>
  <cp:lastModifiedBy>Воронкова Анна Александровна</cp:lastModifiedBy>
  <cp:revision>133</cp:revision>
  <dcterms:created xsi:type="dcterms:W3CDTF">2019-10-14T08:42:56Z</dcterms:created>
  <dcterms:modified xsi:type="dcterms:W3CDTF">2024-11-08T05:01:15Z</dcterms:modified>
</cp:coreProperties>
</file>